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heme/theme6.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charts/chart1.xml" ContentType="application/vnd.openxmlformats-officedocument.drawingml.chart+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9.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tags/tag56.xml" ContentType="application/vnd.openxmlformats-officedocument.presentationml.tags+xml"/>
  <Override PartName="/ppt/tags/tag57.xml" ContentType="application/vnd.openxmlformats-officedocument.presentationml.tags+xml"/>
  <Override PartName="/ppt/notesSlides/notesSlide10.xml" ContentType="application/vnd.openxmlformats-officedocument.presentationml.notesSlide+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1.xml" ContentType="application/vnd.openxmlformats-officedocument.presentationml.notesSlide+xml"/>
  <Override PartName="/ppt/charts/chart5.xml" ContentType="application/vnd.openxmlformats-officedocument.drawingml.chart+xml"/>
  <Override PartName="/ppt/tags/tag87.xml" ContentType="application/vnd.openxmlformats-officedocument.presentationml.tags+xml"/>
  <Override PartName="/ppt/notesSlides/notesSlide12.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13.xml" ContentType="application/vnd.openxmlformats-officedocument.presentationml.notesSlid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ags/tag92.xml" ContentType="application/vnd.openxmlformats-officedocument.presentationml.tags+xml"/>
  <Override PartName="/ppt/notesSlides/notesSlide14.xml" ContentType="application/vnd.openxmlformats-officedocument.presentationml.notesSlide+xml"/>
  <Override PartName="/ppt/tags/tag93.xml" ContentType="application/vnd.openxmlformats-officedocument.presentationml.tags+xml"/>
  <Override PartName="/ppt/notesSlides/notesSlide15.xml" ContentType="application/vnd.openxmlformats-officedocument.presentationml.notesSlide+xml"/>
  <Override PartName="/ppt/tags/tag94.xml" ContentType="application/vnd.openxmlformats-officedocument.presentationml.tags+xml"/>
  <Override PartName="/ppt/notesSlides/notesSlide16.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charts/chart7.xml" ContentType="application/vnd.openxmlformats-officedocument.drawingml.chart+xml"/>
  <Override PartName="/ppt/tags/tag107.xml" ContentType="application/vnd.openxmlformats-officedocument.presentationml.tags+xml"/>
  <Override PartName="/ppt/charts/chart8.xml" ContentType="application/vnd.openxmlformats-officedocument.drawingml.chart+xml"/>
  <Override PartName="/ppt/charts/style3.xml" ContentType="application/vnd.ms-office.chartstyle+xml"/>
  <Override PartName="/ppt/charts/colors3.xml" ContentType="application/vnd.ms-office.chartcolorstyle+xml"/>
  <Override PartName="/ppt/charts/chart9.xml" ContentType="application/vnd.openxmlformats-officedocument.drawingml.chart+xml"/>
  <Override PartName="/ppt/charts/style4.xml" ContentType="application/vnd.ms-office.chartstyle+xml"/>
  <Override PartName="/ppt/charts/colors4.xml" ContentType="application/vnd.ms-office.chartcolorstyle+xml"/>
  <Override PartName="/ppt/tags/tag108.xml" ContentType="application/vnd.openxmlformats-officedocument.presentationml.tags+xml"/>
  <Override PartName="/ppt/notesSlides/notesSlide17.xml" ContentType="application/vnd.openxmlformats-officedocument.presentationml.notesSlide+xml"/>
  <Override PartName="/ppt/charts/chart10.xml" ContentType="application/vnd.openxmlformats-officedocument.drawingml.chart+xml"/>
  <Override PartName="/ppt/charts/style5.xml" ContentType="application/vnd.ms-office.chartstyle+xml"/>
  <Override PartName="/ppt/charts/colors5.xml" ContentType="application/vnd.ms-office.chartcolorstyle+xml"/>
  <Override PartName="/ppt/charts/chart11.xml" ContentType="application/vnd.openxmlformats-officedocument.drawingml.chart+xml"/>
  <Override PartName="/ppt/charts/style6.xml" ContentType="application/vnd.ms-office.chartstyle+xml"/>
  <Override PartName="/ppt/charts/colors6.xml" ContentType="application/vnd.ms-office.chartcolorstyle+xml"/>
  <Override PartName="/ppt/charts/chart12.xml" ContentType="application/vnd.openxmlformats-officedocument.drawingml.chart+xml"/>
  <Override PartName="/ppt/charts/style7.xml" ContentType="application/vnd.ms-office.chartstyle+xml"/>
  <Override PartName="/ppt/charts/colors7.xml" ContentType="application/vnd.ms-office.chartcolorstyle+xml"/>
  <Override PartName="/ppt/charts/chart13.xml" ContentType="application/vnd.openxmlformats-officedocument.drawingml.chart+xml"/>
  <Override PartName="/ppt/charts/style8.xml" ContentType="application/vnd.ms-office.chartstyle+xml"/>
  <Override PartName="/ppt/charts/colors8.xml" ContentType="application/vnd.ms-office.chartcolorstyle+xml"/>
  <Override PartName="/ppt/charts/chart14.xml" ContentType="application/vnd.openxmlformats-officedocument.drawingml.chart+xml"/>
  <Override PartName="/ppt/charts/style9.xml" ContentType="application/vnd.ms-office.chartstyle+xml"/>
  <Override PartName="/ppt/charts/colors9.xml" ContentType="application/vnd.ms-office.chartcolorstyle+xml"/>
  <Override PartName="/ppt/charts/chart15.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6.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7.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8.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9.xml" ContentType="application/vnd.openxmlformats-officedocument.drawingml.chart+xml"/>
  <Override PartName="/ppt/charts/style14.xml" ContentType="application/vnd.ms-office.chartstyle+xml"/>
  <Override PartName="/ppt/charts/colors14.xml" ContentType="application/vnd.ms-office.chartcolorstyle+xml"/>
  <Override PartName="/ppt/tags/tag109.xml" ContentType="application/vnd.openxmlformats-officedocument.presentationml.tags+xml"/>
  <Override PartName="/ppt/notesSlides/notesSlide18.xml" ContentType="application/vnd.openxmlformats-officedocument.presentationml.notesSlide+xml"/>
  <Override PartName="/ppt/tags/tag110.xml" ContentType="application/vnd.openxmlformats-officedocument.presentationml.tags+xml"/>
  <Override PartName="/ppt/notesSlides/notesSlide19.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20.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notesSlides/notesSlide21.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notesSlides/notesSlide22.xml" ContentType="application/vnd.openxmlformats-officedocument.presentationml.notesSlide+xml"/>
  <Override PartName="/ppt/tags/tag117.xml" ContentType="application/vnd.openxmlformats-officedocument.presentationml.tags+xml"/>
  <Override PartName="/ppt/notesSlides/notesSlide23.xml" ContentType="application/vnd.openxmlformats-officedocument.presentationml.notesSlide+xml"/>
  <Override PartName="/ppt/tags/tag118.xml" ContentType="application/vnd.openxmlformats-officedocument.presentationml.tags+xml"/>
  <Override PartName="/ppt/notesSlides/notesSlide24.xml" ContentType="application/vnd.openxmlformats-officedocument.presentationml.notesSlide+xml"/>
  <Override PartName="/ppt/tags/tag119.xml" ContentType="application/vnd.openxmlformats-officedocument.presentationml.tags+xml"/>
  <Override PartName="/ppt/notesSlides/notesSlide25.xml" ContentType="application/vnd.openxmlformats-officedocument.presentationml.notesSlide+xml"/>
  <Override PartName="/ppt/tags/tag120.xml" ContentType="application/vnd.openxmlformats-officedocument.presentationml.tags+xml"/>
  <Override PartName="/ppt/notesSlides/notesSlide26.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notesSlides/notesSlide27.xml" ContentType="application/vnd.openxmlformats-officedocument.presentationml.notesSlide+xml"/>
  <Override PartName="/ppt/tags/tag123.xml" ContentType="application/vnd.openxmlformats-officedocument.presentationml.tags+xml"/>
  <Override PartName="/ppt/notesSlides/notesSlide28.xml" ContentType="application/vnd.openxmlformats-officedocument.presentationml.notesSlide+xml"/>
  <Override PartName="/ppt/tags/tag124.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25.xml" ContentType="application/vnd.openxmlformats-officedocument.presentationml.tags+xml"/>
  <Override PartName="/ppt/notesSlides/notesSlide31.xml" ContentType="application/vnd.openxmlformats-officedocument.presentationml.notesSlide+xml"/>
  <Override PartName="/ppt/tags/tag126.xml" ContentType="application/vnd.openxmlformats-officedocument.presentationml.tags+xml"/>
  <Override PartName="/ppt/notesSlides/notesSlide32.xml" ContentType="application/vnd.openxmlformats-officedocument.presentationml.notesSlide+xml"/>
  <Override PartName="/ppt/tags/tag127.xml" ContentType="application/vnd.openxmlformats-officedocument.presentationml.tags+xml"/>
  <Override PartName="/ppt/notesSlides/notesSlide33.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34.xml" ContentType="application/vnd.openxmlformats-officedocument.presentationml.notesSlide+xml"/>
  <Override PartName="/ppt/charts/chart20.xml" ContentType="application/vnd.openxmlformats-officedocument.drawingml.chart+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35.xml" ContentType="application/vnd.openxmlformats-officedocument.presentationml.notesSlide+xml"/>
  <Override PartName="/ppt/charts/chart21.xml" ContentType="application/vnd.openxmlformats-officedocument.drawingml.chart+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notesSlides/notesSlide36.xml" ContentType="application/vnd.openxmlformats-officedocument.presentationml.notesSlide+xml"/>
  <Override PartName="/ppt/charts/chart22.xml" ContentType="application/vnd.openxmlformats-officedocument.drawingml.chart+xml"/>
  <Override PartName="/ppt/tags/tag163.xml" ContentType="application/vnd.openxmlformats-officedocument.presentationml.tags+xml"/>
  <Override PartName="/ppt/notesSlides/notesSlide37.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38.xml" ContentType="application/vnd.openxmlformats-officedocument.presentationml.notesSlide+xml"/>
  <Override PartName="/ppt/charts/chart23.xml" ContentType="application/vnd.openxmlformats-officedocument.drawingml.chart+xml"/>
  <Override PartName="/ppt/tags/tag176.xml" ContentType="application/vnd.openxmlformats-officedocument.presentationml.tags+xml"/>
  <Override PartName="/ppt/tags/tag177.xml" ContentType="application/vnd.openxmlformats-officedocument.presentationml.tags+xml"/>
  <Override PartName="/ppt/notesSlides/notesSlide39.xml" ContentType="application/vnd.openxmlformats-officedocument.presentationml.notesSlide+xml"/>
  <Override PartName="/ppt/charts/chart24.xml" ContentType="application/vnd.openxmlformats-officedocument.drawingml.chart+xml"/>
  <Override PartName="/ppt/charts/style15.xml" ContentType="application/vnd.ms-office.chartstyle+xml"/>
  <Override PartName="/ppt/charts/colors15.xml" ContentType="application/vnd.ms-office.chartcolorstyle+xml"/>
  <Override PartName="/ppt/tags/tag178.xml" ContentType="application/vnd.openxmlformats-officedocument.presentationml.tags+xml"/>
  <Override PartName="/ppt/tags/tag179.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180.xml" ContentType="application/vnd.openxmlformats-officedocument.presentationml.tags+xml"/>
  <Override PartName="/ppt/notesSlides/notesSlide43.xml" ContentType="application/vnd.openxmlformats-officedocument.presentationml.notesSlide+xml"/>
  <Override PartName="/ppt/tags/tag181.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4196" r:id="rId5"/>
    <p:sldMasterId id="2147484125" r:id="rId6"/>
    <p:sldMasterId id="2147484205" r:id="rId7"/>
    <p:sldMasterId id="2147484252" r:id="rId8"/>
  </p:sldMasterIdLst>
  <p:notesMasterIdLst>
    <p:notesMasterId r:id="rId68"/>
  </p:notesMasterIdLst>
  <p:sldIdLst>
    <p:sldId id="2147472590" r:id="rId9"/>
    <p:sldId id="2147472604" r:id="rId10"/>
    <p:sldId id="2147470782" r:id="rId11"/>
    <p:sldId id="2147472402" r:id="rId12"/>
    <p:sldId id="2147472152" r:id="rId13"/>
    <p:sldId id="2147472505" r:id="rId14"/>
    <p:sldId id="2147470554" r:id="rId15"/>
    <p:sldId id="2147472578" r:id="rId16"/>
    <p:sldId id="2147472295" r:id="rId17"/>
    <p:sldId id="2147470744" r:id="rId18"/>
    <p:sldId id="2147472485" r:id="rId19"/>
    <p:sldId id="2147472448" r:id="rId20"/>
    <p:sldId id="2147472576" r:id="rId21"/>
    <p:sldId id="2147472520" r:id="rId22"/>
    <p:sldId id="2147472577" r:id="rId23"/>
    <p:sldId id="2147472602" r:id="rId24"/>
    <p:sldId id="2147472392" r:id="rId25"/>
    <p:sldId id="2147472493" r:id="rId26"/>
    <p:sldId id="2147472575" r:id="rId27"/>
    <p:sldId id="2147472603" r:id="rId28"/>
    <p:sldId id="2147472495" r:id="rId29"/>
    <p:sldId id="2147472465" r:id="rId30"/>
    <p:sldId id="2147472484" r:id="rId31"/>
    <p:sldId id="2147472486" r:id="rId32"/>
    <p:sldId id="2147472599" r:id="rId33"/>
    <p:sldId id="2147472475" r:id="rId34"/>
    <p:sldId id="2147472593" r:id="rId35"/>
    <p:sldId id="2147472317" r:id="rId36"/>
    <p:sldId id="2147472594" r:id="rId37"/>
    <p:sldId id="2147472579" r:id="rId38"/>
    <p:sldId id="2147472563" r:id="rId39"/>
    <p:sldId id="2147472557" r:id="rId40"/>
    <p:sldId id="2147472595" r:id="rId41"/>
    <p:sldId id="2147472580" r:id="rId42"/>
    <p:sldId id="2147472581" r:id="rId43"/>
    <p:sldId id="2147472550" r:id="rId44"/>
    <p:sldId id="2147472572" r:id="rId45"/>
    <p:sldId id="2147472582" r:id="rId46"/>
    <p:sldId id="2147472596" r:id="rId47"/>
    <p:sldId id="2147472583" r:id="rId48"/>
    <p:sldId id="2147472367" r:id="rId49"/>
    <p:sldId id="2147472585" r:id="rId50"/>
    <p:sldId id="2147472549" r:id="rId51"/>
    <p:sldId id="2147472586" r:id="rId52"/>
    <p:sldId id="2147472266" r:id="rId53"/>
    <p:sldId id="2147472511" r:id="rId54"/>
    <p:sldId id="2147472552" r:id="rId55"/>
    <p:sldId id="2147472553" r:id="rId56"/>
    <p:sldId id="2147472571" r:id="rId57"/>
    <p:sldId id="2147472548" r:id="rId58"/>
    <p:sldId id="2147472555" r:id="rId59"/>
    <p:sldId id="2147472547" r:id="rId60"/>
    <p:sldId id="2147472267" r:id="rId61"/>
    <p:sldId id="2147472501" r:id="rId62"/>
    <p:sldId id="261" r:id="rId63"/>
    <p:sldId id="2147472503" r:id="rId64"/>
    <p:sldId id="2147472523" r:id="rId65"/>
    <p:sldId id="2147472377" r:id="rId66"/>
    <p:sldId id="2147472591" r:id="rId67"/>
  </p:sldIdLst>
  <p:sldSz cx="12192000" cy="6858000"/>
  <p:notesSz cx="6858000" cy="9144000"/>
  <p:custDataLst>
    <p:tags r:id="rId6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A92F1F-DDF4-48AB-2AF7-E9ABAA638DBB}" name="Dominic Robinson" initials="" userId="S::Dominic.Robinson@strongpoint.com::1cb36bf2-cb22-4b82-a1cc-c56a7a07d551" providerId="AD"/>
  <p188:author id="{FD37652C-F9CF-256B-8441-81639C5BFE6D}" name="Alex Eveleigh" initials="AE" userId="S::alex@strongpoint.com::0cf310e5-560e-47ac-a366-f83558426287" providerId="AD"/>
  <p188:author id="{7897182E-641A-8B43-96EF-0DB9C1304409}" name="Marius Drefvelin" initials="MD" userId="S::marius.drefvelin@strongpoint.com::56d4457a-f3a8-4a3e-b670-6500cf62022a" providerId="AD"/>
  <p188:author id="{CAE71D70-46A0-0729-D9A2-72474D445D11}" name="Knut Olav Nyhus Olsen" initials="KONO" userId="S::knutolav.nyhusolsen@strongpoint.com::9fde7035-55bb-41cc-b047-9bfe78da8b5c" providerId="AD"/>
  <p188:author id="{F70D878D-616F-08B7-C764-1E0572085A60}" name="Jacob Tveraabak" initials="JT" userId="S::Jacob.Tveraabak@strongpoint.com::83c84284-5181-4660-a63a-a6f3c8a080f1" providerId="AD"/>
  <p188:author id="{B2A8ACA7-F902-3C01-790B-3F635A44A7EF}" name="Magnus Rosén" initials="MR" userId="S::Magnus.Rosen@strongpoint.com::379c38fb-6bbb-4ccf-9104-f5cceeebe177" providerId="AD"/>
  <p188:author id="{A75C67E7-4575-7459-9593-8CFBD9CA4937}" name="Magnus Rosén" initials="MR" userId="S::magnus.rosen@strongpoint.com::379c38fb-6bbb-4ccf-9104-f5cceeebe17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9900"/>
    <a:srgbClr val="91D150"/>
    <a:srgbClr val="DEDEF4"/>
    <a:srgbClr val="DEDEF3"/>
    <a:srgbClr val="F2F2F2"/>
    <a:srgbClr val="E9EBFC"/>
    <a:srgbClr val="CCCDF1"/>
    <a:srgbClr val="1E1E50"/>
    <a:srgbClr val="02965F"/>
    <a:srgbClr val="F2F3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n stil, ingen rutenet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02"/>
    <p:restoredTop sz="94649"/>
  </p:normalViewPr>
  <p:slideViewPr>
    <p:cSldViewPr snapToGrid="0">
      <p:cViewPr varScale="1">
        <p:scale>
          <a:sx n="89" d="100"/>
          <a:sy n="89" d="100"/>
        </p:scale>
        <p:origin x="176" y="15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 Type="http://schemas.openxmlformats.org/officeDocument/2006/relationships/slideMaster" Target="slideMasters/slideMaster4.xml"/><Relationship Id="rId71"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9.xml"/><Relationship Id="rId1" Type="http://schemas.microsoft.com/office/2011/relationships/chartStyle" Target="style9.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0.xml"/><Relationship Id="rId1" Type="http://schemas.microsoft.com/office/2011/relationships/chartStyle" Target="style10.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1.xml"/><Relationship Id="rId1" Type="http://schemas.microsoft.com/office/2011/relationships/chartStyle" Target="style11.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2.xml"/><Relationship Id="rId1" Type="http://schemas.microsoft.com/office/2011/relationships/chartStyle" Target="style12.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3.xml"/><Relationship Id="rId1" Type="http://schemas.microsoft.com/office/2011/relationships/chartStyle" Target="style13.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5.xml"/><Relationship Id="rId1" Type="http://schemas.microsoft.com/office/2011/relationships/chartStyle" Target="style15.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644662275999388E-3"/>
          <c:y val="8.772576483597494E-2"/>
          <c:w val="0.98407106754480012"/>
          <c:h val="0.8503501658680428"/>
        </c:manualLayout>
      </c:layout>
      <c:barChart>
        <c:barDir val="col"/>
        <c:grouping val="stacked"/>
        <c:varyColors val="0"/>
        <c:ser>
          <c:idx val="0"/>
          <c:order val="0"/>
          <c:spPr>
            <a:solidFill>
              <a:schemeClr val="accent4"/>
            </a:solidFill>
            <a:ln>
              <a:noFill/>
            </a:ln>
          </c:spPr>
          <c:invertIfNegative val="0"/>
          <c:dPt>
            <c:idx val="7"/>
            <c:invertIfNegative val="0"/>
            <c:bubble3D val="0"/>
            <c:spPr>
              <a:solidFill>
                <a:schemeClr val="accent2"/>
              </a:solidFill>
              <a:ln>
                <a:noFill/>
              </a:ln>
            </c:spPr>
            <c:extLst>
              <c:ext xmlns:c16="http://schemas.microsoft.com/office/drawing/2014/chart" uri="{C3380CC4-5D6E-409C-BE32-E72D297353CC}">
                <c16:uniqueId val="{00000000-7EFE-466F-94F5-08F5B4A536E5}"/>
              </c:ext>
            </c:extLst>
          </c:dPt>
          <c:dPt>
            <c:idx val="8"/>
            <c:invertIfNegative val="0"/>
            <c:bubble3D val="0"/>
            <c:spPr>
              <a:solidFill>
                <a:schemeClr val="accent5"/>
              </a:solidFill>
              <a:ln>
                <a:noFill/>
              </a:ln>
            </c:spPr>
            <c:extLst>
              <c:ext xmlns:c16="http://schemas.microsoft.com/office/drawing/2014/chart" uri="{C3380CC4-5D6E-409C-BE32-E72D297353CC}">
                <c16:uniqueId val="{00000001-7EFE-466F-94F5-08F5B4A536E5}"/>
              </c:ext>
            </c:extLst>
          </c:dPt>
          <c:dPt>
            <c:idx val="11"/>
            <c:invertIfNegative val="0"/>
            <c:bubble3D val="0"/>
            <c:spPr>
              <a:solidFill>
                <a:schemeClr val="accent2"/>
              </a:solidFill>
              <a:ln>
                <a:noFill/>
              </a:ln>
            </c:spPr>
            <c:extLst>
              <c:ext xmlns:c16="http://schemas.microsoft.com/office/drawing/2014/chart" uri="{C3380CC4-5D6E-409C-BE32-E72D297353CC}">
                <c16:uniqueId val="{00000002-7EFE-466F-94F5-08F5B4A536E5}"/>
              </c:ext>
            </c:extLst>
          </c:dPt>
          <c:dPt>
            <c:idx val="12"/>
            <c:invertIfNegative val="0"/>
            <c:bubble3D val="0"/>
            <c:spPr>
              <a:solidFill>
                <a:schemeClr val="accent5"/>
              </a:solidFill>
              <a:ln>
                <a:noFill/>
              </a:ln>
            </c:spPr>
            <c:extLst>
              <c:ext xmlns:c16="http://schemas.microsoft.com/office/drawing/2014/chart" uri="{C3380CC4-5D6E-409C-BE32-E72D297353CC}">
                <c16:uniqueId val="{00000003-7EFE-466F-94F5-08F5B4A536E5}"/>
              </c:ext>
            </c:extLst>
          </c:dPt>
          <c:dLbls>
            <c:dLbl>
              <c:idx val="0"/>
              <c:layout>
                <c:manualLayout>
                  <c:x val="0"/>
                  <c:y val="-0.32952451161076302"/>
                </c:manualLayout>
              </c:layout>
              <c:numFmt formatCode="#,##0;&quot;-&quot;#,##0" sourceLinked="0"/>
              <c:spPr>
                <a:noFill/>
                <a:ln>
                  <a:noFill/>
                </a:ln>
              </c:spPr>
              <c:txPr>
                <a:bodyPr wrap="none"/>
                <a:lstStyle/>
                <a:p>
                  <a:pPr>
                    <a:defRPr sz="1200" b="1" kern="1200">
                      <a:solidFill>
                        <a:schemeClr val="tx1"/>
                      </a:solidFill>
                      <a:latin typeface="+mn-lt"/>
                      <a:ea typeface="+mn-ea"/>
                      <a:cs typeface="+mn-cs"/>
                      <a:sym typeface="Franklin Gothic Book"/>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EFE-466F-94F5-08F5B4A536E5}"/>
                </c:ext>
              </c:extLst>
            </c:dLbl>
            <c:dLbl>
              <c:idx val="1"/>
              <c:layout>
                <c:manualLayout>
                  <c:x val="0"/>
                  <c:y val="-0.28787320309620346"/>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EFE-466F-94F5-08F5B4A536E5}"/>
                </c:ext>
              </c:extLst>
            </c:dLbl>
            <c:dLbl>
              <c:idx val="2"/>
              <c:layout>
                <c:manualLayout>
                  <c:x val="0"/>
                  <c:y val="-0.29045337265020271"/>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EFE-466F-94F5-08F5B4A536E5}"/>
                </c:ext>
              </c:extLst>
            </c:dLbl>
            <c:dLbl>
              <c:idx val="3"/>
              <c:layout>
                <c:manualLayout>
                  <c:x val="0"/>
                  <c:y val="-0.23258385551050498"/>
                </c:manualLayout>
              </c:layout>
              <c:numFmt formatCode="#,##0;&quot;-&quot;#,##0" sourceLinked="0"/>
              <c:spPr>
                <a:noFill/>
                <a:ln>
                  <a:noFill/>
                </a:ln>
              </c:spPr>
              <c:txPr>
                <a:bodyPr wrap="none"/>
                <a:lstStyle/>
                <a:p>
                  <a:pPr>
                    <a:defRPr sz="1200" b="1" kern="1200">
                      <a:solidFill>
                        <a:schemeClr val="tx1"/>
                      </a:solidFill>
                      <a:latin typeface="+mn-lt"/>
                      <a:ea typeface="+mn-ea"/>
                      <a:cs typeface="+mn-cs"/>
                      <a:sym typeface="Franklin Gothic Book"/>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EFE-466F-94F5-08F5B4A536E5}"/>
                </c:ext>
              </c:extLst>
            </c:dLbl>
            <c:dLbl>
              <c:idx val="4"/>
              <c:layout>
                <c:manualLayout>
                  <c:x val="0"/>
                  <c:y val="-0.32436417250276445"/>
                </c:manualLayout>
              </c:layout>
              <c:numFmt formatCode="#,##0;&quot;-&quot;#,##0" sourceLinked="0"/>
              <c:spPr>
                <a:noFill/>
                <a:ln>
                  <a:noFill/>
                </a:ln>
              </c:spPr>
              <c:txPr>
                <a:bodyPr wrap="none"/>
                <a:lstStyle/>
                <a:p>
                  <a:pPr>
                    <a:defRPr sz="1200" b="1" kern="1200">
                      <a:solidFill>
                        <a:schemeClr val="tx1"/>
                      </a:solidFill>
                      <a:latin typeface="+mn-lt"/>
                      <a:ea typeface="+mn-ea"/>
                      <a:cs typeface="+mn-cs"/>
                      <a:sym typeface="Franklin Gothic Book"/>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EFE-466F-94F5-08F5B4A536E5}"/>
                </c:ext>
              </c:extLst>
            </c:dLbl>
            <c:dLbl>
              <c:idx val="5"/>
              <c:layout>
                <c:manualLayout>
                  <c:x val="0"/>
                  <c:y val="-0.3424253593807593"/>
                </c:manualLayout>
              </c:layout>
              <c:numFmt formatCode="#,##0;&quot;-&quot;#,##0" sourceLinked="0"/>
              <c:spPr>
                <a:noFill/>
                <a:ln>
                  <a:noFill/>
                </a:ln>
              </c:spPr>
              <c:txPr>
                <a:bodyPr wrap="none"/>
                <a:lstStyle/>
                <a:p>
                  <a:pPr>
                    <a:defRPr sz="1200" b="1" kern="1200">
                      <a:solidFill>
                        <a:schemeClr val="tx1"/>
                      </a:solidFill>
                      <a:latin typeface="+mn-lt"/>
                      <a:ea typeface="+mn-ea"/>
                      <a:cs typeface="+mn-cs"/>
                      <a:sym typeface="Franklin Gothic Book"/>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EFE-466F-94F5-08F5B4A536E5}"/>
                </c:ext>
              </c:extLst>
            </c:dLbl>
            <c:dLbl>
              <c:idx val="6"/>
              <c:layout>
                <c:manualLayout>
                  <c:x val="0"/>
                  <c:y val="-0.36343531146332475"/>
                </c:manualLayout>
              </c:layout>
              <c:numFmt formatCode="#,##0;&quot;-&quot;#,##0" sourceLinked="0"/>
              <c:spPr>
                <a:noFill/>
                <a:ln>
                  <a:noFill/>
                </a:ln>
              </c:spPr>
              <c:txPr>
                <a:bodyPr wrap="none"/>
                <a:lstStyle/>
                <a:p>
                  <a:pPr>
                    <a:defRPr sz="1200" b="1" kern="1200">
                      <a:solidFill>
                        <a:schemeClr val="tx1"/>
                      </a:solidFill>
                      <a:latin typeface="+mn-lt"/>
                      <a:ea typeface="+mn-ea"/>
                      <a:cs typeface="+mn-cs"/>
                      <a:sym typeface="Franklin Gothic Book"/>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EFE-466F-94F5-08F5B4A536E5}"/>
                </c:ext>
              </c:extLst>
            </c:dLbl>
            <c:dLbl>
              <c:idx val="7"/>
              <c:layout>
                <c:manualLayout>
                  <c:x val="0"/>
                  <c:y val="-0.38923700700331737"/>
                </c:manualLayout>
              </c:layout>
              <c:numFmt formatCode="#,##0;&quot;-&quot;#,##0" sourceLinked="0"/>
              <c:spPr>
                <a:noFill/>
                <a:ln>
                  <a:noFill/>
                </a:ln>
              </c:spPr>
              <c:txPr>
                <a:bodyPr wrap="none"/>
                <a:lstStyle/>
                <a:p>
                  <a:pPr>
                    <a:defRPr sz="1200" b="1" kern="1200">
                      <a:solidFill>
                        <a:schemeClr val="tx1"/>
                      </a:solidFill>
                      <a:latin typeface="+mn-lt"/>
                      <a:ea typeface="+mn-ea"/>
                      <a:cs typeface="+mn-cs"/>
                      <a:sym typeface="Franklin Gothic Book"/>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EFE-466F-94F5-08F5B4A536E5}"/>
                </c:ext>
              </c:extLst>
            </c:dLbl>
            <c:dLbl>
              <c:idx val="8"/>
              <c:layout>
                <c:manualLayout>
                  <c:x val="0"/>
                  <c:y val="-0.45152967194987098"/>
                </c:manualLayout>
              </c:layout>
              <c:numFmt formatCode="#,##0;&quot;-&quot;#,##0" sourceLinked="0"/>
              <c:spPr>
                <a:noFill/>
                <a:ln>
                  <a:noFill/>
                </a:ln>
              </c:spPr>
              <c:txPr>
                <a:bodyPr wrap="none"/>
                <a:lstStyle/>
                <a:p>
                  <a:pPr>
                    <a:defRPr sz="1200" b="1" kern="1200">
                      <a:solidFill>
                        <a:schemeClr val="tx1"/>
                      </a:solidFill>
                      <a:latin typeface="+mn-lt"/>
                      <a:ea typeface="+mn-ea"/>
                      <a:cs typeface="+mn-cs"/>
                      <a:sym typeface="Franklin Gothic Book"/>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EFE-466F-94F5-08F5B4A536E5}"/>
                </c:ext>
              </c:extLst>
            </c:dLbl>
            <c:dLbl>
              <c:idx val="9"/>
              <c:layout>
                <c:manualLayout>
                  <c:x val="0"/>
                  <c:y val="-0.42609657206044971"/>
                </c:manualLayout>
              </c:layout>
              <c:numFmt formatCode="#,##0;&quot;-&quot;#,##0" sourceLinked="0"/>
              <c:spPr>
                <a:noFill/>
                <a:ln>
                  <a:noFill/>
                </a:ln>
              </c:spPr>
              <c:txPr>
                <a:bodyPr wrap="none"/>
                <a:lstStyle/>
                <a:p>
                  <a:pPr>
                    <a:defRPr sz="1200" b="1" kern="1200">
                      <a:solidFill>
                        <a:schemeClr val="tx1"/>
                      </a:solidFill>
                      <a:latin typeface="+mn-lt"/>
                      <a:ea typeface="+mn-ea"/>
                      <a:cs typeface="+mn-cs"/>
                      <a:sym typeface="Franklin Gothic Book"/>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EFE-466F-94F5-08F5B4A536E5}"/>
                </c:ext>
              </c:extLst>
            </c:dLbl>
            <c:dLbl>
              <c:idx val="10"/>
              <c:layout>
                <c:manualLayout>
                  <c:x val="0"/>
                  <c:y val="-0.38039071138960562"/>
                </c:manualLayout>
              </c:layout>
              <c:numFmt formatCode="#,##0;&quot;-&quot;#,##0" sourceLinked="0"/>
              <c:spPr>
                <a:noFill/>
                <a:ln>
                  <a:noFill/>
                </a:ln>
              </c:spPr>
              <c:txPr>
                <a:bodyPr wrap="none"/>
                <a:lstStyle/>
                <a:p>
                  <a:pPr>
                    <a:defRPr sz="1200" b="1" kern="1200">
                      <a:solidFill>
                        <a:schemeClr val="tx1"/>
                      </a:solidFill>
                      <a:latin typeface="+mn-lt"/>
                      <a:ea typeface="+mn-ea"/>
                      <a:cs typeface="+mn-cs"/>
                      <a:sym typeface="Franklin Gothic Book"/>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EFE-466F-94F5-08F5B4A536E5}"/>
                </c:ext>
              </c:extLst>
            </c:dLbl>
            <c:dLbl>
              <c:idx val="11"/>
              <c:layout>
                <c:manualLayout>
                  <c:x val="0"/>
                  <c:y val="-0.33394765941761889"/>
                </c:manualLayout>
              </c:layout>
              <c:numFmt formatCode="#,##0;&quot;-&quot;#,##0" sourceLinked="0"/>
              <c:spPr>
                <a:noFill/>
                <a:ln>
                  <a:noFill/>
                </a:ln>
              </c:spPr>
              <c:txPr>
                <a:bodyPr wrap="none"/>
                <a:lstStyle/>
                <a:p>
                  <a:pPr>
                    <a:defRPr sz="1200" b="1" kern="1200">
                      <a:solidFill>
                        <a:schemeClr val="tx1"/>
                      </a:solidFill>
                      <a:latin typeface="+mn-lt"/>
                      <a:ea typeface="+mn-ea"/>
                      <a:cs typeface="+mn-cs"/>
                      <a:sym typeface="Franklin Gothic Book"/>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EFE-466F-94F5-08F5B4A536E5}"/>
                </c:ext>
              </c:extLst>
            </c:dLbl>
            <c:dLbl>
              <c:idx val="12"/>
              <c:layout>
                <c:manualLayout>
                  <c:x val="0"/>
                  <c:y val="-0.37338739402875049"/>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EFE-466F-94F5-08F5B4A536E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289</c:v>
                </c:pt>
                <c:pt idx="1">
                  <c:v>249.33265300000002</c:v>
                </c:pt>
                <c:pt idx="2">
                  <c:v>251.53939599999993</c:v>
                </c:pt>
                <c:pt idx="3">
                  <c:v>196.363</c:v>
                </c:pt>
                <c:pt idx="4">
                  <c:v>284</c:v>
                </c:pt>
                <c:pt idx="5">
                  <c:v>301</c:v>
                </c:pt>
                <c:pt idx="6">
                  <c:v>321</c:v>
                </c:pt>
                <c:pt idx="7">
                  <c:v>345.88400000000001</c:v>
                </c:pt>
                <c:pt idx="8">
                  <c:v>405</c:v>
                </c:pt>
                <c:pt idx="9">
                  <c:v>381</c:v>
                </c:pt>
                <c:pt idx="10">
                  <c:v>337.16199999999998</c:v>
                </c:pt>
                <c:pt idx="11">
                  <c:v>292.9480190000001</c:v>
                </c:pt>
                <c:pt idx="12">
                  <c:v>331</c:v>
                </c:pt>
              </c:numCache>
            </c:numRef>
          </c:val>
          <c:extLst>
            <c:ext xmlns:c16="http://schemas.microsoft.com/office/drawing/2014/chart" uri="{C3380CC4-5D6E-409C-BE32-E72D297353CC}">
              <c16:uniqueId val="{0000000D-7EFE-466F-94F5-08F5B4A536E5}"/>
            </c:ext>
          </c:extLst>
        </c:ser>
        <c:dLbls>
          <c:showLegendKey val="0"/>
          <c:showVal val="0"/>
          <c:showCatName val="0"/>
          <c:showSerName val="0"/>
          <c:showPercent val="0"/>
          <c:showBubbleSize val="0"/>
        </c:dLbls>
        <c:gapWidth val="80"/>
        <c:overlap val="100"/>
        <c:axId val="6759823"/>
        <c:axId val="1"/>
      </c:barChart>
      <c:catAx>
        <c:axId val="6759823"/>
        <c:scaling>
          <c:orientation val="minMax"/>
        </c:scaling>
        <c:delete val="0"/>
        <c:axPos val="b"/>
        <c:majorGridlines>
          <c:spPr>
            <a:ln>
              <a:noFill/>
            </a:ln>
          </c:spPr>
        </c:majorGridlines>
        <c:majorTickMark val="none"/>
        <c:minorTickMark val="none"/>
        <c:tickLblPos val="none"/>
        <c:spPr>
          <a:ln w="6350" cmpd="sng" algn="ctr">
            <a:solidFill>
              <a:schemeClr val="accent3"/>
            </a:solidFill>
            <a:prstDash val="solid"/>
          </a:ln>
        </c:spPr>
        <c:crossAx val="1"/>
        <c:crosses val="min"/>
        <c:auto val="0"/>
        <c:lblAlgn val="ctr"/>
        <c:lblOffset val="100"/>
        <c:noMultiLvlLbl val="0"/>
      </c:catAx>
      <c:valAx>
        <c:axId val="1"/>
        <c:scaling>
          <c:orientation val="minMax"/>
          <c:max val="405"/>
          <c:min val="0"/>
        </c:scaling>
        <c:delete val="1"/>
        <c:axPos val="l"/>
        <c:numFmt formatCode="General" sourceLinked="1"/>
        <c:majorTickMark val="out"/>
        <c:minorTickMark val="none"/>
        <c:tickLblPos val="nextTo"/>
        <c:crossAx val="6759823"/>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6"/>
            </a:solidFill>
            <a:ln w="9525">
              <a:noFill/>
            </a:ln>
          </c:spPr>
          <c:dPt>
            <c:idx val="0"/>
            <c:bubble3D val="0"/>
            <c:spPr>
              <a:solidFill>
                <a:schemeClr val="accent6"/>
              </a:solidFill>
              <a:ln w="9525">
                <a:noFill/>
              </a:ln>
              <a:effectLst/>
            </c:spPr>
            <c:extLst>
              <c:ext xmlns:c16="http://schemas.microsoft.com/office/drawing/2014/chart" uri="{C3380CC4-5D6E-409C-BE32-E72D297353CC}">
                <c16:uniqueId val="{00000001-CE7F-6148-AD3B-2742C542CA92}"/>
              </c:ext>
            </c:extLst>
          </c:dPt>
          <c:dPt>
            <c:idx val="1"/>
            <c:bubble3D val="0"/>
            <c:spPr>
              <a:solidFill>
                <a:schemeClr val="accent6"/>
              </a:solidFill>
              <a:ln w="9525">
                <a:noFill/>
              </a:ln>
              <a:effectLst/>
            </c:spPr>
            <c:extLst>
              <c:ext xmlns:c16="http://schemas.microsoft.com/office/drawing/2014/chart" uri="{C3380CC4-5D6E-409C-BE32-E72D297353CC}">
                <c16:uniqueId val="{00000003-CE7F-6148-AD3B-2742C542CA92}"/>
              </c:ext>
            </c:extLst>
          </c:dPt>
          <c:dPt>
            <c:idx val="2"/>
            <c:bubble3D val="0"/>
            <c:spPr>
              <a:solidFill>
                <a:schemeClr val="accent6"/>
              </a:solidFill>
              <a:ln w="9525">
                <a:noFill/>
              </a:ln>
              <a:effectLst/>
            </c:spPr>
            <c:extLst>
              <c:ext xmlns:c16="http://schemas.microsoft.com/office/drawing/2014/chart" uri="{C3380CC4-5D6E-409C-BE32-E72D297353CC}">
                <c16:uniqueId val="{00000005-CE7F-6148-AD3B-2742C542CA92}"/>
              </c:ext>
            </c:extLst>
          </c:dPt>
          <c:dPt>
            <c:idx val="3"/>
            <c:bubble3D val="0"/>
            <c:spPr>
              <a:solidFill>
                <a:schemeClr val="accent6"/>
              </a:solidFill>
              <a:ln w="9525">
                <a:noFill/>
              </a:ln>
              <a:effectLst/>
            </c:spPr>
            <c:extLst>
              <c:ext xmlns:c16="http://schemas.microsoft.com/office/drawing/2014/chart" uri="{C3380CC4-5D6E-409C-BE32-E72D297353CC}">
                <c16:uniqueId val="{00000007-CE7F-6148-AD3B-2742C542CA92}"/>
              </c:ext>
            </c:extLst>
          </c:dPt>
          <c:cat>
            <c:strRef>
              <c:f>Sheet1!$A$2:$A$5</c:f>
              <c:strCache>
                <c:ptCount val="2"/>
                <c:pt idx="0">
                  <c:v>a</c:v>
                </c:pt>
                <c:pt idx="1">
                  <c:v>b</c:v>
                </c:pt>
              </c:strCache>
            </c:strRef>
          </c:cat>
          <c:val>
            <c:numRef>
              <c:f>Sheet1!$B$2:$B$5</c:f>
              <c:numCache>
                <c:formatCode>General</c:formatCode>
                <c:ptCount val="4"/>
                <c:pt idx="0">
                  <c:v>100</c:v>
                </c:pt>
                <c:pt idx="1">
                  <c:v>0</c:v>
                </c:pt>
              </c:numCache>
            </c:numRef>
          </c:val>
          <c:extLst>
            <c:ext xmlns:c16="http://schemas.microsoft.com/office/drawing/2014/chart" uri="{C3380CC4-5D6E-409C-BE32-E72D297353CC}">
              <c16:uniqueId val="{00000008-CE7F-6148-AD3B-2742C542CA9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3"/>
            </a:solidFill>
            <a:ln w="9525">
              <a:noFill/>
            </a:ln>
          </c:spPr>
          <c:dPt>
            <c:idx val="0"/>
            <c:bubble3D val="0"/>
            <c:spPr>
              <a:solidFill>
                <a:schemeClr val="accent3"/>
              </a:solidFill>
              <a:ln w="9525">
                <a:noFill/>
              </a:ln>
              <a:effectLst/>
            </c:spPr>
            <c:extLst>
              <c:ext xmlns:c16="http://schemas.microsoft.com/office/drawing/2014/chart" uri="{C3380CC4-5D6E-409C-BE32-E72D297353CC}">
                <c16:uniqueId val="{00000001-C4C8-2246-8441-E2CF13952D77}"/>
              </c:ext>
            </c:extLst>
          </c:dPt>
          <c:dPt>
            <c:idx val="1"/>
            <c:bubble3D val="0"/>
            <c:spPr>
              <a:solidFill>
                <a:schemeClr val="accent3"/>
              </a:solidFill>
              <a:ln w="9525">
                <a:noFill/>
              </a:ln>
              <a:effectLst/>
            </c:spPr>
            <c:extLst>
              <c:ext xmlns:c16="http://schemas.microsoft.com/office/drawing/2014/chart" uri="{C3380CC4-5D6E-409C-BE32-E72D297353CC}">
                <c16:uniqueId val="{00000003-C4C8-2246-8441-E2CF13952D77}"/>
              </c:ext>
            </c:extLst>
          </c:dPt>
          <c:dPt>
            <c:idx val="2"/>
            <c:bubble3D val="0"/>
            <c:spPr>
              <a:solidFill>
                <a:schemeClr val="accent3"/>
              </a:solidFill>
              <a:ln w="9525">
                <a:noFill/>
              </a:ln>
              <a:effectLst/>
            </c:spPr>
            <c:extLst>
              <c:ext xmlns:c16="http://schemas.microsoft.com/office/drawing/2014/chart" uri="{C3380CC4-5D6E-409C-BE32-E72D297353CC}">
                <c16:uniqueId val="{00000005-C4C8-2246-8441-E2CF13952D77}"/>
              </c:ext>
            </c:extLst>
          </c:dPt>
          <c:dPt>
            <c:idx val="3"/>
            <c:bubble3D val="0"/>
            <c:spPr>
              <a:solidFill>
                <a:schemeClr val="accent3"/>
              </a:solidFill>
              <a:ln w="9525">
                <a:noFill/>
              </a:ln>
              <a:effectLst/>
            </c:spPr>
            <c:extLst>
              <c:ext xmlns:c16="http://schemas.microsoft.com/office/drawing/2014/chart" uri="{C3380CC4-5D6E-409C-BE32-E72D297353CC}">
                <c16:uniqueId val="{00000007-C4C8-2246-8441-E2CF13952D77}"/>
              </c:ext>
            </c:extLst>
          </c:dPt>
          <c:cat>
            <c:strRef>
              <c:f>Sheet1!$A$2:$A$5</c:f>
              <c:strCache>
                <c:ptCount val="2"/>
                <c:pt idx="0">
                  <c:v>a</c:v>
                </c:pt>
                <c:pt idx="1">
                  <c:v>b</c:v>
                </c:pt>
              </c:strCache>
            </c:strRef>
          </c:cat>
          <c:val>
            <c:numRef>
              <c:f>Sheet1!$B$2:$B$5</c:f>
              <c:numCache>
                <c:formatCode>General</c:formatCode>
                <c:ptCount val="4"/>
                <c:pt idx="0">
                  <c:v>100</c:v>
                </c:pt>
              </c:numCache>
            </c:numRef>
          </c:val>
          <c:extLst>
            <c:ext xmlns:c16="http://schemas.microsoft.com/office/drawing/2014/chart" uri="{C3380CC4-5D6E-409C-BE32-E72D297353CC}">
              <c16:uniqueId val="{00000008-C4C8-2246-8441-E2CF13952D7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3"/>
            </a:solidFill>
            <a:ln w="9525">
              <a:noFill/>
            </a:ln>
          </c:spPr>
          <c:dPt>
            <c:idx val="0"/>
            <c:bubble3D val="0"/>
            <c:spPr>
              <a:solidFill>
                <a:schemeClr val="accent3"/>
              </a:solidFill>
              <a:ln w="9525">
                <a:noFill/>
              </a:ln>
              <a:effectLst/>
            </c:spPr>
            <c:extLst>
              <c:ext xmlns:c16="http://schemas.microsoft.com/office/drawing/2014/chart" uri="{C3380CC4-5D6E-409C-BE32-E72D297353CC}">
                <c16:uniqueId val="{00000001-0F88-9B4D-BBB9-CBF16CB1956D}"/>
              </c:ext>
            </c:extLst>
          </c:dPt>
          <c:dPt>
            <c:idx val="1"/>
            <c:bubble3D val="0"/>
            <c:spPr>
              <a:solidFill>
                <a:srgbClr val="9CACFF"/>
              </a:solidFill>
              <a:ln w="9525">
                <a:noFill/>
              </a:ln>
              <a:effectLst/>
            </c:spPr>
            <c:extLst>
              <c:ext xmlns:c16="http://schemas.microsoft.com/office/drawing/2014/chart" uri="{C3380CC4-5D6E-409C-BE32-E72D297353CC}">
                <c16:uniqueId val="{00000003-0F88-9B4D-BBB9-CBF16CB1956D}"/>
              </c:ext>
            </c:extLst>
          </c:dPt>
          <c:dPt>
            <c:idx val="2"/>
            <c:bubble3D val="0"/>
            <c:spPr>
              <a:solidFill>
                <a:schemeClr val="accent3"/>
              </a:solidFill>
              <a:ln w="9525">
                <a:noFill/>
              </a:ln>
              <a:effectLst/>
            </c:spPr>
            <c:extLst>
              <c:ext xmlns:c16="http://schemas.microsoft.com/office/drawing/2014/chart" uri="{C3380CC4-5D6E-409C-BE32-E72D297353CC}">
                <c16:uniqueId val="{00000005-0F88-9B4D-BBB9-CBF16CB1956D}"/>
              </c:ext>
            </c:extLst>
          </c:dPt>
          <c:dPt>
            <c:idx val="3"/>
            <c:bubble3D val="0"/>
            <c:spPr>
              <a:solidFill>
                <a:schemeClr val="accent3"/>
              </a:solidFill>
              <a:ln w="9525">
                <a:noFill/>
              </a:ln>
              <a:effectLst/>
            </c:spPr>
            <c:extLst>
              <c:ext xmlns:c16="http://schemas.microsoft.com/office/drawing/2014/chart" uri="{C3380CC4-5D6E-409C-BE32-E72D297353CC}">
                <c16:uniqueId val="{00000007-0F88-9B4D-BBB9-CBF16CB1956D}"/>
              </c:ext>
            </c:extLst>
          </c:dPt>
          <c:cat>
            <c:strRef>
              <c:f>Sheet1!$A$2:$A$5</c:f>
              <c:strCache>
                <c:ptCount val="2"/>
                <c:pt idx="0">
                  <c:v>a</c:v>
                </c:pt>
                <c:pt idx="1">
                  <c:v>b</c:v>
                </c:pt>
              </c:strCache>
            </c:strRef>
          </c:cat>
          <c:val>
            <c:numRef>
              <c:f>Sheet1!$B$2:$B$5</c:f>
              <c:numCache>
                <c:formatCode>General</c:formatCode>
                <c:ptCount val="4"/>
                <c:pt idx="0">
                  <c:v>90</c:v>
                </c:pt>
                <c:pt idx="1">
                  <c:v>10</c:v>
                </c:pt>
              </c:numCache>
            </c:numRef>
          </c:val>
          <c:extLst>
            <c:ext xmlns:c16="http://schemas.microsoft.com/office/drawing/2014/chart" uri="{C3380CC4-5D6E-409C-BE32-E72D297353CC}">
              <c16:uniqueId val="{00000008-0F88-9B4D-BBB9-CBF16CB1956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9525">
              <a:noFill/>
            </a:ln>
          </c:spPr>
          <c:dPt>
            <c:idx val="0"/>
            <c:bubble3D val="0"/>
            <c:spPr>
              <a:solidFill>
                <a:schemeClr val="accent3"/>
              </a:solidFill>
              <a:ln w="9525">
                <a:noFill/>
              </a:ln>
              <a:effectLst/>
            </c:spPr>
            <c:extLst>
              <c:ext xmlns:c16="http://schemas.microsoft.com/office/drawing/2014/chart" uri="{C3380CC4-5D6E-409C-BE32-E72D297353CC}">
                <c16:uniqueId val="{00000001-CD9C-B149-A0AE-090DC87E6545}"/>
              </c:ext>
            </c:extLst>
          </c:dPt>
          <c:dPt>
            <c:idx val="1"/>
            <c:bubble3D val="0"/>
            <c:spPr>
              <a:solidFill>
                <a:schemeClr val="accent4">
                  <a:lumMod val="60000"/>
                  <a:lumOff val="40000"/>
                </a:schemeClr>
              </a:solidFill>
              <a:ln w="9525">
                <a:noFill/>
              </a:ln>
              <a:effectLst/>
            </c:spPr>
            <c:extLst>
              <c:ext xmlns:c16="http://schemas.microsoft.com/office/drawing/2014/chart" uri="{C3380CC4-5D6E-409C-BE32-E72D297353CC}">
                <c16:uniqueId val="{00000003-CD9C-B149-A0AE-090DC87E6545}"/>
              </c:ext>
            </c:extLst>
          </c:dPt>
          <c:dPt>
            <c:idx val="2"/>
            <c:bubble3D val="0"/>
            <c:spPr>
              <a:solidFill>
                <a:schemeClr val="accent3"/>
              </a:solidFill>
              <a:ln w="9525">
                <a:noFill/>
              </a:ln>
              <a:effectLst/>
            </c:spPr>
            <c:extLst>
              <c:ext xmlns:c16="http://schemas.microsoft.com/office/drawing/2014/chart" uri="{C3380CC4-5D6E-409C-BE32-E72D297353CC}">
                <c16:uniqueId val="{00000005-CD9C-B149-A0AE-090DC87E6545}"/>
              </c:ext>
            </c:extLst>
          </c:dPt>
          <c:dPt>
            <c:idx val="3"/>
            <c:bubble3D val="0"/>
            <c:spPr>
              <a:solidFill>
                <a:schemeClr val="accent4"/>
              </a:solidFill>
              <a:ln w="9525">
                <a:noFill/>
              </a:ln>
              <a:effectLst/>
            </c:spPr>
            <c:extLst>
              <c:ext xmlns:c16="http://schemas.microsoft.com/office/drawing/2014/chart" uri="{C3380CC4-5D6E-409C-BE32-E72D297353CC}">
                <c16:uniqueId val="{00000007-CD9C-B149-A0AE-090DC87E6545}"/>
              </c:ext>
            </c:extLst>
          </c:dPt>
          <c:cat>
            <c:strRef>
              <c:f>Sheet1!$A$2:$A$5</c:f>
              <c:strCache>
                <c:ptCount val="2"/>
                <c:pt idx="0">
                  <c:v>a</c:v>
                </c:pt>
                <c:pt idx="1">
                  <c:v>b</c:v>
                </c:pt>
              </c:strCache>
            </c:strRef>
          </c:cat>
          <c:val>
            <c:numRef>
              <c:f>Sheet1!$B$2:$B$5</c:f>
              <c:numCache>
                <c:formatCode>General</c:formatCode>
                <c:ptCount val="4"/>
                <c:pt idx="0">
                  <c:v>30</c:v>
                </c:pt>
                <c:pt idx="1">
                  <c:v>70</c:v>
                </c:pt>
              </c:numCache>
            </c:numRef>
          </c:val>
          <c:extLst>
            <c:ext xmlns:c16="http://schemas.microsoft.com/office/drawing/2014/chart" uri="{C3380CC4-5D6E-409C-BE32-E72D297353CC}">
              <c16:uniqueId val="{00000008-CD9C-B149-A0AE-090DC87E654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209F-AE40-83F1-AD763268FEFD}"/>
              </c:ext>
            </c:extLst>
          </c:dPt>
          <c:dPt>
            <c:idx val="1"/>
            <c:bubble3D val="0"/>
            <c:spPr>
              <a:solidFill>
                <a:schemeClr val="accent4">
                  <a:lumMod val="60000"/>
                  <a:lumOff val="40000"/>
                </a:schemeClr>
              </a:solidFill>
              <a:ln w="19050">
                <a:noFill/>
              </a:ln>
              <a:effectLst/>
            </c:spPr>
            <c:extLst>
              <c:ext xmlns:c16="http://schemas.microsoft.com/office/drawing/2014/chart" uri="{C3380CC4-5D6E-409C-BE32-E72D297353CC}">
                <c16:uniqueId val="{00000003-209F-AE40-83F1-AD763268FEFD}"/>
              </c:ext>
            </c:extLst>
          </c:dPt>
          <c:dPt>
            <c:idx val="2"/>
            <c:bubble3D val="0"/>
            <c:spPr>
              <a:solidFill>
                <a:schemeClr val="accent3"/>
              </a:solidFill>
              <a:ln w="19050">
                <a:noFill/>
              </a:ln>
              <a:effectLst/>
            </c:spPr>
            <c:extLst>
              <c:ext xmlns:c16="http://schemas.microsoft.com/office/drawing/2014/chart" uri="{C3380CC4-5D6E-409C-BE32-E72D297353CC}">
                <c16:uniqueId val="{00000005-209F-AE40-83F1-AD763268FEFD}"/>
              </c:ext>
            </c:extLst>
          </c:dPt>
          <c:dPt>
            <c:idx val="3"/>
            <c:bubble3D val="0"/>
            <c:spPr>
              <a:solidFill>
                <a:schemeClr val="accent4"/>
              </a:solidFill>
              <a:ln w="19050">
                <a:noFill/>
              </a:ln>
              <a:effectLst/>
            </c:spPr>
            <c:extLst>
              <c:ext xmlns:c16="http://schemas.microsoft.com/office/drawing/2014/chart" uri="{C3380CC4-5D6E-409C-BE32-E72D297353CC}">
                <c16:uniqueId val="{00000007-209F-AE40-83F1-AD763268FEFD}"/>
              </c:ext>
            </c:extLst>
          </c:dPt>
          <c:cat>
            <c:strRef>
              <c:f>Sheet1!$A$2:$A$5</c:f>
              <c:strCache>
                <c:ptCount val="2"/>
                <c:pt idx="0">
                  <c:v>a</c:v>
                </c:pt>
                <c:pt idx="1">
                  <c:v>b</c:v>
                </c:pt>
              </c:strCache>
            </c:strRef>
          </c:cat>
          <c:val>
            <c:numRef>
              <c:f>Sheet1!$B$2:$B$5</c:f>
              <c:numCache>
                <c:formatCode>General</c:formatCode>
                <c:ptCount val="4"/>
                <c:pt idx="0">
                  <c:v>30</c:v>
                </c:pt>
                <c:pt idx="1">
                  <c:v>70</c:v>
                </c:pt>
              </c:numCache>
            </c:numRef>
          </c:val>
          <c:extLst>
            <c:ext xmlns:c16="http://schemas.microsoft.com/office/drawing/2014/chart" uri="{C3380CC4-5D6E-409C-BE32-E72D297353CC}">
              <c16:uniqueId val="{00000008-209F-AE40-83F1-AD763268FEF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9525">
              <a:noFill/>
            </a:ln>
          </c:spPr>
          <c:dPt>
            <c:idx val="0"/>
            <c:bubble3D val="0"/>
            <c:spPr>
              <a:solidFill>
                <a:schemeClr val="accent1"/>
              </a:solidFill>
              <a:ln w="9525">
                <a:noFill/>
              </a:ln>
              <a:effectLst/>
            </c:spPr>
            <c:extLst>
              <c:ext xmlns:c16="http://schemas.microsoft.com/office/drawing/2014/chart" uri="{C3380CC4-5D6E-409C-BE32-E72D297353CC}">
                <c16:uniqueId val="{00000001-65D0-1D45-9205-87D0AA522265}"/>
              </c:ext>
            </c:extLst>
          </c:dPt>
          <c:dPt>
            <c:idx val="1"/>
            <c:bubble3D val="0"/>
            <c:spPr>
              <a:solidFill>
                <a:schemeClr val="accent4">
                  <a:lumMod val="60000"/>
                  <a:lumOff val="40000"/>
                </a:schemeClr>
              </a:solidFill>
              <a:ln w="9525">
                <a:noFill/>
              </a:ln>
              <a:effectLst/>
            </c:spPr>
            <c:extLst>
              <c:ext xmlns:c16="http://schemas.microsoft.com/office/drawing/2014/chart" uri="{C3380CC4-5D6E-409C-BE32-E72D297353CC}">
                <c16:uniqueId val="{00000003-65D0-1D45-9205-87D0AA522265}"/>
              </c:ext>
            </c:extLst>
          </c:dPt>
          <c:dPt>
            <c:idx val="2"/>
            <c:bubble3D val="0"/>
            <c:spPr>
              <a:solidFill>
                <a:schemeClr val="accent3"/>
              </a:solidFill>
              <a:ln w="9525">
                <a:noFill/>
              </a:ln>
              <a:effectLst/>
            </c:spPr>
            <c:extLst>
              <c:ext xmlns:c16="http://schemas.microsoft.com/office/drawing/2014/chart" uri="{C3380CC4-5D6E-409C-BE32-E72D297353CC}">
                <c16:uniqueId val="{00000005-65D0-1D45-9205-87D0AA522265}"/>
              </c:ext>
            </c:extLst>
          </c:dPt>
          <c:dPt>
            <c:idx val="3"/>
            <c:bubble3D val="0"/>
            <c:spPr>
              <a:solidFill>
                <a:schemeClr val="accent4"/>
              </a:solidFill>
              <a:ln w="9525">
                <a:noFill/>
              </a:ln>
              <a:effectLst/>
            </c:spPr>
            <c:extLst>
              <c:ext xmlns:c16="http://schemas.microsoft.com/office/drawing/2014/chart" uri="{C3380CC4-5D6E-409C-BE32-E72D297353CC}">
                <c16:uniqueId val="{00000007-65D0-1D45-9205-87D0AA522265}"/>
              </c:ext>
            </c:extLst>
          </c:dPt>
          <c:cat>
            <c:strRef>
              <c:f>Sheet1!$A$2:$A$5</c:f>
              <c:strCache>
                <c:ptCount val="2"/>
                <c:pt idx="0">
                  <c:v>a</c:v>
                </c:pt>
                <c:pt idx="1">
                  <c:v>b</c:v>
                </c:pt>
              </c:strCache>
            </c:strRef>
          </c:cat>
          <c:val>
            <c:numRef>
              <c:f>Sheet1!$B$2:$B$5</c:f>
              <c:numCache>
                <c:formatCode>General</c:formatCode>
                <c:ptCount val="4"/>
                <c:pt idx="0">
                  <c:v>60</c:v>
                </c:pt>
                <c:pt idx="1">
                  <c:v>40</c:v>
                </c:pt>
              </c:numCache>
            </c:numRef>
          </c:val>
          <c:extLst>
            <c:ext xmlns:c16="http://schemas.microsoft.com/office/drawing/2014/chart" uri="{C3380CC4-5D6E-409C-BE32-E72D297353CC}">
              <c16:uniqueId val="{00000008-65D0-1D45-9205-87D0AA52226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9525">
              <a:noFill/>
            </a:ln>
          </c:spPr>
          <c:dPt>
            <c:idx val="0"/>
            <c:bubble3D val="0"/>
            <c:spPr>
              <a:solidFill>
                <a:schemeClr val="accent1"/>
              </a:solidFill>
              <a:ln w="9525">
                <a:noFill/>
              </a:ln>
              <a:effectLst/>
            </c:spPr>
            <c:extLst>
              <c:ext xmlns:c16="http://schemas.microsoft.com/office/drawing/2014/chart" uri="{C3380CC4-5D6E-409C-BE32-E72D297353CC}">
                <c16:uniqueId val="{00000001-3C45-4E47-93A2-4A89357E6475}"/>
              </c:ext>
            </c:extLst>
          </c:dPt>
          <c:dPt>
            <c:idx val="1"/>
            <c:bubble3D val="0"/>
            <c:spPr>
              <a:solidFill>
                <a:schemeClr val="accent4">
                  <a:lumMod val="60000"/>
                  <a:lumOff val="40000"/>
                </a:schemeClr>
              </a:solidFill>
              <a:ln w="9525">
                <a:noFill/>
              </a:ln>
              <a:effectLst/>
            </c:spPr>
            <c:extLst>
              <c:ext xmlns:c16="http://schemas.microsoft.com/office/drawing/2014/chart" uri="{C3380CC4-5D6E-409C-BE32-E72D297353CC}">
                <c16:uniqueId val="{00000003-3C45-4E47-93A2-4A89357E6475}"/>
              </c:ext>
            </c:extLst>
          </c:dPt>
          <c:dPt>
            <c:idx val="2"/>
            <c:bubble3D val="0"/>
            <c:spPr>
              <a:solidFill>
                <a:schemeClr val="accent3"/>
              </a:solidFill>
              <a:ln w="9525">
                <a:noFill/>
              </a:ln>
              <a:effectLst/>
            </c:spPr>
            <c:extLst>
              <c:ext xmlns:c16="http://schemas.microsoft.com/office/drawing/2014/chart" uri="{C3380CC4-5D6E-409C-BE32-E72D297353CC}">
                <c16:uniqueId val="{00000005-3C45-4E47-93A2-4A89357E6475}"/>
              </c:ext>
            </c:extLst>
          </c:dPt>
          <c:dPt>
            <c:idx val="3"/>
            <c:bubble3D val="0"/>
            <c:spPr>
              <a:solidFill>
                <a:schemeClr val="accent4"/>
              </a:solidFill>
              <a:ln w="9525">
                <a:noFill/>
              </a:ln>
              <a:effectLst/>
            </c:spPr>
            <c:extLst>
              <c:ext xmlns:c16="http://schemas.microsoft.com/office/drawing/2014/chart" uri="{C3380CC4-5D6E-409C-BE32-E72D297353CC}">
                <c16:uniqueId val="{00000007-3C45-4E47-93A2-4A89357E6475}"/>
              </c:ext>
            </c:extLst>
          </c:dPt>
          <c:cat>
            <c:strRef>
              <c:f>Sheet1!$A$2:$A$5</c:f>
              <c:strCache>
                <c:ptCount val="2"/>
                <c:pt idx="0">
                  <c:v>a</c:v>
                </c:pt>
                <c:pt idx="1">
                  <c:v>b</c:v>
                </c:pt>
              </c:strCache>
            </c:strRef>
          </c:cat>
          <c:val>
            <c:numRef>
              <c:f>Sheet1!$B$2:$B$5</c:f>
              <c:numCache>
                <c:formatCode>General</c:formatCode>
                <c:ptCount val="4"/>
                <c:pt idx="0">
                  <c:v>55</c:v>
                </c:pt>
                <c:pt idx="1">
                  <c:v>45</c:v>
                </c:pt>
              </c:numCache>
            </c:numRef>
          </c:val>
          <c:extLst>
            <c:ext xmlns:c16="http://schemas.microsoft.com/office/drawing/2014/chart" uri="{C3380CC4-5D6E-409C-BE32-E72D297353CC}">
              <c16:uniqueId val="{00000008-3C45-4E47-93A2-4A89357E647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9525">
              <a:noFill/>
            </a:ln>
          </c:spPr>
          <c:dPt>
            <c:idx val="0"/>
            <c:bubble3D val="0"/>
            <c:spPr>
              <a:solidFill>
                <a:schemeClr val="accent1"/>
              </a:solidFill>
              <a:ln w="9525">
                <a:noFill/>
              </a:ln>
              <a:effectLst/>
            </c:spPr>
            <c:extLst>
              <c:ext xmlns:c16="http://schemas.microsoft.com/office/drawing/2014/chart" uri="{C3380CC4-5D6E-409C-BE32-E72D297353CC}">
                <c16:uniqueId val="{00000001-4209-0148-BE39-A63B04D5C241}"/>
              </c:ext>
            </c:extLst>
          </c:dPt>
          <c:dPt>
            <c:idx val="1"/>
            <c:bubble3D val="0"/>
            <c:spPr>
              <a:solidFill>
                <a:schemeClr val="accent4">
                  <a:lumMod val="60000"/>
                  <a:lumOff val="40000"/>
                </a:schemeClr>
              </a:solidFill>
              <a:ln w="9525">
                <a:noFill/>
              </a:ln>
              <a:effectLst/>
            </c:spPr>
            <c:extLst>
              <c:ext xmlns:c16="http://schemas.microsoft.com/office/drawing/2014/chart" uri="{C3380CC4-5D6E-409C-BE32-E72D297353CC}">
                <c16:uniqueId val="{00000003-4209-0148-BE39-A63B04D5C241}"/>
              </c:ext>
            </c:extLst>
          </c:dPt>
          <c:dPt>
            <c:idx val="2"/>
            <c:bubble3D val="0"/>
            <c:spPr>
              <a:solidFill>
                <a:schemeClr val="accent3"/>
              </a:solidFill>
              <a:ln w="9525">
                <a:noFill/>
              </a:ln>
              <a:effectLst/>
            </c:spPr>
            <c:extLst>
              <c:ext xmlns:c16="http://schemas.microsoft.com/office/drawing/2014/chart" uri="{C3380CC4-5D6E-409C-BE32-E72D297353CC}">
                <c16:uniqueId val="{00000005-4209-0148-BE39-A63B04D5C241}"/>
              </c:ext>
            </c:extLst>
          </c:dPt>
          <c:dPt>
            <c:idx val="3"/>
            <c:bubble3D val="0"/>
            <c:spPr>
              <a:solidFill>
                <a:schemeClr val="accent4"/>
              </a:solidFill>
              <a:ln w="9525">
                <a:noFill/>
              </a:ln>
              <a:effectLst/>
            </c:spPr>
            <c:extLst>
              <c:ext xmlns:c16="http://schemas.microsoft.com/office/drawing/2014/chart" uri="{C3380CC4-5D6E-409C-BE32-E72D297353CC}">
                <c16:uniqueId val="{00000007-4209-0148-BE39-A63B04D5C241}"/>
              </c:ext>
            </c:extLst>
          </c:dPt>
          <c:cat>
            <c:strRef>
              <c:f>Sheet1!$A$2:$A$5</c:f>
              <c:strCache>
                <c:ptCount val="2"/>
                <c:pt idx="0">
                  <c:v>a</c:v>
                </c:pt>
                <c:pt idx="1">
                  <c:v>b</c:v>
                </c:pt>
              </c:strCache>
            </c:strRef>
          </c:cat>
          <c:val>
            <c:numRef>
              <c:f>Sheet1!$B$2:$B$5</c:f>
              <c:numCache>
                <c:formatCode>General</c:formatCode>
                <c:ptCount val="4"/>
                <c:pt idx="0">
                  <c:v>40</c:v>
                </c:pt>
                <c:pt idx="1">
                  <c:v>60</c:v>
                </c:pt>
              </c:numCache>
            </c:numRef>
          </c:val>
          <c:extLst>
            <c:ext xmlns:c16="http://schemas.microsoft.com/office/drawing/2014/chart" uri="{C3380CC4-5D6E-409C-BE32-E72D297353CC}">
              <c16:uniqueId val="{00000008-4209-0148-BE39-A63B04D5C241}"/>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12700">
              <a:noFill/>
            </a:ln>
          </c:spPr>
          <c:dPt>
            <c:idx val="0"/>
            <c:bubble3D val="0"/>
            <c:spPr>
              <a:solidFill>
                <a:schemeClr val="accent1"/>
              </a:solidFill>
              <a:ln w="12700">
                <a:noFill/>
              </a:ln>
              <a:effectLst/>
            </c:spPr>
            <c:extLst>
              <c:ext xmlns:c16="http://schemas.microsoft.com/office/drawing/2014/chart" uri="{C3380CC4-5D6E-409C-BE32-E72D297353CC}">
                <c16:uniqueId val="{00000001-2FAD-6A48-BF92-FCD876D93252}"/>
              </c:ext>
            </c:extLst>
          </c:dPt>
          <c:dPt>
            <c:idx val="1"/>
            <c:bubble3D val="0"/>
            <c:spPr>
              <a:solidFill>
                <a:schemeClr val="accent4">
                  <a:lumMod val="60000"/>
                  <a:lumOff val="40000"/>
                </a:schemeClr>
              </a:solidFill>
              <a:ln w="12700">
                <a:noFill/>
              </a:ln>
              <a:effectLst/>
            </c:spPr>
            <c:extLst>
              <c:ext xmlns:c16="http://schemas.microsoft.com/office/drawing/2014/chart" uri="{C3380CC4-5D6E-409C-BE32-E72D297353CC}">
                <c16:uniqueId val="{00000003-2FAD-6A48-BF92-FCD876D93252}"/>
              </c:ext>
            </c:extLst>
          </c:dPt>
          <c:dPt>
            <c:idx val="2"/>
            <c:bubble3D val="0"/>
            <c:spPr>
              <a:solidFill>
                <a:schemeClr val="accent3"/>
              </a:solidFill>
              <a:ln w="12700">
                <a:noFill/>
              </a:ln>
              <a:effectLst/>
            </c:spPr>
            <c:extLst>
              <c:ext xmlns:c16="http://schemas.microsoft.com/office/drawing/2014/chart" uri="{C3380CC4-5D6E-409C-BE32-E72D297353CC}">
                <c16:uniqueId val="{00000005-2FAD-6A48-BF92-FCD876D93252}"/>
              </c:ext>
            </c:extLst>
          </c:dPt>
          <c:dPt>
            <c:idx val="3"/>
            <c:bubble3D val="0"/>
            <c:spPr>
              <a:solidFill>
                <a:schemeClr val="accent4"/>
              </a:solidFill>
              <a:ln w="12700">
                <a:noFill/>
              </a:ln>
              <a:effectLst/>
            </c:spPr>
            <c:extLst>
              <c:ext xmlns:c16="http://schemas.microsoft.com/office/drawing/2014/chart" uri="{C3380CC4-5D6E-409C-BE32-E72D297353CC}">
                <c16:uniqueId val="{00000007-2FAD-6A48-BF92-FCD876D93252}"/>
              </c:ext>
            </c:extLst>
          </c:dPt>
          <c:cat>
            <c:strRef>
              <c:f>Sheet1!$A$2:$A$5</c:f>
              <c:strCache>
                <c:ptCount val="2"/>
                <c:pt idx="0">
                  <c:v>a</c:v>
                </c:pt>
                <c:pt idx="1">
                  <c:v>b</c:v>
                </c:pt>
              </c:strCache>
            </c:strRef>
          </c:cat>
          <c:val>
            <c:numRef>
              <c:f>Sheet1!$B$2:$B$5</c:f>
              <c:numCache>
                <c:formatCode>General</c:formatCode>
                <c:ptCount val="4"/>
                <c:pt idx="0">
                  <c:v>15</c:v>
                </c:pt>
                <c:pt idx="1">
                  <c:v>85</c:v>
                </c:pt>
              </c:numCache>
            </c:numRef>
          </c:val>
          <c:extLst>
            <c:ext xmlns:c16="http://schemas.microsoft.com/office/drawing/2014/chart" uri="{C3380CC4-5D6E-409C-BE32-E72D297353CC}">
              <c16:uniqueId val="{00000008-2FAD-6A48-BF92-FCD876D9325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9525">
              <a:noFill/>
            </a:ln>
          </c:spPr>
          <c:dPt>
            <c:idx val="0"/>
            <c:bubble3D val="0"/>
            <c:spPr>
              <a:solidFill>
                <a:schemeClr val="accent1"/>
              </a:solidFill>
              <a:ln w="9525">
                <a:noFill/>
              </a:ln>
              <a:effectLst/>
            </c:spPr>
            <c:extLst>
              <c:ext xmlns:c16="http://schemas.microsoft.com/office/drawing/2014/chart" uri="{C3380CC4-5D6E-409C-BE32-E72D297353CC}">
                <c16:uniqueId val="{00000001-9AA9-7644-8604-42C89204105B}"/>
              </c:ext>
            </c:extLst>
          </c:dPt>
          <c:dPt>
            <c:idx val="1"/>
            <c:bubble3D val="0"/>
            <c:spPr>
              <a:solidFill>
                <a:schemeClr val="accent4">
                  <a:lumMod val="60000"/>
                  <a:lumOff val="40000"/>
                </a:schemeClr>
              </a:solidFill>
              <a:ln w="9525">
                <a:noFill/>
              </a:ln>
              <a:effectLst/>
            </c:spPr>
            <c:extLst>
              <c:ext xmlns:c16="http://schemas.microsoft.com/office/drawing/2014/chart" uri="{C3380CC4-5D6E-409C-BE32-E72D297353CC}">
                <c16:uniqueId val="{00000003-9AA9-7644-8604-42C89204105B}"/>
              </c:ext>
            </c:extLst>
          </c:dPt>
          <c:dPt>
            <c:idx val="2"/>
            <c:bubble3D val="0"/>
            <c:spPr>
              <a:solidFill>
                <a:schemeClr val="accent3"/>
              </a:solidFill>
              <a:ln w="9525">
                <a:noFill/>
              </a:ln>
              <a:effectLst/>
            </c:spPr>
            <c:extLst>
              <c:ext xmlns:c16="http://schemas.microsoft.com/office/drawing/2014/chart" uri="{C3380CC4-5D6E-409C-BE32-E72D297353CC}">
                <c16:uniqueId val="{00000005-9AA9-7644-8604-42C89204105B}"/>
              </c:ext>
            </c:extLst>
          </c:dPt>
          <c:dPt>
            <c:idx val="3"/>
            <c:bubble3D val="0"/>
            <c:spPr>
              <a:solidFill>
                <a:schemeClr val="accent4"/>
              </a:solidFill>
              <a:ln w="9525">
                <a:noFill/>
              </a:ln>
              <a:effectLst/>
            </c:spPr>
            <c:extLst>
              <c:ext xmlns:c16="http://schemas.microsoft.com/office/drawing/2014/chart" uri="{C3380CC4-5D6E-409C-BE32-E72D297353CC}">
                <c16:uniqueId val="{00000007-9AA9-7644-8604-42C89204105B}"/>
              </c:ext>
            </c:extLst>
          </c:dPt>
          <c:cat>
            <c:strRef>
              <c:f>Sheet1!$A$2:$A$5</c:f>
              <c:strCache>
                <c:ptCount val="2"/>
                <c:pt idx="0">
                  <c:v>a</c:v>
                </c:pt>
                <c:pt idx="1">
                  <c:v>b</c:v>
                </c:pt>
              </c:strCache>
            </c:strRef>
          </c:cat>
          <c:val>
            <c:numRef>
              <c:f>Sheet1!$B$2:$B$5</c:f>
              <c:numCache>
                <c:formatCode>General</c:formatCode>
                <c:ptCount val="4"/>
                <c:pt idx="0">
                  <c:v>25</c:v>
                </c:pt>
                <c:pt idx="1">
                  <c:v>75</c:v>
                </c:pt>
              </c:numCache>
            </c:numRef>
          </c:val>
          <c:extLst>
            <c:ext xmlns:c16="http://schemas.microsoft.com/office/drawing/2014/chart" uri="{C3380CC4-5D6E-409C-BE32-E72D297353CC}">
              <c16:uniqueId val="{00000008-9AA9-7644-8604-42C89204105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666666666666667E-2"/>
          <c:y val="0.13842696629213483"/>
          <c:w val="0.95666666666666667"/>
          <c:h val="0.76314606741573032"/>
        </c:manualLayout>
      </c:layout>
      <c:barChart>
        <c:barDir val="col"/>
        <c:grouping val="stacked"/>
        <c:varyColors val="0"/>
        <c:ser>
          <c:idx val="0"/>
          <c:order val="0"/>
          <c:spPr>
            <a:solidFill>
              <a:schemeClr val="accent4"/>
            </a:solidFill>
            <a:ln>
              <a:noFill/>
            </a:ln>
          </c:spPr>
          <c:invertIfNegative val="0"/>
          <c:dLbls>
            <c:dLbl>
              <c:idx val="0"/>
              <c:layout>
                <c:manualLayout>
                  <c:x val="0"/>
                  <c:y val="-0.42157303370786514"/>
                </c:manualLayout>
              </c:layout>
              <c:numFmt formatCode="#,##0;&quot;-&quot;#,##0" sourceLinked="0"/>
              <c:spPr>
                <a:noFill/>
                <a:ln>
                  <a:noFill/>
                </a:ln>
              </c:spPr>
              <c:txPr>
                <a:bodyPr wrap="none"/>
                <a:lstStyle/>
                <a:p>
                  <a:pPr>
                    <a:defRPr sz="1600" kern="1200">
                      <a:solidFill>
                        <a:schemeClr val="tx1"/>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40E-7648-B745-9B5F983633BC}"/>
                </c:ext>
              </c:extLst>
            </c:dLbl>
            <c:dLbl>
              <c:idx val="1"/>
              <c:layout>
                <c:manualLayout>
                  <c:x val="0"/>
                  <c:y val="-0.39280898876404496"/>
                </c:manualLayout>
              </c:layout>
              <c:numFmt formatCode="#,##0;&quot;-&quot;#,##0" sourceLinked="0"/>
              <c:spPr>
                <a:noFill/>
                <a:ln>
                  <a:noFill/>
                </a:ln>
              </c:spPr>
              <c:txPr>
                <a:bodyPr wrap="none"/>
                <a:lstStyle/>
                <a:p>
                  <a:pPr>
                    <a:defRPr sz="1600" kern="1200">
                      <a:solidFill>
                        <a:schemeClr val="tx1"/>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40E-7648-B745-9B5F983633B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451</c:v>
                </c:pt>
                <c:pt idx="1">
                  <c:v>1342</c:v>
                </c:pt>
              </c:numCache>
            </c:numRef>
          </c:val>
          <c:extLst>
            <c:ext xmlns:c16="http://schemas.microsoft.com/office/drawing/2014/chart" uri="{C3380CC4-5D6E-409C-BE32-E72D297353CC}">
              <c16:uniqueId val="{00000002-B40E-7648-B745-9B5F983633BC}"/>
            </c:ext>
          </c:extLst>
        </c:ser>
        <c:dLbls>
          <c:showLegendKey val="0"/>
          <c:showVal val="0"/>
          <c:showCatName val="0"/>
          <c:showSerName val="0"/>
          <c:showPercent val="0"/>
          <c:showBubbleSize val="0"/>
        </c:dLbls>
        <c:gapWidth val="80"/>
        <c:overlap val="100"/>
        <c:axId val="1109916719"/>
        <c:axId val="1"/>
      </c:barChart>
      <c:catAx>
        <c:axId val="11099167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51"/>
          <c:min val="0"/>
        </c:scaling>
        <c:delete val="1"/>
        <c:axPos val="l"/>
        <c:numFmt formatCode="General" sourceLinked="1"/>
        <c:majorTickMark val="out"/>
        <c:minorTickMark val="none"/>
        <c:tickLblPos val="nextTo"/>
        <c:crossAx val="1109916719"/>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43263699666971E-2"/>
          <c:y val="0.11538461538461539"/>
          <c:w val="0.96851347260066611"/>
          <c:h val="0.76923076923076927"/>
        </c:manualLayout>
      </c:layout>
      <c:barChart>
        <c:barDir val="col"/>
        <c:grouping val="stacked"/>
        <c:varyColors val="0"/>
        <c:ser>
          <c:idx val="0"/>
          <c:order val="0"/>
          <c:spPr>
            <a:solidFill>
              <a:schemeClr val="accent2"/>
            </a:solid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0-458C-BB4B-8EBB-451D3B188139}"/>
              </c:ext>
            </c:extLst>
          </c:dPt>
          <c:dLbls>
            <c:dLbl>
              <c:idx val="0"/>
              <c:layout>
                <c:manualLayout>
                  <c:x val="0"/>
                  <c:y val="-1.7094017094017094E-3"/>
                </c:manualLayout>
              </c:layout>
              <c:numFmt formatCode="#,##0;&quot;-&quot;#,##0" sourceLinked="0"/>
              <c:spPr>
                <a:noFill/>
                <a:ln>
                  <a:noFill/>
                </a:ln>
              </c:spPr>
              <c:txPr>
                <a:bodyPr wrap="none"/>
                <a:lstStyle/>
                <a:p>
                  <a:pPr>
                    <a:defRPr sz="2000" kern="1200">
                      <a:solidFill>
                        <a:schemeClr val="bg1"/>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58C-BB4B-8EBB-451D3B18813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636</c:v>
                </c:pt>
                <c:pt idx="1">
                  <c:v>650</c:v>
                </c:pt>
              </c:numCache>
            </c:numRef>
          </c:val>
          <c:extLst>
            <c:ext xmlns:c16="http://schemas.microsoft.com/office/drawing/2014/chart" uri="{C3380CC4-5D6E-409C-BE32-E72D297353CC}">
              <c16:uniqueId val="{00000001-458C-BB4B-8EBB-451D3B188139}"/>
            </c:ext>
          </c:extLst>
        </c:ser>
        <c:ser>
          <c:idx val="1"/>
          <c:order val="1"/>
          <c:spPr>
            <a:solidFill>
              <a:schemeClr val="accent2"/>
            </a:solidFill>
            <a:ln>
              <a:noFill/>
            </a:ln>
          </c:spPr>
          <c:invertIfNegative val="0"/>
          <c:val>
            <c:numRef>
              <c:f>Sheet1!$A$2:$B$2</c:f>
              <c:numCache>
                <c:formatCode>General</c:formatCode>
                <c:ptCount val="2"/>
                <c:pt idx="1">
                  <c:v>100</c:v>
                </c:pt>
              </c:numCache>
            </c:numRef>
          </c:val>
          <c:extLst>
            <c:ext xmlns:c16="http://schemas.microsoft.com/office/drawing/2014/chart" uri="{C3380CC4-5D6E-409C-BE32-E72D297353CC}">
              <c16:uniqueId val="{00000002-458C-BB4B-8EBB-451D3B188139}"/>
            </c:ext>
          </c:extLst>
        </c:ser>
        <c:dLbls>
          <c:showLegendKey val="0"/>
          <c:showVal val="0"/>
          <c:showCatName val="0"/>
          <c:showSerName val="0"/>
          <c:showPercent val="0"/>
          <c:showBubbleSize val="0"/>
        </c:dLbls>
        <c:gapWidth val="80"/>
        <c:overlap val="100"/>
        <c:axId val="914887887"/>
        <c:axId val="1"/>
      </c:barChart>
      <c:catAx>
        <c:axId val="9148878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50"/>
          <c:min val="0"/>
        </c:scaling>
        <c:delete val="1"/>
        <c:axPos val="l"/>
        <c:numFmt formatCode="General" sourceLinked="1"/>
        <c:majorTickMark val="out"/>
        <c:minorTickMark val="none"/>
        <c:tickLblPos val="nextTo"/>
        <c:crossAx val="914887887"/>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43263699666971E-2"/>
          <c:y val="0.11538461538461539"/>
          <c:w val="0.96851347260066611"/>
          <c:h val="0.76923076923076927"/>
        </c:manualLayout>
      </c:layout>
      <c:barChart>
        <c:barDir val="col"/>
        <c:grouping val="stacked"/>
        <c:varyColors val="0"/>
        <c:ser>
          <c:idx val="0"/>
          <c:order val="0"/>
          <c:spPr>
            <a:solidFill>
              <a:schemeClr val="accent2"/>
            </a:solid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0-244C-144F-A1E9-E2B0250CFEAD}"/>
              </c:ext>
            </c:extLst>
          </c:dPt>
          <c:dLbls>
            <c:dLbl>
              <c:idx val="0"/>
              <c:layout>
                <c:manualLayout>
                  <c:x val="0"/>
                  <c:y val="-1.7094017094017094E-3"/>
                </c:manualLayout>
              </c:layout>
              <c:numFmt formatCode="#,##0;&quot;-&quot;#,##0" sourceLinked="0"/>
              <c:spPr>
                <a:noFill/>
                <a:ln>
                  <a:noFill/>
                </a:ln>
              </c:spPr>
              <c:txPr>
                <a:bodyPr wrap="none"/>
                <a:lstStyle/>
                <a:p>
                  <a:pPr>
                    <a:defRPr sz="2000" kern="1200">
                      <a:solidFill>
                        <a:schemeClr val="bg1"/>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44C-144F-A1E9-E2B0250CFEA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706</c:v>
                </c:pt>
                <c:pt idx="1">
                  <c:v>850</c:v>
                </c:pt>
              </c:numCache>
            </c:numRef>
          </c:val>
          <c:extLst>
            <c:ext xmlns:c16="http://schemas.microsoft.com/office/drawing/2014/chart" uri="{C3380CC4-5D6E-409C-BE32-E72D297353CC}">
              <c16:uniqueId val="{00000001-244C-144F-A1E9-E2B0250CFEAD}"/>
            </c:ext>
          </c:extLst>
        </c:ser>
        <c:ser>
          <c:idx val="1"/>
          <c:order val="1"/>
          <c:spPr>
            <a:solidFill>
              <a:schemeClr val="accent2"/>
            </a:solidFill>
            <a:ln>
              <a:noFill/>
            </a:ln>
          </c:spPr>
          <c:invertIfNegative val="0"/>
          <c:val>
            <c:numRef>
              <c:f>Sheet1!$A$2:$B$2</c:f>
              <c:numCache>
                <c:formatCode>General</c:formatCode>
                <c:ptCount val="2"/>
                <c:pt idx="1">
                  <c:v>200</c:v>
                </c:pt>
              </c:numCache>
            </c:numRef>
          </c:val>
          <c:extLst>
            <c:ext xmlns:c16="http://schemas.microsoft.com/office/drawing/2014/chart" uri="{C3380CC4-5D6E-409C-BE32-E72D297353CC}">
              <c16:uniqueId val="{00000002-244C-144F-A1E9-E2B0250CFEAD}"/>
            </c:ext>
          </c:extLst>
        </c:ser>
        <c:dLbls>
          <c:showLegendKey val="0"/>
          <c:showVal val="0"/>
          <c:showCatName val="0"/>
          <c:showSerName val="0"/>
          <c:showPercent val="0"/>
          <c:showBubbleSize val="0"/>
        </c:dLbls>
        <c:gapWidth val="80"/>
        <c:overlap val="100"/>
        <c:axId val="2094480208"/>
        <c:axId val="1"/>
      </c:barChart>
      <c:catAx>
        <c:axId val="20944802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50"/>
          <c:min val="0"/>
        </c:scaling>
        <c:delete val="1"/>
        <c:axPos val="l"/>
        <c:numFmt formatCode="General" sourceLinked="1"/>
        <c:majorTickMark val="out"/>
        <c:minorTickMark val="none"/>
        <c:tickLblPos val="nextTo"/>
        <c:crossAx val="2094480208"/>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43263699666971E-2"/>
          <c:y val="8.8289112534309239E-2"/>
          <c:w val="0.96851347260066611"/>
          <c:h val="0.82342177493138147"/>
        </c:manualLayout>
      </c:layout>
      <c:barChart>
        <c:barDir val="col"/>
        <c:grouping val="stacked"/>
        <c:varyColors val="0"/>
        <c:ser>
          <c:idx val="0"/>
          <c:order val="0"/>
          <c:spPr>
            <a:solidFill>
              <a:schemeClr val="accent2"/>
            </a:solidFill>
            <a:ln>
              <a:noFill/>
            </a:ln>
          </c:spPr>
          <c:invertIfNegative val="0"/>
          <c:val>
            <c:numRef>
              <c:f>Sheet1!$A$1:$B$1</c:f>
              <c:numCache>
                <c:formatCode>General</c:formatCode>
                <c:ptCount val="2"/>
                <c:pt idx="0">
                  <c:v>1216</c:v>
                </c:pt>
                <c:pt idx="1">
                  <c:v>1500</c:v>
                </c:pt>
              </c:numCache>
            </c:numRef>
          </c:val>
          <c:extLst>
            <c:ext xmlns:c16="http://schemas.microsoft.com/office/drawing/2014/chart" uri="{C3380CC4-5D6E-409C-BE32-E72D297353CC}">
              <c16:uniqueId val="{00000000-1741-4893-92B1-CBB83D536C99}"/>
            </c:ext>
          </c:extLst>
        </c:ser>
        <c:ser>
          <c:idx val="1"/>
          <c:order val="1"/>
          <c:spPr>
            <a:solidFill>
              <a:schemeClr val="accent4"/>
            </a:solidFill>
            <a:ln>
              <a:noFill/>
            </a:ln>
          </c:spPr>
          <c:invertIfNegative val="0"/>
          <c:dLbls>
            <c:dLbl>
              <c:idx val="0"/>
              <c:layout>
                <c:manualLayout>
                  <c:x val="0"/>
                  <c:y val="-1.8298261665141812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741-4893-92B1-CBB83D536C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27</c:v>
                </c:pt>
                <c:pt idx="1">
                  <c:v>300</c:v>
                </c:pt>
              </c:numCache>
            </c:numRef>
          </c:val>
          <c:extLst>
            <c:ext xmlns:c16="http://schemas.microsoft.com/office/drawing/2014/chart" uri="{C3380CC4-5D6E-409C-BE32-E72D297353CC}">
              <c16:uniqueId val="{00000002-1741-4893-92B1-CBB83D536C99}"/>
            </c:ext>
          </c:extLst>
        </c:ser>
        <c:dLbls>
          <c:showLegendKey val="0"/>
          <c:showVal val="0"/>
          <c:showCatName val="0"/>
          <c:showSerName val="0"/>
          <c:showPercent val="0"/>
          <c:showBubbleSize val="0"/>
        </c:dLbls>
        <c:gapWidth val="80"/>
        <c:overlap val="100"/>
        <c:axId val="166789231"/>
        <c:axId val="1"/>
      </c:barChart>
      <c:catAx>
        <c:axId val="1667892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00"/>
          <c:min val="0"/>
        </c:scaling>
        <c:delete val="1"/>
        <c:axPos val="l"/>
        <c:numFmt formatCode="General" sourceLinked="1"/>
        <c:majorTickMark val="out"/>
        <c:minorTickMark val="none"/>
        <c:tickLblPos val="nextTo"/>
        <c:crossAx val="166789231"/>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53012048192771E-2"/>
          <c:y val="0.11538461538461539"/>
          <c:w val="0.9749397590361446"/>
          <c:h val="0.76923076923076927"/>
        </c:manualLayout>
      </c:layout>
      <c:barChart>
        <c:barDir val="col"/>
        <c:grouping val="stacked"/>
        <c:varyColors val="0"/>
        <c:ser>
          <c:idx val="0"/>
          <c:order val="0"/>
          <c:spPr>
            <a:solidFill>
              <a:schemeClr val="accent2"/>
            </a:solidFill>
            <a:ln>
              <a:noFill/>
            </a:ln>
          </c:spPr>
          <c:invertIfNegative val="0"/>
          <c:dLbls>
            <c:dLbl>
              <c:idx val="1"/>
              <c:layout>
                <c:manualLayout>
                  <c:x val="0"/>
                  <c:y val="-1.7094017094017094E-3"/>
                </c:manualLayout>
              </c:layout>
              <c:tx>
                <c:rich>
                  <a:bodyPr wrap="none"/>
                  <a:lstStyle/>
                  <a:p>
                    <a:pPr>
                      <a:defRPr sz="2000" kern="1200">
                        <a:solidFill>
                          <a:schemeClr val="tx1"/>
                        </a:solidFill>
                        <a:latin typeface="+mn-lt"/>
                        <a:ea typeface="+mn-ea"/>
                        <a:cs typeface="+mn-cs"/>
                      </a:defRPr>
                    </a:pPr>
                    <a:fld id="{B92E311E-0975-D544-A25F-E4CA71709A7E}" type="VALUE">
                      <a:rPr lang="en-US" sz="2000" b="1" kern="1200">
                        <a:solidFill>
                          <a:schemeClr val="tx1"/>
                        </a:solidFill>
                        <a:latin typeface="Helvetica" pitchFamily="2" charset="0"/>
                        <a:ea typeface="+mn-ea"/>
                        <a:cs typeface="+mn-cs"/>
                      </a:rPr>
                      <a:pPr>
                        <a:defRPr sz="2000" kern="1200">
                          <a:solidFill>
                            <a:schemeClr val="tx1"/>
                          </a:solidFill>
                          <a:latin typeface="+mn-lt"/>
                          <a:ea typeface="+mn-ea"/>
                          <a:cs typeface="+mn-cs"/>
                        </a:defRPr>
                      </a:pPr>
                      <a:t>[VERDI]</a:t>
                    </a:fld>
                    <a:endParaRPr lang="nb-NO"/>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0-029E-3A4D-89DB-FC81378AA60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3</c:v>
                </c:pt>
                <c:pt idx="1">
                  <c:v>81</c:v>
                </c:pt>
                <c:pt idx="2">
                  <c:v>77</c:v>
                </c:pt>
              </c:numCache>
            </c:numRef>
          </c:val>
          <c:extLst>
            <c:ext xmlns:c16="http://schemas.microsoft.com/office/drawing/2014/chart" uri="{C3380CC4-5D6E-409C-BE32-E72D297353CC}">
              <c16:uniqueId val="{00000001-029E-3A4D-89DB-FC81378AA60C}"/>
            </c:ext>
          </c:extLst>
        </c:ser>
        <c:ser>
          <c:idx val="1"/>
          <c:order val="1"/>
          <c:spPr>
            <a:solidFill>
              <a:schemeClr val="accent4"/>
            </a:solidFill>
            <a:ln>
              <a:noFill/>
            </a:ln>
          </c:spPr>
          <c:invertIfNegative val="0"/>
          <c:dLbls>
            <c:dLbl>
              <c:idx val="0"/>
              <c:layout>
                <c:manualLayout>
                  <c:x val="0"/>
                  <c:y val="-1.7094017094017094E-3"/>
                </c:manualLayout>
              </c:layout>
              <c:tx>
                <c:rich>
                  <a:bodyPr wrap="none"/>
                  <a:lstStyle/>
                  <a:p>
                    <a:pPr>
                      <a:defRPr sz="1600" kern="1200">
                        <a:solidFill>
                          <a:schemeClr val="bg1"/>
                        </a:solidFill>
                        <a:latin typeface="+mn-lt"/>
                        <a:ea typeface="+mn-ea"/>
                        <a:cs typeface="+mn-cs"/>
                      </a:defRPr>
                    </a:pPr>
                    <a:fld id="{A2BC9E7B-93D1-FD46-AE8F-ED1ED94EB7B0}" type="VALUE">
                      <a:rPr lang="en-US" sz="2000" b="1" kern="1200">
                        <a:solidFill>
                          <a:schemeClr val="bg1"/>
                        </a:solidFill>
                        <a:latin typeface="Helvetica" pitchFamily="2" charset="0"/>
                        <a:ea typeface="+mn-ea"/>
                        <a:cs typeface="+mn-cs"/>
                      </a:rPr>
                      <a:pPr>
                        <a:defRPr sz="1600" kern="1200">
                          <a:solidFill>
                            <a:schemeClr val="bg1"/>
                          </a:solidFill>
                          <a:latin typeface="+mn-lt"/>
                          <a:ea typeface="+mn-ea"/>
                          <a:cs typeface="+mn-cs"/>
                        </a:defRPr>
                      </a:pPr>
                      <a:t>[VERDI]</a:t>
                    </a:fld>
                    <a:endParaRPr lang="nb-NO"/>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2-029E-3A4D-89DB-FC81378AA60C}"/>
                </c:ext>
              </c:extLst>
            </c:dLbl>
            <c:dLbl>
              <c:idx val="1"/>
              <c:layout>
                <c:manualLayout>
                  <c:x val="0"/>
                  <c:y val="-1.7094017094017094E-3"/>
                </c:manualLayout>
              </c:layout>
              <c:tx>
                <c:rich>
                  <a:bodyPr wrap="none"/>
                  <a:lstStyle/>
                  <a:p>
                    <a:pPr>
                      <a:defRPr sz="1600" kern="1200">
                        <a:solidFill>
                          <a:schemeClr val="bg1"/>
                        </a:solidFill>
                        <a:latin typeface="+mn-lt"/>
                        <a:ea typeface="+mn-ea"/>
                        <a:cs typeface="+mn-cs"/>
                      </a:defRPr>
                    </a:pPr>
                    <a:fld id="{03B1DFF6-0C45-1445-B730-ED11FA5C172A}" type="VALUE">
                      <a:rPr lang="en-US" sz="2000" b="1" kern="1200">
                        <a:solidFill>
                          <a:schemeClr val="bg1"/>
                        </a:solidFill>
                        <a:latin typeface="Helvetica" pitchFamily="2" charset="0"/>
                        <a:ea typeface="+mn-ea"/>
                        <a:cs typeface="+mn-cs"/>
                      </a:rPr>
                      <a:pPr>
                        <a:defRPr sz="1600" kern="1200">
                          <a:solidFill>
                            <a:schemeClr val="bg1"/>
                          </a:solidFill>
                          <a:latin typeface="+mn-lt"/>
                          <a:ea typeface="+mn-ea"/>
                          <a:cs typeface="+mn-cs"/>
                        </a:defRPr>
                      </a:pPr>
                      <a:t>[VERDI]</a:t>
                    </a:fld>
                    <a:endParaRPr lang="nb-NO"/>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3-029E-3A4D-89DB-FC81378AA60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69</c:v>
                </c:pt>
                <c:pt idx="1">
                  <c:v>85</c:v>
                </c:pt>
                <c:pt idx="2">
                  <c:v>87</c:v>
                </c:pt>
              </c:numCache>
            </c:numRef>
          </c:val>
          <c:extLst>
            <c:ext xmlns:c16="http://schemas.microsoft.com/office/drawing/2014/chart" uri="{C3380CC4-5D6E-409C-BE32-E72D297353CC}">
              <c16:uniqueId val="{00000004-029E-3A4D-89DB-FC81378AA60C}"/>
            </c:ext>
          </c:extLst>
        </c:ser>
        <c:dLbls>
          <c:showLegendKey val="0"/>
          <c:showVal val="0"/>
          <c:showCatName val="0"/>
          <c:showSerName val="0"/>
          <c:showPercent val="0"/>
          <c:showBubbleSize val="0"/>
        </c:dLbls>
        <c:gapWidth val="80"/>
        <c:overlap val="100"/>
        <c:axId val="650672752"/>
        <c:axId val="1"/>
      </c:barChart>
      <c:catAx>
        <c:axId val="6506727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6"/>
          <c:min val="0"/>
        </c:scaling>
        <c:delete val="1"/>
        <c:axPos val="l"/>
        <c:numFmt formatCode="General" sourceLinked="1"/>
        <c:majorTickMark val="out"/>
        <c:minorTickMark val="none"/>
        <c:tickLblPos val="nextTo"/>
        <c:crossAx val="650672752"/>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cat>
            <c:numRef>
              <c:f>Sheet1!$A$2:$A$13</c:f>
              <c:numCache>
                <c:formatCode>General</c:formatCode>
                <c:ptCount val="12"/>
                <c:pt idx="0">
                  <c:v>2012</c:v>
                </c:pt>
                <c:pt idx="1">
                  <c:v>2013</c:v>
                </c:pt>
                <c:pt idx="2">
                  <c:v>2014</c:v>
                </c:pt>
                <c:pt idx="3">
                  <c:v>2015</c:v>
                </c:pt>
                <c:pt idx="4">
                  <c:v>2016</c:v>
                </c:pt>
                <c:pt idx="5">
                  <c:v>2017</c:v>
                </c:pt>
                <c:pt idx="6">
                  <c:v>2018</c:v>
                </c:pt>
                <c:pt idx="7">
                  <c:v>2019</c:v>
                </c:pt>
                <c:pt idx="8">
                  <c:v>2020</c:v>
                </c:pt>
                <c:pt idx="9">
                  <c:v>2021</c:v>
                </c:pt>
                <c:pt idx="10">
                  <c:v>2022</c:v>
                </c:pt>
                <c:pt idx="11">
                  <c:v>2023</c:v>
                </c:pt>
              </c:numCache>
            </c:numRef>
          </c:cat>
          <c:val>
            <c:numRef>
              <c:f>Sheet1!$B$2:$B$13</c:f>
              <c:numCache>
                <c:formatCode>General</c:formatCode>
                <c:ptCount val="12"/>
                <c:pt idx="0">
                  <c:v>0.25</c:v>
                </c:pt>
                <c:pt idx="1">
                  <c:v>0.3</c:v>
                </c:pt>
                <c:pt idx="2">
                  <c:v>0.35</c:v>
                </c:pt>
                <c:pt idx="3">
                  <c:v>0.45</c:v>
                </c:pt>
                <c:pt idx="4">
                  <c:v>0.5</c:v>
                </c:pt>
                <c:pt idx="5">
                  <c:v>0.5</c:v>
                </c:pt>
                <c:pt idx="6">
                  <c:v>0.55000000000000004</c:v>
                </c:pt>
                <c:pt idx="7">
                  <c:v>0.6</c:v>
                </c:pt>
                <c:pt idx="8">
                  <c:v>0.7</c:v>
                </c:pt>
                <c:pt idx="9">
                  <c:v>0.8</c:v>
                </c:pt>
                <c:pt idx="10">
                  <c:v>0.9</c:v>
                </c:pt>
                <c:pt idx="11">
                  <c:v>0</c:v>
                </c:pt>
              </c:numCache>
            </c:numRef>
          </c:val>
          <c:extLst>
            <c:ext xmlns:c16="http://schemas.microsoft.com/office/drawing/2014/chart" uri="{C3380CC4-5D6E-409C-BE32-E72D297353CC}">
              <c16:uniqueId val="{00000000-BD81-444F-8C2C-641D3F2BBB19}"/>
            </c:ext>
          </c:extLst>
        </c:ser>
        <c:ser>
          <c:idx val="1"/>
          <c:order val="1"/>
          <c:tx>
            <c:strRef>
              <c:f>Sheet1!$C$1</c:f>
              <c:strCache>
                <c:ptCount val="1"/>
                <c:pt idx="0">
                  <c:v>Series 2</c:v>
                </c:pt>
              </c:strCache>
            </c:strRef>
          </c:tx>
          <c:spPr>
            <a:solidFill>
              <a:schemeClr val="tx2">
                <a:lumMod val="20000"/>
                <a:lumOff val="80000"/>
              </a:schemeClr>
            </a:solidFill>
            <a:ln>
              <a:noFill/>
            </a:ln>
            <a:effectLst/>
          </c:spPr>
          <c:invertIfNegative val="0"/>
          <c:cat>
            <c:numRef>
              <c:f>Sheet1!$A$2:$A$13</c:f>
              <c:numCache>
                <c:formatCode>General</c:formatCode>
                <c:ptCount val="12"/>
                <c:pt idx="0">
                  <c:v>2012</c:v>
                </c:pt>
                <c:pt idx="1">
                  <c:v>2013</c:v>
                </c:pt>
                <c:pt idx="2">
                  <c:v>2014</c:v>
                </c:pt>
                <c:pt idx="3">
                  <c:v>2015</c:v>
                </c:pt>
                <c:pt idx="4">
                  <c:v>2016</c:v>
                </c:pt>
                <c:pt idx="5">
                  <c:v>2017</c:v>
                </c:pt>
                <c:pt idx="6">
                  <c:v>2018</c:v>
                </c:pt>
                <c:pt idx="7">
                  <c:v>2019</c:v>
                </c:pt>
                <c:pt idx="8">
                  <c:v>2020</c:v>
                </c:pt>
                <c:pt idx="9">
                  <c:v>2021</c:v>
                </c:pt>
                <c:pt idx="10">
                  <c:v>2022</c:v>
                </c:pt>
                <c:pt idx="11">
                  <c:v>2023</c:v>
                </c:pt>
              </c:numCache>
            </c:numRef>
          </c:cat>
          <c:val>
            <c:numRef>
              <c:f>Sheet1!$C$2:$C$13</c:f>
              <c:numCache>
                <c:formatCode>General</c:formatCode>
                <c:ptCount val="12"/>
                <c:pt idx="0">
                  <c:v>0</c:v>
                </c:pt>
                <c:pt idx="1">
                  <c:v>0</c:v>
                </c:pt>
                <c:pt idx="2">
                  <c:v>0</c:v>
                </c:pt>
                <c:pt idx="3">
                  <c:v>0</c:v>
                </c:pt>
                <c:pt idx="4">
                  <c:v>1</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1-BD81-444F-8C2C-641D3F2BBB19}"/>
            </c:ext>
          </c:extLst>
        </c:ser>
        <c:dLbls>
          <c:showLegendKey val="0"/>
          <c:showVal val="0"/>
          <c:showCatName val="0"/>
          <c:showSerName val="0"/>
          <c:showPercent val="0"/>
          <c:showBubbleSize val="0"/>
        </c:dLbls>
        <c:gapWidth val="61"/>
        <c:overlap val="100"/>
        <c:axId val="1481170448"/>
        <c:axId val="1481417264"/>
      </c:barChart>
      <c:catAx>
        <c:axId val="14811704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2"/>
                </a:solidFill>
                <a:latin typeface="Helvetica Light" panose="020B0403020202020204" pitchFamily="34" charset="0"/>
                <a:ea typeface="+mn-ea"/>
                <a:cs typeface="+mn-cs"/>
              </a:defRPr>
            </a:pPr>
            <a:endParaRPr lang="nb-NO"/>
          </a:p>
        </c:txPr>
        <c:crossAx val="1481417264"/>
        <c:crosses val="autoZero"/>
        <c:auto val="1"/>
        <c:lblAlgn val="ctr"/>
        <c:lblOffset val="100"/>
        <c:noMultiLvlLbl val="0"/>
      </c:catAx>
      <c:valAx>
        <c:axId val="1481417264"/>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4811704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517083120856707E-2"/>
          <c:y val="0.19047619047619047"/>
          <c:w val="0.94696583375828658"/>
          <c:h val="0.67408781694495978"/>
        </c:manualLayout>
      </c:layout>
      <c:barChart>
        <c:barDir val="col"/>
        <c:grouping val="stacked"/>
        <c:varyColors val="0"/>
        <c:ser>
          <c:idx val="0"/>
          <c:order val="0"/>
          <c:spPr>
            <a:solidFill>
              <a:schemeClr val="accent4"/>
            </a:solidFill>
            <a:ln>
              <a:noFill/>
            </a:ln>
          </c:spPr>
          <c:invertIfNegative val="0"/>
          <c:dLbls>
            <c:dLbl>
              <c:idx val="0"/>
              <c:layout>
                <c:manualLayout>
                  <c:x val="0"/>
                  <c:y val="-0.39208410636982066"/>
                </c:manualLayout>
              </c:layout>
              <c:numFmt formatCode="#,##0;&quot;-&quot;#,##0" sourceLinked="0"/>
              <c:spPr>
                <a:noFill/>
                <a:ln>
                  <a:noFill/>
                </a:ln>
              </c:spPr>
              <c:txPr>
                <a:bodyPr wrap="none"/>
                <a:lstStyle/>
                <a:p>
                  <a:pPr>
                    <a:defRPr sz="1600" kern="1200">
                      <a:solidFill>
                        <a:schemeClr val="tx1"/>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221-484D-9B48-345F37AA67E5}"/>
                </c:ext>
              </c:extLst>
            </c:dLbl>
            <c:dLbl>
              <c:idx val="1"/>
              <c:layout>
                <c:manualLayout>
                  <c:x val="0"/>
                  <c:y val="-0.1552257266542981"/>
                </c:manualLayout>
              </c:layout>
              <c:tx>
                <c:rich>
                  <a:bodyPr wrap="none"/>
                  <a:lstStyle/>
                  <a:p>
                    <a:pPr>
                      <a:defRPr sz="1600" kern="1200">
                        <a:solidFill>
                          <a:schemeClr val="tx1"/>
                        </a:solidFill>
                        <a:latin typeface="+mn-lt"/>
                        <a:ea typeface="+mn-ea"/>
                        <a:cs typeface="+mn-cs"/>
                      </a:defRPr>
                    </a:pPr>
                    <a:r>
                      <a:rPr lang="en-US"/>
                      <a:t>20*</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0221-484D-9B48-345F37AA67E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66</c:v>
                </c:pt>
                <c:pt idx="1">
                  <c:v>19.600000000000001</c:v>
                </c:pt>
              </c:numCache>
            </c:numRef>
          </c:val>
          <c:extLst>
            <c:ext xmlns:c16="http://schemas.microsoft.com/office/drawing/2014/chart" uri="{C3380CC4-5D6E-409C-BE32-E72D297353CC}">
              <c16:uniqueId val="{00000002-0221-484D-9B48-345F37AA67E5}"/>
            </c:ext>
          </c:extLst>
        </c:ser>
        <c:dLbls>
          <c:showLegendKey val="0"/>
          <c:showVal val="0"/>
          <c:showCatName val="0"/>
          <c:showSerName val="0"/>
          <c:showPercent val="0"/>
          <c:showBubbleSize val="0"/>
        </c:dLbls>
        <c:gapWidth val="48"/>
        <c:overlap val="100"/>
        <c:axId val="955126111"/>
        <c:axId val="1"/>
      </c:barChart>
      <c:catAx>
        <c:axId val="9551261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6"/>
          <c:min val="0"/>
        </c:scaling>
        <c:delete val="1"/>
        <c:axPos val="l"/>
        <c:numFmt formatCode="General" sourceLinked="1"/>
        <c:majorTickMark val="out"/>
        <c:minorTickMark val="none"/>
        <c:tickLblPos val="nextTo"/>
        <c:crossAx val="955126111"/>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Series 1</c:v>
                </c:pt>
              </c:strCache>
            </c:strRef>
          </c:tx>
          <c:spPr>
            <a:solidFill>
              <a:schemeClr val="accent1">
                <a:lumMod val="75000"/>
              </a:schemeClr>
            </a:solidFill>
            <a:ln>
              <a:noFill/>
            </a:ln>
            <a:effectLst/>
          </c:spPr>
          <c:invertIfNegative val="0"/>
          <c:cat>
            <c:strRef>
              <c:f>Sheet1!$A$2:$A$16</c:f>
              <c:strCache>
                <c:ptCount val="15"/>
                <c:pt idx="0">
                  <c:v>Loyalty programs</c:v>
                </c:pt>
                <c:pt idx="1">
                  <c:v>Increased investments</c:v>
                </c:pt>
                <c:pt idx="2">
                  <c:v>Shift towards discounters</c:v>
                </c:pt>
                <c:pt idx="3">
                  <c:v>Product innovation</c:v>
                </c:pt>
                <c:pt idx="4">
                  <c:v>Government regulations</c:v>
                </c:pt>
                <c:pt idx="5">
                  <c:v>Supply chain disruption
and availability</c:v>
                </c:pt>
                <c:pt idx="6">
                  <c:v>IT modernization</c:v>
                </c:pt>
                <c:pt idx="7">
                  <c:v>Product sustainability</c:v>
                </c:pt>
                <c:pt idx="8">
                  <c:v>Store network expansion</c:v>
                </c:pt>
                <c:pt idx="9">
                  <c:v>Advanced analytics &amp; AI</c:v>
                </c:pt>
                <c:pt idx="10">
                  <c:v>Ready to eat, ready to
heat, ready to cook</c:v>
                </c:pt>
                <c:pt idx="11">
                  <c:v>Private label</c:v>
                </c:pt>
                <c:pt idx="12">
                  <c:v>Talent hiring and development</c:v>
                </c:pt>
                <c:pt idx="13">
                  <c:v>Downtrading of consumers</c:v>
                </c:pt>
                <c:pt idx="14">
                  <c:v>Cost &amp; margin pressure</c:v>
                </c:pt>
              </c:strCache>
            </c:strRef>
          </c:cat>
          <c:val>
            <c:numRef>
              <c:f>Sheet1!$B$2:$B$16</c:f>
              <c:numCache>
                <c:formatCode>General</c:formatCode>
                <c:ptCount val="15"/>
                <c:pt idx="0">
                  <c:v>18</c:v>
                </c:pt>
                <c:pt idx="1">
                  <c:v>6</c:v>
                </c:pt>
                <c:pt idx="2">
                  <c:v>9</c:v>
                </c:pt>
                <c:pt idx="3">
                  <c:v>3</c:v>
                </c:pt>
                <c:pt idx="4">
                  <c:v>6</c:v>
                </c:pt>
                <c:pt idx="5">
                  <c:v>15</c:v>
                </c:pt>
                <c:pt idx="6">
                  <c:v>24</c:v>
                </c:pt>
                <c:pt idx="7">
                  <c:v>3</c:v>
                </c:pt>
                <c:pt idx="8">
                  <c:v>3</c:v>
                </c:pt>
                <c:pt idx="9">
                  <c:v>9</c:v>
                </c:pt>
                <c:pt idx="10">
                  <c:v>18</c:v>
                </c:pt>
                <c:pt idx="11">
                  <c:v>15</c:v>
                </c:pt>
                <c:pt idx="12">
                  <c:v>15</c:v>
                </c:pt>
                <c:pt idx="13">
                  <c:v>61</c:v>
                </c:pt>
                <c:pt idx="14">
                  <c:v>70</c:v>
                </c:pt>
              </c:numCache>
            </c:numRef>
          </c:val>
          <c:extLst>
            <c:ext xmlns:c16="http://schemas.microsoft.com/office/drawing/2014/chart" uri="{C3380CC4-5D6E-409C-BE32-E72D297353CC}">
              <c16:uniqueId val="{00000000-BA67-BB42-B4A6-1ED4408B9D27}"/>
            </c:ext>
          </c:extLst>
        </c:ser>
        <c:ser>
          <c:idx val="1"/>
          <c:order val="1"/>
          <c:tx>
            <c:strRef>
              <c:f>Sheet1!$C$1</c:f>
              <c:strCache>
                <c:ptCount val="1"/>
                <c:pt idx="0">
                  <c:v>Series 2</c:v>
                </c:pt>
              </c:strCache>
            </c:strRef>
          </c:tx>
          <c:spPr>
            <a:solidFill>
              <a:schemeClr val="accent4">
                <a:lumMod val="60000"/>
                <a:lumOff val="40000"/>
              </a:schemeClr>
            </a:solidFill>
            <a:ln>
              <a:noFill/>
            </a:ln>
            <a:effectLst/>
          </c:spPr>
          <c:invertIfNegative val="0"/>
          <c:cat>
            <c:strRef>
              <c:f>Sheet1!$A$2:$A$16</c:f>
              <c:strCache>
                <c:ptCount val="15"/>
                <c:pt idx="0">
                  <c:v>Loyalty programs</c:v>
                </c:pt>
                <c:pt idx="1">
                  <c:v>Increased investments</c:v>
                </c:pt>
                <c:pt idx="2">
                  <c:v>Shift towards discounters</c:v>
                </c:pt>
                <c:pt idx="3">
                  <c:v>Product innovation</c:v>
                </c:pt>
                <c:pt idx="4">
                  <c:v>Government regulations</c:v>
                </c:pt>
                <c:pt idx="5">
                  <c:v>Supply chain disruption
and availability</c:v>
                </c:pt>
                <c:pt idx="6">
                  <c:v>IT modernization</c:v>
                </c:pt>
                <c:pt idx="7">
                  <c:v>Product sustainability</c:v>
                </c:pt>
                <c:pt idx="8">
                  <c:v>Store network expansion</c:v>
                </c:pt>
                <c:pt idx="9">
                  <c:v>Advanced analytics &amp; AI</c:v>
                </c:pt>
                <c:pt idx="10">
                  <c:v>Ready to eat, ready to
heat, ready to cook</c:v>
                </c:pt>
                <c:pt idx="11">
                  <c:v>Private label</c:v>
                </c:pt>
                <c:pt idx="12">
                  <c:v>Talent hiring and development</c:v>
                </c:pt>
                <c:pt idx="13">
                  <c:v>Downtrading of consumers</c:v>
                </c:pt>
                <c:pt idx="14">
                  <c:v>Cost &amp; margin pressure</c:v>
                </c:pt>
              </c:strCache>
            </c:strRef>
          </c:cat>
          <c:val>
            <c:numRef>
              <c:f>Sheet1!$C$2:$C$16</c:f>
              <c:numCache>
                <c:formatCode>General</c:formatCode>
                <c:ptCount val="15"/>
                <c:pt idx="0">
                  <c:v>0</c:v>
                </c:pt>
                <c:pt idx="1">
                  <c:v>12</c:v>
                </c:pt>
                <c:pt idx="2">
                  <c:v>9</c:v>
                </c:pt>
                <c:pt idx="3">
                  <c:v>18</c:v>
                </c:pt>
                <c:pt idx="4">
                  <c:v>18</c:v>
                </c:pt>
                <c:pt idx="5">
                  <c:v>12</c:v>
                </c:pt>
                <c:pt idx="6">
                  <c:v>6</c:v>
                </c:pt>
                <c:pt idx="7">
                  <c:v>30</c:v>
                </c:pt>
                <c:pt idx="8">
                  <c:v>30</c:v>
                </c:pt>
                <c:pt idx="9">
                  <c:v>24</c:v>
                </c:pt>
                <c:pt idx="10">
                  <c:v>18</c:v>
                </c:pt>
                <c:pt idx="11">
                  <c:v>24</c:v>
                </c:pt>
                <c:pt idx="12">
                  <c:v>33</c:v>
                </c:pt>
                <c:pt idx="13">
                  <c:v>18</c:v>
                </c:pt>
                <c:pt idx="14">
                  <c:v>15</c:v>
                </c:pt>
              </c:numCache>
            </c:numRef>
          </c:val>
          <c:extLst>
            <c:ext xmlns:c16="http://schemas.microsoft.com/office/drawing/2014/chart" uri="{C3380CC4-5D6E-409C-BE32-E72D297353CC}">
              <c16:uniqueId val="{00000001-BA67-BB42-B4A6-1ED4408B9D27}"/>
            </c:ext>
          </c:extLst>
        </c:ser>
        <c:dLbls>
          <c:showLegendKey val="0"/>
          <c:showVal val="0"/>
          <c:showCatName val="0"/>
          <c:showSerName val="0"/>
          <c:showPercent val="0"/>
          <c:showBubbleSize val="0"/>
        </c:dLbls>
        <c:gapWidth val="37"/>
        <c:overlap val="100"/>
        <c:axId val="1620022160"/>
        <c:axId val="1619917872"/>
      </c:barChart>
      <c:catAx>
        <c:axId val="162002216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500" b="0" i="0" u="none" strike="noStrike" kern="1200" baseline="0">
                <a:solidFill>
                  <a:schemeClr val="tx2"/>
                </a:solidFill>
                <a:latin typeface="Helvetica Light" panose="020B0403020202020204" pitchFamily="34" charset="0"/>
                <a:ea typeface="+mn-ea"/>
                <a:cs typeface="Calibri" panose="020F0502020204030204" pitchFamily="34" charset="0"/>
              </a:defRPr>
            </a:pPr>
            <a:endParaRPr lang="nb-NO"/>
          </a:p>
        </c:txPr>
        <c:crossAx val="1619917872"/>
        <c:crosses val="autoZero"/>
        <c:auto val="1"/>
        <c:lblAlgn val="ctr"/>
        <c:lblOffset val="100"/>
        <c:noMultiLvlLbl val="0"/>
      </c:catAx>
      <c:valAx>
        <c:axId val="161991787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2"/>
                </a:solidFill>
                <a:latin typeface="Helvetica Light" panose="020B0403020202020204" pitchFamily="34" charset="0"/>
                <a:ea typeface="+mn-ea"/>
                <a:cs typeface="+mn-cs"/>
              </a:defRPr>
            </a:pPr>
            <a:endParaRPr lang="nb-NO"/>
          </a:p>
        </c:txPr>
        <c:crossAx val="16200221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782653235444774E-3"/>
          <c:y val="1.8284106891701828E-2"/>
          <c:w val="0.98224346935291107"/>
          <c:h val="0.96343178621659631"/>
        </c:manualLayout>
      </c:layout>
      <c:lineChart>
        <c:grouping val="standard"/>
        <c:varyColors val="0"/>
        <c:ser>
          <c:idx val="0"/>
          <c:order val="0"/>
          <c:spPr>
            <a:ln w="19050" cmpd="sng" algn="ctr">
              <a:solidFill>
                <a:schemeClr val="accent1"/>
              </a:solidFill>
              <a:prstDash val="solid"/>
            </a:ln>
          </c:spPr>
          <c:marker>
            <c:symbol val="none"/>
          </c:marker>
          <c:val>
            <c:numRef>
              <c:f>Sheet1!$A$1:$AB$1</c:f>
              <c:numCache>
                <c:formatCode>General</c:formatCode>
                <c:ptCount val="28"/>
                <c:pt idx="0">
                  <c:v>0</c:v>
                </c:pt>
                <c:pt idx="1">
                  <c:v>1.295093434595799</c:v>
                </c:pt>
                <c:pt idx="2">
                  <c:v>0.8175525143221023</c:v>
                </c:pt>
                <c:pt idx="3">
                  <c:v>4.1071410231392491</c:v>
                </c:pt>
                <c:pt idx="4">
                  <c:v>5.3273620881347341</c:v>
                </c:pt>
                <c:pt idx="5">
                  <c:v>-6.9051917177205269E-3</c:v>
                </c:pt>
                <c:pt idx="6">
                  <c:v>-1.6551536789816765</c:v>
                </c:pt>
                <c:pt idx="7">
                  <c:v>-0.44881804700312955</c:v>
                </c:pt>
                <c:pt idx="8">
                  <c:v>3.1095830493647441</c:v>
                </c:pt>
                <c:pt idx="9">
                  <c:v>-0.32547666106179918</c:v>
                </c:pt>
                <c:pt idx="10">
                  <c:v>-2.4567211000875631</c:v>
                </c:pt>
                <c:pt idx="11">
                  <c:v>-1.9263330011513489</c:v>
                </c:pt>
                <c:pt idx="12">
                  <c:v>-2.9804747320061296</c:v>
                </c:pt>
                <c:pt idx="13">
                  <c:v>-5.3971572296521657</c:v>
                </c:pt>
                <c:pt idx="14">
                  <c:v>-7.452820714148757</c:v>
                </c:pt>
                <c:pt idx="15">
                  <c:v>-10.182707473107797</c:v>
                </c:pt>
                <c:pt idx="16">
                  <c:v>-12.058300438120853</c:v>
                </c:pt>
                <c:pt idx="17">
                  <c:v>-13.534584971808286</c:v>
                </c:pt>
                <c:pt idx="18">
                  <c:v>-13.483663924072246</c:v>
                </c:pt>
                <c:pt idx="19">
                  <c:v>-10.670285704214194</c:v>
                </c:pt>
                <c:pt idx="20">
                  <c:v>-11.181403173657415</c:v>
                </c:pt>
                <c:pt idx="21">
                  <c:v>-11.490067670814227</c:v>
                </c:pt>
                <c:pt idx="22">
                  <c:v>-12.828936053111335</c:v>
                </c:pt>
                <c:pt idx="23">
                  <c:v>-14.066023499889795</c:v>
                </c:pt>
                <c:pt idx="24">
                  <c:v>-12.110150607371708</c:v>
                </c:pt>
                <c:pt idx="25">
                  <c:v>-10.691535757394206</c:v>
                </c:pt>
                <c:pt idx="26">
                  <c:v>-10.959830643957019</c:v>
                </c:pt>
                <c:pt idx="27">
                  <c:v>-11.947533009034046</c:v>
                </c:pt>
              </c:numCache>
            </c:numRef>
          </c:val>
          <c:smooth val="0"/>
          <c:extLst>
            <c:ext xmlns:c16="http://schemas.microsoft.com/office/drawing/2014/chart" uri="{C3380CC4-5D6E-409C-BE32-E72D297353CC}">
              <c16:uniqueId val="{00000000-CA43-0C40-9D6B-A61BA65BEC37}"/>
            </c:ext>
          </c:extLst>
        </c:ser>
        <c:ser>
          <c:idx val="1"/>
          <c:order val="1"/>
          <c:spPr>
            <a:ln w="19050" cmpd="sng" algn="ctr">
              <a:solidFill>
                <a:schemeClr val="accent2"/>
              </a:solidFill>
              <a:prstDash val="solid"/>
            </a:ln>
          </c:spPr>
          <c:marker>
            <c:symbol val="none"/>
          </c:marker>
          <c:val>
            <c:numRef>
              <c:f>Sheet1!$A$2:$AB$2</c:f>
              <c:numCache>
                <c:formatCode>General</c:formatCode>
                <c:ptCount val="28"/>
                <c:pt idx="0">
                  <c:v>0</c:v>
                </c:pt>
                <c:pt idx="1">
                  <c:v>1.3906161673261579</c:v>
                </c:pt>
                <c:pt idx="2">
                  <c:v>1.1607314074291395</c:v>
                </c:pt>
                <c:pt idx="3">
                  <c:v>1.4858487897065658</c:v>
                </c:pt>
                <c:pt idx="4">
                  <c:v>0.74932874973316643</c:v>
                </c:pt>
                <c:pt idx="5">
                  <c:v>-6.4615384615384812</c:v>
                </c:pt>
                <c:pt idx="6">
                  <c:v>-8.1570996978852008</c:v>
                </c:pt>
                <c:pt idx="7">
                  <c:v>-10.357649787089429</c:v>
                </c:pt>
                <c:pt idx="8">
                  <c:v>-7.6111591873738007</c:v>
                </c:pt>
                <c:pt idx="9">
                  <c:v>-12.707451209422288</c:v>
                </c:pt>
                <c:pt idx="10">
                  <c:v>-15.216260931221939</c:v>
                </c:pt>
                <c:pt idx="11">
                  <c:v>-11.51891865226186</c:v>
                </c:pt>
                <c:pt idx="12">
                  <c:v>-9.1130209177882335</c:v>
                </c:pt>
                <c:pt idx="13">
                  <c:v>-9.8747814202158679</c:v>
                </c:pt>
                <c:pt idx="14">
                  <c:v>-12.277097944850397</c:v>
                </c:pt>
                <c:pt idx="15">
                  <c:v>-14.934787763813134</c:v>
                </c:pt>
                <c:pt idx="16">
                  <c:v>-14.642503616843058</c:v>
                </c:pt>
                <c:pt idx="17">
                  <c:v>-16.781114286774809</c:v>
                </c:pt>
                <c:pt idx="18">
                  <c:v>-17.039010536637704</c:v>
                </c:pt>
                <c:pt idx="19">
                  <c:v>-12.630061182338963</c:v>
                </c:pt>
                <c:pt idx="20">
                  <c:v>-14.287625801641994</c:v>
                </c:pt>
                <c:pt idx="21">
                  <c:v>-16.340942377118765</c:v>
                </c:pt>
                <c:pt idx="22">
                  <c:v>-18.538636921036627</c:v>
                </c:pt>
                <c:pt idx="23">
                  <c:v>-17.846117203030389</c:v>
                </c:pt>
                <c:pt idx="24">
                  <c:v>-15.244305831206873</c:v>
                </c:pt>
                <c:pt idx="25">
                  <c:v>-13.837994677324843</c:v>
                </c:pt>
                <c:pt idx="26">
                  <c:v>-14.965438115737271</c:v>
                </c:pt>
                <c:pt idx="27">
                  <c:v>-15.281936952681434</c:v>
                </c:pt>
              </c:numCache>
            </c:numRef>
          </c:val>
          <c:smooth val="0"/>
          <c:extLst>
            <c:ext xmlns:c16="http://schemas.microsoft.com/office/drawing/2014/chart" uri="{C3380CC4-5D6E-409C-BE32-E72D297353CC}">
              <c16:uniqueId val="{00000001-CA43-0C40-9D6B-A61BA65BEC37}"/>
            </c:ext>
          </c:extLst>
        </c:ser>
        <c:ser>
          <c:idx val="2"/>
          <c:order val="2"/>
          <c:spPr>
            <a:ln w="19050" cmpd="sng" algn="ctr">
              <a:solidFill>
                <a:schemeClr val="accent3"/>
              </a:solidFill>
              <a:prstDash val="solid"/>
            </a:ln>
          </c:spPr>
          <c:marker>
            <c:symbol val="none"/>
          </c:marker>
          <c:val>
            <c:numRef>
              <c:f>Sheet1!$A$3:$AB$3</c:f>
              <c:numCache>
                <c:formatCode>General</c:formatCode>
                <c:ptCount val="28"/>
                <c:pt idx="0">
                  <c:v>0</c:v>
                </c:pt>
                <c:pt idx="1">
                  <c:v>3.475737135112837</c:v>
                </c:pt>
                <c:pt idx="2">
                  <c:v>4.2503136004566642</c:v>
                </c:pt>
                <c:pt idx="3">
                  <c:v>11.277613374310633</c:v>
                </c:pt>
                <c:pt idx="4">
                  <c:v>11.45931851719628</c:v>
                </c:pt>
                <c:pt idx="5">
                  <c:v>2.1668577388971073</c:v>
                </c:pt>
                <c:pt idx="6">
                  <c:v>-0.10665501816912126</c:v>
                </c:pt>
                <c:pt idx="7">
                  <c:v>2.0428046397423287</c:v>
                </c:pt>
                <c:pt idx="8">
                  <c:v>8.7045059492875367</c:v>
                </c:pt>
                <c:pt idx="9">
                  <c:v>4.3252964321654304</c:v>
                </c:pt>
                <c:pt idx="10">
                  <c:v>1.438432487844878</c:v>
                </c:pt>
                <c:pt idx="11">
                  <c:v>1.893378239856446</c:v>
                </c:pt>
                <c:pt idx="12">
                  <c:v>0.68160176586052046</c:v>
                </c:pt>
                <c:pt idx="13">
                  <c:v>-2.3601319519676878</c:v>
                </c:pt>
                <c:pt idx="14">
                  <c:v>-6.839300402717825</c:v>
                </c:pt>
                <c:pt idx="15">
                  <c:v>-11.808925861477732</c:v>
                </c:pt>
                <c:pt idx="16">
                  <c:v>-14.652450867674816</c:v>
                </c:pt>
                <c:pt idx="17">
                  <c:v>-17.30487923175852</c:v>
                </c:pt>
                <c:pt idx="18">
                  <c:v>-14.897724031352723</c:v>
                </c:pt>
                <c:pt idx="19">
                  <c:v>-9.598658864000214</c:v>
                </c:pt>
                <c:pt idx="20">
                  <c:v>-9.2693489261021256</c:v>
                </c:pt>
                <c:pt idx="21">
                  <c:v>-9.6781397757378613</c:v>
                </c:pt>
                <c:pt idx="22">
                  <c:v>-13.824278730389523</c:v>
                </c:pt>
                <c:pt idx="23">
                  <c:v>-16.976473369607689</c:v>
                </c:pt>
                <c:pt idx="24">
                  <c:v>-15.730249319483065</c:v>
                </c:pt>
                <c:pt idx="25">
                  <c:v>-12.369565356942132</c:v>
                </c:pt>
                <c:pt idx="26">
                  <c:v>-13.159439570736751</c:v>
                </c:pt>
                <c:pt idx="27">
                  <c:v>-14.737776003057618</c:v>
                </c:pt>
              </c:numCache>
            </c:numRef>
          </c:val>
          <c:smooth val="0"/>
          <c:extLst>
            <c:ext xmlns:c16="http://schemas.microsoft.com/office/drawing/2014/chart" uri="{C3380CC4-5D6E-409C-BE32-E72D297353CC}">
              <c16:uniqueId val="{00000002-CA43-0C40-9D6B-A61BA65BEC37}"/>
            </c:ext>
          </c:extLst>
        </c:ser>
        <c:ser>
          <c:idx val="3"/>
          <c:order val="3"/>
          <c:spPr>
            <a:ln w="19050" cmpd="sng" algn="ctr">
              <a:solidFill>
                <a:schemeClr val="accent4"/>
              </a:solidFill>
              <a:prstDash val="solid"/>
            </a:ln>
          </c:spPr>
          <c:marker>
            <c:symbol val="none"/>
          </c:marker>
          <c:val>
            <c:numRef>
              <c:f>Sheet1!$A$4:$AB$4</c:f>
              <c:numCache>
                <c:formatCode>General</c:formatCode>
                <c:ptCount val="28"/>
                <c:pt idx="0">
                  <c:v>0</c:v>
                </c:pt>
                <c:pt idx="1">
                  <c:v>3.573316246275013</c:v>
                </c:pt>
                <c:pt idx="2">
                  <c:v>4.6051774742090572</c:v>
                </c:pt>
                <c:pt idx="3">
                  <c:v>8.4757772963400129</c:v>
                </c:pt>
                <c:pt idx="4">
                  <c:v>6.6147608834423011</c:v>
                </c:pt>
                <c:pt idx="5">
                  <c:v>-4.4280936454849495</c:v>
                </c:pt>
                <c:pt idx="6">
                  <c:v>-6.7109780815196984</c:v>
                </c:pt>
                <c:pt idx="7">
                  <c:v>-8.1140308857173977</c:v>
                </c:pt>
                <c:pt idx="8">
                  <c:v>-2.5979642362080284</c:v>
                </c:pt>
                <c:pt idx="9">
                  <c:v>-8.6344160590666093</c:v>
                </c:pt>
                <c:pt idx="10">
                  <c:v>-11.830628531362393</c:v>
                </c:pt>
                <c:pt idx="11">
                  <c:v>-8.0728133787183793</c:v>
                </c:pt>
                <c:pt idx="12">
                  <c:v>-5.6824220858553076</c:v>
                </c:pt>
                <c:pt idx="13">
                  <c:v>-6.9815008488477162</c:v>
                </c:pt>
                <c:pt idx="14">
                  <c:v>-11.695559073500604</c:v>
                </c:pt>
                <c:pt idx="15">
                  <c:v>-16.474965701237139</c:v>
                </c:pt>
                <c:pt idx="16">
                  <c:v>-17.160423864133818</c:v>
                </c:pt>
                <c:pt idx="17">
                  <c:v>-20.409844768456139</c:v>
                </c:pt>
                <c:pt idx="18">
                  <c:v>-18.394960533846344</c:v>
                </c:pt>
                <c:pt idx="19">
                  <c:v>-11.581944413994222</c:v>
                </c:pt>
                <c:pt idx="20">
                  <c:v>-12.442441178038337</c:v>
                </c:pt>
                <c:pt idx="21">
                  <c:v>-14.628318989057306</c:v>
                </c:pt>
                <c:pt idx="22">
                  <c:v>-19.468784696577686</c:v>
                </c:pt>
                <c:pt idx="23">
                  <c:v>-20.628541189693607</c:v>
                </c:pt>
                <c:pt idx="24">
                  <c:v>-18.735311691666197</c:v>
                </c:pt>
                <c:pt idx="25">
                  <c:v>-15.456905006978445</c:v>
                </c:pt>
                <c:pt idx="26">
                  <c:v>-17.066094288767488</c:v>
                </c:pt>
                <c:pt idx="27">
                  <c:v>-17.966517975371914</c:v>
                </c:pt>
              </c:numCache>
            </c:numRef>
          </c:val>
          <c:smooth val="0"/>
          <c:extLst>
            <c:ext xmlns:c16="http://schemas.microsoft.com/office/drawing/2014/chart" uri="{C3380CC4-5D6E-409C-BE32-E72D297353CC}">
              <c16:uniqueId val="{00000003-CA43-0C40-9D6B-A61BA65BEC37}"/>
            </c:ext>
          </c:extLst>
        </c:ser>
        <c:dLbls>
          <c:showLegendKey val="0"/>
          <c:showVal val="0"/>
          <c:showCatName val="0"/>
          <c:showSerName val="0"/>
          <c:showPercent val="0"/>
          <c:showBubbleSize val="0"/>
        </c:dLbls>
        <c:smooth val="0"/>
        <c:axId val="463535423"/>
        <c:axId val="1"/>
      </c:lineChart>
      <c:catAx>
        <c:axId val="4635354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15"/>
          <c:min val="-25"/>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63535423"/>
        <c:crosses val="min"/>
        <c:crossBetween val="midCat"/>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3E98-EC4A-B0E9-BE57928102C9}"/>
              </c:ext>
            </c:extLst>
          </c:dPt>
          <c:dPt>
            <c:idx val="1"/>
            <c:bubble3D val="0"/>
            <c:spPr>
              <a:solidFill>
                <a:schemeClr val="accent2"/>
              </a:solidFill>
              <a:ln w="19050">
                <a:noFill/>
              </a:ln>
              <a:effectLst/>
            </c:spPr>
            <c:extLst>
              <c:ext xmlns:c16="http://schemas.microsoft.com/office/drawing/2014/chart" uri="{C3380CC4-5D6E-409C-BE32-E72D297353CC}">
                <c16:uniqueId val="{00000003-3E98-EC4A-B0E9-BE57928102C9}"/>
              </c:ext>
            </c:extLst>
          </c:dPt>
          <c:dPt>
            <c:idx val="2"/>
            <c:bubble3D val="0"/>
            <c:spPr>
              <a:solidFill>
                <a:schemeClr val="accent2"/>
              </a:solidFill>
              <a:ln w="19050">
                <a:noFill/>
              </a:ln>
              <a:effectLst/>
            </c:spPr>
            <c:extLst>
              <c:ext xmlns:c16="http://schemas.microsoft.com/office/drawing/2014/chart" uri="{C3380CC4-5D6E-409C-BE32-E72D297353CC}">
                <c16:uniqueId val="{00000005-3E98-EC4A-B0E9-BE57928102C9}"/>
              </c:ext>
            </c:extLst>
          </c:dPt>
          <c:dPt>
            <c:idx val="3"/>
            <c:bubble3D val="0"/>
            <c:spPr>
              <a:solidFill>
                <a:schemeClr val="accent4"/>
              </a:solidFill>
              <a:ln w="19050">
                <a:noFill/>
              </a:ln>
              <a:effectLst/>
            </c:spPr>
            <c:extLst>
              <c:ext xmlns:c16="http://schemas.microsoft.com/office/drawing/2014/chart" uri="{C3380CC4-5D6E-409C-BE32-E72D297353CC}">
                <c16:uniqueId val="{00000007-3E98-EC4A-B0E9-BE57928102C9}"/>
              </c:ext>
            </c:extLst>
          </c:dPt>
          <c:cat>
            <c:strRef>
              <c:f>Sheet1!$A$2:$A$5</c:f>
              <c:strCache>
                <c:ptCount val="3"/>
                <c:pt idx="0">
                  <c:v>1st Qtr</c:v>
                </c:pt>
                <c:pt idx="1">
                  <c:v>2nd Qtr</c:v>
                </c:pt>
                <c:pt idx="2">
                  <c:v>3rd Qtr</c:v>
                </c:pt>
              </c:strCache>
            </c:strRef>
          </c:cat>
          <c:val>
            <c:numRef>
              <c:f>Sheet1!$B$2:$B$5</c:f>
              <c:numCache>
                <c:formatCode>General</c:formatCode>
                <c:ptCount val="4"/>
                <c:pt idx="0">
                  <c:v>447</c:v>
                </c:pt>
                <c:pt idx="1">
                  <c:v>447</c:v>
                </c:pt>
                <c:pt idx="2">
                  <c:v>447</c:v>
                </c:pt>
              </c:numCache>
            </c:numRef>
          </c:val>
          <c:extLst>
            <c:ext xmlns:c16="http://schemas.microsoft.com/office/drawing/2014/chart" uri="{C3380CC4-5D6E-409C-BE32-E72D297353CC}">
              <c16:uniqueId val="{00000000-72E5-504D-89A9-8C848873AD2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552845528455284E-3"/>
          <c:y val="9.0999999999999998E-2"/>
          <c:w val="0.98308943089430889"/>
          <c:h val="0.84466666666666668"/>
        </c:manualLayout>
      </c:layout>
      <c:barChart>
        <c:barDir val="col"/>
        <c:grouping val="stacked"/>
        <c:varyColors val="0"/>
        <c:ser>
          <c:idx val="0"/>
          <c:order val="0"/>
          <c:spPr>
            <a:solidFill>
              <a:schemeClr val="accent1">
                <a:lumMod val="75000"/>
              </a:schemeClr>
            </a:solidFill>
            <a:ln>
              <a:noFill/>
            </a:ln>
          </c:spPr>
          <c:invertIfNegative val="0"/>
          <c:dLbls>
            <c:dLbl>
              <c:idx val="0"/>
              <c:layout>
                <c:manualLayout>
                  <c:x val="0"/>
                  <c:y val="-0.14733333333333334"/>
                </c:manualLayout>
              </c:layout>
              <c:numFmt formatCode="#,##0;&quot;-&quot;#,##0" sourceLinked="0"/>
              <c:spPr>
                <a:noFill/>
                <a:ln>
                  <a:noFill/>
                </a:ln>
              </c:spPr>
              <c:txPr>
                <a:bodyPr/>
                <a:lstStyle/>
                <a:p>
                  <a:pPr>
                    <a:defRPr sz="1200" b="1" i="0">
                      <a:latin typeface="Helvetica" pitchFamily="2" charset="0"/>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DB3-478C-9AB3-6CB8904BEF0B}"/>
                </c:ext>
              </c:extLst>
            </c:dLbl>
            <c:dLbl>
              <c:idx val="1"/>
              <c:layout>
                <c:manualLayout>
                  <c:x val="0"/>
                  <c:y val="-0.20766666666666667"/>
                </c:manualLayout>
              </c:layout>
              <c:numFmt formatCode="#,##0;&quot;-&quot;#,##0" sourceLinked="0"/>
              <c:spPr>
                <a:noFill/>
                <a:ln>
                  <a:noFill/>
                </a:ln>
              </c:spPr>
              <c:txPr>
                <a:bodyPr/>
                <a:lstStyle/>
                <a:p>
                  <a:pPr>
                    <a:defRPr sz="1200" b="1" i="0">
                      <a:latin typeface="Helvetica" pitchFamily="2" charset="0"/>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B3-478C-9AB3-6CB8904BEF0B}"/>
                </c:ext>
              </c:extLst>
            </c:dLbl>
            <c:dLbl>
              <c:idx val="2"/>
              <c:layout>
                <c:manualLayout>
                  <c:x val="0"/>
                  <c:y val="-0.20766666666666667"/>
                </c:manualLayout>
              </c:layout>
              <c:numFmt formatCode="#,##0;&quot;-&quot;#,##0" sourceLinked="0"/>
              <c:spPr>
                <a:noFill/>
                <a:ln>
                  <a:noFill/>
                </a:ln>
              </c:spPr>
              <c:txPr>
                <a:bodyPr/>
                <a:lstStyle/>
                <a:p>
                  <a:pPr>
                    <a:defRPr sz="1200" b="1" i="0">
                      <a:latin typeface="Helvetica" pitchFamily="2" charset="0"/>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DB3-478C-9AB3-6CB8904BEF0B}"/>
                </c:ext>
              </c:extLst>
            </c:dLbl>
            <c:dLbl>
              <c:idx val="3"/>
              <c:layout>
                <c:manualLayout>
                  <c:x val="0"/>
                  <c:y val="-0.26800000000000002"/>
                </c:manualLayout>
              </c:layout>
              <c:numFmt formatCode="#,##0;&quot;-&quot;#,##0" sourceLinked="0"/>
              <c:spPr>
                <a:noFill/>
                <a:ln>
                  <a:noFill/>
                </a:ln>
              </c:spPr>
              <c:txPr>
                <a:bodyPr/>
                <a:lstStyle/>
                <a:p>
                  <a:pPr>
                    <a:defRPr sz="1200" b="1" i="0">
                      <a:latin typeface="Helvetica" pitchFamily="2" charset="0"/>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B3-478C-9AB3-6CB8904BEF0B}"/>
                </c:ext>
              </c:extLst>
            </c:dLbl>
            <c:dLbl>
              <c:idx val="4"/>
              <c:layout>
                <c:manualLayout>
                  <c:x val="0"/>
                  <c:y val="-0.32833333333333331"/>
                </c:manualLayout>
              </c:layout>
              <c:numFmt formatCode="#,##0;&quot;-&quot;#,##0" sourceLinked="0"/>
              <c:spPr>
                <a:noFill/>
                <a:ln>
                  <a:noFill/>
                </a:ln>
              </c:spPr>
              <c:txPr>
                <a:bodyPr/>
                <a:lstStyle/>
                <a:p>
                  <a:pPr>
                    <a:defRPr sz="1200" b="1" i="0">
                      <a:latin typeface="Helvetica" pitchFamily="2" charset="0"/>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DB3-478C-9AB3-6CB8904BEF0B}"/>
                </c:ext>
              </c:extLst>
            </c:dLbl>
            <c:dLbl>
              <c:idx val="5"/>
              <c:layout>
                <c:manualLayout>
                  <c:x val="0"/>
                  <c:y val="-0.32833333333333331"/>
                </c:manualLayout>
              </c:layout>
              <c:numFmt formatCode="#,##0;&quot;-&quot;#,##0" sourceLinked="0"/>
              <c:spPr>
                <a:noFill/>
                <a:ln>
                  <a:noFill/>
                </a:ln>
              </c:spPr>
              <c:txPr>
                <a:bodyPr/>
                <a:lstStyle/>
                <a:p>
                  <a:pPr>
                    <a:defRPr sz="1200" b="1" i="0">
                      <a:latin typeface="Helvetica" pitchFamily="2" charset="0"/>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B3-478C-9AB3-6CB8904BEF0B}"/>
                </c:ext>
              </c:extLst>
            </c:dLbl>
            <c:dLbl>
              <c:idx val="6"/>
              <c:layout>
                <c:manualLayout>
                  <c:x val="0"/>
                  <c:y val="-0.38866666666666666"/>
                </c:manualLayout>
              </c:layout>
              <c:numFmt formatCode="#,##0;&quot;-&quot;#,##0" sourceLinked="0"/>
              <c:spPr>
                <a:noFill/>
                <a:ln>
                  <a:noFill/>
                </a:ln>
              </c:spPr>
              <c:txPr>
                <a:bodyPr/>
                <a:lstStyle/>
                <a:p>
                  <a:pPr>
                    <a:defRPr sz="1200" b="1" i="0">
                      <a:latin typeface="Helvetica" pitchFamily="2" charset="0"/>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DB3-478C-9AB3-6CB8904BEF0B}"/>
                </c:ext>
              </c:extLst>
            </c:dLbl>
            <c:dLbl>
              <c:idx val="7"/>
              <c:layout>
                <c:manualLayout>
                  <c:x val="0"/>
                  <c:y val="-0.38866666666666666"/>
                </c:manualLayout>
              </c:layout>
              <c:numFmt formatCode="#,##0;&quot;-&quot;#,##0" sourceLinked="0"/>
              <c:spPr>
                <a:noFill/>
                <a:ln>
                  <a:noFill/>
                </a:ln>
              </c:spPr>
              <c:txPr>
                <a:bodyPr/>
                <a:lstStyle/>
                <a:p>
                  <a:pPr>
                    <a:defRPr sz="1200" b="1" i="0">
                      <a:latin typeface="Helvetica" pitchFamily="2" charset="0"/>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DB3-478C-9AB3-6CB8904BEF0B}"/>
                </c:ext>
              </c:extLst>
            </c:dLbl>
            <c:dLbl>
              <c:idx val="8"/>
              <c:layout>
                <c:manualLayout>
                  <c:x val="0"/>
                  <c:y val="-0.38866666666666666"/>
                </c:manualLayout>
              </c:layout>
              <c:numFmt formatCode="#,##0;&quot;-&quot;#,##0" sourceLinked="0"/>
              <c:spPr>
                <a:noFill/>
                <a:ln>
                  <a:noFill/>
                </a:ln>
              </c:spPr>
              <c:txPr>
                <a:bodyPr/>
                <a:lstStyle/>
                <a:p>
                  <a:pPr>
                    <a:defRPr sz="1200" b="1" i="0">
                      <a:latin typeface="Helvetica" pitchFamily="2" charset="0"/>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DB3-478C-9AB3-6CB8904BEF0B}"/>
                </c:ext>
              </c:extLst>
            </c:dLbl>
            <c:dLbl>
              <c:idx val="9"/>
              <c:layout>
                <c:manualLayout>
                  <c:x val="0"/>
                  <c:y val="-0.44900000000000001"/>
                </c:manualLayout>
              </c:layout>
              <c:numFmt formatCode="#,##0;&quot;-&quot;#,##0" sourceLinked="0"/>
              <c:spPr>
                <a:noFill/>
                <a:ln>
                  <a:noFill/>
                </a:ln>
              </c:spPr>
              <c:txPr>
                <a:bodyPr/>
                <a:lstStyle/>
                <a:p>
                  <a:pPr>
                    <a:defRPr sz="1200" b="1" i="0">
                      <a:latin typeface="Helvetica" pitchFamily="2" charset="0"/>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DB3-478C-9AB3-6CB8904BEF0B}"/>
                </c:ext>
              </c:extLst>
            </c:dLbl>
            <c:spPr>
              <a:noFill/>
              <a:ln>
                <a:noFill/>
              </a:ln>
              <a:effectLst/>
            </c:spPr>
            <c:txPr>
              <a:bodyPr/>
              <a:lstStyle/>
              <a:p>
                <a:pPr>
                  <a:defRPr sz="1200" b="1" i="0">
                    <a:latin typeface="Helvetica" pitchFamily="2" charset="0"/>
                  </a:defRPr>
                </a:pPr>
                <a:endParaRPr lang="nb-NO"/>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2</c:v>
                </c:pt>
                <c:pt idx="1">
                  <c:v>3</c:v>
                </c:pt>
                <c:pt idx="2">
                  <c:v>3</c:v>
                </c:pt>
                <c:pt idx="3">
                  <c:v>4</c:v>
                </c:pt>
                <c:pt idx="4">
                  <c:v>5</c:v>
                </c:pt>
                <c:pt idx="5">
                  <c:v>5</c:v>
                </c:pt>
                <c:pt idx="6">
                  <c:v>6</c:v>
                </c:pt>
                <c:pt idx="7">
                  <c:v>6</c:v>
                </c:pt>
                <c:pt idx="8">
                  <c:v>6</c:v>
                </c:pt>
                <c:pt idx="9">
                  <c:v>7</c:v>
                </c:pt>
              </c:numCache>
            </c:numRef>
          </c:val>
          <c:extLst>
            <c:ext xmlns:c16="http://schemas.microsoft.com/office/drawing/2014/chart" uri="{C3380CC4-5D6E-409C-BE32-E72D297353CC}">
              <c16:uniqueId val="{0000000A-ADB3-478C-9AB3-6CB8904BEF0B}"/>
            </c:ext>
          </c:extLst>
        </c:ser>
        <c:dLbls>
          <c:showLegendKey val="0"/>
          <c:showVal val="0"/>
          <c:showCatName val="0"/>
          <c:showSerName val="0"/>
          <c:showPercent val="0"/>
          <c:showBubbleSize val="0"/>
        </c:dLbls>
        <c:gapWidth val="15"/>
        <c:overlap val="100"/>
        <c:axId val="1298371631"/>
        <c:axId val="1"/>
      </c:barChart>
      <c:catAx>
        <c:axId val="12983716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
          <c:min val="0"/>
        </c:scaling>
        <c:delete val="1"/>
        <c:axPos val="l"/>
        <c:numFmt formatCode="General" sourceLinked="1"/>
        <c:majorTickMark val="out"/>
        <c:minorTickMark val="none"/>
        <c:tickLblPos val="nextTo"/>
        <c:crossAx val="1298371631"/>
        <c:crosses val="min"/>
        <c:crossBetween val="between"/>
      </c:valAx>
    </c:plotArea>
    <c:plotVisOnly val="0"/>
    <c:dispBlanksAs val="gap"/>
    <c:showDLblsOverMax val="1"/>
  </c:chart>
  <c:txPr>
    <a:bodyPr/>
    <a:lstStyle/>
    <a:p>
      <a:pPr>
        <a:defRPr b="0" i="0">
          <a:latin typeface="Helvetica Light" panose="020B0403020202020204" pitchFamily="34" charset="0"/>
        </a:defRPr>
      </a:pPr>
      <a:endParaRPr lang="nb-NO"/>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8"/>
            <c:invertIfNegative val="0"/>
            <c:bubble3D val="0"/>
            <c:spPr>
              <a:solidFill>
                <a:schemeClr val="accent2"/>
              </a:solidFill>
              <a:ln>
                <a:noFill/>
              </a:ln>
              <a:effectLst/>
            </c:spPr>
            <c:extLst>
              <c:ext xmlns:c16="http://schemas.microsoft.com/office/drawing/2014/chart" uri="{C3380CC4-5D6E-409C-BE32-E72D297353CC}">
                <c16:uniqueId val="{00000001-6230-034E-BAAB-25DA3E602A24}"/>
              </c:ext>
            </c:extLst>
          </c:dPt>
          <c:cat>
            <c:strRef>
              <c:f>Sheet1!$A$2:$A$11</c:f>
              <c:strCache>
                <c:ptCount val="10"/>
                <c:pt idx="0">
                  <c:v>Iceland</c:v>
                </c:pt>
                <c:pt idx="1">
                  <c:v>Marks &amp; Spencer</c:v>
                </c:pt>
                <c:pt idx="2">
                  <c:v>Waitrose</c:v>
                </c:pt>
                <c:pt idx="3">
                  <c:v>The Cooperative</c:v>
                </c:pt>
                <c:pt idx="4">
                  <c:v>Lidl</c:v>
                </c:pt>
                <c:pt idx="5">
                  <c:v>Aldi</c:v>
                </c:pt>
                <c:pt idx="6">
                  <c:v>Morrisons</c:v>
                </c:pt>
                <c:pt idx="7">
                  <c:v>ASDA</c:v>
                </c:pt>
                <c:pt idx="8">
                  <c:v>Sainsbury's</c:v>
                </c:pt>
                <c:pt idx="9">
                  <c:v>TESCO</c:v>
                </c:pt>
              </c:strCache>
            </c:strRef>
          </c:cat>
          <c:val>
            <c:numRef>
              <c:f>Sheet1!$B$2:$B$11</c:f>
              <c:numCache>
                <c:formatCode>General</c:formatCode>
                <c:ptCount val="10"/>
                <c:pt idx="0">
                  <c:v>2.2999999999999998</c:v>
                </c:pt>
                <c:pt idx="1">
                  <c:v>3.2</c:v>
                </c:pt>
                <c:pt idx="2">
                  <c:v>4.0999999999999996</c:v>
                </c:pt>
                <c:pt idx="3">
                  <c:v>5.3</c:v>
                </c:pt>
                <c:pt idx="4">
                  <c:v>6.6</c:v>
                </c:pt>
                <c:pt idx="5">
                  <c:v>9.5</c:v>
                </c:pt>
                <c:pt idx="6">
                  <c:v>9.5</c:v>
                </c:pt>
                <c:pt idx="7">
                  <c:v>13.4</c:v>
                </c:pt>
                <c:pt idx="8">
                  <c:v>14.3</c:v>
                </c:pt>
                <c:pt idx="9">
                  <c:v>26.4</c:v>
                </c:pt>
              </c:numCache>
            </c:numRef>
          </c:val>
          <c:extLst>
            <c:ext xmlns:c16="http://schemas.microsoft.com/office/drawing/2014/chart" uri="{C3380CC4-5D6E-409C-BE32-E72D297353CC}">
              <c16:uniqueId val="{00000000-261C-4FB6-A8D8-AFB304552F8C}"/>
            </c:ext>
          </c:extLst>
        </c:ser>
        <c:dLbls>
          <c:showLegendKey val="0"/>
          <c:showVal val="0"/>
          <c:showCatName val="0"/>
          <c:showSerName val="0"/>
          <c:showPercent val="0"/>
          <c:showBubbleSize val="0"/>
        </c:dLbls>
        <c:gapWidth val="49"/>
        <c:overlap val="-33"/>
        <c:axId val="895113423"/>
        <c:axId val="895114383"/>
      </c:barChart>
      <c:catAx>
        <c:axId val="895113423"/>
        <c:scaling>
          <c:orientation val="minMax"/>
        </c:scaling>
        <c:delete val="0"/>
        <c:axPos val="l"/>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Helvetica Light" panose="020B0403020202020204"/>
                <a:ea typeface="+mn-ea"/>
                <a:cs typeface="+mn-cs"/>
              </a:defRPr>
            </a:pPr>
            <a:endParaRPr lang="nb-NO"/>
          </a:p>
        </c:txPr>
        <c:crossAx val="895114383"/>
        <c:crosses val="autoZero"/>
        <c:auto val="1"/>
        <c:lblAlgn val="ctr"/>
        <c:lblOffset val="100"/>
        <c:noMultiLvlLbl val="0"/>
      </c:catAx>
      <c:valAx>
        <c:axId val="895114383"/>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895113423"/>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6"/>
            <c:invertIfNegative val="0"/>
            <c:bubble3D val="0"/>
            <c:spPr>
              <a:solidFill>
                <a:srgbClr val="2832DC"/>
              </a:solidFill>
              <a:ln>
                <a:noFill/>
              </a:ln>
              <a:effectLst/>
            </c:spPr>
            <c:extLst>
              <c:ext xmlns:c16="http://schemas.microsoft.com/office/drawing/2014/chart" uri="{C3380CC4-5D6E-409C-BE32-E72D297353CC}">
                <c16:uniqueId val="{00000000-BF97-AC44-9B43-B0EF065945A1}"/>
              </c:ext>
            </c:extLst>
          </c:dPt>
          <c:dPt>
            <c:idx val="7"/>
            <c:invertIfNegative val="0"/>
            <c:bubble3D val="0"/>
            <c:spPr>
              <a:solidFill>
                <a:srgbClr val="FFB800"/>
              </a:solidFill>
              <a:ln>
                <a:noFill/>
              </a:ln>
              <a:effectLst/>
            </c:spPr>
            <c:extLst>
              <c:ext xmlns:c16="http://schemas.microsoft.com/office/drawing/2014/chart" uri="{C3380CC4-5D6E-409C-BE32-E72D297353CC}">
                <c16:uniqueId val="{00000002-A49F-498C-A682-D42CCFA0CE09}"/>
              </c:ext>
            </c:extLst>
          </c:dPt>
          <c:cat>
            <c:strRef>
              <c:f>Sheet1!$A$2:$A$9</c:f>
              <c:strCache>
                <c:ptCount val="8"/>
                <c:pt idx="0">
                  <c:v>Aldi</c:v>
                </c:pt>
                <c:pt idx="1">
                  <c:v>T. Alcampo</c:v>
                </c:pt>
                <c:pt idx="2">
                  <c:v>Consum</c:v>
                </c:pt>
                <c:pt idx="3">
                  <c:v>Dia Group</c:v>
                </c:pt>
                <c:pt idx="4">
                  <c:v>Eroski Group</c:v>
                </c:pt>
                <c:pt idx="5">
                  <c:v>Lidl</c:v>
                </c:pt>
                <c:pt idx="6">
                  <c:v>Carrefour</c:v>
                </c:pt>
                <c:pt idx="7">
                  <c:v>Mercadona</c:v>
                </c:pt>
              </c:strCache>
            </c:strRef>
          </c:cat>
          <c:val>
            <c:numRef>
              <c:f>Sheet1!$B$2:$B$9</c:f>
              <c:numCache>
                <c:formatCode>General</c:formatCode>
                <c:ptCount val="8"/>
                <c:pt idx="0">
                  <c:v>1.5</c:v>
                </c:pt>
                <c:pt idx="1">
                  <c:v>3.1</c:v>
                </c:pt>
                <c:pt idx="2">
                  <c:v>3.4</c:v>
                </c:pt>
                <c:pt idx="3">
                  <c:v>4.0999999999999996</c:v>
                </c:pt>
                <c:pt idx="4">
                  <c:v>4.4000000000000004</c:v>
                </c:pt>
                <c:pt idx="5">
                  <c:v>6.4</c:v>
                </c:pt>
                <c:pt idx="6">
                  <c:v>9.9</c:v>
                </c:pt>
                <c:pt idx="7">
                  <c:v>26.2</c:v>
                </c:pt>
              </c:numCache>
            </c:numRef>
          </c:val>
          <c:extLst>
            <c:ext xmlns:c16="http://schemas.microsoft.com/office/drawing/2014/chart" uri="{C3380CC4-5D6E-409C-BE32-E72D297353CC}">
              <c16:uniqueId val="{00000000-261C-4FB6-A8D8-AFB304552F8C}"/>
            </c:ext>
          </c:extLst>
        </c:ser>
        <c:dLbls>
          <c:showLegendKey val="0"/>
          <c:showVal val="0"/>
          <c:showCatName val="0"/>
          <c:showSerName val="0"/>
          <c:showPercent val="0"/>
          <c:showBubbleSize val="0"/>
        </c:dLbls>
        <c:gapWidth val="49"/>
        <c:overlap val="-33"/>
        <c:axId val="895113423"/>
        <c:axId val="895114383"/>
      </c:barChart>
      <c:catAx>
        <c:axId val="89511342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Helvetica Light" panose="020B0403020202020204"/>
                <a:ea typeface="+mn-ea"/>
                <a:cs typeface="+mn-cs"/>
              </a:defRPr>
            </a:pPr>
            <a:endParaRPr lang="nb-NO"/>
          </a:p>
        </c:txPr>
        <c:crossAx val="895114383"/>
        <c:crosses val="autoZero"/>
        <c:auto val="1"/>
        <c:lblAlgn val="ctr"/>
        <c:lblOffset val="100"/>
        <c:noMultiLvlLbl val="0"/>
      </c:catAx>
      <c:valAx>
        <c:axId val="895114383"/>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8951134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BC982FB-2E76-4F70-A039-8B4DD371A0FB}" type="datetimeFigureOut">
              <a:rPr lang="en-GB" smtClean="0"/>
              <a:t>20/08/2024</a:t>
            </a:fld>
            <a:endParaRPr lang="en-GB"/>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BC0A51-EEF1-4945-8E37-D9BAF44C1257}" type="slidenum">
              <a:rPr lang="en-GB" smtClean="0"/>
              <a:t>‹#›</a:t>
            </a:fld>
            <a:endParaRPr lang="en-GB"/>
          </a:p>
        </p:txBody>
      </p:sp>
    </p:spTree>
    <p:extLst>
      <p:ext uri="{BB962C8B-B14F-4D97-AF65-F5344CB8AC3E}">
        <p14:creationId xmlns:p14="http://schemas.microsoft.com/office/powerpoint/2010/main" val="15147725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3407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GB"/>
              <a:t>Pressure on disposable </a:t>
            </a:r>
            <a:r>
              <a:rPr lang="en-GB" err="1"/>
              <a:t>househould</a:t>
            </a:r>
            <a:r>
              <a:rPr lang="en-GB"/>
              <a:t> income, leading to growth of discounters, which then pushes supermarkets and high-end grocery retailers to invest more in price than technology</a:t>
            </a:r>
          </a:p>
          <a:p>
            <a:pPr marL="228600" indent="-228600">
              <a:buAutoNum type="arabicPeriod"/>
            </a:pPr>
            <a:r>
              <a:rPr lang="en-GB"/>
              <a:t>With higher interest rate the attractiveness of any investment – all things equal – is diminished. With interest rates going from very low and close to zero, to 4-5%, the shock has certainly been dampening the investment willingness from some retail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47775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3BC0A51-EEF1-4945-8E37-D9BAF44C1257}" type="slidenum">
              <a:rPr lang="en-GB" smtClean="0"/>
              <a:t>14</a:t>
            </a:fld>
            <a:endParaRPr lang="en-GB"/>
          </a:p>
        </p:txBody>
      </p:sp>
    </p:spTree>
    <p:extLst>
      <p:ext uri="{BB962C8B-B14F-4D97-AF65-F5344CB8AC3E}">
        <p14:creationId xmlns:p14="http://schemas.microsoft.com/office/powerpoint/2010/main" val="23216081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GB">
              <a:solidFill>
                <a:srgbClr val="141E50"/>
              </a:solidFill>
              <a:latin typeface="Helvetica Light" panose="020B0403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864412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GB"/>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67749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08135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Three </a:t>
            </a:r>
            <a:r>
              <a:rPr lang="nb-NO" err="1"/>
              <a:t>reaons</a:t>
            </a:r>
            <a:r>
              <a:rPr lang="nb-NO"/>
              <a:t> </a:t>
            </a:r>
            <a:r>
              <a:rPr lang="nb-NO" err="1"/>
              <a:t>why</a:t>
            </a:r>
            <a:r>
              <a:rPr lang="nb-NO"/>
              <a:t> </a:t>
            </a:r>
            <a:r>
              <a:rPr lang="nb-NO" err="1"/>
              <a:t>our</a:t>
            </a:r>
            <a:r>
              <a:rPr lang="nb-NO"/>
              <a:t> </a:t>
            </a:r>
            <a:r>
              <a:rPr lang="nb-NO" err="1"/>
              <a:t>projects</a:t>
            </a:r>
            <a:r>
              <a:rPr lang="nb-NO"/>
              <a:t> </a:t>
            </a:r>
            <a:r>
              <a:rPr lang="nb-NO" err="1"/>
              <a:t>with</a:t>
            </a:r>
            <a:r>
              <a:rPr lang="nb-NO"/>
              <a:t> </a:t>
            </a:r>
            <a:r>
              <a:rPr lang="nb-NO" err="1"/>
              <a:t>these</a:t>
            </a:r>
            <a:r>
              <a:rPr lang="nb-NO"/>
              <a:t> </a:t>
            </a:r>
            <a:r>
              <a:rPr lang="nb-NO" err="1"/>
              <a:t>two</a:t>
            </a:r>
            <a:r>
              <a:rPr lang="nb-NO"/>
              <a:t> </a:t>
            </a:r>
            <a:r>
              <a:rPr lang="nb-NO" err="1"/>
              <a:t>grocery</a:t>
            </a:r>
            <a:r>
              <a:rPr lang="nb-NO"/>
              <a:t> </a:t>
            </a:r>
            <a:r>
              <a:rPr lang="nb-NO" err="1"/>
              <a:t>retailers</a:t>
            </a:r>
            <a:r>
              <a:rPr lang="nb-NO"/>
              <a:t> is so </a:t>
            </a:r>
            <a:r>
              <a:rPr lang="nb-NO" err="1"/>
              <a:t>important</a:t>
            </a:r>
            <a:r>
              <a:rPr lang="nb-NO"/>
              <a:t> (</a:t>
            </a:r>
            <a:r>
              <a:rPr lang="nb-NO" err="1"/>
              <a:t>each</a:t>
            </a:r>
            <a:r>
              <a:rPr lang="nb-NO"/>
              <a:t> </a:t>
            </a:r>
            <a:r>
              <a:rPr lang="nb-NO" err="1"/>
              <a:t>point</a:t>
            </a:r>
            <a:r>
              <a:rPr lang="nb-NO"/>
              <a:t> </a:t>
            </a:r>
            <a:r>
              <a:rPr lang="nb-NO" err="1"/>
              <a:t>on</a:t>
            </a:r>
            <a:r>
              <a:rPr lang="nb-NO"/>
              <a:t> the </a:t>
            </a:r>
            <a:r>
              <a:rPr lang="nb-NO" err="1"/>
              <a:t>next</a:t>
            </a:r>
            <a:r>
              <a:rPr lang="nb-NO"/>
              <a:t> </a:t>
            </a:r>
            <a:r>
              <a:rPr lang="nb-NO" err="1"/>
              <a:t>three</a:t>
            </a:r>
            <a:r>
              <a:rPr lang="nb-NO"/>
              <a:t> slides)</a:t>
            </a:r>
          </a:p>
          <a:p>
            <a:pPr marL="228600" indent="-228600">
              <a:buAutoNum type="arabicPeriod"/>
            </a:pPr>
            <a:r>
              <a:rPr lang="nb-NO"/>
              <a:t>The </a:t>
            </a:r>
            <a:r>
              <a:rPr lang="nb-NO" err="1"/>
              <a:t>sheer</a:t>
            </a:r>
            <a:r>
              <a:rPr lang="nb-NO"/>
              <a:t> </a:t>
            </a:r>
            <a:r>
              <a:rPr lang="nb-NO" err="1"/>
              <a:t>size</a:t>
            </a:r>
            <a:r>
              <a:rPr lang="nb-NO"/>
              <a:t> </a:t>
            </a:r>
            <a:r>
              <a:rPr lang="nb-NO" err="1"/>
              <a:t>of</a:t>
            </a:r>
            <a:r>
              <a:rPr lang="nb-NO"/>
              <a:t> the </a:t>
            </a:r>
            <a:r>
              <a:rPr lang="nb-NO" err="1"/>
              <a:t>project</a:t>
            </a:r>
            <a:r>
              <a:rPr lang="nb-NO"/>
              <a:t> </a:t>
            </a:r>
            <a:r>
              <a:rPr lang="nb-NO" err="1"/>
              <a:t>opportunities</a:t>
            </a:r>
            <a:r>
              <a:rPr lang="nb-NO"/>
              <a:t> in </a:t>
            </a:r>
            <a:r>
              <a:rPr lang="nb-NO" err="1"/>
              <a:t>themselves</a:t>
            </a:r>
            <a:endParaRPr lang="nb-NO"/>
          </a:p>
          <a:p>
            <a:pPr marL="228600" indent="-228600">
              <a:buAutoNum type="arabicPeriod"/>
            </a:pPr>
            <a:r>
              <a:rPr lang="nb-NO"/>
              <a:t>The </a:t>
            </a:r>
            <a:r>
              <a:rPr lang="nb-NO" err="1"/>
              <a:t>upsell</a:t>
            </a:r>
            <a:r>
              <a:rPr lang="nb-NO"/>
              <a:t> </a:t>
            </a:r>
            <a:r>
              <a:rPr lang="nb-NO" err="1"/>
              <a:t>opportunities</a:t>
            </a:r>
            <a:r>
              <a:rPr lang="nb-NO"/>
              <a:t> – </a:t>
            </a:r>
            <a:r>
              <a:rPr lang="nb-NO" err="1"/>
              <a:t>bearing</a:t>
            </a:r>
            <a:r>
              <a:rPr lang="nb-NO"/>
              <a:t> in </a:t>
            </a:r>
            <a:r>
              <a:rPr lang="nb-NO" err="1"/>
              <a:t>mind</a:t>
            </a:r>
            <a:r>
              <a:rPr lang="nb-NO"/>
              <a:t> </a:t>
            </a:r>
            <a:r>
              <a:rPr lang="nb-NO" err="1"/>
              <a:t>we’ve</a:t>
            </a:r>
            <a:r>
              <a:rPr lang="nb-NO"/>
              <a:t> sold </a:t>
            </a:r>
            <a:r>
              <a:rPr lang="nb-NO" err="1"/>
              <a:t>on</a:t>
            </a:r>
            <a:r>
              <a:rPr lang="nb-NO"/>
              <a:t> </a:t>
            </a:r>
            <a:r>
              <a:rPr lang="nb-NO" err="1"/>
              <a:t>average</a:t>
            </a:r>
            <a:r>
              <a:rPr lang="nb-NO"/>
              <a:t> 4.7 </a:t>
            </a:r>
            <a:r>
              <a:rPr lang="nb-NO" err="1"/>
              <a:t>solutions</a:t>
            </a:r>
            <a:r>
              <a:rPr lang="nb-NO"/>
              <a:t> to </a:t>
            </a:r>
            <a:r>
              <a:rPr lang="nb-NO" err="1"/>
              <a:t>our</a:t>
            </a:r>
            <a:r>
              <a:rPr lang="nb-NO"/>
              <a:t> </a:t>
            </a:r>
            <a:r>
              <a:rPr lang="nb-NO" err="1"/>
              <a:t>top</a:t>
            </a:r>
            <a:r>
              <a:rPr lang="nb-NO"/>
              <a:t> 10 </a:t>
            </a:r>
            <a:r>
              <a:rPr lang="nb-NO" err="1"/>
              <a:t>grocery</a:t>
            </a:r>
            <a:r>
              <a:rPr lang="nb-NO"/>
              <a:t> </a:t>
            </a:r>
            <a:r>
              <a:rPr lang="nb-NO" err="1"/>
              <a:t>retailers</a:t>
            </a:r>
            <a:r>
              <a:rPr lang="nb-NO"/>
              <a:t> </a:t>
            </a:r>
            <a:r>
              <a:rPr lang="nb-NO" err="1"/>
              <a:t>that</a:t>
            </a:r>
            <a:r>
              <a:rPr lang="nb-NO"/>
              <a:t> </a:t>
            </a:r>
            <a:r>
              <a:rPr lang="nb-NO" err="1"/>
              <a:t>we’ve</a:t>
            </a:r>
            <a:r>
              <a:rPr lang="nb-NO"/>
              <a:t> </a:t>
            </a:r>
            <a:r>
              <a:rPr lang="nb-NO" err="1"/>
              <a:t>had</a:t>
            </a:r>
            <a:r>
              <a:rPr lang="nb-NO"/>
              <a:t> a long-</a:t>
            </a:r>
            <a:r>
              <a:rPr lang="nb-NO" err="1"/>
              <a:t>standing</a:t>
            </a:r>
            <a:r>
              <a:rPr lang="nb-NO"/>
              <a:t> </a:t>
            </a:r>
            <a:r>
              <a:rPr lang="nb-NO" err="1"/>
              <a:t>relationship</a:t>
            </a:r>
            <a:r>
              <a:rPr lang="nb-NO"/>
              <a:t> </a:t>
            </a:r>
            <a:r>
              <a:rPr lang="nb-NO" err="1"/>
              <a:t>with</a:t>
            </a:r>
            <a:endParaRPr lang="nb-NO"/>
          </a:p>
          <a:p>
            <a:pPr marL="228600" indent="-228600">
              <a:buAutoNum type="arabicPeriod"/>
            </a:pPr>
            <a:r>
              <a:rPr lang="nb-NO"/>
              <a:t>The </a:t>
            </a:r>
            <a:r>
              <a:rPr lang="nb-NO" err="1"/>
              <a:t>authority</a:t>
            </a:r>
            <a:r>
              <a:rPr lang="nb-NO"/>
              <a:t> </a:t>
            </a:r>
            <a:r>
              <a:rPr lang="nb-NO" err="1"/>
              <a:t>that</a:t>
            </a:r>
            <a:r>
              <a:rPr lang="nb-NO"/>
              <a:t> </a:t>
            </a:r>
            <a:r>
              <a:rPr lang="nb-NO" err="1"/>
              <a:t>these</a:t>
            </a:r>
            <a:r>
              <a:rPr lang="nb-NO"/>
              <a:t> major </a:t>
            </a:r>
            <a:r>
              <a:rPr lang="nb-NO" err="1"/>
              <a:t>grocery</a:t>
            </a:r>
            <a:r>
              <a:rPr lang="nb-NO"/>
              <a:t> </a:t>
            </a:r>
            <a:r>
              <a:rPr lang="nb-NO" err="1"/>
              <a:t>retailers</a:t>
            </a:r>
            <a:r>
              <a:rPr lang="nb-NO"/>
              <a:t> </a:t>
            </a:r>
            <a:r>
              <a:rPr lang="nb-NO" err="1"/>
              <a:t>command</a:t>
            </a:r>
            <a:r>
              <a:rPr lang="nb-NO"/>
              <a:t> in </a:t>
            </a:r>
            <a:r>
              <a:rPr lang="nb-NO" err="1"/>
              <a:t>their</a:t>
            </a:r>
            <a:r>
              <a:rPr lang="nb-NO"/>
              <a:t> </a:t>
            </a:r>
            <a:r>
              <a:rPr lang="nb-NO" err="1"/>
              <a:t>home</a:t>
            </a:r>
            <a:r>
              <a:rPr lang="nb-NO"/>
              <a:t> markets (and </a:t>
            </a:r>
            <a:r>
              <a:rPr lang="nb-NO" err="1"/>
              <a:t>beyond</a:t>
            </a:r>
            <a:r>
              <a:rPr lang="nb-NO"/>
              <a:t>) </a:t>
            </a:r>
            <a:r>
              <a:rPr lang="nb-NO" err="1"/>
              <a:t>creates</a:t>
            </a:r>
            <a:r>
              <a:rPr lang="nb-NO"/>
              <a:t> </a:t>
            </a:r>
            <a:r>
              <a:rPr lang="nb-NO" err="1"/>
              <a:t>natural</a:t>
            </a:r>
            <a:r>
              <a:rPr lang="nb-NO"/>
              <a:t> </a:t>
            </a:r>
            <a:r>
              <a:rPr lang="nb-NO" err="1"/>
              <a:t>interest</a:t>
            </a:r>
            <a:r>
              <a:rPr lang="nb-NO"/>
              <a:t> from </a:t>
            </a:r>
            <a:r>
              <a:rPr lang="nb-NO" err="1"/>
              <a:t>other</a:t>
            </a:r>
            <a:r>
              <a:rPr lang="nb-NO"/>
              <a:t>, </a:t>
            </a:r>
            <a:r>
              <a:rPr lang="nb-NO" err="1"/>
              <a:t>significant</a:t>
            </a:r>
            <a:r>
              <a:rPr lang="nb-NO"/>
              <a:t> </a:t>
            </a:r>
            <a:r>
              <a:rPr lang="nb-NO" err="1"/>
              <a:t>retailers</a:t>
            </a:r>
            <a:endParaRPr lang="en-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B0CDDC-3B3C-3A49-AD20-C9FD46D0A96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58496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B0CDDC-3B3C-3A49-AD20-C9FD46D0A96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50180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36108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66994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23986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9686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Serve all the grocery retailers in Norway &amp; Sweden </a:t>
            </a:r>
            <a:r>
              <a:rPr kumimoji="0" lang="en-GB" sz="12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rPr>
              <a:t> amazing starting point</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GB">
                <a:solidFill>
                  <a:srgbClr val="141E50"/>
                </a:solidFill>
                <a:latin typeface="Helvetica Light" panose="020B0403020202020204" pitchFamily="34" charset="0"/>
                <a:sym typeface="Wingdings" pitchFamily="2" charset="2"/>
              </a:rPr>
              <a:t>Took us 30+ years to get there but we are a solid and trusted supplier (hence, the 4.7 solutions on average to top 10 grocery customers)</a:t>
            </a:r>
          </a:p>
          <a:p>
            <a:endParaRPr lang="en-US"/>
          </a:p>
          <a:p>
            <a:pPr>
              <a:defRPr/>
            </a:pPr>
            <a:r>
              <a:rPr lang="en-GB">
                <a:solidFill>
                  <a:srgbClr val="141E50"/>
                </a:solidFill>
                <a:latin typeface="Helvetica Light" panose="020B0403020202020204" pitchFamily="34" charset="0"/>
              </a:rPr>
              <a:t>Position as trusted supplier </a:t>
            </a:r>
            <a:r>
              <a:rPr lang="en-GB">
                <a:solidFill>
                  <a:srgbClr val="141E50"/>
                </a:solidFill>
                <a:latin typeface="Helvetica Light" panose="020B0403020202020204" pitchFamily="34" charset="0"/>
                <a:sym typeface="Wingdings" pitchFamily="2" charset="2"/>
              </a:rPr>
              <a:t> </a:t>
            </a:r>
            <a:r>
              <a:rPr lang="en-GB">
                <a:solidFill>
                  <a:srgbClr val="141E50"/>
                </a:solidFill>
                <a:latin typeface="Helvetica Light" panose="020B0403020202020204" pitchFamily="34" charset="0"/>
              </a:rPr>
              <a:t>long-term prospects remain strong</a:t>
            </a:r>
            <a:endParaRPr kumimoji="0" lang="en-GB" sz="12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R="0" lvl="0" algn="l" defTabSz="914400" rtl="0" eaLnBrk="1" fontAlgn="auto" latinLnBrk="0" hangingPunct="1">
              <a:spcBef>
                <a:spcPts val="0"/>
              </a:spcBef>
              <a:spcAft>
                <a:spcPts val="0"/>
              </a:spcAft>
              <a:buClrTx/>
              <a:buSzTx/>
              <a:tabLst/>
              <a:defRPr/>
            </a:pPr>
            <a:endParaRPr kumimoji="0" lang="en-GB" sz="12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94738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FC market potential should be 100 + 80 = 180 MSEK for 2024-2026 </a:t>
            </a:r>
          </a:p>
          <a:p>
            <a:r>
              <a:rPr lang="en-US"/>
              <a:t>SCO market potential should be 15 + 15 = 30 MSEK for 2024-2026</a:t>
            </a:r>
          </a:p>
          <a:p>
            <a:r>
              <a:rPr lang="en-US"/>
              <a:t>Not sure what we e-commerce means for Norway. Order picking and lockers? If so, only 5 MSEK estimated</a:t>
            </a:r>
          </a:p>
        </p:txBody>
      </p:sp>
      <p:sp>
        <p:nvSpPr>
          <p:cNvPr id="4" name="Slide Number Placeholder 3"/>
          <p:cNvSpPr>
            <a:spLocks noGrp="1"/>
          </p:cNvSpPr>
          <p:nvPr>
            <p:ph type="sldNum" sz="quarter" idx="5"/>
          </p:nvPr>
        </p:nvSpPr>
        <p:spPr/>
        <p:txBody>
          <a:bodyPr/>
          <a:lstStyle/>
          <a:p>
            <a:fld id="{D3BC0A51-EEF1-4945-8E37-D9BAF44C1257}" type="slidenum">
              <a:rPr lang="en-GB" smtClean="0"/>
              <a:t>32</a:t>
            </a:fld>
            <a:endParaRPr lang="en-GB"/>
          </a:p>
        </p:txBody>
      </p:sp>
    </p:spTree>
    <p:extLst>
      <p:ext uri="{BB962C8B-B14F-4D97-AF65-F5344CB8AC3E}">
        <p14:creationId xmlns:p14="http://schemas.microsoft.com/office/powerpoint/2010/main" val="8866742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Bumpy ride as JT alludes to</a:t>
            </a:r>
          </a:p>
          <a:p>
            <a:r>
              <a:rPr lang="en-US">
                <a:ea typeface="Calibri"/>
                <a:cs typeface="Calibri"/>
              </a:rPr>
              <a:t>Moving forward and key principles still in place:</a:t>
            </a:r>
          </a:p>
          <a:p>
            <a:pPr marL="171450" indent="-171450">
              <a:buFont typeface="Calibri"/>
              <a:buChar char="-"/>
            </a:pPr>
            <a:r>
              <a:rPr lang="en-US">
                <a:ea typeface="Calibri"/>
                <a:cs typeface="Calibri"/>
              </a:rPr>
              <a:t>Heritage and history</a:t>
            </a:r>
          </a:p>
          <a:p>
            <a:pPr marL="171450" indent="-171450">
              <a:buFont typeface="Calibri"/>
              <a:buChar char="-"/>
            </a:pPr>
            <a:r>
              <a:rPr lang="en-US">
                <a:ea typeface="Calibri"/>
                <a:cs typeface="Calibri"/>
              </a:rPr>
              <a:t>Strong foundations</a:t>
            </a:r>
          </a:p>
          <a:p>
            <a:pPr marL="171450" indent="-171450">
              <a:buFont typeface="Calibri"/>
              <a:buChar char="-"/>
            </a:pPr>
            <a:r>
              <a:rPr lang="en-US">
                <a:ea typeface="Calibri"/>
                <a:cs typeface="Calibri"/>
              </a:rPr>
              <a:t>Excellent launchpad for strongpoint products</a:t>
            </a:r>
          </a:p>
          <a:p>
            <a:pPr marL="171450" indent="-171450">
              <a:buFont typeface="Calibri"/>
              <a:buChar char="-"/>
            </a:pPr>
            <a:r>
              <a:rPr lang="en-US">
                <a:ea typeface="Calibri"/>
                <a:cs typeface="Calibri"/>
              </a:rPr>
              <a:t>Expanded revenue opportunities through ability to distribute, install, service and mainta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03475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 typeface="Calibri"/>
              <a:buChar char="-"/>
              <a:tabLst/>
              <a:defRPr/>
            </a:pPr>
            <a:r>
              <a:rPr lang="en-GB"/>
              <a:t>Flag to Alex “bolster” – ask if he has any other good ideas. </a:t>
            </a:r>
            <a:endParaRPr lang="en-US">
              <a:cs typeface="Calibri"/>
            </a:endParaRPr>
          </a:p>
          <a:p>
            <a:pPr marL="285750" indent="-285750">
              <a:buFont typeface="Calibri"/>
              <a:buChar char="-"/>
            </a:pPr>
            <a:endParaRPr lang="en-US">
              <a:cs typeface="Calibri"/>
            </a:endParaRPr>
          </a:p>
          <a:p>
            <a:pPr marL="285750" indent="-285750">
              <a:buFont typeface="Calibri"/>
              <a:buChar char="-"/>
            </a:pPr>
            <a:endParaRPr lang="en-US">
              <a:cs typeface="Calibri"/>
            </a:endParaRPr>
          </a:p>
          <a:p>
            <a:pPr marL="285750" indent="-285750">
              <a:buFont typeface="Calibri"/>
              <a:buChar char="-"/>
            </a:pPr>
            <a:endParaRPr lang="en-US">
              <a:cs typeface="Calibri"/>
            </a:endParaRPr>
          </a:p>
          <a:p>
            <a:pPr marL="285750" indent="-285750">
              <a:buFont typeface="Calibri"/>
              <a:buChar char="-"/>
            </a:pPr>
            <a:r>
              <a:rPr lang="en-US">
                <a:cs typeface="Calibri"/>
              </a:rPr>
              <a:t>Strong network of contacts and good track record until recent times.</a:t>
            </a:r>
          </a:p>
          <a:p>
            <a:pPr marL="285750" indent="-285750">
              <a:buFont typeface="Calibri"/>
              <a:buChar char="-"/>
            </a:pPr>
            <a:r>
              <a:rPr lang="en-US">
                <a:cs typeface="Calibri"/>
              </a:rPr>
              <a:t>Laser focus on improved delivery and quality in execution</a:t>
            </a:r>
            <a:endParaRPr lang="en-US">
              <a:ea typeface="Calibri"/>
              <a:cs typeface="Calibri"/>
            </a:endParaRPr>
          </a:p>
          <a:p>
            <a:pPr marL="285750" indent="-285750">
              <a:buFont typeface="Calibri"/>
              <a:buChar char="-"/>
            </a:pPr>
            <a:r>
              <a:rPr lang="en-US">
                <a:ea typeface="Calibri"/>
                <a:cs typeface="Calibri"/>
              </a:rPr>
              <a:t>Strengthen existing relationships, expand our reach and grow customer base from a position of strength.</a:t>
            </a:r>
          </a:p>
          <a:p>
            <a:pPr marL="285750" indent="-285750">
              <a:buFont typeface="Calibri"/>
              <a:buChar char="-"/>
            </a:pPr>
            <a:r>
              <a:rPr lang="en-US">
                <a:ea typeface="Calibri"/>
                <a:cs typeface="Calibri"/>
              </a:rPr>
              <a:t>Targeted sales approach</a:t>
            </a:r>
          </a:p>
          <a:p>
            <a:pPr marL="285750" indent="-285750">
              <a:buFont typeface="Calibri"/>
              <a:buChar char="-"/>
            </a:pPr>
            <a:r>
              <a:rPr lang="en-US">
                <a:ea typeface="Calibri"/>
                <a:cs typeface="Calibri"/>
              </a:rPr>
              <a:t>Right </a:t>
            </a:r>
            <a:r>
              <a:rPr lang="en-US" err="1">
                <a:ea typeface="Calibri"/>
                <a:cs typeface="Calibri"/>
              </a:rPr>
              <a:t>Custome</a:t>
            </a:r>
            <a:r>
              <a:rPr lang="en-US">
                <a:ea typeface="Calibri"/>
                <a:cs typeface="Calibri"/>
              </a:rPr>
              <a:t>, Right Product, Right time (aligning sales, budget and existing contract timings)</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40184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250000"/>
              </a:lnSpc>
            </a:pPr>
            <a:r>
              <a:rPr lang="en-GB"/>
              <a:t>UK national minimum wage increases 9.8% April 24</a:t>
            </a:r>
            <a:endParaRPr lang="en-US"/>
          </a:p>
          <a:p>
            <a:pPr>
              <a:lnSpc>
                <a:spcPct val="250000"/>
              </a:lnSpc>
            </a:pPr>
            <a:r>
              <a:rPr lang="en-GB"/>
              <a:t>Asda announced 8.4% hourly rate increase (£150m </a:t>
            </a:r>
            <a:r>
              <a:rPr lang="en-GB" err="1"/>
              <a:t>p.a</a:t>
            </a:r>
            <a:r>
              <a:rPr lang="en-GB"/>
              <a:t>)</a:t>
            </a:r>
            <a:endParaRPr lang="en-US"/>
          </a:p>
          <a:p>
            <a:pPr>
              <a:lnSpc>
                <a:spcPct val="250000"/>
              </a:lnSpc>
            </a:pPr>
            <a:r>
              <a:rPr lang="en-GB"/>
              <a:t>Sainsburys aiming to remove £1B of cost </a:t>
            </a:r>
            <a:endParaRPr lang="en-US"/>
          </a:p>
          <a:p>
            <a:pPr>
              <a:lnSpc>
                <a:spcPct val="250000"/>
              </a:lnSpc>
            </a:pPr>
            <a:r>
              <a:rPr lang="en-GB"/>
              <a:t>UK retail theft estimated at £7.9B in 2023</a:t>
            </a:r>
            <a:endParaRPr lang="en-US"/>
          </a:p>
          <a:p>
            <a:pPr>
              <a:lnSpc>
                <a:spcPct val="250000"/>
              </a:lnSpc>
            </a:pPr>
            <a:r>
              <a:rPr lang="en-GB"/>
              <a:t>32% increase from 2022</a:t>
            </a:r>
            <a:endParaRPr lang="en-US"/>
          </a:p>
          <a:p>
            <a:pPr>
              <a:lnSpc>
                <a:spcPct val="250000"/>
              </a:lnSpc>
            </a:pPr>
            <a:r>
              <a:rPr lang="en-GB"/>
              <a:t>1.3k daily reported incidents of theft &amp; violence</a:t>
            </a:r>
            <a:endParaRPr lang="en-US"/>
          </a:p>
          <a:p>
            <a:endParaRPr lang="en-GB">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74124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Order picking – everyone but the discounters. Sainsburys is a huge strategic win but it won't be the last. Fear of missing out</a:t>
            </a:r>
          </a:p>
          <a:p>
            <a:r>
              <a:rPr lang="en-US">
                <a:ea typeface="Calibri"/>
                <a:cs typeface="Calibri"/>
              </a:rPr>
              <a:t>SCO – Everyone has tried it, is aware of it and has existing contracts. Align our sales strategy to contract expiries and continue to push for hardware, install and service revenue.</a:t>
            </a:r>
          </a:p>
          <a:p>
            <a:r>
              <a:rPr lang="en-US" err="1">
                <a:ea typeface="Calibri"/>
                <a:cs typeface="Calibri"/>
              </a:rPr>
              <a:t>Vensafe</a:t>
            </a:r>
            <a:r>
              <a:rPr lang="en-US">
                <a:ea typeface="Calibri"/>
                <a:cs typeface="Calibri"/>
              </a:rPr>
              <a:t> – Entirely untapped market in the UK. Slightly different way of shopping but can also increase merchandising standards, reduce sales friction and improve customer journey</a:t>
            </a:r>
          </a:p>
          <a:p>
            <a:r>
              <a:rPr lang="en-US">
                <a:ea typeface="Calibri"/>
                <a:cs typeface="Calibri"/>
              </a:rPr>
              <a:t>ESL – market is about to tip and improved business case of Pick – by – light is really compelling to grocers who've struggled to scale any solution</a:t>
            </a:r>
          </a:p>
          <a:p>
            <a:r>
              <a:rPr lang="en-US">
                <a:ea typeface="Calibri"/>
                <a:cs typeface="Calibri"/>
              </a:rPr>
              <a:t>MFC – Takes a large strategic shift and higher investment but can be the fastest route to the most profitable online grocery proposition</a:t>
            </a:r>
          </a:p>
          <a:p>
            <a:r>
              <a:rPr lang="en-US">
                <a:ea typeface="Calibri"/>
                <a:cs typeface="Calibri"/>
              </a:rPr>
              <a:t>Lockers – False start in the UK with poor location strategy and under developed technology. Legislation changes would be a gamechanger but the most convenient, cost effective operating model in Click &amp; Collect</a:t>
            </a:r>
          </a:p>
          <a:p>
            <a:endParaRPr lang="en-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25561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Account growth is easier if we are doing a good job.</a:t>
            </a:r>
          </a:p>
          <a:p>
            <a:r>
              <a:rPr lang="en-US">
                <a:ea typeface="Calibri"/>
                <a:cs typeface="Calibri"/>
              </a:rPr>
              <a:t>Initial focus on high quality delivery of order picking</a:t>
            </a:r>
          </a:p>
          <a:p>
            <a:r>
              <a:rPr lang="en-US">
                <a:ea typeface="Calibri"/>
                <a:cs typeface="Calibri"/>
              </a:rPr>
              <a:t>Move forwarded complimentary solutions and advance conversations cross functionally</a:t>
            </a:r>
          </a:p>
          <a:p>
            <a:r>
              <a:rPr lang="en-US">
                <a:ea typeface="Calibri"/>
                <a:cs typeface="Calibri"/>
              </a:rPr>
              <a:t>Demonstrate economies of scale as we move to 4.7 solutions with Sainsburys</a:t>
            </a:r>
          </a:p>
          <a:p>
            <a:r>
              <a:rPr lang="en-US">
                <a:ea typeface="Calibri"/>
                <a:cs typeface="Calibri"/>
              </a:rPr>
              <a:t>Foster a partnership relationship to remain as a supplier of choic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03247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a:spcBef>
                <a:spcPts val="0"/>
              </a:spcBef>
              <a:spcAft>
                <a:spcPts val="0"/>
              </a:spcAft>
            </a:pPr>
            <a:r>
              <a:rPr lang="en-GB" sz="1200" noProof="0">
                <a:effectLst/>
                <a:latin typeface="UICTFontTextStyleBody"/>
              </a:rPr>
              <a:t>Today, only the 15% of our business in Spain comes from Grocery retailers.</a:t>
            </a:r>
          </a:p>
          <a:p>
            <a:pPr marL="0" marR="0">
              <a:spcBef>
                <a:spcPts val="0"/>
              </a:spcBef>
              <a:spcAft>
                <a:spcPts val="0"/>
              </a:spcAft>
            </a:pPr>
            <a:endParaRPr lang="en-GB" sz="1200" noProof="0">
              <a:effectLst/>
              <a:latin typeface="UICTFontTextStyleBody"/>
            </a:endParaRPr>
          </a:p>
          <a:p>
            <a:pPr marL="0" marR="0">
              <a:spcBef>
                <a:spcPts val="0"/>
              </a:spcBef>
              <a:spcAft>
                <a:spcPts val="0"/>
              </a:spcAft>
            </a:pPr>
            <a:r>
              <a:rPr lang="en-GB" sz="1200" noProof="0">
                <a:effectLst/>
                <a:latin typeface="Calibri" panose="020F0502020204030204" pitchFamily="34" charset="0"/>
              </a:rPr>
              <a:t>We have been successful with our 4.7 strategy with customers like </a:t>
            </a:r>
            <a:r>
              <a:rPr lang="en-GB" sz="1200" noProof="0" err="1">
                <a:effectLst/>
                <a:latin typeface="Calibri" panose="020F0502020204030204" pitchFamily="34" charset="0"/>
              </a:rPr>
              <a:t>Alimerka</a:t>
            </a:r>
            <a:r>
              <a:rPr lang="en-GB" sz="1200" noProof="0">
                <a:effectLst/>
                <a:latin typeface="Calibri" panose="020F0502020204030204" pitchFamily="34" charset="0"/>
              </a:rPr>
              <a:t> or </a:t>
            </a:r>
            <a:r>
              <a:rPr lang="en-GB" sz="1200" noProof="0" err="1">
                <a:effectLst/>
                <a:latin typeface="Calibri" panose="020F0502020204030204" pitchFamily="34" charset="0"/>
              </a:rPr>
              <a:t>TuSuper</a:t>
            </a:r>
            <a:r>
              <a:rPr lang="en-GB" sz="1200" noProof="0">
                <a:effectLst/>
                <a:latin typeface="Calibri" panose="020F0502020204030204" pitchFamily="34" charset="0"/>
              </a:rPr>
              <a:t> where we have already sold 4 and 5 of our solutions respectively.</a:t>
            </a:r>
          </a:p>
          <a:p>
            <a:pPr marL="0" marR="0">
              <a:spcBef>
                <a:spcPts val="0"/>
              </a:spcBef>
              <a:spcAft>
                <a:spcPts val="0"/>
              </a:spcAft>
            </a:pPr>
            <a:endParaRPr lang="en-GB" sz="1200" noProof="0">
              <a:effectLst/>
              <a:latin typeface="Calibri" panose="020F0502020204030204" pitchFamily="34" charset="0"/>
            </a:endParaRPr>
          </a:p>
          <a:p>
            <a:pPr marL="0" marR="0">
              <a:spcBef>
                <a:spcPts val="0"/>
              </a:spcBef>
              <a:spcAft>
                <a:spcPts val="0"/>
              </a:spcAft>
            </a:pPr>
            <a:r>
              <a:rPr lang="en-GB" sz="1200" noProof="0">
                <a:effectLst/>
                <a:latin typeface="Calibri" panose="020F0502020204030204" pitchFamily="34" charset="0"/>
              </a:rPr>
              <a:t>BUT, </a:t>
            </a:r>
            <a:r>
              <a:rPr lang="en-GB" sz="1200" noProof="0">
                <a:effectLst/>
                <a:latin typeface="UICTFontTextStyleBody"/>
              </a:rPr>
              <a:t>most of our business is still related to </a:t>
            </a:r>
            <a:r>
              <a:rPr lang="en-GB" sz="1200" noProof="0" err="1">
                <a:effectLst/>
                <a:latin typeface="UICTFontTextStyleBody"/>
              </a:rPr>
              <a:t>CashGuard</a:t>
            </a:r>
            <a:r>
              <a:rPr lang="en-GB" sz="1200" noProof="0">
                <a:effectLst/>
                <a:latin typeface="UICTFontTextStyleBody"/>
              </a:rPr>
              <a:t> for HORECA sector.</a:t>
            </a:r>
          </a:p>
          <a:p>
            <a:pPr marL="0" marR="0">
              <a:spcBef>
                <a:spcPts val="0"/>
              </a:spcBef>
              <a:spcAft>
                <a:spcPts val="0"/>
              </a:spcAft>
            </a:pPr>
            <a:endParaRPr lang="en-GB" sz="1200" noProof="0">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noProof="0">
                <a:effectLst/>
                <a:latin typeface="Calibri" panose="020F0502020204030204" pitchFamily="34" charset="0"/>
              </a:rPr>
              <a:t>This is changing, for the last 3 years we have been able to sell a first solution up to 5 new grocery retailers, and we are piloting some of our solutions into another 5, from a list of around 50 grocery retailers in Spa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noProof="0">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noProof="0" err="1">
                <a:effectLst/>
                <a:latin typeface="Calibri" panose="020F0502020204030204" pitchFamily="34" charset="0"/>
              </a:rPr>
              <a:t>Mercadona</a:t>
            </a:r>
            <a:r>
              <a:rPr lang="en-GB" sz="1200" noProof="0">
                <a:effectLst/>
                <a:latin typeface="Calibri" panose="020F0502020204030204" pitchFamily="34" charset="0"/>
              </a:rPr>
              <a:t> will be our door opener as certainly we will have lot of potential only for Cash Management to other grocery retailers. </a:t>
            </a:r>
          </a:p>
          <a:p>
            <a:pPr marL="0" marR="0">
              <a:spcBef>
                <a:spcPts val="0"/>
              </a:spcBef>
              <a:spcAft>
                <a:spcPts val="0"/>
              </a:spcAft>
            </a:pPr>
            <a:r>
              <a:rPr lang="en-GB" sz="1200" noProof="0">
                <a:effectLst/>
                <a:latin typeface="Calibri" panose="020F0502020204030204" pitchFamily="34" charset="0"/>
              </a:rPr>
              <a:t> </a:t>
            </a:r>
          </a:p>
          <a:p>
            <a:pPr marL="0" marR="0">
              <a:spcBef>
                <a:spcPts val="0"/>
              </a:spcBef>
              <a:spcAft>
                <a:spcPts val="0"/>
              </a:spcAft>
            </a:pPr>
            <a:r>
              <a:rPr lang="en-GB" sz="1200" noProof="0">
                <a:effectLst/>
                <a:latin typeface="Calibri" panose="020F0502020204030204" pitchFamily="34" charset="0"/>
              </a:rPr>
              <a:t>The sign of trust by serving the biggest grocery retailer means that any concern about us being "new" is gone and therefore we will be completely focus on grocery retail growth.</a:t>
            </a:r>
          </a:p>
          <a:p>
            <a:endParaRPr lang="es-ES"/>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22008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Note to Lorena: Start with… faster and easier for staffed checkouts… then you can connect Self-Checkout. What you did NOT see is in the back office…</a:t>
            </a:r>
          </a:p>
          <a:p>
            <a:pPr marL="0" indent="0">
              <a:buFontTx/>
              <a:buNone/>
            </a:pPr>
            <a:endParaRPr lang="en-GB"/>
          </a:p>
          <a:p>
            <a:pPr marL="0" indent="0">
              <a:buFontTx/>
              <a:buNone/>
            </a:pPr>
            <a:endParaRPr lang="en-GB"/>
          </a:p>
          <a:p>
            <a:pPr marL="0" indent="0">
              <a:buFontTx/>
              <a:buNone/>
            </a:pPr>
            <a:endParaRPr lang="en-GB"/>
          </a:p>
          <a:p>
            <a:pPr marL="0" indent="0">
              <a:buFontTx/>
              <a:buNone/>
            </a:pPr>
            <a:r>
              <a:rPr lang="en-GB"/>
              <a:t>This is how the solutions are connected</a:t>
            </a:r>
          </a:p>
          <a:p>
            <a:pPr marL="0" indent="0">
              <a:buFontTx/>
              <a:buNone/>
            </a:pPr>
            <a:endParaRPr lang="en-GB"/>
          </a:p>
          <a:p>
            <a:pPr marL="0" marR="0">
              <a:spcBef>
                <a:spcPts val="0"/>
              </a:spcBef>
              <a:spcAft>
                <a:spcPts val="0"/>
              </a:spcAft>
            </a:pPr>
            <a:r>
              <a:rPr lang="en-US" sz="1800" noProof="0">
                <a:effectLst/>
                <a:latin typeface="UICTFontTextStyleBody"/>
              </a:rPr>
              <a:t>We have achieved to develop exactly the vision of </a:t>
            </a:r>
            <a:r>
              <a:rPr lang="en-US" sz="1800" noProof="0" err="1">
                <a:effectLst/>
                <a:latin typeface="UICTFontTextStyleBody"/>
              </a:rPr>
              <a:t>Mercadona’s</a:t>
            </a:r>
            <a:r>
              <a:rPr lang="en-US" sz="1800" noProof="0">
                <a:effectLst/>
                <a:latin typeface="UICTFontTextStyleBody"/>
              </a:rPr>
              <a:t> president: to send from customer’s hands all the cash through the existing pneumatic tube systems to an automated safe in the back-office area, thanks to a blister that flies through the tubes automatically when a certain quantity of money is reached. </a:t>
            </a:r>
          </a:p>
          <a:p>
            <a:pPr marL="0" marR="0">
              <a:spcBef>
                <a:spcPts val="0"/>
              </a:spcBef>
              <a:spcAft>
                <a:spcPts val="0"/>
              </a:spcAft>
            </a:pPr>
            <a:r>
              <a:rPr lang="en-US" sz="1800" noProof="0">
                <a:effectLst/>
                <a:latin typeface="Calibri" panose="020F0502020204030204" pitchFamily="34" charset="0"/>
              </a:rPr>
              <a:t> </a:t>
            </a:r>
          </a:p>
          <a:p>
            <a:pPr marL="0" marR="0">
              <a:spcBef>
                <a:spcPts val="0"/>
              </a:spcBef>
              <a:spcAft>
                <a:spcPts val="0"/>
              </a:spcAft>
            </a:pPr>
            <a:r>
              <a:rPr lang="en-US" sz="1800" noProof="0">
                <a:effectLst/>
                <a:latin typeface="UICTFontTextStyleBody"/>
              </a:rPr>
              <a:t>After 3 years of development with a constant follow-up from the client we have achieved a very important first milestone where we have been able to confirm: the positive reactions from all the employees and management</a:t>
            </a:r>
          </a:p>
          <a:p>
            <a:pPr marL="0" marR="0">
              <a:spcBef>
                <a:spcPts val="0"/>
              </a:spcBef>
              <a:spcAft>
                <a:spcPts val="0"/>
              </a:spcAft>
            </a:pPr>
            <a:r>
              <a:rPr lang="en-US" sz="1800" noProof="0">
                <a:effectLst/>
                <a:latin typeface="UICTFontTextStyleBody"/>
              </a:rPr>
              <a:t>and even more important the customer or Boss (how they call them) feedback which has been massively positive. </a:t>
            </a:r>
          </a:p>
          <a:p>
            <a:pPr marL="0" marR="0">
              <a:spcBef>
                <a:spcPts val="0"/>
              </a:spcBef>
              <a:spcAft>
                <a:spcPts val="0"/>
              </a:spcAft>
            </a:pPr>
            <a:r>
              <a:rPr lang="en-US" sz="1800" noProof="0">
                <a:effectLst/>
                <a:latin typeface="Calibri" panose="020F0502020204030204" pitchFamily="34" charset="0"/>
              </a:rPr>
              <a:t> </a:t>
            </a:r>
          </a:p>
          <a:p>
            <a:pPr marL="0" marR="0">
              <a:spcBef>
                <a:spcPts val="0"/>
              </a:spcBef>
              <a:spcAft>
                <a:spcPts val="0"/>
              </a:spcAft>
            </a:pPr>
            <a:r>
              <a:rPr lang="en-US" sz="1800" noProof="0">
                <a:effectLst/>
                <a:latin typeface="UICTFontTextStyleBody"/>
              </a:rPr>
              <a:t>This is going to be an absolute success to </a:t>
            </a:r>
            <a:r>
              <a:rPr lang="en-US" sz="1800" noProof="0" err="1">
                <a:effectLst/>
                <a:latin typeface="UICTFontTextStyleBody"/>
              </a:rPr>
              <a:t>Mercadona</a:t>
            </a:r>
            <a:r>
              <a:rPr lang="en-US" sz="1800" noProof="0">
                <a:effectLst/>
                <a:latin typeface="UICTFontTextStyleBody"/>
              </a:rPr>
              <a:t> and other grocery retailers, I am sure. </a:t>
            </a:r>
          </a:p>
          <a:p>
            <a:pPr marL="0" marR="0">
              <a:spcBef>
                <a:spcPts val="0"/>
              </a:spcBef>
              <a:spcAft>
                <a:spcPts val="0"/>
              </a:spcAft>
            </a:pPr>
            <a:r>
              <a:rPr lang="en-US" sz="1800" noProof="0">
                <a:effectLst/>
                <a:latin typeface="Calibri" panose="020F0502020204030204" pitchFamily="34" charset="0"/>
              </a:rPr>
              <a:t> </a:t>
            </a:r>
          </a:p>
          <a:p>
            <a:pPr marL="0" marR="0">
              <a:spcBef>
                <a:spcPts val="0"/>
              </a:spcBef>
              <a:spcAft>
                <a:spcPts val="0"/>
              </a:spcAft>
            </a:pPr>
            <a:r>
              <a:rPr lang="en-US" sz="1800" noProof="0">
                <a:effectLst/>
                <a:latin typeface="UICTFontTextStyleBody"/>
              </a:rPr>
              <a:t>We control the IP by having exclusive and perpetual rights to sell the solution to all the relevant segments for </a:t>
            </a:r>
            <a:r>
              <a:rPr lang="en-US" sz="1800" noProof="0" err="1">
                <a:effectLst/>
                <a:latin typeface="UICTFontTextStyleBody"/>
              </a:rPr>
              <a:t>StronPoint</a:t>
            </a:r>
            <a:r>
              <a:rPr lang="en-US" sz="1800" noProof="0">
                <a:effectLst/>
                <a:latin typeface="UICTFontTextStyleBody"/>
              </a:rPr>
              <a:t>. </a:t>
            </a:r>
          </a:p>
          <a:p>
            <a:pPr marL="0" marR="0">
              <a:spcBef>
                <a:spcPts val="0"/>
              </a:spcBef>
              <a:spcAft>
                <a:spcPts val="0"/>
              </a:spcAft>
            </a:pPr>
            <a:r>
              <a:rPr lang="en-US" sz="1800" noProof="0">
                <a:effectLst/>
                <a:latin typeface="Calibri" panose="020F0502020204030204" pitchFamily="34" charset="0"/>
              </a:rPr>
              <a:t> </a:t>
            </a:r>
          </a:p>
          <a:p>
            <a:pPr marL="0" marR="0">
              <a:spcBef>
                <a:spcPts val="0"/>
              </a:spcBef>
              <a:spcAft>
                <a:spcPts val="0"/>
              </a:spcAft>
            </a:pPr>
            <a:r>
              <a:rPr lang="en-US" sz="1800" noProof="0">
                <a:effectLst/>
                <a:latin typeface="UICTFontTextStyleBody"/>
              </a:rPr>
              <a:t>Also, the agreement with our partner allows us to acquire the remaining 40% of the Joint Venture society at a fixed defined price</a:t>
            </a:r>
            <a:r>
              <a:rPr lang="es-ES" sz="1800">
                <a:effectLst/>
                <a:latin typeface="UICTFontTextStyleBody"/>
              </a:rPr>
              <a:t>. </a:t>
            </a:r>
          </a:p>
          <a:p>
            <a:pPr marL="0" marR="0">
              <a:spcBef>
                <a:spcPts val="0"/>
              </a:spcBef>
              <a:spcAft>
                <a:spcPts val="0"/>
              </a:spcAft>
            </a:pPr>
            <a:endParaRPr lang="es-ES" sz="1800">
              <a:effectLst/>
              <a:latin typeface="UICTFontTextStyleBody"/>
            </a:endParaRPr>
          </a:p>
          <a:p>
            <a:pPr marL="0" marR="0">
              <a:spcBef>
                <a:spcPts val="0"/>
              </a:spcBef>
              <a:spcAft>
                <a:spcPts val="0"/>
              </a:spcAft>
            </a:pPr>
            <a:r>
              <a:rPr lang="es-ES" sz="1800">
                <a:effectLst/>
                <a:latin typeface="Calibri" panose="020F0502020204030204" pitchFamily="34" charset="0"/>
              </a:rPr>
              <a:t>I</a:t>
            </a:r>
            <a:r>
              <a:rPr lang="en-GB"/>
              <a:t>n the future, we will be able to easily integrate our </a:t>
            </a:r>
            <a:r>
              <a:rPr lang="en-GB" err="1"/>
              <a:t>CashGuard</a:t>
            </a:r>
            <a:r>
              <a:rPr lang="en-GB"/>
              <a:t> Connect into self-checkout systems, offering again a unique solution to the marke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16119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a:spcBef>
                <a:spcPts val="0"/>
              </a:spcBef>
              <a:spcAft>
                <a:spcPts val="0"/>
              </a:spcAft>
            </a:pPr>
            <a:r>
              <a:rPr lang="en-US" sz="1800" noProof="0">
                <a:effectLst/>
                <a:latin typeface="Calibri" panose="020F0502020204030204" pitchFamily="34" charset="0"/>
              </a:rPr>
              <a:t>Benefits are very wide: </a:t>
            </a:r>
          </a:p>
          <a:p>
            <a:pPr marL="0" marR="0">
              <a:spcBef>
                <a:spcPts val="0"/>
              </a:spcBef>
              <a:spcAft>
                <a:spcPts val="0"/>
              </a:spcAft>
            </a:pPr>
            <a:r>
              <a:rPr lang="en-US" sz="1800" noProof="0">
                <a:effectLst/>
                <a:latin typeface="Calibri" panose="020F0502020204030204" pitchFamily="34" charset="0"/>
              </a:rPr>
              <a:t> </a:t>
            </a:r>
          </a:p>
          <a:p>
            <a:pPr marL="0" marR="0">
              <a:spcBef>
                <a:spcPts val="0"/>
              </a:spcBef>
              <a:spcAft>
                <a:spcPts val="0"/>
              </a:spcAft>
            </a:pPr>
            <a:r>
              <a:rPr lang="en-US" sz="1800" noProof="0">
                <a:effectLst/>
                <a:latin typeface="Calibri" panose="020F0502020204030204" pitchFamily="34" charset="0"/>
              </a:rPr>
              <a:t>The total cost of managing cash is hugely optimized as we are achieving zero manual touch points for staff and the number of pickups from the cash in transit company is reduced.</a:t>
            </a:r>
          </a:p>
          <a:p>
            <a:pPr marL="0" marR="0">
              <a:spcBef>
                <a:spcPts val="0"/>
              </a:spcBef>
              <a:spcAft>
                <a:spcPts val="0"/>
              </a:spcAft>
            </a:pPr>
            <a:r>
              <a:rPr lang="en-US" sz="1800" noProof="0">
                <a:effectLst/>
                <a:latin typeface="Calibri" panose="020F0502020204030204" pitchFamily="34" charset="0"/>
              </a:rPr>
              <a:t> </a:t>
            </a:r>
          </a:p>
          <a:p>
            <a:pPr marL="0" marR="0">
              <a:spcBef>
                <a:spcPts val="0"/>
              </a:spcBef>
              <a:spcAft>
                <a:spcPts val="0"/>
              </a:spcAft>
            </a:pPr>
            <a:r>
              <a:rPr lang="en-US" sz="1800" noProof="0">
                <a:effectLst/>
                <a:latin typeface="Calibri" panose="020F0502020204030204" pitchFamily="34" charset="0"/>
              </a:rPr>
              <a:t>On top, transactions are much faster improving not only the customer experience but optimizing the total staff dedicated to this process. </a:t>
            </a:r>
          </a:p>
          <a:p>
            <a:pPr marL="0" marR="0">
              <a:spcBef>
                <a:spcPts val="0"/>
              </a:spcBef>
              <a:spcAft>
                <a:spcPts val="0"/>
              </a:spcAft>
            </a:pPr>
            <a:r>
              <a:rPr lang="en-US" sz="1800" noProof="0">
                <a:effectLst/>
                <a:latin typeface="Calibri" panose="020F0502020204030204" pitchFamily="34" charset="0"/>
              </a:rPr>
              <a:t> </a:t>
            </a:r>
          </a:p>
          <a:p>
            <a:pPr marL="0" marR="0">
              <a:spcBef>
                <a:spcPts val="0"/>
              </a:spcBef>
              <a:spcAft>
                <a:spcPts val="0"/>
              </a:spcAft>
            </a:pPr>
            <a:r>
              <a:rPr lang="en-US" sz="1800" noProof="0">
                <a:effectLst/>
                <a:latin typeface="Calibri" panose="020F0502020204030204" pitchFamily="34" charset="0"/>
              </a:rPr>
              <a:t>Handling cash is now as easy as handling card payments from employees. Now they have time to better assist the customers and even start bagging their goods</a:t>
            </a:r>
          </a:p>
          <a:p>
            <a:pPr marL="0" marR="0">
              <a:spcBef>
                <a:spcPts val="0"/>
              </a:spcBef>
              <a:spcAft>
                <a:spcPts val="0"/>
              </a:spcAft>
            </a:pPr>
            <a:r>
              <a:rPr lang="en-US" sz="1800" noProof="0">
                <a:effectLst/>
                <a:latin typeface="Calibri" panose="020F0502020204030204" pitchFamily="34" charset="0"/>
              </a:rPr>
              <a:t> </a:t>
            </a:r>
          </a:p>
          <a:p>
            <a:pPr marL="0" marR="0">
              <a:spcBef>
                <a:spcPts val="0"/>
              </a:spcBef>
              <a:spcAft>
                <a:spcPts val="0"/>
              </a:spcAft>
            </a:pPr>
            <a:r>
              <a:rPr lang="en-US" sz="1800" noProof="0">
                <a:effectLst/>
                <a:latin typeface="Calibri" panose="020F0502020204030204" pitchFamily="34" charset="0"/>
              </a:rPr>
              <a:t>Finally, the whole process is safer, as nobody will have access to cash anymore. </a:t>
            </a:r>
          </a:p>
          <a:p>
            <a:pPr marL="0" marR="0">
              <a:spcBef>
                <a:spcPts val="0"/>
              </a:spcBef>
              <a:spcAft>
                <a:spcPts val="0"/>
              </a:spcAft>
            </a:pPr>
            <a:r>
              <a:rPr lang="en-US" sz="1800" noProof="0">
                <a:effectLst/>
                <a:latin typeface="Calibri" panose="020F0502020204030204" pitchFamily="34" charset="0"/>
              </a:rPr>
              <a:t> </a:t>
            </a:r>
          </a:p>
          <a:p>
            <a:endParaRPr lang="es-ES"/>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12436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27942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O" sz="2800"/>
              <a:t>Flag for retail. Lorena: we control the IP for </a:t>
            </a:r>
          </a:p>
          <a:p>
            <a:pPr marL="0" marR="0">
              <a:spcBef>
                <a:spcPts val="0"/>
              </a:spcBef>
              <a:spcAft>
                <a:spcPts val="0"/>
              </a:spcAft>
            </a:pPr>
            <a:endParaRPr lang="en-US" sz="1800" noProof="0">
              <a:effectLst/>
              <a:latin typeface="Calibri" panose="020F0502020204030204" pitchFamily="34" charset="0"/>
            </a:endParaRPr>
          </a:p>
          <a:p>
            <a:pPr marL="0" marR="0">
              <a:spcBef>
                <a:spcPts val="0"/>
              </a:spcBef>
              <a:spcAft>
                <a:spcPts val="0"/>
              </a:spcAft>
            </a:pPr>
            <a:endParaRPr lang="en-US" sz="1800" noProof="0">
              <a:effectLst/>
              <a:latin typeface="Calibri" panose="020F0502020204030204" pitchFamily="34" charset="0"/>
            </a:endParaRPr>
          </a:p>
          <a:p>
            <a:pPr marL="0" marR="0">
              <a:spcBef>
                <a:spcPts val="0"/>
              </a:spcBef>
              <a:spcAft>
                <a:spcPts val="0"/>
              </a:spcAft>
            </a:pPr>
            <a:r>
              <a:rPr lang="en-US" sz="1800" noProof="0">
                <a:effectLst/>
                <a:latin typeface="Calibri" panose="020F0502020204030204" pitchFamily="34" charset="0"/>
              </a:rPr>
              <a:t>Our market opportunity for </a:t>
            </a:r>
            <a:r>
              <a:rPr lang="en-US" sz="1800" noProof="0" err="1">
                <a:effectLst/>
                <a:latin typeface="Calibri" panose="020F0502020204030204" pitchFamily="34" charset="0"/>
              </a:rPr>
              <a:t>CashGuard</a:t>
            </a:r>
            <a:r>
              <a:rPr lang="en-US" sz="1800" noProof="0">
                <a:effectLst/>
                <a:latin typeface="Calibri" panose="020F0502020204030204" pitchFamily="34" charset="0"/>
              </a:rPr>
              <a:t> Connect is huge:</a:t>
            </a:r>
          </a:p>
          <a:p>
            <a:pPr marL="0" marR="0">
              <a:spcBef>
                <a:spcPts val="0"/>
              </a:spcBef>
              <a:spcAft>
                <a:spcPts val="0"/>
              </a:spcAft>
            </a:pPr>
            <a:r>
              <a:rPr lang="en-US" sz="1800" noProof="0">
                <a:effectLst/>
                <a:latin typeface="Calibri" panose="020F0502020204030204" pitchFamily="34" charset="0"/>
              </a:rPr>
              <a:t> </a:t>
            </a:r>
          </a:p>
          <a:p>
            <a:pPr marL="0" marR="0">
              <a:spcBef>
                <a:spcPts val="0"/>
              </a:spcBef>
              <a:spcAft>
                <a:spcPts val="0"/>
              </a:spcAft>
            </a:pPr>
            <a:r>
              <a:rPr lang="en-US" sz="1800" noProof="0">
                <a:effectLst/>
                <a:latin typeface="Calibri" panose="020F0502020204030204" pitchFamily="34" charset="0"/>
              </a:rPr>
              <a:t>Only with </a:t>
            </a:r>
            <a:r>
              <a:rPr lang="en-US" sz="1800" noProof="0" err="1">
                <a:effectLst/>
                <a:latin typeface="Calibri" panose="020F0502020204030204" pitchFamily="34" charset="0"/>
              </a:rPr>
              <a:t>Mercadona</a:t>
            </a:r>
            <a:r>
              <a:rPr lang="en-US" sz="1800" noProof="0">
                <a:effectLst/>
                <a:latin typeface="Calibri" panose="020F0502020204030204" pitchFamily="34" charset="0"/>
              </a:rPr>
              <a:t> we expect a significant revenue, </a:t>
            </a:r>
          </a:p>
          <a:p>
            <a:pPr marL="0" marR="0">
              <a:spcBef>
                <a:spcPts val="0"/>
              </a:spcBef>
              <a:spcAft>
                <a:spcPts val="0"/>
              </a:spcAft>
            </a:pPr>
            <a:r>
              <a:rPr lang="en-US" sz="1800" noProof="0">
                <a:effectLst/>
                <a:latin typeface="Calibri" panose="020F0502020204030204" pitchFamily="34" charset="0"/>
              </a:rPr>
              <a:t> </a:t>
            </a:r>
          </a:p>
          <a:p>
            <a:pPr marL="0" marR="0">
              <a:spcBef>
                <a:spcPts val="0"/>
              </a:spcBef>
              <a:spcAft>
                <a:spcPts val="0"/>
              </a:spcAft>
            </a:pPr>
            <a:r>
              <a:rPr lang="en-US" sz="1800" noProof="0">
                <a:effectLst/>
                <a:latin typeface="Calibri" panose="020F0502020204030204" pitchFamily="34" charset="0"/>
              </a:rPr>
              <a:t>When adding around 5 other grocery retailers in Spain who already have pneumatic tube infrastructure, we would be reaching a quarter of a billion euros</a:t>
            </a:r>
          </a:p>
          <a:p>
            <a:pPr marL="0" marR="0">
              <a:spcBef>
                <a:spcPts val="0"/>
              </a:spcBef>
              <a:spcAft>
                <a:spcPts val="0"/>
              </a:spcAft>
            </a:pPr>
            <a:r>
              <a:rPr lang="en-US" sz="1800" noProof="0">
                <a:effectLst/>
                <a:latin typeface="Calibri" panose="020F0502020204030204" pitchFamily="34" charset="0"/>
              </a:rPr>
              <a:t> </a:t>
            </a:r>
          </a:p>
          <a:p>
            <a:pPr marL="0" marR="0">
              <a:spcBef>
                <a:spcPts val="0"/>
              </a:spcBef>
              <a:spcAft>
                <a:spcPts val="0"/>
              </a:spcAft>
            </a:pPr>
            <a:r>
              <a:rPr lang="en-US" sz="1800" noProof="0">
                <a:effectLst/>
                <a:latin typeface="Calibri" panose="020F0502020204030204" pitchFamily="34" charset="0"/>
              </a:rPr>
              <a:t>And, if we look at the whole potential in Europe our estimations go far beyond 2 Billion euros.</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19332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200" noProof="0">
                <a:effectLst/>
                <a:latin typeface="Calibri" panose="020F0502020204030204" pitchFamily="34" charset="0"/>
              </a:rPr>
              <a:t>If we analyze our products market fit in Spain, the best solutions are:</a:t>
            </a:r>
          </a:p>
          <a:p>
            <a:pPr marL="0" marR="0">
              <a:spcBef>
                <a:spcPts val="0"/>
              </a:spcBef>
              <a:spcAft>
                <a:spcPts val="0"/>
              </a:spcAft>
            </a:pPr>
            <a:endParaRPr lang="en-US" sz="1200" noProof="0">
              <a:effectLst/>
              <a:latin typeface="Calibri" panose="020F0502020204030204" pitchFamily="34" charset="0"/>
            </a:endParaRPr>
          </a:p>
          <a:p>
            <a:pPr marL="0" marR="0">
              <a:spcBef>
                <a:spcPts val="0"/>
              </a:spcBef>
              <a:spcAft>
                <a:spcPts val="0"/>
              </a:spcAft>
            </a:pPr>
            <a:r>
              <a:rPr lang="en-US" sz="1200" noProof="0">
                <a:effectLst/>
                <a:latin typeface="Calibri" panose="020F0502020204030204" pitchFamily="34" charset="0"/>
              </a:rPr>
              <a:t>Cash management: only 1 grocery retailer in Spain has really deployed in all the stores a cash management solution in Spain, </a:t>
            </a:r>
            <a:r>
              <a:rPr lang="en-US" sz="1200" noProof="0" err="1">
                <a:effectLst/>
                <a:latin typeface="Calibri" panose="020F0502020204030204" pitchFamily="34" charset="0"/>
              </a:rPr>
              <a:t>Alimerka</a:t>
            </a:r>
            <a:r>
              <a:rPr lang="en-US" sz="1200" noProof="0">
                <a:effectLst/>
                <a:latin typeface="Calibri" panose="020F0502020204030204" pitchFamily="34" charset="0"/>
              </a:rPr>
              <a:t>. There is a white space and huge potential</a:t>
            </a:r>
          </a:p>
          <a:p>
            <a:pPr marL="0" marR="0">
              <a:spcBef>
                <a:spcPts val="0"/>
              </a:spcBef>
              <a:spcAft>
                <a:spcPts val="0"/>
              </a:spcAft>
            </a:pPr>
            <a:endParaRPr lang="en-US" sz="1200" noProof="0">
              <a:effectLst/>
              <a:latin typeface="Calibri" panose="020F0502020204030204" pitchFamily="34" charset="0"/>
            </a:endParaRPr>
          </a:p>
          <a:p>
            <a:pPr marL="0" marR="0">
              <a:spcBef>
                <a:spcPts val="0"/>
              </a:spcBef>
              <a:spcAft>
                <a:spcPts val="0"/>
              </a:spcAft>
            </a:pPr>
            <a:r>
              <a:rPr lang="en-US" sz="1200" noProof="0">
                <a:effectLst/>
                <a:latin typeface="Calibri" panose="020F0502020204030204" pitchFamily="34" charset="0"/>
              </a:rPr>
              <a:t>Self-checkout: around 12 retailers have deployed (most of Tier1), and more than 3 other Tier2 retailers are testing now. Huge potential for both mature clients renovating equipment and all Tier2 and Tier3.</a:t>
            </a:r>
          </a:p>
          <a:p>
            <a:pPr marL="0" marR="0">
              <a:spcBef>
                <a:spcPts val="0"/>
              </a:spcBef>
              <a:spcAft>
                <a:spcPts val="0"/>
              </a:spcAft>
            </a:pPr>
            <a:endParaRPr lang="en-US" sz="1200" noProof="0">
              <a:effectLst/>
              <a:latin typeface="Calibri" panose="020F0502020204030204" pitchFamily="34" charset="0"/>
            </a:endParaRPr>
          </a:p>
          <a:p>
            <a:pPr marL="0" marR="0">
              <a:spcBef>
                <a:spcPts val="0"/>
              </a:spcBef>
              <a:spcAft>
                <a:spcPts val="0"/>
              </a:spcAft>
            </a:pPr>
            <a:r>
              <a:rPr lang="en-US" sz="1200" noProof="0">
                <a:effectLst/>
                <a:latin typeface="Calibri" panose="020F0502020204030204" pitchFamily="34" charset="0"/>
              </a:rPr>
              <a:t>ESL: 9 retailers are deploying and above 5 are testing. White space and huge potential</a:t>
            </a:r>
          </a:p>
          <a:p>
            <a:pPr marL="0" marR="0">
              <a:spcBef>
                <a:spcPts val="0"/>
              </a:spcBef>
              <a:spcAft>
                <a:spcPts val="0"/>
              </a:spcAft>
            </a:pPr>
            <a:endParaRPr lang="en-US" sz="1200" noProof="0">
              <a:effectLst/>
              <a:latin typeface="Calibri" panose="020F0502020204030204" pitchFamily="34" charset="0"/>
            </a:endParaRPr>
          </a:p>
          <a:p>
            <a:pPr marL="0" marR="0">
              <a:spcBef>
                <a:spcPts val="0"/>
              </a:spcBef>
              <a:spcAft>
                <a:spcPts val="0"/>
              </a:spcAft>
            </a:pPr>
            <a:r>
              <a:rPr lang="en-US" sz="1200" noProof="0">
                <a:effectLst/>
                <a:latin typeface="Calibri" panose="020F0502020204030204" pitchFamily="34" charset="0"/>
              </a:rPr>
              <a:t>Scales: most of grocery retailers have scales but many of them have transferred the weighing process to the cashiers. There is a big potential when offering scales with AI as is something completely new in the market only tested by a couple of retailers.</a:t>
            </a:r>
          </a:p>
          <a:p>
            <a:pPr marL="0" marR="0">
              <a:spcBef>
                <a:spcPts val="0"/>
              </a:spcBef>
              <a:spcAft>
                <a:spcPts val="0"/>
              </a:spcAft>
            </a:pPr>
            <a:endParaRPr lang="en-US" sz="1200" noProof="0">
              <a:effectLst/>
              <a:latin typeface="Calibri" panose="020F0502020204030204" pitchFamily="34" charset="0"/>
            </a:endParaRPr>
          </a:p>
          <a:p>
            <a:pPr marL="0" marR="0">
              <a:spcBef>
                <a:spcPts val="0"/>
              </a:spcBef>
              <a:spcAft>
                <a:spcPts val="0"/>
              </a:spcAft>
            </a:pPr>
            <a:r>
              <a:rPr lang="en-US" sz="1200" noProof="0" err="1">
                <a:effectLst/>
                <a:latin typeface="Calibri" panose="020F0502020204030204" pitchFamily="34" charset="0"/>
              </a:rPr>
              <a:t>Click&amp;Collect</a:t>
            </a:r>
            <a:r>
              <a:rPr lang="en-US" sz="1200" noProof="0">
                <a:effectLst/>
                <a:latin typeface="Calibri" panose="020F0502020204030204" pitchFamily="34" charset="0"/>
              </a:rPr>
              <a:t> lockers: grocery </a:t>
            </a:r>
            <a:r>
              <a:rPr lang="en-US" sz="1200" noProof="0" err="1">
                <a:effectLst/>
                <a:latin typeface="Calibri" panose="020F0502020204030204" pitchFamily="34" charset="0"/>
              </a:rPr>
              <a:t>etail</a:t>
            </a:r>
            <a:r>
              <a:rPr lang="en-US" sz="1200" noProof="0">
                <a:effectLst/>
                <a:latin typeface="Calibri" panose="020F0502020204030204" pitchFamily="34" charset="0"/>
              </a:rPr>
              <a:t> e-commerce penetration in Spain is around 2% but some of the players are experimenting growth of above 20% last year so, we expect to grow with our clients growth.</a:t>
            </a:r>
          </a:p>
          <a:p>
            <a:pPr marL="0" marR="0">
              <a:spcBef>
                <a:spcPts val="0"/>
              </a:spcBef>
              <a:spcAft>
                <a:spcPts val="0"/>
              </a:spcAft>
            </a:pPr>
            <a:endParaRPr lang="en-US" sz="1200" noProof="0">
              <a:effectLst/>
              <a:latin typeface="Calibri" panose="020F0502020204030204" pitchFamily="34" charset="0"/>
            </a:endParaRPr>
          </a:p>
          <a:p>
            <a:pPr marL="0" marR="0">
              <a:spcBef>
                <a:spcPts val="0"/>
              </a:spcBef>
              <a:spcAft>
                <a:spcPts val="0"/>
              </a:spcAft>
            </a:pPr>
            <a:r>
              <a:rPr lang="en-US" sz="1200" noProof="0">
                <a:effectLst/>
                <a:latin typeface="Calibri" panose="020F0502020204030204" pitchFamily="34" charset="0"/>
              </a:rPr>
              <a:t>Order picking: same than lockers. I foresee more potential for lockers than for picking.</a:t>
            </a:r>
          </a:p>
          <a:p>
            <a:endParaRPr lang="es-ES"/>
          </a:p>
          <a:p>
            <a:endParaRPr lang="en-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89758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ank you very much, Lorena.</a:t>
            </a:r>
          </a:p>
        </p:txBody>
      </p:sp>
      <p:sp>
        <p:nvSpPr>
          <p:cNvPr id="4" name="Slide Number Placeholder 3"/>
          <p:cNvSpPr>
            <a:spLocks noGrp="1"/>
          </p:cNvSpPr>
          <p:nvPr>
            <p:ph type="sldNum" sz="quarter" idx="5"/>
          </p:nvPr>
        </p:nvSpPr>
        <p:spPr/>
        <p:txBody>
          <a:bodyPr/>
          <a:lstStyle/>
          <a:p>
            <a:fld id="{D3BC0A51-EEF1-4945-8E37-D9BAF44C1257}" type="slidenum">
              <a:rPr lang="en-GB" smtClean="0"/>
              <a:t>45</a:t>
            </a:fld>
            <a:endParaRPr lang="en-GB"/>
          </a:p>
        </p:txBody>
      </p:sp>
    </p:spTree>
    <p:extLst>
      <p:ext uri="{BB962C8B-B14F-4D97-AF65-F5344CB8AC3E}">
        <p14:creationId xmlns:p14="http://schemas.microsoft.com/office/powerpoint/2010/main" val="17790463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GB"/>
              <a:t>So as Jacob showed us earlier today, we are looking at a revenue estimate of 1.5 to 1.8bn for 2025. This is big range, with only 1.5 years left. Why is this?</a:t>
            </a:r>
          </a:p>
          <a:p>
            <a:pPr marL="0" indent="0">
              <a:buFontTx/>
              <a:buNone/>
            </a:pPr>
            <a:r>
              <a:rPr lang="en-GB"/>
              <a:t>1: we still have challenging economic conditions, in all markets. It’s currently not possible for us to say when it will improve. </a:t>
            </a:r>
          </a:p>
          <a:p>
            <a:pPr marL="0" indent="0">
              <a:buFontTx/>
              <a:buNone/>
            </a:pPr>
            <a:r>
              <a:rPr lang="en-GB"/>
              <a:t>2: as a product and project-oriented organization, we have limited visibility on future revenues. </a:t>
            </a:r>
          </a:p>
          <a:p>
            <a:pPr marL="0" indent="0">
              <a:buFontTx/>
              <a:buNone/>
            </a:pPr>
            <a:r>
              <a:rPr lang="en-GB"/>
              <a:t>Yes we do have recurring revenue from support and licenses, but we have limited impact on the volume and rollout pace of our customers.</a:t>
            </a:r>
          </a:p>
          <a:p>
            <a:pPr marL="0" indent="0">
              <a:buFontTx/>
              <a:buNone/>
            </a:pPr>
            <a:r>
              <a:rPr lang="en-GB"/>
              <a:t>However, what history has shown us, is when market conditions improve, product sale can increase quite quickly, partly to a catch-up of previous delays.</a:t>
            </a:r>
          </a:p>
          <a:p>
            <a:pPr marL="0" indent="0">
              <a:buFontTx/>
              <a:buNone/>
            </a:pPr>
            <a:endParaRPr lang="en-GB"/>
          </a:p>
          <a:p>
            <a:pPr marL="0" indent="0">
              <a:buFontTx/>
              <a:buNone/>
            </a:pPr>
            <a:r>
              <a:rPr lang="en-GB"/>
              <a:t>To elaborate further on this and the assumption behind the 2025 estimates, I will go deeper into our two reporting segments; Scandinavia and Internationa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54399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a:t>If we look at Scandinavia first, we had revenue of 636 million and an EBITDA margin of 7% in 2023. (744m revenue in 2022, 9%)</a:t>
            </a:r>
          </a:p>
          <a:p>
            <a:r>
              <a:rPr lang="en-GB"/>
              <a:t>Still challenging economic conditions. </a:t>
            </a:r>
          </a:p>
          <a:p>
            <a:r>
              <a:rPr lang="en-GB"/>
              <a:t>2025: looking at 650-750m revenue, with 7-8% margin. </a:t>
            </a:r>
          </a:p>
          <a:p>
            <a:r>
              <a:rPr lang="en-GB"/>
              <a:t>Norway: Planning for an increase in in-store (mainly ESL). Off-set by an expected reduction in payment solutions (</a:t>
            </a:r>
            <a:r>
              <a:rPr lang="en-GB" err="1"/>
              <a:t>cashguards</a:t>
            </a:r>
            <a:r>
              <a:rPr lang="en-GB"/>
              <a:t>)</a:t>
            </a:r>
          </a:p>
          <a:p>
            <a:r>
              <a:rPr lang="en-GB"/>
              <a:t>Sweden: Similarly, increase in in-store (ESL) and checkout (</a:t>
            </a:r>
            <a:r>
              <a:rPr lang="en-GB" err="1"/>
              <a:t>Vensafe</a:t>
            </a:r>
            <a:r>
              <a:rPr lang="en-GB"/>
              <a:t>)</a:t>
            </a:r>
          </a:p>
          <a:p>
            <a:r>
              <a:rPr lang="en-GB" err="1"/>
              <a:t>Autostore</a:t>
            </a:r>
            <a:r>
              <a:rPr lang="en-GB"/>
              <a:t> projects: could be a kicker in both countries</a:t>
            </a:r>
          </a:p>
          <a:p>
            <a:r>
              <a:rPr lang="en-GB"/>
              <a:t>Most likely looking at stabile margins; we have done measures already. Operational excellence is required.</a:t>
            </a:r>
          </a:p>
          <a:p>
            <a:endParaRPr lang="en-GB"/>
          </a:p>
          <a:p>
            <a:r>
              <a:rPr lang="en-GB"/>
              <a:t>If we move further on to the International segment, </a:t>
            </a: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94455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a:t>There was a mixed picture in 2023 with 706 million in revenue and -1% EBITDA margin. </a:t>
            </a:r>
          </a:p>
          <a:p>
            <a:r>
              <a:rPr lang="en-GB"/>
              <a:t>Solid growth in Baltics, included HW deliveries with lower margin. Some growth in Spain whereas decline in UK Shopfitting</a:t>
            </a:r>
          </a:p>
          <a:p>
            <a:r>
              <a:rPr lang="en-GB"/>
              <a:t>2025: Looking at 850million to above 1 billion. </a:t>
            </a:r>
          </a:p>
          <a:p>
            <a:r>
              <a:rPr lang="en-GB"/>
              <a:t>Baltics &amp; Finland: growth in self-checkout</a:t>
            </a:r>
          </a:p>
          <a:p>
            <a:r>
              <a:rPr lang="en-GB"/>
              <a:t>Spain: anticipated rollout of the </a:t>
            </a:r>
            <a:r>
              <a:rPr lang="en-GB" err="1"/>
              <a:t>CashGuard</a:t>
            </a:r>
            <a:r>
              <a:rPr lang="en-GB"/>
              <a:t> Connect</a:t>
            </a:r>
          </a:p>
          <a:p>
            <a:r>
              <a:rPr lang="en-GB"/>
              <a:t>UK: restore traction in shopfitting, plus growth in e-commerce with order picking and </a:t>
            </a:r>
            <a:r>
              <a:rPr lang="en-GB" err="1"/>
              <a:t>Autostore</a:t>
            </a:r>
            <a:endParaRPr lang="en-GB"/>
          </a:p>
          <a:p>
            <a:r>
              <a:rPr lang="en-GB"/>
              <a:t>If this materializes, we should be able to improve the margins through scalability and operational leverage.</a:t>
            </a:r>
          </a:p>
          <a:p>
            <a:endParaRPr lang="en-GB"/>
          </a:p>
          <a:p>
            <a:r>
              <a:rPr lang="en-GB"/>
              <a:t>These are some of the key assumptions for the Scandinavian and International segment</a:t>
            </a:r>
          </a:p>
          <a:p>
            <a:endParaRPr lang="en-GB"/>
          </a:p>
          <a:p>
            <a:endParaRPr lang="en-GB"/>
          </a:p>
          <a:p>
            <a:endParaRPr lang="en-GB"/>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35834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a:t>Another way of looking at our company is through the product portfolio, with in-store products and e-commerce solutions</a:t>
            </a:r>
          </a:p>
          <a:p>
            <a:r>
              <a:rPr lang="en-GB"/>
              <a:t>For in-store, we are anticipating a revenue growth of 3-10%, reaching 1.3 to 1.5bn in 2025.</a:t>
            </a:r>
          </a:p>
          <a:p>
            <a:r>
              <a:rPr lang="en-GB"/>
              <a:t>This is driven by ESL projects, self-checkout growth and the rollout of </a:t>
            </a:r>
            <a:r>
              <a:rPr lang="en-GB" err="1"/>
              <a:t>CashGuard</a:t>
            </a:r>
            <a:r>
              <a:rPr lang="en-GB"/>
              <a:t> Connect. As I mentioned for the Scandinavian segment, this growth is partly offset by a reduction in </a:t>
            </a:r>
            <a:r>
              <a:rPr lang="en-GB" err="1"/>
              <a:t>CashGuard</a:t>
            </a:r>
            <a:endParaRPr lang="en-GB"/>
          </a:p>
          <a:p>
            <a:endParaRPr lang="en-GB"/>
          </a:p>
          <a:p>
            <a:r>
              <a:rPr lang="en-GB"/>
              <a:t>For e-com, we are assuming a revenue growth rate of 25-50% from today’s level, reaching 200 to 300 million in revenue. </a:t>
            </a:r>
          </a:p>
          <a:p>
            <a:r>
              <a:rPr lang="en-GB"/>
              <a:t>We have certain visibility on the Order Picking revenue stream from the Sainsbury’s contract, but keep in mind this is recurring revenue periodized over several years</a:t>
            </a:r>
          </a:p>
          <a:p>
            <a:r>
              <a:rPr lang="en-GB"/>
              <a:t>This also includes an increase in Grocery Lockers and </a:t>
            </a:r>
            <a:r>
              <a:rPr lang="en-GB" err="1"/>
              <a:t>Autostore</a:t>
            </a:r>
            <a:r>
              <a:rPr lang="en-GB"/>
              <a:t> projects. </a:t>
            </a:r>
          </a:p>
          <a:p>
            <a:endParaRPr lang="en-GB"/>
          </a:p>
          <a:p>
            <a:r>
              <a:rPr lang="en-GB"/>
              <a:t>Now let’s move on where we are on M&amp;A</a:t>
            </a:r>
          </a:p>
          <a:p>
            <a:endParaRPr lang="en-GB"/>
          </a:p>
          <a:p>
            <a:endParaRPr lang="en-GB"/>
          </a:p>
          <a:p>
            <a:endParaRPr lang="en-GB"/>
          </a:p>
          <a:p>
            <a:endParaRPr lang="en-GB"/>
          </a:p>
          <a:p>
            <a:endParaRPr lang="en-GB"/>
          </a:p>
          <a:p>
            <a:endParaRPr lang="en-GB"/>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75389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First of all, if we look at the initial 2025 strategy, M&amp;A was a part of reaching the ambition of 2.5bn in revenue</a:t>
            </a:r>
          </a:p>
          <a:p>
            <a:r>
              <a:rPr lang="en-GB"/>
              <a:t>During the last years, we have made two acquisitions; one in the UK in 2022 and one in Finland last year. Made to made to get regional footprint and infrastructure – not revenue driven. </a:t>
            </a:r>
          </a:p>
          <a:p>
            <a:r>
              <a:rPr lang="en-GB"/>
              <a:t>We were patient and could have done more M&amp;A, especially in 2020 and 2021 where the M&amp;A volume was high, particularly within SaaS companies. But with high valuation multiples.</a:t>
            </a:r>
          </a:p>
          <a:p>
            <a:endParaRPr lang="en-GB"/>
          </a:p>
          <a:p>
            <a:r>
              <a:rPr lang="en-GB"/>
              <a:t>As far as the ALS acquisition, Jacob and Alex have provided a good update. It’s fair to say that we haven’t yielded what we wanted – yet. But is still early.</a:t>
            </a:r>
          </a:p>
          <a:p>
            <a:r>
              <a:rPr lang="en-GB"/>
              <a:t>We have completed the internal integration to improve the collaboration and now working to expand our product offering beyond the shopfitting revenue stream. </a:t>
            </a:r>
          </a:p>
          <a:p>
            <a:endParaRPr lang="en-GB"/>
          </a:p>
          <a:p>
            <a:r>
              <a:rPr lang="en-GB"/>
              <a:t>Hamari: closed end of last year. Operating fairly stand-alone still, but being a part of the Baltic region, where the main focus is on commercial opportunities.</a:t>
            </a:r>
          </a:p>
          <a:p>
            <a:endParaRPr lang="en-GB"/>
          </a:p>
          <a:p>
            <a:r>
              <a:rPr lang="en-GB"/>
              <a:t>Looking ahead: short term focus is to improve the current operations.</a:t>
            </a:r>
          </a:p>
          <a:p>
            <a:r>
              <a:rPr lang="en-GB"/>
              <a:t>But: We have an opportunistic approach and we are continuously being approached with potential targets. So at the right conditions, we are interested in strengthening our offerings. </a:t>
            </a:r>
          </a:p>
          <a:p>
            <a:endParaRPr lang="en-GB"/>
          </a:p>
          <a:p>
            <a:endParaRPr lang="en-GB"/>
          </a:p>
        </p:txBody>
      </p:sp>
      <p:sp>
        <p:nvSpPr>
          <p:cNvPr id="4" name="Slide Number Placeholder 3"/>
          <p:cNvSpPr>
            <a:spLocks noGrp="1"/>
          </p:cNvSpPr>
          <p:nvPr>
            <p:ph type="sldNum" sz="quarter" idx="5"/>
          </p:nvPr>
        </p:nvSpPr>
        <p:spPr/>
        <p:txBody>
          <a:bodyPr/>
          <a:lstStyle/>
          <a:p>
            <a:fld id="{D3BC0A51-EEF1-4945-8E37-D9BAF44C1257}" type="slidenum">
              <a:rPr lang="en-GB" smtClean="0"/>
              <a:t>50</a:t>
            </a:fld>
            <a:endParaRPr lang="en-GB"/>
          </a:p>
        </p:txBody>
      </p:sp>
    </p:spTree>
    <p:extLst>
      <p:ext uri="{BB962C8B-B14F-4D97-AF65-F5344CB8AC3E}">
        <p14:creationId xmlns:p14="http://schemas.microsoft.com/office/powerpoint/2010/main" val="29330553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Moving over to financing and other obligations.</a:t>
            </a:r>
          </a:p>
          <a:p>
            <a:r>
              <a:rPr lang="en-GB"/>
              <a:t>Our leasing obligations increased from 2022 to 2023 because we moved into new premises in Norway. Keep in mind that these lease obligations are not interest-bearing.</a:t>
            </a:r>
          </a:p>
          <a:p>
            <a:r>
              <a:rPr lang="en-GB"/>
              <a:t>The interest-bearing debt, however, has increased from zero in 2022 to now 80 million. This is due to lower operational performance, continued investments and a dividend payment last year.</a:t>
            </a:r>
          </a:p>
          <a:p>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GB"/>
              <a:t>As we talked about earlier this morning in our quarterly presentation, we have signed an agreement </a:t>
            </a:r>
            <a:r>
              <a:rPr lang="en-US" sz="1200" kern="100">
                <a:effectLst/>
                <a:latin typeface="Calibri" panose="020F0502020204030204" pitchFamily="34" charset="0"/>
                <a:ea typeface="Calibri" panose="020F0502020204030204" pitchFamily="34" charset="0"/>
                <a:cs typeface="Times New Roman" panose="02020603050405020304" pitchFamily="18" charset="0"/>
              </a:rPr>
              <a:t>with a leading Scandinavian financial institution to refinance our bank overdraf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effectLst/>
                <a:latin typeface="Calibri" panose="020F0502020204030204" pitchFamily="34" charset="0"/>
                <a:ea typeface="Calibri" panose="020F0502020204030204" pitchFamily="34" charset="0"/>
                <a:cs typeface="Times New Roman" panose="02020603050405020304" pitchFamily="18" charset="0"/>
              </a:rPr>
              <a:t>This will make us better suited for growing with our international, more demanding custom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effectLst/>
                <a:latin typeface="Calibri" panose="020F0502020204030204" pitchFamily="34" charset="0"/>
                <a:ea typeface="Calibri" panose="020F0502020204030204" pitchFamily="34" charset="0"/>
                <a:cs typeface="Times New Roman" panose="02020603050405020304" pitchFamily="18" charset="0"/>
              </a:rPr>
              <a:t>Also, with our current financing, there is a net leverage covenant, which will not be required in this new financ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effectLst/>
                <a:latin typeface="Calibri" panose="020F0502020204030204" pitchFamily="34" charset="0"/>
                <a:ea typeface="Calibri" panose="020F0502020204030204" pitchFamily="34" charset="0"/>
                <a:cs typeface="Times New Roman" panose="02020603050405020304" pitchFamily="18" charset="0"/>
              </a:rPr>
              <a:t>There will be a 30% equity ratio covenant. As of now, we have 46% and a solid balance shee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p>
            <a:endParaRPr lang="en-GB"/>
          </a:p>
        </p:txBody>
      </p:sp>
      <p:sp>
        <p:nvSpPr>
          <p:cNvPr id="4" name="Slide Number Placeholder 3"/>
          <p:cNvSpPr>
            <a:spLocks noGrp="1"/>
          </p:cNvSpPr>
          <p:nvPr>
            <p:ph type="sldNum" sz="quarter" idx="5"/>
          </p:nvPr>
        </p:nvSpPr>
        <p:spPr/>
        <p:txBody>
          <a:bodyPr/>
          <a:lstStyle/>
          <a:p>
            <a:fld id="{D3BC0A51-EEF1-4945-8E37-D9BAF44C1257}" type="slidenum">
              <a:rPr lang="en-GB" smtClean="0"/>
              <a:t>51</a:t>
            </a:fld>
            <a:endParaRPr lang="en-GB"/>
          </a:p>
        </p:txBody>
      </p:sp>
    </p:spTree>
    <p:extLst>
      <p:ext uri="{BB962C8B-B14F-4D97-AF65-F5344CB8AC3E}">
        <p14:creationId xmlns:p14="http://schemas.microsoft.com/office/powerpoint/2010/main" val="35481262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Finally, on the financial update, we have had a strong history of dividend payments</a:t>
            </a:r>
          </a:p>
          <a:p>
            <a:r>
              <a:rPr lang="en-GB"/>
              <a:t>And this policy continues, this is clearly our ambition going forward.</a:t>
            </a:r>
          </a:p>
          <a:p>
            <a:r>
              <a:rPr lang="en-GB"/>
              <a:t>For 2023, however, it was not possible to pay out any dividends. </a:t>
            </a:r>
          </a:p>
          <a:p>
            <a:r>
              <a:rPr lang="en-GB"/>
              <a:t>The focus now, as we have touched upon several times, to improve operations, continue our strategic investments and while doing this, managing the debt levels. </a:t>
            </a:r>
          </a:p>
          <a:p>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14120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34417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a:t>When looking at our financial results – which clearly are currently not where we want them to be – it is easy to think that StrongPoint has gone backward, not forward. So allow me to take a step back and reflect a bit at the larger picture on how StrongPoint is now positioned vs. 4 years ago when our new strategy was unveil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96337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at (previous page) was a longer-term look at recent history</a:t>
            </a:r>
          </a:p>
          <a:p>
            <a:r>
              <a:rPr lang="en-GB"/>
              <a:t>-Now, today we have both immediate challenges and opportunities that needs to be tackled and nurtured…</a:t>
            </a:r>
          </a:p>
          <a:p>
            <a:endParaRPr lang="en-GB"/>
          </a:p>
          <a:p>
            <a:r>
              <a:rPr lang="en-GB"/>
              <a:t>-Tackling and nurturing these challenges and opportunities in today’s uncertain market will bring us to the financial estimates showed earlier: clearly 1.5-1.8 bn revenue and 4-6% EBITDA is not where we aspire to be. As our large opportunities will only materialize in parts of 2025, and market sentiment is highly uncertain in the quarters and perhaps year to come, we also want to share our long-term financial ambitions for StrongPoint..</a:t>
            </a:r>
          </a:p>
        </p:txBody>
      </p:sp>
      <p:sp>
        <p:nvSpPr>
          <p:cNvPr id="4" name="Slide Number Placeholder 3"/>
          <p:cNvSpPr>
            <a:spLocks noGrp="1"/>
          </p:cNvSpPr>
          <p:nvPr>
            <p:ph type="sldNum" sz="quarter" idx="5"/>
          </p:nvPr>
        </p:nvSpPr>
        <p:spPr/>
        <p:txBody>
          <a:bodyPr/>
          <a:lstStyle/>
          <a:p>
            <a:fld id="{D3BC0A51-EEF1-4945-8E37-D9BAF44C1257}" type="slidenum">
              <a:rPr lang="en-GB" smtClean="0"/>
              <a:t>55</a:t>
            </a:fld>
            <a:endParaRPr lang="en-GB"/>
          </a:p>
        </p:txBody>
      </p:sp>
    </p:spTree>
    <p:extLst>
      <p:ext uri="{BB962C8B-B14F-4D97-AF65-F5344CB8AC3E}">
        <p14:creationId xmlns:p14="http://schemas.microsoft.com/office/powerpoint/2010/main" val="54332904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1338030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ounding off with key priorities</a:t>
            </a:r>
          </a:p>
        </p:txBody>
      </p:sp>
      <p:sp>
        <p:nvSpPr>
          <p:cNvPr id="4" name="Slide Number Placeholder 3"/>
          <p:cNvSpPr>
            <a:spLocks noGrp="1"/>
          </p:cNvSpPr>
          <p:nvPr>
            <p:ph type="sldNum" sz="quarter" idx="5"/>
          </p:nvPr>
        </p:nvSpPr>
        <p:spPr/>
        <p:txBody>
          <a:bodyPr/>
          <a:lstStyle/>
          <a:p>
            <a:fld id="{D3BC0A51-EEF1-4945-8E37-D9BAF44C1257}" type="slidenum">
              <a:rPr lang="en-GB" smtClean="0"/>
              <a:t>57</a:t>
            </a:fld>
            <a:endParaRPr lang="en-GB"/>
          </a:p>
        </p:txBody>
      </p:sp>
    </p:spTree>
    <p:extLst>
      <p:ext uri="{BB962C8B-B14F-4D97-AF65-F5344CB8AC3E}">
        <p14:creationId xmlns:p14="http://schemas.microsoft.com/office/powerpoint/2010/main" val="11077695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sz="1800" kern="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95059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3BC0A51-EEF1-4945-8E37-D9BAF44C1257}" type="slidenum">
              <a:rPr lang="en-GB" smtClean="0"/>
              <a:t>7</a:t>
            </a:fld>
            <a:endParaRPr lang="en-GB"/>
          </a:p>
        </p:txBody>
      </p:sp>
    </p:spTree>
    <p:extLst>
      <p:ext uri="{BB962C8B-B14F-4D97-AF65-F5344CB8AC3E}">
        <p14:creationId xmlns:p14="http://schemas.microsoft.com/office/powerpoint/2010/main" val="6707888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a:t>We ended at NOK 1.5 bn in 2023, far behind the anticipated 2023. A growth from 1.5 to 2.5 would entail a xx% CAGR, which is not realistic – in particular not in today’s business sentiment</a:t>
            </a:r>
          </a:p>
          <a:p>
            <a:pPr marL="171450" indent="-171450">
              <a:buFontTx/>
              <a:buChar char="-"/>
            </a:pPr>
            <a:r>
              <a:rPr lang="en-GB"/>
              <a:t>Our EBITDA-% was half of our ambitions. Clearly, incorporated in last year’s figure was the investments in E-com and Spain – significant EBITDA-drags, however we also started observing that our traditional base of business, the one yielding 10-11% EBITDA year in and year out was cracking. …</a:t>
            </a:r>
          </a:p>
          <a:p>
            <a:endParaRPr lang="en-NO"/>
          </a:p>
          <a:p>
            <a:endParaRPr lang="en-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45021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a:t>As of now, with the current large uncertainty in the market segment, we estimate to be arriving at a revenue between 1.5 and 1.8 bn</a:t>
            </a:r>
          </a:p>
          <a:p>
            <a:pPr marL="171450" indent="-171450">
              <a:buFontTx/>
              <a:buChar char="-"/>
            </a:pPr>
            <a:r>
              <a:rPr lang="en-GB"/>
              <a:t>EBITDA..</a:t>
            </a:r>
          </a:p>
          <a:p>
            <a:pPr marL="0" indent="0">
              <a:buFontTx/>
              <a:buNone/>
            </a:pPr>
            <a:r>
              <a:rPr lang="en-GB"/>
              <a:t>These are estimates, clearly not ambitions or the level we want to be at – however, we’ll get back to this</a:t>
            </a:r>
          </a:p>
          <a:p>
            <a:pPr marL="171450" indent="-171450">
              <a:buFontTx/>
              <a:buChar char="-"/>
            </a:pPr>
            <a:endParaRPr lang="en-GB"/>
          </a:p>
          <a:p>
            <a:pPr marL="171450" indent="-171450">
              <a:buFontTx/>
              <a:buChar char="-"/>
            </a:pPr>
            <a:r>
              <a:rPr lang="en-GB"/>
              <a:t>Now, many of you will have 2 Qs:</a:t>
            </a:r>
          </a:p>
          <a:p>
            <a:pPr marL="171450" indent="-171450">
              <a:buFontTx/>
              <a:buChar char="-"/>
            </a:pPr>
            <a:r>
              <a:rPr lang="en-GB"/>
              <a:t>1. Why did you wait so long to announce that the 2025 ambition would not be met?</a:t>
            </a:r>
          </a:p>
          <a:p>
            <a:pPr marL="171450" indent="-171450">
              <a:buFontTx/>
              <a:buChar char="-"/>
            </a:pPr>
            <a:r>
              <a:rPr lang="en-GB"/>
              <a:t>2. How is it possible to miss so badly on the ambition set?</a:t>
            </a:r>
          </a:p>
          <a:p>
            <a:pPr marL="171450" indent="-171450">
              <a:buFontTx/>
              <a:buChar char="-"/>
            </a:pPr>
            <a:endParaRPr lang="en-GB"/>
          </a:p>
          <a:p>
            <a:pPr marL="171450" indent="-171450">
              <a:buFontTx/>
              <a:buChar char="-"/>
            </a:pPr>
            <a:r>
              <a:rPr lang="en-GB"/>
              <a:t>I’ll try to explain that on the next few slid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80777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C0A51-EEF1-4945-8E37-D9BAF44C12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895564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25.png"/></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8.jpe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8.jpe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39.emf"/><Relationship Id="rId4" Type="http://schemas.openxmlformats.org/officeDocument/2006/relationships/oleObject" Target="../embeddings/oleObject4.bin"/></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25.png"/></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48.png"/></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0.jpeg"/><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1.jpeg"/><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4.png"/><Relationship Id="rId1" Type="http://schemas.openxmlformats.org/officeDocument/2006/relationships/slideMaster" Target="../slideMasters/slideMaster4.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6.jpeg"/><Relationship Id="rId1" Type="http://schemas.openxmlformats.org/officeDocument/2006/relationships/slideMaster" Target="../slideMasters/slideMaster5.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5.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5.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25.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 page logo">
    <p:bg>
      <p:bgPr>
        <a:solidFill>
          <a:schemeClr val="accent1"/>
        </a:solidFill>
        <a:effectLst/>
      </p:bgPr>
    </p:bg>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02986883-6611-464E-A44F-2C88C009DE0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00718" y="1357984"/>
            <a:ext cx="6390564" cy="4142032"/>
          </a:xfrm>
          <a:prstGeom prst="rect">
            <a:avLst/>
          </a:prstGeom>
        </p:spPr>
      </p:pic>
    </p:spTree>
    <p:extLst>
      <p:ext uri="{BB962C8B-B14F-4D97-AF65-F5344CB8AC3E}">
        <p14:creationId xmlns:p14="http://schemas.microsoft.com/office/powerpoint/2010/main" val="8468179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51" name="Rectangle 10">
            <a:extLst>
              <a:ext uri="{FF2B5EF4-FFF2-40B4-BE49-F238E27FC236}">
                <a16:creationId xmlns:a16="http://schemas.microsoft.com/office/drawing/2014/main" id="{F55BAFD2-488E-4666-95BA-2E27E93B3D86}"/>
              </a:ext>
            </a:extLst>
          </p:cNvPr>
          <p:cNvSpPr/>
          <p:nvPr userDrawn="1"/>
        </p:nvSpPr>
        <p:spPr>
          <a:xfrm>
            <a:off x="7242052" y="1329796"/>
            <a:ext cx="3747559" cy="12989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i="0" noProof="0">
              <a:latin typeface="Helvetica" pitchFamily="2" charset="0"/>
              <a:cs typeface="Arial" panose="020B0604020202020204" pitchFamily="34" charset="0"/>
            </a:endParaRPr>
          </a:p>
        </p:txBody>
      </p:sp>
      <p:sp>
        <p:nvSpPr>
          <p:cNvPr id="53" name="!!Blue">
            <a:extLst>
              <a:ext uri="{FF2B5EF4-FFF2-40B4-BE49-F238E27FC236}">
                <a16:creationId xmlns:a16="http://schemas.microsoft.com/office/drawing/2014/main" id="{77930EB7-481C-44F0-97C3-9C5864AFA2D1}"/>
              </a:ext>
            </a:extLst>
          </p:cNvPr>
          <p:cNvSpPr/>
          <p:nvPr userDrawn="1"/>
        </p:nvSpPr>
        <p:spPr>
          <a:xfrm>
            <a:off x="7242052" y="2917580"/>
            <a:ext cx="3747559" cy="12989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5" name="Rectangle 17">
            <a:extLst>
              <a:ext uri="{FF2B5EF4-FFF2-40B4-BE49-F238E27FC236}">
                <a16:creationId xmlns:a16="http://schemas.microsoft.com/office/drawing/2014/main" id="{6A5350D8-C90C-4BAF-B507-455A8A5BA435}"/>
              </a:ext>
            </a:extLst>
          </p:cNvPr>
          <p:cNvSpPr/>
          <p:nvPr userDrawn="1"/>
        </p:nvSpPr>
        <p:spPr>
          <a:xfrm>
            <a:off x="7242052" y="4506306"/>
            <a:ext cx="3747559" cy="12989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 name="Rectangle 36">
            <a:extLst>
              <a:ext uri="{FF2B5EF4-FFF2-40B4-BE49-F238E27FC236}">
                <a16:creationId xmlns:a16="http://schemas.microsoft.com/office/drawing/2014/main" id="{214895EF-8762-4104-8A7D-B5F36DC46B45}"/>
              </a:ext>
            </a:extLst>
          </p:cNvPr>
          <p:cNvSpPr/>
          <p:nvPr userDrawn="1"/>
        </p:nvSpPr>
        <p:spPr>
          <a:xfrm>
            <a:off x="0" y="0"/>
            <a:ext cx="65627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2" name="Rectangle 12">
            <a:extLst>
              <a:ext uri="{FF2B5EF4-FFF2-40B4-BE49-F238E27FC236}">
                <a16:creationId xmlns:a16="http://schemas.microsoft.com/office/drawing/2014/main" id="{DA564843-AAC1-4FC6-ABEB-604C5A4E480D}"/>
              </a:ext>
            </a:extLst>
          </p:cNvPr>
          <p:cNvSpPr/>
          <p:nvPr userDrawn="1"/>
        </p:nvSpPr>
        <p:spPr>
          <a:xfrm>
            <a:off x="10989611" y="1329796"/>
            <a:ext cx="553267" cy="1298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4" name="!!Yellow">
            <a:extLst>
              <a:ext uri="{FF2B5EF4-FFF2-40B4-BE49-F238E27FC236}">
                <a16:creationId xmlns:a16="http://schemas.microsoft.com/office/drawing/2014/main" id="{7A4FB1C8-3DBE-4D19-A16E-369BF81FC843}"/>
              </a:ext>
            </a:extLst>
          </p:cNvPr>
          <p:cNvSpPr/>
          <p:nvPr userDrawn="1"/>
        </p:nvSpPr>
        <p:spPr>
          <a:xfrm>
            <a:off x="10989611" y="2918522"/>
            <a:ext cx="553267" cy="1298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6" name="Rectangle 18">
            <a:extLst>
              <a:ext uri="{FF2B5EF4-FFF2-40B4-BE49-F238E27FC236}">
                <a16:creationId xmlns:a16="http://schemas.microsoft.com/office/drawing/2014/main" id="{B32874FD-6D8F-4529-B48B-1282B36E9FB2}"/>
              </a:ext>
            </a:extLst>
          </p:cNvPr>
          <p:cNvSpPr/>
          <p:nvPr userDrawn="1"/>
        </p:nvSpPr>
        <p:spPr>
          <a:xfrm>
            <a:off x="10989611" y="4506306"/>
            <a:ext cx="553267" cy="1298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81" name="Plassholder for tekst 80">
            <a:extLst>
              <a:ext uri="{FF2B5EF4-FFF2-40B4-BE49-F238E27FC236}">
                <a16:creationId xmlns:a16="http://schemas.microsoft.com/office/drawing/2014/main" id="{31D0DABA-AC45-4C99-B3A1-7D91C6FF0D16}"/>
              </a:ext>
            </a:extLst>
          </p:cNvPr>
          <p:cNvSpPr>
            <a:spLocks noGrp="1"/>
          </p:cNvSpPr>
          <p:nvPr>
            <p:ph type="body" sz="quarter" idx="10" hasCustomPrompt="1"/>
          </p:nvPr>
        </p:nvSpPr>
        <p:spPr>
          <a:xfrm>
            <a:off x="8009848" y="1329439"/>
            <a:ext cx="2979738" cy="1298388"/>
          </a:xfrm>
          <a:prstGeom prst="rect">
            <a:avLst/>
          </a:prstGeom>
        </p:spPr>
        <p:txBody>
          <a:bodyPr anchor="ctr"/>
          <a:lstStyle>
            <a:lvl1pPr marL="0" indent="0" algn="l">
              <a:buNone/>
              <a:defRPr sz="1600" b="1" i="0" baseline="0">
                <a:solidFill>
                  <a:schemeClr val="bg1"/>
                </a:solidFill>
                <a:latin typeface="Helvetica" pitchFamily="2" charset="0"/>
              </a:defRPr>
            </a:lvl1pPr>
          </a:lstStyle>
          <a:p>
            <a:pPr lvl="0"/>
            <a:r>
              <a:rPr lang="en-GB" noProof="0"/>
              <a:t>Example Text Placed In This Blue Box</a:t>
            </a:r>
          </a:p>
        </p:txBody>
      </p:sp>
      <p:sp>
        <p:nvSpPr>
          <p:cNvPr id="82" name="Plassholder for tekst 80">
            <a:extLst>
              <a:ext uri="{FF2B5EF4-FFF2-40B4-BE49-F238E27FC236}">
                <a16:creationId xmlns:a16="http://schemas.microsoft.com/office/drawing/2014/main" id="{AE79262F-1BB6-486C-82B4-750D6048736A}"/>
              </a:ext>
            </a:extLst>
          </p:cNvPr>
          <p:cNvSpPr>
            <a:spLocks noGrp="1"/>
          </p:cNvSpPr>
          <p:nvPr>
            <p:ph type="body" sz="quarter" idx="11" hasCustomPrompt="1"/>
          </p:nvPr>
        </p:nvSpPr>
        <p:spPr>
          <a:xfrm>
            <a:off x="8009848" y="2918164"/>
            <a:ext cx="2979738" cy="1298388"/>
          </a:xfrm>
          <a:prstGeom prst="rect">
            <a:avLst/>
          </a:prstGeom>
        </p:spPr>
        <p:txBody>
          <a:bodyPr anchor="ctr"/>
          <a:lstStyle>
            <a:lvl1pPr marL="0" indent="0" algn="l">
              <a:buNone/>
              <a:defRPr sz="1600" b="1" i="0" baseline="0">
                <a:solidFill>
                  <a:schemeClr val="bg1"/>
                </a:solidFill>
                <a:latin typeface="Helvetica" pitchFamily="2" charset="0"/>
              </a:defRPr>
            </a:lvl1pPr>
          </a:lstStyle>
          <a:p>
            <a:pPr lvl="0"/>
            <a:r>
              <a:rPr lang="en-GB" noProof="0"/>
              <a:t>Example Text Placed In This Blue Box</a:t>
            </a:r>
          </a:p>
        </p:txBody>
      </p:sp>
      <p:sp>
        <p:nvSpPr>
          <p:cNvPr id="83" name="Plassholder for tekst 80">
            <a:extLst>
              <a:ext uri="{FF2B5EF4-FFF2-40B4-BE49-F238E27FC236}">
                <a16:creationId xmlns:a16="http://schemas.microsoft.com/office/drawing/2014/main" id="{405BE05B-D0C3-4A43-9832-D4376E5F50E4}"/>
              </a:ext>
            </a:extLst>
          </p:cNvPr>
          <p:cNvSpPr>
            <a:spLocks noGrp="1"/>
          </p:cNvSpPr>
          <p:nvPr>
            <p:ph type="body" sz="quarter" idx="12" hasCustomPrompt="1"/>
          </p:nvPr>
        </p:nvSpPr>
        <p:spPr>
          <a:xfrm>
            <a:off x="8009848" y="4516826"/>
            <a:ext cx="2979738" cy="1298388"/>
          </a:xfrm>
          <a:prstGeom prst="rect">
            <a:avLst/>
          </a:prstGeom>
        </p:spPr>
        <p:txBody>
          <a:bodyPr anchor="ctr"/>
          <a:lstStyle>
            <a:lvl1pPr marL="0" indent="0" algn="l">
              <a:buNone/>
              <a:defRPr sz="1600" b="1" i="0" baseline="0">
                <a:solidFill>
                  <a:schemeClr val="bg1"/>
                </a:solidFill>
                <a:latin typeface="Helvetica" pitchFamily="2" charset="0"/>
              </a:defRPr>
            </a:lvl1pPr>
          </a:lstStyle>
          <a:p>
            <a:pPr lvl="0"/>
            <a:r>
              <a:rPr lang="en-GB" noProof="0"/>
              <a:t>Example Text Placed In This Blue Box</a:t>
            </a:r>
          </a:p>
        </p:txBody>
      </p:sp>
      <p:sp>
        <p:nvSpPr>
          <p:cNvPr id="91" name="Plassholder for tekst 90">
            <a:extLst>
              <a:ext uri="{FF2B5EF4-FFF2-40B4-BE49-F238E27FC236}">
                <a16:creationId xmlns:a16="http://schemas.microsoft.com/office/drawing/2014/main" id="{068EEC50-49CF-486C-8A3E-CB02713CB666}"/>
              </a:ext>
            </a:extLst>
          </p:cNvPr>
          <p:cNvSpPr>
            <a:spLocks noGrp="1"/>
          </p:cNvSpPr>
          <p:nvPr>
            <p:ph type="body" sz="quarter" idx="13" hasCustomPrompt="1"/>
          </p:nvPr>
        </p:nvSpPr>
        <p:spPr>
          <a:xfrm>
            <a:off x="1099739" y="1329439"/>
            <a:ext cx="4376736" cy="1176338"/>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3600" b="1" i="0" cap="all" baseline="0">
                <a:solidFill>
                  <a:schemeClr val="bg1"/>
                </a:solidFill>
                <a:latin typeface="Helvetica"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noFill/>
                </a:ln>
                <a:solidFill>
                  <a:prstClr val="white"/>
                </a:solidFill>
                <a:effectLst/>
                <a:uLnTx/>
                <a:uFillTx/>
                <a:latin typeface="Arial" panose="020B0604020202020204" pitchFamily="34" charset="0"/>
                <a:ea typeface="Roboto Condensed" panose="02000000000000000000" pitchFamily="2" charset="0"/>
                <a:cs typeface="Arial" panose="020B0604020202020204" pitchFamily="34" charset="0"/>
              </a:rPr>
              <a:t>PRESENTATION TITLE HERE</a:t>
            </a:r>
          </a:p>
          <a:p>
            <a:pPr lvl="0"/>
            <a:endParaRPr lang="en-GB" noProof="0"/>
          </a:p>
        </p:txBody>
      </p:sp>
      <p:sp>
        <p:nvSpPr>
          <p:cNvPr id="93" name="Plassholder for tekst 92">
            <a:extLst>
              <a:ext uri="{FF2B5EF4-FFF2-40B4-BE49-F238E27FC236}">
                <a16:creationId xmlns:a16="http://schemas.microsoft.com/office/drawing/2014/main" id="{BCF18026-5F87-4FCB-AB7A-C2C61F8A2C3A}"/>
              </a:ext>
            </a:extLst>
          </p:cNvPr>
          <p:cNvSpPr>
            <a:spLocks noGrp="1"/>
          </p:cNvSpPr>
          <p:nvPr>
            <p:ph type="body" sz="quarter" idx="14" hasCustomPrompt="1"/>
          </p:nvPr>
        </p:nvSpPr>
        <p:spPr>
          <a:xfrm>
            <a:off x="1099738" y="2856555"/>
            <a:ext cx="4376737" cy="744537"/>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000" b="1" i="0" baseline="0">
                <a:solidFill>
                  <a:schemeClr val="accent2"/>
                </a:solidFill>
                <a:latin typeface="Helvetica"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B800"/>
                </a:solidFill>
                <a:effectLst/>
                <a:uLnTx/>
                <a:uFillTx/>
                <a:latin typeface="Arial" panose="020B0604020202020204" pitchFamily="34" charset="0"/>
                <a:ea typeface="Roboto Condensed" panose="02000000000000000000" pitchFamily="2" charset="0"/>
                <a:cs typeface="Arial" panose="020B0604020202020204" pitchFamily="34" charset="0"/>
              </a:rPr>
              <a:t>Expertise You Need. Service You Deserve!</a:t>
            </a:r>
          </a:p>
          <a:p>
            <a:pPr lvl="0"/>
            <a:endParaRPr lang="en-GB" noProof="0"/>
          </a:p>
        </p:txBody>
      </p:sp>
      <p:sp>
        <p:nvSpPr>
          <p:cNvPr id="95" name="Plassholder for tekst 94">
            <a:extLst>
              <a:ext uri="{FF2B5EF4-FFF2-40B4-BE49-F238E27FC236}">
                <a16:creationId xmlns:a16="http://schemas.microsoft.com/office/drawing/2014/main" id="{4A7BCC36-BF2F-4D90-A16A-8532CBC4FD0B}"/>
              </a:ext>
            </a:extLst>
          </p:cNvPr>
          <p:cNvSpPr>
            <a:spLocks noGrp="1"/>
          </p:cNvSpPr>
          <p:nvPr>
            <p:ph type="body" sz="quarter" idx="15" hasCustomPrompt="1"/>
          </p:nvPr>
        </p:nvSpPr>
        <p:spPr>
          <a:xfrm>
            <a:off x="1099738" y="3951870"/>
            <a:ext cx="4376737" cy="1666875"/>
          </a:xfrm>
          <a:prstGeom prst="rect">
            <a:avLst/>
          </a:prstGeom>
        </p:spPr>
        <p:txBody>
          <a:bodyPr/>
          <a:lstStyle>
            <a:lvl1pPr marL="0" marR="0" indent="0" algn="l" defTabSz="914400" rtl="0" eaLnBrk="1" fontAlgn="auto" latinLnBrk="0" hangingPunct="1">
              <a:lnSpc>
                <a:spcPct val="150000"/>
              </a:lnSpc>
              <a:spcBef>
                <a:spcPts val="0"/>
              </a:spcBef>
              <a:spcAft>
                <a:spcPts val="0"/>
              </a:spcAft>
              <a:buClrTx/>
              <a:buSzTx/>
              <a:buFontTx/>
              <a:buNone/>
              <a:tabLst/>
              <a:defRPr sz="1400" b="0" i="0" baseline="0">
                <a:solidFill>
                  <a:schemeClr val="bg1"/>
                </a:solidFill>
                <a:latin typeface="Helvetica Light" panose="020B0403020202020204" pitchFamily="34" charset="0"/>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Lorem ipsum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dolor</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si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ame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consectetur</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adipiscing</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eli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Pellentes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sceleris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malesuada</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libero a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pellentes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Morbi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orci</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dui, fermentum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ege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lectus</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ornar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viverra</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dignissim</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risus</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Donec lacinia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ne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non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veli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dictum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tincidun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p>
          <a:p>
            <a:pPr lvl="0"/>
            <a:endParaRPr lang="en-GB" noProof="0"/>
          </a:p>
        </p:txBody>
      </p:sp>
    </p:spTree>
    <p:extLst>
      <p:ext uri="{BB962C8B-B14F-4D97-AF65-F5344CB8AC3E}">
        <p14:creationId xmlns:p14="http://schemas.microsoft.com/office/powerpoint/2010/main" val="7901447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ext without headlin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300163" y="602470"/>
            <a:ext cx="9658350" cy="4409440"/>
          </a:xfrm>
          <a:prstGeom prst="rect">
            <a:avLst/>
          </a:prstGeom>
        </p:spPr>
        <p:txBody>
          <a:bodyPr anchor="ctr">
            <a:normAutofit/>
          </a:bodyPr>
          <a:lstStyle>
            <a:lvl1pPr marL="0" indent="0" algn="ctr">
              <a:buNone/>
              <a:defRPr sz="4400" b="0" i="0">
                <a:solidFill>
                  <a:schemeClr val="accent5"/>
                </a:solidFill>
                <a:latin typeface="Helvetica Light" panose="020B0403020202020204" pitchFamily="34" charset="0"/>
                <a:cs typeface="Arial" panose="020B0604020202020204" pitchFamily="34" charset="0"/>
              </a:defRPr>
            </a:lvl1pPr>
            <a:lvl2pPr algn="ctr">
              <a:defRPr sz="2400"/>
            </a:lvl2pPr>
            <a:lvl3pPr algn="ctr">
              <a:defRPr sz="2000"/>
            </a:lvl3pPr>
            <a:lvl4pPr algn="ctr">
              <a:defRPr sz="1800"/>
            </a:lvl4pPr>
            <a:lvl5pPr algn="ctr">
              <a:defRPr sz="1800"/>
            </a:lvl5pPr>
          </a:lstStyle>
          <a:p>
            <a:pPr lvl="0"/>
            <a:r>
              <a:rPr lang="en-GB" noProof="0"/>
              <a:t>Click to edit Master text styles</a:t>
            </a:r>
          </a:p>
        </p:txBody>
      </p:sp>
      <p:pic>
        <p:nvPicPr>
          <p:cNvPr id="5" name="Bilde 4">
            <a:extLst>
              <a:ext uri="{FF2B5EF4-FFF2-40B4-BE49-F238E27FC236}">
                <a16:creationId xmlns:a16="http://schemas.microsoft.com/office/drawing/2014/main" id="{BD3625BD-0F11-4BE2-9CED-1CFE1DB823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52521" y="6430245"/>
            <a:ext cx="1825937" cy="319232"/>
          </a:xfrm>
          <a:prstGeom prst="rect">
            <a:avLst/>
          </a:prstGeom>
        </p:spPr>
      </p:pic>
    </p:spTree>
    <p:extLst>
      <p:ext uri="{BB962C8B-B14F-4D97-AF65-F5344CB8AC3E}">
        <p14:creationId xmlns:p14="http://schemas.microsoft.com/office/powerpoint/2010/main" val="9326463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Blanc">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83430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_Blanc with logo 1">
    <p:spTree>
      <p:nvGrpSpPr>
        <p:cNvPr id="1" name=""/>
        <p:cNvGrpSpPr/>
        <p:nvPr/>
      </p:nvGrpSpPr>
      <p:grpSpPr>
        <a:xfrm>
          <a:off x="0" y="0"/>
          <a:ext cx="0" cy="0"/>
          <a:chOff x="0" y="0"/>
          <a:chExt cx="0" cy="0"/>
        </a:xfrm>
      </p:grpSpPr>
      <p:sp>
        <p:nvSpPr>
          <p:cNvPr id="11" name="Plassholder for bilde 10">
            <a:extLst>
              <a:ext uri="{FF2B5EF4-FFF2-40B4-BE49-F238E27FC236}">
                <a16:creationId xmlns:a16="http://schemas.microsoft.com/office/drawing/2014/main" id="{59F8AE11-E06E-436F-96C7-F71AFAA57FFF}"/>
              </a:ext>
            </a:extLst>
          </p:cNvPr>
          <p:cNvSpPr>
            <a:spLocks noGrp="1"/>
          </p:cNvSpPr>
          <p:nvPr>
            <p:ph type="pic" sz="quarter" idx="10" hasCustomPrompt="1"/>
          </p:nvPr>
        </p:nvSpPr>
        <p:spPr>
          <a:xfrm>
            <a:off x="0" y="982755"/>
            <a:ext cx="6016212" cy="5219923"/>
          </a:xfrm>
          <a:prstGeom prst="rect">
            <a:avLst/>
          </a:prstGeom>
        </p:spPr>
        <p:txBody>
          <a:bodyPr anchor="ctr"/>
          <a:lstStyle>
            <a:lvl1pPr marL="0" indent="0" algn="ctr">
              <a:buNone/>
              <a:defRPr b="0" i="0">
                <a:latin typeface="Helvetica" pitchFamily="2" charset="0"/>
              </a:defRPr>
            </a:lvl1pPr>
          </a:lstStyle>
          <a:p>
            <a:r>
              <a:rPr lang="en-GB" noProof="0"/>
              <a:t>Picture</a:t>
            </a:r>
          </a:p>
        </p:txBody>
      </p:sp>
      <p:sp>
        <p:nvSpPr>
          <p:cNvPr id="9" name="!!Blue">
            <a:extLst>
              <a:ext uri="{FF2B5EF4-FFF2-40B4-BE49-F238E27FC236}">
                <a16:creationId xmlns:a16="http://schemas.microsoft.com/office/drawing/2014/main" id="{907138BB-FD71-4DDA-9F55-1FF4CDA5543D}"/>
              </a:ext>
            </a:extLst>
          </p:cNvPr>
          <p:cNvSpPr/>
          <p:nvPr userDrawn="1"/>
        </p:nvSpPr>
        <p:spPr>
          <a:xfrm>
            <a:off x="6016596" y="982416"/>
            <a:ext cx="182593" cy="52202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 name="Rectangle 7">
            <a:extLst>
              <a:ext uri="{FF2B5EF4-FFF2-40B4-BE49-F238E27FC236}">
                <a16:creationId xmlns:a16="http://schemas.microsoft.com/office/drawing/2014/main" id="{6103F436-6829-4D28-B07F-F2B65F705AFE}"/>
              </a:ext>
            </a:extLst>
          </p:cNvPr>
          <p:cNvSpPr/>
          <p:nvPr userDrawn="1"/>
        </p:nvSpPr>
        <p:spPr>
          <a:xfrm>
            <a:off x="6199573" y="975656"/>
            <a:ext cx="5992427" cy="52270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13" name="Plassholder for tekst 12">
            <a:extLst>
              <a:ext uri="{FF2B5EF4-FFF2-40B4-BE49-F238E27FC236}">
                <a16:creationId xmlns:a16="http://schemas.microsoft.com/office/drawing/2014/main" id="{E457044F-02F3-455A-A33C-E43CB2EAE94C}"/>
              </a:ext>
            </a:extLst>
          </p:cNvPr>
          <p:cNvSpPr>
            <a:spLocks noGrp="1"/>
          </p:cNvSpPr>
          <p:nvPr>
            <p:ph type="body" sz="quarter" idx="11" hasCustomPrompt="1"/>
          </p:nvPr>
        </p:nvSpPr>
        <p:spPr>
          <a:xfrm>
            <a:off x="6812155" y="1644200"/>
            <a:ext cx="4767262" cy="120015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3600" b="1" i="0" cap="all" baseline="0">
                <a:solidFill>
                  <a:schemeClr val="accent1"/>
                </a:solidFill>
                <a:latin typeface="Helvetica" pitchFamily="2" charset="0"/>
              </a:defRPr>
            </a:lvl1pPr>
          </a:lstStyle>
          <a:p>
            <a:pPr lvl="0"/>
            <a:r>
              <a:rPr lang="en-GB" noProof="0"/>
              <a:t>PRESENTATION TITLE HERE</a:t>
            </a:r>
          </a:p>
          <a:p>
            <a:pPr lvl="0"/>
            <a:endParaRPr lang="en-GB" noProof="0"/>
          </a:p>
        </p:txBody>
      </p:sp>
      <p:sp>
        <p:nvSpPr>
          <p:cNvPr id="17" name="Plassholder for tekst 16">
            <a:extLst>
              <a:ext uri="{FF2B5EF4-FFF2-40B4-BE49-F238E27FC236}">
                <a16:creationId xmlns:a16="http://schemas.microsoft.com/office/drawing/2014/main" id="{15724569-D2C2-48A0-9B43-28E456B68EC9}"/>
              </a:ext>
            </a:extLst>
          </p:cNvPr>
          <p:cNvSpPr>
            <a:spLocks noGrp="1"/>
          </p:cNvSpPr>
          <p:nvPr>
            <p:ph type="body" sz="quarter" idx="13" hasCustomPrompt="1"/>
          </p:nvPr>
        </p:nvSpPr>
        <p:spPr>
          <a:xfrm>
            <a:off x="6812155" y="3589168"/>
            <a:ext cx="4767262" cy="40005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000" b="0" i="0">
                <a:latin typeface="Helvetica Light" panose="020B0403020202020204" pitchFamily="34" charset="0"/>
                <a:cs typeface="Arial" panose="020B0604020202020204" pitchFamily="34" charset="0"/>
              </a:defRPr>
            </a:lvl1pPr>
          </a:lstStyle>
          <a:p>
            <a:pPr lvl="0"/>
            <a:r>
              <a:rPr lang="en-GB" noProof="0" err="1"/>
              <a:t>Expertice</a:t>
            </a:r>
            <a:r>
              <a:rPr lang="en-GB" noProof="0"/>
              <a:t> you need. Service deserved!</a:t>
            </a:r>
          </a:p>
        </p:txBody>
      </p:sp>
      <p:pic>
        <p:nvPicPr>
          <p:cNvPr id="24" name="Bilde 23">
            <a:extLst>
              <a:ext uri="{FF2B5EF4-FFF2-40B4-BE49-F238E27FC236}">
                <a16:creationId xmlns:a16="http://schemas.microsoft.com/office/drawing/2014/main" id="{037B8367-F3A2-4AD3-83BE-6E150F3918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749" y="412922"/>
            <a:ext cx="1825937" cy="319232"/>
          </a:xfrm>
          <a:prstGeom prst="rect">
            <a:avLst/>
          </a:prstGeom>
        </p:spPr>
      </p:pic>
      <p:sp>
        <p:nvSpPr>
          <p:cNvPr id="3" name="Plassholder for tekst 2">
            <a:extLst>
              <a:ext uri="{FF2B5EF4-FFF2-40B4-BE49-F238E27FC236}">
                <a16:creationId xmlns:a16="http://schemas.microsoft.com/office/drawing/2014/main" id="{41C4059B-2100-4BD2-8E98-9BBE48FD6F20}"/>
              </a:ext>
            </a:extLst>
          </p:cNvPr>
          <p:cNvSpPr>
            <a:spLocks noGrp="1"/>
          </p:cNvSpPr>
          <p:nvPr>
            <p:ph type="body" sz="quarter" idx="14" hasCustomPrompt="1"/>
          </p:nvPr>
        </p:nvSpPr>
        <p:spPr>
          <a:xfrm>
            <a:off x="6811963" y="4178300"/>
            <a:ext cx="4791075" cy="1774825"/>
          </a:xfrm>
          <a:prstGeom prst="rect">
            <a:avLst/>
          </a:prstGeom>
        </p:spPr>
        <p:txBody>
          <a:bodyPr/>
          <a:lstStyle>
            <a:lvl1pPr marL="0" indent="0">
              <a:buNone/>
              <a:defRPr sz="1400" b="0" i="0">
                <a:latin typeface="Helvetica Light" panose="020B0403020202020204" pitchFamily="34" charset="0"/>
              </a:defRPr>
            </a:lvl1pPr>
          </a:lstStyle>
          <a:p>
            <a:pPr lvl="0"/>
            <a:r>
              <a:rPr lang="en-GB" noProof="0"/>
              <a:t>Lorem ipsum </a:t>
            </a:r>
            <a:r>
              <a:rPr lang="en-GB" noProof="0" err="1"/>
              <a:t>dolor</a:t>
            </a:r>
            <a:r>
              <a:rPr lang="en-GB" noProof="0"/>
              <a:t> sit </a:t>
            </a:r>
            <a:r>
              <a:rPr lang="en-GB" noProof="0" err="1"/>
              <a:t>amet</a:t>
            </a:r>
            <a:r>
              <a:rPr lang="en-GB" noProof="0"/>
              <a:t>, </a:t>
            </a:r>
            <a:r>
              <a:rPr lang="en-GB" noProof="0" err="1"/>
              <a:t>consectetur</a:t>
            </a:r>
            <a:r>
              <a:rPr lang="en-GB" noProof="0"/>
              <a:t> </a:t>
            </a:r>
            <a:r>
              <a:rPr lang="en-GB" noProof="0" err="1"/>
              <a:t>adipiscing</a:t>
            </a:r>
            <a:r>
              <a:rPr lang="en-GB" noProof="0"/>
              <a:t> </a:t>
            </a:r>
            <a:r>
              <a:rPr lang="en-GB" noProof="0" err="1"/>
              <a:t>elit</a:t>
            </a:r>
            <a:r>
              <a:rPr lang="en-GB" noProof="0"/>
              <a:t>. </a:t>
            </a:r>
            <a:r>
              <a:rPr lang="en-GB" noProof="0" err="1"/>
              <a:t>Pellentesque</a:t>
            </a:r>
            <a:r>
              <a:rPr lang="en-GB" noProof="0"/>
              <a:t> </a:t>
            </a:r>
            <a:r>
              <a:rPr lang="en-GB" noProof="0" err="1"/>
              <a:t>scelerisque</a:t>
            </a:r>
            <a:r>
              <a:rPr lang="en-GB" noProof="0"/>
              <a:t> </a:t>
            </a:r>
            <a:r>
              <a:rPr lang="en-GB" noProof="0" err="1"/>
              <a:t>malesuada</a:t>
            </a:r>
            <a:r>
              <a:rPr lang="en-GB" noProof="0"/>
              <a:t> libero a </a:t>
            </a:r>
            <a:r>
              <a:rPr lang="en-GB" noProof="0" err="1"/>
              <a:t>pellentesque</a:t>
            </a:r>
            <a:r>
              <a:rPr lang="en-GB" noProof="0"/>
              <a:t>. Morbi </a:t>
            </a:r>
            <a:r>
              <a:rPr lang="en-GB" noProof="0" err="1"/>
              <a:t>orci</a:t>
            </a:r>
            <a:r>
              <a:rPr lang="en-GB" noProof="0"/>
              <a:t> dui, fermentum </a:t>
            </a:r>
            <a:r>
              <a:rPr lang="en-GB" noProof="0" err="1"/>
              <a:t>eget</a:t>
            </a:r>
            <a:r>
              <a:rPr lang="en-GB" noProof="0"/>
              <a:t> </a:t>
            </a:r>
            <a:r>
              <a:rPr lang="en-GB" noProof="0" err="1"/>
              <a:t>lectus</a:t>
            </a:r>
            <a:r>
              <a:rPr lang="en-GB" noProof="0"/>
              <a:t> </a:t>
            </a:r>
            <a:r>
              <a:rPr lang="en-GB" noProof="0" err="1"/>
              <a:t>ornare</a:t>
            </a:r>
            <a:r>
              <a:rPr lang="en-GB" noProof="0"/>
              <a:t>, </a:t>
            </a:r>
            <a:r>
              <a:rPr lang="en-GB" noProof="0" err="1"/>
              <a:t>viverra</a:t>
            </a:r>
            <a:r>
              <a:rPr lang="en-GB" noProof="0"/>
              <a:t> </a:t>
            </a:r>
            <a:r>
              <a:rPr lang="en-GB" noProof="0" err="1"/>
              <a:t>dignissim</a:t>
            </a:r>
            <a:r>
              <a:rPr lang="en-GB" noProof="0"/>
              <a:t> </a:t>
            </a:r>
            <a:r>
              <a:rPr lang="en-GB" noProof="0" err="1"/>
              <a:t>risus</a:t>
            </a:r>
            <a:r>
              <a:rPr lang="en-GB" noProof="0"/>
              <a:t>. </a:t>
            </a:r>
            <a:r>
              <a:rPr lang="en-GB" noProof="0" err="1"/>
              <a:t>Donec</a:t>
            </a:r>
            <a:r>
              <a:rPr lang="en-GB" noProof="0"/>
              <a:t> lacinia </a:t>
            </a:r>
            <a:r>
              <a:rPr lang="en-GB" noProof="0" err="1"/>
              <a:t>neque</a:t>
            </a:r>
            <a:r>
              <a:rPr lang="en-GB" noProof="0"/>
              <a:t> non </a:t>
            </a:r>
            <a:r>
              <a:rPr lang="en-GB" noProof="0" err="1"/>
              <a:t>velit</a:t>
            </a:r>
            <a:r>
              <a:rPr lang="en-GB" noProof="0"/>
              <a:t> dictum </a:t>
            </a:r>
            <a:r>
              <a:rPr lang="en-GB" noProof="0" err="1"/>
              <a:t>tincidunt</a:t>
            </a:r>
            <a:r>
              <a:rPr lang="en-GB" noProof="0"/>
              <a:t>. </a:t>
            </a:r>
            <a:r>
              <a:rPr lang="en-GB" noProof="0" err="1"/>
              <a:t>Etiam</a:t>
            </a:r>
            <a:r>
              <a:rPr lang="en-GB" noProof="0"/>
              <a:t> </a:t>
            </a:r>
            <a:r>
              <a:rPr lang="en-GB" noProof="0" err="1"/>
              <a:t>lacus</a:t>
            </a:r>
            <a:r>
              <a:rPr lang="en-GB" noProof="0"/>
              <a:t> </a:t>
            </a:r>
            <a:r>
              <a:rPr lang="en-GB" noProof="0" err="1"/>
              <a:t>neque</a:t>
            </a:r>
            <a:r>
              <a:rPr lang="en-GB" noProof="0"/>
              <a:t>, </a:t>
            </a:r>
            <a:r>
              <a:rPr lang="en-GB" noProof="0" err="1"/>
              <a:t>mattis</a:t>
            </a:r>
            <a:r>
              <a:rPr lang="en-GB" noProof="0"/>
              <a:t> </a:t>
            </a:r>
            <a:r>
              <a:rPr lang="en-GB" noProof="0" err="1"/>
              <a:t>ut</a:t>
            </a:r>
            <a:r>
              <a:rPr lang="en-GB" noProof="0"/>
              <a:t> </a:t>
            </a:r>
            <a:r>
              <a:rPr lang="en-GB" noProof="0" err="1"/>
              <a:t>sem</a:t>
            </a:r>
            <a:r>
              <a:rPr lang="en-GB" noProof="0"/>
              <a:t> sit </a:t>
            </a:r>
            <a:r>
              <a:rPr lang="en-GB" noProof="0" err="1"/>
              <a:t>amet</a:t>
            </a:r>
            <a:r>
              <a:rPr lang="en-GB" noProof="0"/>
              <a:t>, </a:t>
            </a:r>
            <a:r>
              <a:rPr lang="en-GB" noProof="0" err="1"/>
              <a:t>accumsan</a:t>
            </a:r>
            <a:r>
              <a:rPr lang="en-GB" noProof="0"/>
              <a:t> </a:t>
            </a:r>
            <a:r>
              <a:rPr lang="en-GB" noProof="0" err="1"/>
              <a:t>egestas</a:t>
            </a:r>
            <a:r>
              <a:rPr lang="en-GB" noProof="0"/>
              <a:t> </a:t>
            </a:r>
            <a:r>
              <a:rPr lang="en-GB" noProof="0" err="1"/>
              <a:t>nulla</a:t>
            </a:r>
            <a:r>
              <a:rPr lang="en-GB" noProof="0"/>
              <a:t>. </a:t>
            </a:r>
            <a:r>
              <a:rPr lang="en-GB" noProof="0" err="1"/>
              <a:t>Nulla</a:t>
            </a:r>
            <a:r>
              <a:rPr lang="en-GB" noProof="0"/>
              <a:t> sit </a:t>
            </a:r>
            <a:r>
              <a:rPr lang="en-GB" noProof="0" err="1"/>
              <a:t>amet</a:t>
            </a:r>
            <a:r>
              <a:rPr lang="en-GB" noProof="0"/>
              <a:t> </a:t>
            </a:r>
            <a:r>
              <a:rPr lang="en-GB" noProof="0" err="1"/>
              <a:t>nulla</a:t>
            </a:r>
            <a:r>
              <a:rPr lang="en-GB" noProof="0"/>
              <a:t> </a:t>
            </a:r>
            <a:r>
              <a:rPr lang="en-GB" noProof="0" err="1"/>
              <a:t>commodo</a:t>
            </a:r>
            <a:r>
              <a:rPr lang="en-GB" noProof="0"/>
              <a:t>, </a:t>
            </a:r>
            <a:r>
              <a:rPr lang="en-GB" noProof="0" err="1"/>
              <a:t>elementum</a:t>
            </a:r>
            <a:r>
              <a:rPr lang="en-GB" noProof="0"/>
              <a:t> </a:t>
            </a:r>
            <a:r>
              <a:rPr lang="en-GB" noProof="0" err="1"/>
              <a:t>sapien</a:t>
            </a:r>
            <a:r>
              <a:rPr lang="en-GB" noProof="0"/>
              <a:t> </a:t>
            </a:r>
            <a:r>
              <a:rPr lang="en-GB" noProof="0" err="1"/>
              <a:t>eu</a:t>
            </a:r>
            <a:r>
              <a:rPr lang="en-GB" noProof="0"/>
              <a:t>, </a:t>
            </a:r>
            <a:r>
              <a:rPr lang="en-GB" noProof="0" err="1"/>
              <a:t>egestas</a:t>
            </a:r>
            <a:r>
              <a:rPr lang="en-GB" noProof="0"/>
              <a:t> </a:t>
            </a:r>
            <a:r>
              <a:rPr lang="en-GB" noProof="0" err="1"/>
              <a:t>purus</a:t>
            </a:r>
            <a:r>
              <a:rPr lang="en-GB" noProof="0"/>
              <a:t>. </a:t>
            </a:r>
          </a:p>
        </p:txBody>
      </p:sp>
    </p:spTree>
    <p:extLst>
      <p:ext uri="{BB962C8B-B14F-4D97-AF65-F5344CB8AC3E}">
        <p14:creationId xmlns:p14="http://schemas.microsoft.com/office/powerpoint/2010/main" val="1581228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51" name="Rectangle 10">
            <a:extLst>
              <a:ext uri="{FF2B5EF4-FFF2-40B4-BE49-F238E27FC236}">
                <a16:creationId xmlns:a16="http://schemas.microsoft.com/office/drawing/2014/main" id="{F55BAFD2-488E-4666-95BA-2E27E93B3D86}"/>
              </a:ext>
            </a:extLst>
          </p:cNvPr>
          <p:cNvSpPr/>
          <p:nvPr userDrawn="1"/>
        </p:nvSpPr>
        <p:spPr>
          <a:xfrm>
            <a:off x="7242052" y="1329796"/>
            <a:ext cx="3747559" cy="12989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i="0" noProof="0">
              <a:latin typeface="Helvetica" pitchFamily="2" charset="0"/>
              <a:cs typeface="Arial" panose="020B0604020202020204" pitchFamily="34" charset="0"/>
            </a:endParaRPr>
          </a:p>
        </p:txBody>
      </p:sp>
      <p:sp>
        <p:nvSpPr>
          <p:cNvPr id="53" name="!!Blue">
            <a:extLst>
              <a:ext uri="{FF2B5EF4-FFF2-40B4-BE49-F238E27FC236}">
                <a16:creationId xmlns:a16="http://schemas.microsoft.com/office/drawing/2014/main" id="{77930EB7-481C-44F0-97C3-9C5864AFA2D1}"/>
              </a:ext>
            </a:extLst>
          </p:cNvPr>
          <p:cNvSpPr/>
          <p:nvPr userDrawn="1"/>
        </p:nvSpPr>
        <p:spPr>
          <a:xfrm>
            <a:off x="7242052" y="2917580"/>
            <a:ext cx="3747559" cy="12989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5" name="Rectangle 17">
            <a:extLst>
              <a:ext uri="{FF2B5EF4-FFF2-40B4-BE49-F238E27FC236}">
                <a16:creationId xmlns:a16="http://schemas.microsoft.com/office/drawing/2014/main" id="{6A5350D8-C90C-4BAF-B507-455A8A5BA435}"/>
              </a:ext>
            </a:extLst>
          </p:cNvPr>
          <p:cNvSpPr/>
          <p:nvPr userDrawn="1"/>
        </p:nvSpPr>
        <p:spPr>
          <a:xfrm>
            <a:off x="7242052" y="4506306"/>
            <a:ext cx="3747559" cy="12989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 name="Rectangle 36">
            <a:extLst>
              <a:ext uri="{FF2B5EF4-FFF2-40B4-BE49-F238E27FC236}">
                <a16:creationId xmlns:a16="http://schemas.microsoft.com/office/drawing/2014/main" id="{214895EF-8762-4104-8A7D-B5F36DC46B45}"/>
              </a:ext>
            </a:extLst>
          </p:cNvPr>
          <p:cNvSpPr/>
          <p:nvPr userDrawn="1"/>
        </p:nvSpPr>
        <p:spPr>
          <a:xfrm>
            <a:off x="0" y="0"/>
            <a:ext cx="65627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2" name="Rectangle 12">
            <a:extLst>
              <a:ext uri="{FF2B5EF4-FFF2-40B4-BE49-F238E27FC236}">
                <a16:creationId xmlns:a16="http://schemas.microsoft.com/office/drawing/2014/main" id="{DA564843-AAC1-4FC6-ABEB-604C5A4E480D}"/>
              </a:ext>
            </a:extLst>
          </p:cNvPr>
          <p:cNvSpPr/>
          <p:nvPr userDrawn="1"/>
        </p:nvSpPr>
        <p:spPr>
          <a:xfrm>
            <a:off x="10989611" y="1329796"/>
            <a:ext cx="553267" cy="1298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4" name="!!Yellow">
            <a:extLst>
              <a:ext uri="{FF2B5EF4-FFF2-40B4-BE49-F238E27FC236}">
                <a16:creationId xmlns:a16="http://schemas.microsoft.com/office/drawing/2014/main" id="{7A4FB1C8-3DBE-4D19-A16E-369BF81FC843}"/>
              </a:ext>
            </a:extLst>
          </p:cNvPr>
          <p:cNvSpPr/>
          <p:nvPr userDrawn="1"/>
        </p:nvSpPr>
        <p:spPr>
          <a:xfrm>
            <a:off x="10989611" y="2918522"/>
            <a:ext cx="553267" cy="1298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6" name="Rectangle 18">
            <a:extLst>
              <a:ext uri="{FF2B5EF4-FFF2-40B4-BE49-F238E27FC236}">
                <a16:creationId xmlns:a16="http://schemas.microsoft.com/office/drawing/2014/main" id="{B32874FD-6D8F-4529-B48B-1282B36E9FB2}"/>
              </a:ext>
            </a:extLst>
          </p:cNvPr>
          <p:cNvSpPr/>
          <p:nvPr userDrawn="1"/>
        </p:nvSpPr>
        <p:spPr>
          <a:xfrm>
            <a:off x="10989611" y="4506306"/>
            <a:ext cx="553267" cy="1298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81" name="Plassholder for tekst 80">
            <a:extLst>
              <a:ext uri="{FF2B5EF4-FFF2-40B4-BE49-F238E27FC236}">
                <a16:creationId xmlns:a16="http://schemas.microsoft.com/office/drawing/2014/main" id="{31D0DABA-AC45-4C99-B3A1-7D91C6FF0D16}"/>
              </a:ext>
            </a:extLst>
          </p:cNvPr>
          <p:cNvSpPr>
            <a:spLocks noGrp="1"/>
          </p:cNvSpPr>
          <p:nvPr>
            <p:ph type="body" sz="quarter" idx="10" hasCustomPrompt="1"/>
          </p:nvPr>
        </p:nvSpPr>
        <p:spPr>
          <a:xfrm>
            <a:off x="8009848" y="1329439"/>
            <a:ext cx="2979738" cy="1298388"/>
          </a:xfrm>
          <a:prstGeom prst="rect">
            <a:avLst/>
          </a:prstGeom>
        </p:spPr>
        <p:txBody>
          <a:bodyPr anchor="ctr"/>
          <a:lstStyle>
            <a:lvl1pPr marL="0" indent="0" algn="l">
              <a:buNone/>
              <a:defRPr sz="1600" b="1" i="0" baseline="0">
                <a:solidFill>
                  <a:schemeClr val="bg1"/>
                </a:solidFill>
                <a:latin typeface="Helvetica" pitchFamily="2" charset="0"/>
              </a:defRPr>
            </a:lvl1pPr>
          </a:lstStyle>
          <a:p>
            <a:pPr lvl="0"/>
            <a:r>
              <a:rPr lang="en-GB" noProof="0"/>
              <a:t>Example Text Placed In This Blue Box</a:t>
            </a:r>
          </a:p>
        </p:txBody>
      </p:sp>
      <p:sp>
        <p:nvSpPr>
          <p:cNvPr id="82" name="Plassholder for tekst 80">
            <a:extLst>
              <a:ext uri="{FF2B5EF4-FFF2-40B4-BE49-F238E27FC236}">
                <a16:creationId xmlns:a16="http://schemas.microsoft.com/office/drawing/2014/main" id="{AE79262F-1BB6-486C-82B4-750D6048736A}"/>
              </a:ext>
            </a:extLst>
          </p:cNvPr>
          <p:cNvSpPr>
            <a:spLocks noGrp="1"/>
          </p:cNvSpPr>
          <p:nvPr>
            <p:ph type="body" sz="quarter" idx="11" hasCustomPrompt="1"/>
          </p:nvPr>
        </p:nvSpPr>
        <p:spPr>
          <a:xfrm>
            <a:off x="8009848" y="2918164"/>
            <a:ext cx="2979738" cy="1298388"/>
          </a:xfrm>
          <a:prstGeom prst="rect">
            <a:avLst/>
          </a:prstGeom>
        </p:spPr>
        <p:txBody>
          <a:bodyPr anchor="ctr"/>
          <a:lstStyle>
            <a:lvl1pPr marL="0" indent="0" algn="l">
              <a:buNone/>
              <a:defRPr sz="1600" b="1" i="0" baseline="0">
                <a:solidFill>
                  <a:schemeClr val="bg1"/>
                </a:solidFill>
                <a:latin typeface="Helvetica" pitchFamily="2" charset="0"/>
              </a:defRPr>
            </a:lvl1pPr>
          </a:lstStyle>
          <a:p>
            <a:pPr lvl="0"/>
            <a:r>
              <a:rPr lang="en-GB" noProof="0"/>
              <a:t>Example Text Placed In This Blue Box</a:t>
            </a:r>
          </a:p>
        </p:txBody>
      </p:sp>
      <p:sp>
        <p:nvSpPr>
          <p:cNvPr id="83" name="Plassholder for tekst 80">
            <a:extLst>
              <a:ext uri="{FF2B5EF4-FFF2-40B4-BE49-F238E27FC236}">
                <a16:creationId xmlns:a16="http://schemas.microsoft.com/office/drawing/2014/main" id="{405BE05B-D0C3-4A43-9832-D4376E5F50E4}"/>
              </a:ext>
            </a:extLst>
          </p:cNvPr>
          <p:cNvSpPr>
            <a:spLocks noGrp="1"/>
          </p:cNvSpPr>
          <p:nvPr>
            <p:ph type="body" sz="quarter" idx="12" hasCustomPrompt="1"/>
          </p:nvPr>
        </p:nvSpPr>
        <p:spPr>
          <a:xfrm>
            <a:off x="8009848" y="4516826"/>
            <a:ext cx="2979738" cy="1298388"/>
          </a:xfrm>
          <a:prstGeom prst="rect">
            <a:avLst/>
          </a:prstGeom>
        </p:spPr>
        <p:txBody>
          <a:bodyPr anchor="ctr"/>
          <a:lstStyle>
            <a:lvl1pPr marL="0" indent="0" algn="l">
              <a:buNone/>
              <a:defRPr sz="1600" b="1" i="0" baseline="0">
                <a:solidFill>
                  <a:schemeClr val="bg1"/>
                </a:solidFill>
                <a:latin typeface="Helvetica" pitchFamily="2" charset="0"/>
              </a:defRPr>
            </a:lvl1pPr>
          </a:lstStyle>
          <a:p>
            <a:pPr lvl="0"/>
            <a:r>
              <a:rPr lang="en-GB" noProof="0"/>
              <a:t>Example Text Placed In This Blue Box</a:t>
            </a:r>
          </a:p>
        </p:txBody>
      </p:sp>
      <p:sp>
        <p:nvSpPr>
          <p:cNvPr id="91" name="Plassholder for tekst 90">
            <a:extLst>
              <a:ext uri="{FF2B5EF4-FFF2-40B4-BE49-F238E27FC236}">
                <a16:creationId xmlns:a16="http://schemas.microsoft.com/office/drawing/2014/main" id="{068EEC50-49CF-486C-8A3E-CB02713CB666}"/>
              </a:ext>
            </a:extLst>
          </p:cNvPr>
          <p:cNvSpPr>
            <a:spLocks noGrp="1"/>
          </p:cNvSpPr>
          <p:nvPr>
            <p:ph type="body" sz="quarter" idx="13" hasCustomPrompt="1"/>
          </p:nvPr>
        </p:nvSpPr>
        <p:spPr>
          <a:xfrm>
            <a:off x="1099739" y="1329439"/>
            <a:ext cx="4376736" cy="1176338"/>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3600" b="1" i="0" cap="all" baseline="0">
                <a:solidFill>
                  <a:schemeClr val="bg1"/>
                </a:solidFill>
                <a:latin typeface="Helvetica"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noFill/>
                </a:ln>
                <a:solidFill>
                  <a:prstClr val="white"/>
                </a:solidFill>
                <a:effectLst/>
                <a:uLnTx/>
                <a:uFillTx/>
                <a:latin typeface="Arial" panose="020B0604020202020204" pitchFamily="34" charset="0"/>
                <a:ea typeface="Roboto Condensed Black" panose="02000000000000000000" pitchFamily="2" charset="0"/>
                <a:cs typeface="Arial" panose="020B0604020202020204" pitchFamily="34" charset="0"/>
              </a:rPr>
              <a:t>PRESENTATION TITLE HERE</a:t>
            </a:r>
          </a:p>
          <a:p>
            <a:pPr lvl="0"/>
            <a:endParaRPr lang="en-GB" noProof="0"/>
          </a:p>
        </p:txBody>
      </p:sp>
      <p:sp>
        <p:nvSpPr>
          <p:cNvPr id="93" name="Plassholder for tekst 92">
            <a:extLst>
              <a:ext uri="{FF2B5EF4-FFF2-40B4-BE49-F238E27FC236}">
                <a16:creationId xmlns:a16="http://schemas.microsoft.com/office/drawing/2014/main" id="{BCF18026-5F87-4FCB-AB7A-C2C61F8A2C3A}"/>
              </a:ext>
            </a:extLst>
          </p:cNvPr>
          <p:cNvSpPr>
            <a:spLocks noGrp="1"/>
          </p:cNvSpPr>
          <p:nvPr>
            <p:ph type="body" sz="quarter" idx="14" hasCustomPrompt="1"/>
          </p:nvPr>
        </p:nvSpPr>
        <p:spPr>
          <a:xfrm>
            <a:off x="1099738" y="2856555"/>
            <a:ext cx="4376737" cy="744537"/>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000" b="1" i="0" baseline="0">
                <a:solidFill>
                  <a:schemeClr val="accent2"/>
                </a:solidFill>
                <a:latin typeface="Helvetica"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B800"/>
                </a:solidFill>
                <a:effectLst/>
                <a:uLnTx/>
                <a:uFillTx/>
                <a:latin typeface="Arial" panose="020B0604020202020204" pitchFamily="34" charset="0"/>
                <a:ea typeface="Roboto Condensed Black" panose="02000000000000000000" pitchFamily="2" charset="0"/>
                <a:cs typeface="Arial" panose="020B0604020202020204" pitchFamily="34" charset="0"/>
              </a:rPr>
              <a:t>Expertise You Need. Service You Deserve!</a:t>
            </a:r>
          </a:p>
          <a:p>
            <a:pPr lvl="0"/>
            <a:endParaRPr lang="en-GB" noProof="0"/>
          </a:p>
        </p:txBody>
      </p:sp>
      <p:sp>
        <p:nvSpPr>
          <p:cNvPr id="95" name="Plassholder for tekst 94">
            <a:extLst>
              <a:ext uri="{FF2B5EF4-FFF2-40B4-BE49-F238E27FC236}">
                <a16:creationId xmlns:a16="http://schemas.microsoft.com/office/drawing/2014/main" id="{4A7BCC36-BF2F-4D90-A16A-8532CBC4FD0B}"/>
              </a:ext>
            </a:extLst>
          </p:cNvPr>
          <p:cNvSpPr>
            <a:spLocks noGrp="1"/>
          </p:cNvSpPr>
          <p:nvPr>
            <p:ph type="body" sz="quarter" idx="15" hasCustomPrompt="1"/>
          </p:nvPr>
        </p:nvSpPr>
        <p:spPr>
          <a:xfrm>
            <a:off x="1099738" y="3951870"/>
            <a:ext cx="4376737" cy="1666875"/>
          </a:xfrm>
          <a:prstGeom prst="rect">
            <a:avLst/>
          </a:prstGeom>
        </p:spPr>
        <p:txBody>
          <a:bodyPr/>
          <a:lstStyle>
            <a:lvl1pPr marL="0" marR="0" indent="0" algn="l" defTabSz="914400" rtl="0" eaLnBrk="1" fontAlgn="auto" latinLnBrk="0" hangingPunct="1">
              <a:lnSpc>
                <a:spcPct val="150000"/>
              </a:lnSpc>
              <a:spcBef>
                <a:spcPts val="0"/>
              </a:spcBef>
              <a:spcAft>
                <a:spcPts val="0"/>
              </a:spcAft>
              <a:buClrTx/>
              <a:buSzTx/>
              <a:buFontTx/>
              <a:buNone/>
              <a:tabLst/>
              <a:defRPr sz="1400" b="0" i="0" baseline="0">
                <a:solidFill>
                  <a:schemeClr val="bg1"/>
                </a:solidFill>
                <a:latin typeface="Helvetica Light" panose="020B0403020202020204" pitchFamily="34" charset="0"/>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Lorem ipsum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dolor</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si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ame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consectetur</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adipiscing</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eli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Pellentes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sceleris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malesuada</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libero a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pellentes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Morbi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orci</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dui, fermentum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ege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lectus</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ornar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viverra</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dignissim</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risus</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Donec lacinia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ne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non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veli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dictum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tincidun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p>
          <a:p>
            <a:pPr lvl="0"/>
            <a:endParaRPr lang="en-GB" noProof="0"/>
          </a:p>
        </p:txBody>
      </p:sp>
    </p:spTree>
    <p:extLst>
      <p:ext uri="{BB962C8B-B14F-4D97-AF65-F5344CB8AC3E}">
        <p14:creationId xmlns:p14="http://schemas.microsoft.com/office/powerpoint/2010/main" val="21277374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Background">
    <p:spTree>
      <p:nvGrpSpPr>
        <p:cNvPr id="1" name=""/>
        <p:cNvGrpSpPr/>
        <p:nvPr/>
      </p:nvGrpSpPr>
      <p:grpSpPr>
        <a:xfrm>
          <a:off x="0" y="0"/>
          <a:ext cx="0" cy="0"/>
          <a:chOff x="0" y="0"/>
          <a:chExt cx="0" cy="0"/>
        </a:xfrm>
      </p:grpSpPr>
      <p:pic>
        <p:nvPicPr>
          <p:cNvPr id="4" name="Bilde 3" descr="Et bilde som inneholder bygning, person, kvinne, ung&#10;&#10;Automatisk generert beskrivelse">
            <a:extLst>
              <a:ext uri="{FF2B5EF4-FFF2-40B4-BE49-F238E27FC236}">
                <a16:creationId xmlns:a16="http://schemas.microsoft.com/office/drawing/2014/main" id="{347B0E7C-4579-4576-AF68-7E36524526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100" y="0"/>
            <a:ext cx="12230100" cy="6858000"/>
          </a:xfrm>
          <a:prstGeom prst="rect">
            <a:avLst/>
          </a:prstGeom>
        </p:spPr>
      </p:pic>
      <p:pic>
        <p:nvPicPr>
          <p:cNvPr id="5" name="Bilde 4">
            <a:extLst>
              <a:ext uri="{FF2B5EF4-FFF2-40B4-BE49-F238E27FC236}">
                <a16:creationId xmlns:a16="http://schemas.microsoft.com/office/drawing/2014/main" id="{A558EB16-3382-4CE3-BB9E-79B883585A7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52521" y="6429313"/>
            <a:ext cx="1825937" cy="319232"/>
          </a:xfrm>
          <a:prstGeom prst="rect">
            <a:avLst/>
          </a:prstGeom>
        </p:spPr>
      </p:pic>
      <p:sp>
        <p:nvSpPr>
          <p:cNvPr id="6" name="Title 1">
            <a:extLst>
              <a:ext uri="{FF2B5EF4-FFF2-40B4-BE49-F238E27FC236}">
                <a16:creationId xmlns:a16="http://schemas.microsoft.com/office/drawing/2014/main" id="{850311F6-6889-4595-A4A8-04606161AADD}"/>
              </a:ext>
            </a:extLst>
          </p:cNvPr>
          <p:cNvSpPr>
            <a:spLocks noGrp="1"/>
          </p:cNvSpPr>
          <p:nvPr>
            <p:ph type="title" hasCustomPrompt="1"/>
          </p:nvPr>
        </p:nvSpPr>
        <p:spPr>
          <a:xfrm>
            <a:off x="-38100" y="2154630"/>
            <a:ext cx="12230100" cy="2120054"/>
          </a:xfrm>
          <a:prstGeom prst="rect">
            <a:avLst/>
          </a:prstGeom>
          <a:solidFill>
            <a:schemeClr val="bg1">
              <a:lumMod val="50000"/>
              <a:alpha val="63000"/>
            </a:schemeClr>
          </a:solidFill>
        </p:spPr>
        <p:txBody>
          <a:bodyPr>
            <a:normAutofit/>
          </a:bodyPr>
          <a:lstStyle>
            <a:lvl1pPr algn="ctr">
              <a:defRPr sz="4400" b="1" i="0">
                <a:solidFill>
                  <a:schemeClr val="accent1"/>
                </a:solidFill>
                <a:latin typeface="Helvetica" pitchFamily="2" charset="0"/>
                <a:cs typeface="Arial" panose="020B0604020202020204" pitchFamily="34" charset="0"/>
              </a:defRPr>
            </a:lvl1pPr>
          </a:lstStyle>
          <a:p>
            <a:r>
              <a:rPr lang="en-GB" noProof="0"/>
              <a:t>Click to edit Master title style</a:t>
            </a:r>
          </a:p>
        </p:txBody>
      </p:sp>
    </p:spTree>
    <p:extLst>
      <p:ext uri="{BB962C8B-B14F-4D97-AF65-F5344CB8AC3E}">
        <p14:creationId xmlns:p14="http://schemas.microsoft.com/office/powerpoint/2010/main" val="7040729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Blue Texture">
    <p:bg>
      <p:bgPr>
        <a:blipFill>
          <a:blip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11500"/>
                    </a14:imgEffect>
                    <a14:imgEffect>
                      <a14:saturation sat="330000"/>
                    </a14:imgEffect>
                  </a14:imgLayer>
                </a14:imgProps>
              </a:ext>
            </a:extLst>
          </a:blip>
          <a:tile tx="0" ty="0" sx="100000" sy="100000" flip="none" algn="tl"/>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5642505" y="1771920"/>
            <a:ext cx="4978082" cy="1964372"/>
          </a:xfrm>
          <a:prstGeom prst="rect">
            <a:avLst/>
          </a:prstGeom>
        </p:spPr>
        <p:txBody>
          <a:bodyPr anchor="b">
            <a:normAutofit/>
          </a:bodyPr>
          <a:lstStyle>
            <a:lvl1pPr marL="0" indent="0">
              <a:buNone/>
              <a:defRPr sz="4000" b="0" i="0">
                <a:solidFill>
                  <a:schemeClr val="accent2"/>
                </a:solidFill>
                <a:latin typeface="Helvetica Light" panose="020B0403020202020204" pitchFamily="34" charset="0"/>
                <a:cs typeface="Arial" panose="020B0604020202020204" pitchFamily="34" charset="0"/>
              </a:defRPr>
            </a:lvl1pPr>
            <a:lvl2pPr>
              <a:defRPr b="1">
                <a:solidFill>
                  <a:schemeClr val="bg1"/>
                </a:solidFill>
                <a:latin typeface="Franklin Gothic Medium" panose="020B0603020102020204" pitchFamily="34" charset="0"/>
              </a:defRPr>
            </a:lvl2pPr>
            <a:lvl3pPr>
              <a:defRPr b="1">
                <a:solidFill>
                  <a:schemeClr val="bg1"/>
                </a:solidFill>
                <a:latin typeface="Franklin Gothic Medium" panose="020B0603020102020204" pitchFamily="34" charset="0"/>
              </a:defRPr>
            </a:lvl3pPr>
            <a:lvl4pPr>
              <a:defRPr b="1">
                <a:solidFill>
                  <a:schemeClr val="bg1"/>
                </a:solidFill>
                <a:latin typeface="Franklin Gothic Medium" panose="020B0603020102020204" pitchFamily="34" charset="0"/>
              </a:defRPr>
            </a:lvl4pPr>
            <a:lvl5pPr>
              <a:defRPr b="1">
                <a:solidFill>
                  <a:schemeClr val="bg1"/>
                </a:solidFill>
                <a:latin typeface="Franklin Gothic Medium" panose="020B0603020102020204" pitchFamily="34" charset="0"/>
              </a:defRPr>
            </a:lvl5pPr>
          </a:lstStyle>
          <a:p>
            <a:pPr lvl="0"/>
            <a:r>
              <a:rPr lang="en-GB" noProof="0"/>
              <a:t>Edit Master text styles</a:t>
            </a:r>
          </a:p>
        </p:txBody>
      </p:sp>
      <p:sp>
        <p:nvSpPr>
          <p:cNvPr id="9" name="Text Placeholder 8"/>
          <p:cNvSpPr>
            <a:spLocks noGrp="1"/>
          </p:cNvSpPr>
          <p:nvPr>
            <p:ph type="body" sz="quarter" idx="11" hasCustomPrompt="1"/>
          </p:nvPr>
        </p:nvSpPr>
        <p:spPr>
          <a:xfrm>
            <a:off x="5642610" y="3843970"/>
            <a:ext cx="5018088" cy="1404937"/>
          </a:xfrm>
          <a:prstGeom prst="rect">
            <a:avLst/>
          </a:prstGeom>
        </p:spPr>
        <p:txBody>
          <a:bodyPr>
            <a:normAutofit/>
          </a:bodyPr>
          <a:lstStyle>
            <a:lvl1pPr marL="0" indent="0">
              <a:buNone/>
              <a:defRPr sz="2400" b="0" i="0">
                <a:solidFill>
                  <a:schemeClr val="bg1"/>
                </a:solidFill>
                <a:latin typeface="Helvetica Light" panose="020B0403020202020204" pitchFamily="34" charset="0"/>
                <a:cs typeface="Arial" panose="020B0604020202020204" pitchFamily="34" charset="0"/>
              </a:defRPr>
            </a:lvl1pPr>
            <a:lvl2pPr>
              <a:defRPr>
                <a:solidFill>
                  <a:schemeClr val="bg1"/>
                </a:solidFill>
                <a:latin typeface="Franklin Gothic Medium" panose="020B0603020102020204" pitchFamily="34" charset="0"/>
              </a:defRPr>
            </a:lvl2pPr>
            <a:lvl3pPr>
              <a:defRPr>
                <a:solidFill>
                  <a:schemeClr val="bg1"/>
                </a:solidFill>
                <a:latin typeface="Franklin Gothic Medium" panose="020B0603020102020204" pitchFamily="34" charset="0"/>
              </a:defRPr>
            </a:lvl3pPr>
            <a:lvl4pPr>
              <a:defRPr>
                <a:solidFill>
                  <a:schemeClr val="bg1"/>
                </a:solidFill>
                <a:latin typeface="Franklin Gothic Medium" panose="020B0603020102020204" pitchFamily="34" charset="0"/>
              </a:defRPr>
            </a:lvl4pPr>
            <a:lvl5pPr>
              <a:defRPr>
                <a:solidFill>
                  <a:schemeClr val="bg1"/>
                </a:solidFill>
                <a:latin typeface="Franklin Gothic Medium" panose="020B0603020102020204" pitchFamily="34" charset="0"/>
              </a:defRPr>
            </a:lvl5pPr>
          </a:lstStyle>
          <a:p>
            <a:pPr lvl="0"/>
            <a:r>
              <a:rPr lang="en-GB" noProof="0"/>
              <a:t>Edit Master text styles</a:t>
            </a:r>
          </a:p>
        </p:txBody>
      </p:sp>
      <p:pic>
        <p:nvPicPr>
          <p:cNvPr id="5" name="Bilde 4">
            <a:extLst>
              <a:ext uri="{FF2B5EF4-FFF2-40B4-BE49-F238E27FC236}">
                <a16:creationId xmlns:a16="http://schemas.microsoft.com/office/drawing/2014/main" id="{3A07580A-3D59-446E-AF02-EE9B1C03A1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74077" y="1771920"/>
            <a:ext cx="3923340" cy="2542905"/>
          </a:xfrm>
          <a:prstGeom prst="rect">
            <a:avLst/>
          </a:prstGeom>
        </p:spPr>
      </p:pic>
    </p:spTree>
    <p:extLst>
      <p:ext uri="{BB962C8B-B14F-4D97-AF65-F5344CB8AC3E}">
        <p14:creationId xmlns:p14="http://schemas.microsoft.com/office/powerpoint/2010/main" val="31099946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84_Custom Layou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5D4AB-B803-4643-BCDF-D6393E1CDC9B}"/>
              </a:ext>
            </a:extLst>
          </p:cNvPr>
          <p:cNvSpPr>
            <a:spLocks noGrp="1"/>
          </p:cNvSpPr>
          <p:nvPr>
            <p:ph type="title"/>
          </p:nvPr>
        </p:nvSpPr>
        <p:spPr>
          <a:xfrm>
            <a:off x="1218623" y="913943"/>
            <a:ext cx="8567928" cy="1325563"/>
          </a:xfrm>
          <a:prstGeom prst="rect">
            <a:avLst/>
          </a:prstGeom>
        </p:spPr>
        <p:txBody>
          <a:bodyPr/>
          <a:lstStyle>
            <a:lvl1pPr>
              <a:defRPr b="0" i="0">
                <a:solidFill>
                  <a:schemeClr val="bg1"/>
                </a:solidFill>
                <a:latin typeface="Helvetica Light" panose="020B0403020202020204" pitchFamily="34" charset="0"/>
              </a:defRPr>
            </a:lvl1pPr>
          </a:lstStyle>
          <a:p>
            <a:r>
              <a:rPr lang="en-GB"/>
              <a:t>Click to edit Master title style</a:t>
            </a:r>
            <a:endParaRPr lang="en-US"/>
          </a:p>
        </p:txBody>
      </p:sp>
      <p:pic>
        <p:nvPicPr>
          <p:cNvPr id="5" name="Bilde 5">
            <a:extLst>
              <a:ext uri="{FF2B5EF4-FFF2-40B4-BE49-F238E27FC236}">
                <a16:creationId xmlns:a16="http://schemas.microsoft.com/office/drawing/2014/main" id="{826408B4-1F28-DA4C-9BD1-39058BB264B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218623" y="5599967"/>
            <a:ext cx="2822031" cy="493381"/>
          </a:xfrm>
          <a:prstGeom prst="rect">
            <a:avLst/>
          </a:prstGeom>
        </p:spPr>
      </p:pic>
      <p:cxnSp>
        <p:nvCxnSpPr>
          <p:cNvPr id="6" name="Straight Connector 5">
            <a:extLst>
              <a:ext uri="{FF2B5EF4-FFF2-40B4-BE49-F238E27FC236}">
                <a16:creationId xmlns:a16="http://schemas.microsoft.com/office/drawing/2014/main" id="{2982B310-7E67-7C47-9E67-4430CA714644}"/>
              </a:ext>
            </a:extLst>
          </p:cNvPr>
          <p:cNvCxnSpPr/>
          <p:nvPr userDrawn="1"/>
        </p:nvCxnSpPr>
        <p:spPr>
          <a:xfrm>
            <a:off x="1315186" y="4964483"/>
            <a:ext cx="827826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20">
            <a:extLst>
              <a:ext uri="{FF2B5EF4-FFF2-40B4-BE49-F238E27FC236}">
                <a16:creationId xmlns:a16="http://schemas.microsoft.com/office/drawing/2014/main" id="{1D537A84-0006-344B-B900-FF658484079B}"/>
              </a:ext>
            </a:extLst>
          </p:cNvPr>
          <p:cNvSpPr>
            <a:spLocks noGrp="1"/>
          </p:cNvSpPr>
          <p:nvPr>
            <p:ph type="body" sz="quarter" idx="25"/>
          </p:nvPr>
        </p:nvSpPr>
        <p:spPr>
          <a:xfrm>
            <a:off x="1218623" y="3529464"/>
            <a:ext cx="5145898" cy="1227888"/>
          </a:xfrm>
          <a:prstGeom prst="rect">
            <a:avLst/>
          </a:prstGeom>
        </p:spPr>
        <p:txBody>
          <a:bodyPr anchor="t">
            <a:noAutofit/>
          </a:bodyPr>
          <a:lstStyle>
            <a:lvl1pPr marL="0" indent="0">
              <a:buNone/>
              <a:defRPr sz="14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Click to edit Master text styles</a:t>
            </a:r>
          </a:p>
        </p:txBody>
      </p:sp>
    </p:spTree>
    <p:extLst>
      <p:ext uri="{BB962C8B-B14F-4D97-AF65-F5344CB8AC3E}">
        <p14:creationId xmlns:p14="http://schemas.microsoft.com/office/powerpoint/2010/main" val="25356336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83_Custom Layout">
    <p:bg>
      <p:bgPr>
        <a:solidFill>
          <a:schemeClr val="accent1"/>
        </a:solidFill>
        <a:effectLst/>
      </p:bgPr>
    </p:bg>
    <p:spTree>
      <p:nvGrpSpPr>
        <p:cNvPr id="1" name=""/>
        <p:cNvGrpSpPr/>
        <p:nvPr/>
      </p:nvGrpSpPr>
      <p:grpSpPr>
        <a:xfrm>
          <a:off x="0" y="0"/>
          <a:ext cx="0" cy="0"/>
          <a:chOff x="0" y="0"/>
          <a:chExt cx="0" cy="0"/>
        </a:xfrm>
      </p:grpSpPr>
      <p:pic>
        <p:nvPicPr>
          <p:cNvPr id="8" name="object 4">
            <a:extLst>
              <a:ext uri="{FF2B5EF4-FFF2-40B4-BE49-F238E27FC236}">
                <a16:creationId xmlns:a16="http://schemas.microsoft.com/office/drawing/2014/main" id="{266DE70F-23E3-3D7B-545C-3A919B538BC9}"/>
              </a:ext>
            </a:extLst>
          </p:cNvPr>
          <p:cNvPicPr/>
          <p:nvPr userDrawn="1"/>
        </p:nvPicPr>
        <p:blipFill rotWithShape="1">
          <a:blip r:embed="rId2" cstate="print">
            <a:alphaModFix amt="19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F65D4AB-B803-4643-BCDF-D6393E1CDC9B}"/>
              </a:ext>
            </a:extLst>
          </p:cNvPr>
          <p:cNvSpPr>
            <a:spLocks noGrp="1"/>
          </p:cNvSpPr>
          <p:nvPr>
            <p:ph type="title"/>
          </p:nvPr>
        </p:nvSpPr>
        <p:spPr>
          <a:xfrm>
            <a:off x="1218623" y="2778070"/>
            <a:ext cx="8567928" cy="1325563"/>
          </a:xfrm>
          <a:prstGeom prst="rect">
            <a:avLst/>
          </a:prstGeom>
        </p:spPr>
        <p:txBody>
          <a:bodyPr/>
          <a:lstStyle>
            <a:lvl1pPr>
              <a:defRPr sz="4800" b="1" i="0">
                <a:solidFill>
                  <a:schemeClr val="bg1"/>
                </a:solidFill>
                <a:latin typeface="Helvetica" pitchFamily="2" charset="0"/>
              </a:defRPr>
            </a:lvl1pPr>
          </a:lstStyle>
          <a:p>
            <a:r>
              <a:rPr lang="en-GB"/>
              <a:t>Click to edit Master title style</a:t>
            </a:r>
            <a:endParaRPr lang="en-US"/>
          </a:p>
        </p:txBody>
      </p:sp>
      <p:pic>
        <p:nvPicPr>
          <p:cNvPr id="5" name="Bilde 5">
            <a:extLst>
              <a:ext uri="{FF2B5EF4-FFF2-40B4-BE49-F238E27FC236}">
                <a16:creationId xmlns:a16="http://schemas.microsoft.com/office/drawing/2014/main" id="{826408B4-1F28-DA4C-9BD1-39058BB264B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8623" y="1564372"/>
            <a:ext cx="2822031" cy="493381"/>
          </a:xfrm>
          <a:prstGeom prst="rect">
            <a:avLst/>
          </a:prstGeom>
        </p:spPr>
      </p:pic>
      <p:sp>
        <p:nvSpPr>
          <p:cNvPr id="7" name="Text Placeholder 20">
            <a:extLst>
              <a:ext uri="{FF2B5EF4-FFF2-40B4-BE49-F238E27FC236}">
                <a16:creationId xmlns:a16="http://schemas.microsoft.com/office/drawing/2014/main" id="{1D537A84-0006-344B-B900-FF658484079B}"/>
              </a:ext>
            </a:extLst>
          </p:cNvPr>
          <p:cNvSpPr>
            <a:spLocks noGrp="1"/>
          </p:cNvSpPr>
          <p:nvPr>
            <p:ph type="body" sz="quarter" idx="25"/>
          </p:nvPr>
        </p:nvSpPr>
        <p:spPr>
          <a:xfrm>
            <a:off x="1218623" y="4679684"/>
            <a:ext cx="5145898" cy="1227888"/>
          </a:xfrm>
          <a:prstGeom prst="rect">
            <a:avLst/>
          </a:prstGeom>
        </p:spPr>
        <p:txBody>
          <a:bodyPr anchor="t">
            <a:noAutofit/>
          </a:bodyPr>
          <a:lstStyle>
            <a:lvl1pPr marL="0" indent="0">
              <a:buNone/>
              <a:defRPr sz="20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Click to edit Master text styles</a:t>
            </a:r>
          </a:p>
        </p:txBody>
      </p:sp>
    </p:spTree>
    <p:extLst>
      <p:ext uri="{BB962C8B-B14F-4D97-AF65-F5344CB8AC3E}">
        <p14:creationId xmlns:p14="http://schemas.microsoft.com/office/powerpoint/2010/main" val="39518926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82_Custom Layout">
    <p:bg>
      <p:bgPr>
        <a:solidFill>
          <a:schemeClr val="accent1"/>
        </a:solidFill>
        <a:effectLst/>
      </p:bgPr>
    </p:bg>
    <p:spTree>
      <p:nvGrpSpPr>
        <p:cNvPr id="1" name=""/>
        <p:cNvGrpSpPr/>
        <p:nvPr/>
      </p:nvGrpSpPr>
      <p:grpSpPr>
        <a:xfrm>
          <a:off x="0" y="0"/>
          <a:ext cx="0" cy="0"/>
          <a:chOff x="0" y="0"/>
          <a:chExt cx="0" cy="0"/>
        </a:xfrm>
      </p:grpSpPr>
      <p:pic>
        <p:nvPicPr>
          <p:cNvPr id="6" name="object 2">
            <a:extLst>
              <a:ext uri="{FF2B5EF4-FFF2-40B4-BE49-F238E27FC236}">
                <a16:creationId xmlns:a16="http://schemas.microsoft.com/office/drawing/2014/main" id="{3E06A675-647C-40C5-6399-B642063039A4}"/>
              </a:ext>
            </a:extLst>
          </p:cNvPr>
          <p:cNvPicPr/>
          <p:nvPr userDrawn="1"/>
        </p:nvPicPr>
        <p:blipFill rotWithShape="1">
          <a:blip r:embed="rId2" cstate="print">
            <a:alphaModFix amt="27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a:extLst>
              <a:ext uri="{FF2B5EF4-FFF2-40B4-BE49-F238E27FC236}">
                <a16:creationId xmlns:a16="http://schemas.microsoft.com/office/drawing/2014/main" id="{52C1C368-503A-C622-6FDE-E0060070AE50}"/>
              </a:ext>
            </a:extLst>
          </p:cNvPr>
          <p:cNvSpPr>
            <a:spLocks noGrp="1"/>
          </p:cNvSpPr>
          <p:nvPr>
            <p:ph type="title"/>
          </p:nvPr>
        </p:nvSpPr>
        <p:spPr>
          <a:xfrm>
            <a:off x="1218622" y="3429000"/>
            <a:ext cx="9418875" cy="1325563"/>
          </a:xfrm>
          <a:prstGeom prst="rect">
            <a:avLst/>
          </a:prstGeom>
        </p:spPr>
        <p:txBody>
          <a:bodyPr/>
          <a:lstStyle>
            <a:lvl1pPr>
              <a:defRPr b="0" i="0">
                <a:solidFill>
                  <a:schemeClr val="bg1"/>
                </a:solidFill>
                <a:latin typeface="Helvetica Light" panose="020B0403020202020204" pitchFamily="34" charset="0"/>
              </a:defRPr>
            </a:lvl1pPr>
          </a:lstStyle>
          <a:p>
            <a:r>
              <a:rPr lang="en-GB"/>
              <a:t>Click to edit Master title style</a:t>
            </a:r>
            <a:endParaRPr lang="en-US"/>
          </a:p>
        </p:txBody>
      </p:sp>
      <p:pic>
        <p:nvPicPr>
          <p:cNvPr id="10" name="Bilde 5">
            <a:extLst>
              <a:ext uri="{FF2B5EF4-FFF2-40B4-BE49-F238E27FC236}">
                <a16:creationId xmlns:a16="http://schemas.microsoft.com/office/drawing/2014/main" id="{7DCA0359-8D81-843C-70E8-4571A42EA7A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12031" y="5389851"/>
            <a:ext cx="2822031" cy="493381"/>
          </a:xfrm>
          <a:prstGeom prst="rect">
            <a:avLst/>
          </a:prstGeom>
        </p:spPr>
      </p:pic>
      <p:cxnSp>
        <p:nvCxnSpPr>
          <p:cNvPr id="11" name="Straight Connector 10">
            <a:extLst>
              <a:ext uri="{FF2B5EF4-FFF2-40B4-BE49-F238E27FC236}">
                <a16:creationId xmlns:a16="http://schemas.microsoft.com/office/drawing/2014/main" id="{D2B4E9CF-53FB-6A14-C29B-FB79E254B303}"/>
              </a:ext>
            </a:extLst>
          </p:cNvPr>
          <p:cNvCxnSpPr>
            <a:cxnSpLocks/>
          </p:cNvCxnSpPr>
          <p:nvPr userDrawn="1"/>
        </p:nvCxnSpPr>
        <p:spPr>
          <a:xfrm>
            <a:off x="1315186" y="4964483"/>
            <a:ext cx="941887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0BD676DD-16C3-41CC-2353-A2227D88BB3E}"/>
              </a:ext>
            </a:extLst>
          </p:cNvPr>
          <p:cNvSpPr>
            <a:spLocks noGrp="1"/>
          </p:cNvSpPr>
          <p:nvPr>
            <p:ph type="body" sz="quarter" idx="25"/>
          </p:nvPr>
        </p:nvSpPr>
        <p:spPr>
          <a:xfrm>
            <a:off x="1218622" y="5269288"/>
            <a:ext cx="5730817" cy="1227888"/>
          </a:xfrm>
          <a:prstGeom prst="rect">
            <a:avLst/>
          </a:prstGeom>
        </p:spPr>
        <p:txBody>
          <a:bodyPr anchor="t">
            <a:noAutofit/>
          </a:bodyPr>
          <a:lstStyle>
            <a:lvl1pPr marL="0" indent="0">
              <a:buNone/>
              <a:defRPr sz="14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Click to edit Master text styles</a:t>
            </a:r>
          </a:p>
        </p:txBody>
      </p:sp>
    </p:spTree>
    <p:extLst>
      <p:ext uri="{BB962C8B-B14F-4D97-AF65-F5344CB8AC3E}">
        <p14:creationId xmlns:p14="http://schemas.microsoft.com/office/powerpoint/2010/main" val="33149032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81_Custom Layout">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727CFE4-BB94-62BB-5760-A8B1421E05C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CF619745-182C-DF4B-F195-0187CE408F41}"/>
              </a:ext>
            </a:extLst>
          </p:cNvPr>
          <p:cNvSpPr/>
          <p:nvPr userDrawn="1"/>
        </p:nvSpPr>
        <p:spPr>
          <a:xfrm>
            <a:off x="0" y="0"/>
            <a:ext cx="12192000" cy="6858000"/>
          </a:xfrm>
          <a:prstGeom prst="rect">
            <a:avLst/>
          </a:prstGeom>
          <a:solidFill>
            <a:schemeClr val="accent3">
              <a:lumMod val="75000"/>
              <a:alpha val="858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a:solidFill>
                <a:schemeClr val="bg1"/>
              </a:solidFill>
            </a:endParaRPr>
          </a:p>
        </p:txBody>
      </p:sp>
      <p:pic>
        <p:nvPicPr>
          <p:cNvPr id="11" name="Bilde 3">
            <a:extLst>
              <a:ext uri="{FF2B5EF4-FFF2-40B4-BE49-F238E27FC236}">
                <a16:creationId xmlns:a16="http://schemas.microsoft.com/office/drawing/2014/main" id="{40FA1915-9788-1617-FA70-2C66B40267B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98209" y="5506718"/>
            <a:ext cx="2395583" cy="418826"/>
          </a:xfrm>
          <a:prstGeom prst="rect">
            <a:avLst/>
          </a:prstGeom>
        </p:spPr>
      </p:pic>
      <p:sp>
        <p:nvSpPr>
          <p:cNvPr id="2" name="Title 1">
            <a:extLst>
              <a:ext uri="{FF2B5EF4-FFF2-40B4-BE49-F238E27FC236}">
                <a16:creationId xmlns:a16="http://schemas.microsoft.com/office/drawing/2014/main" id="{4F65D4AB-B803-4643-BCDF-D6393E1CDC9B}"/>
              </a:ext>
            </a:extLst>
          </p:cNvPr>
          <p:cNvSpPr>
            <a:spLocks noGrp="1"/>
          </p:cNvSpPr>
          <p:nvPr>
            <p:ph type="title"/>
          </p:nvPr>
        </p:nvSpPr>
        <p:spPr>
          <a:xfrm>
            <a:off x="1588770" y="1833762"/>
            <a:ext cx="9014460" cy="1595238"/>
          </a:xfrm>
          <a:prstGeom prst="rect">
            <a:avLst/>
          </a:prstGeom>
        </p:spPr>
        <p:txBody>
          <a:bodyPr/>
          <a:lstStyle>
            <a:lvl1pPr algn="ctr">
              <a:defRPr sz="5400" b="0" i="0">
                <a:solidFill>
                  <a:schemeClr val="accent2"/>
                </a:solidFill>
                <a:latin typeface="Helvetica Light" panose="020B0403020202020204" pitchFamily="34" charset="0"/>
              </a:defRPr>
            </a:lvl1pPr>
          </a:lstStyle>
          <a:p>
            <a:r>
              <a:rPr lang="en-GB"/>
              <a:t>Click to edit Master title style</a:t>
            </a:r>
            <a:endParaRPr lang="en-US"/>
          </a:p>
        </p:txBody>
      </p:sp>
      <p:sp>
        <p:nvSpPr>
          <p:cNvPr id="7" name="Text Placeholder 20">
            <a:extLst>
              <a:ext uri="{FF2B5EF4-FFF2-40B4-BE49-F238E27FC236}">
                <a16:creationId xmlns:a16="http://schemas.microsoft.com/office/drawing/2014/main" id="{1D537A84-0006-344B-B900-FF658484079B}"/>
              </a:ext>
            </a:extLst>
          </p:cNvPr>
          <p:cNvSpPr>
            <a:spLocks noGrp="1"/>
          </p:cNvSpPr>
          <p:nvPr>
            <p:ph type="body" sz="quarter" idx="25"/>
          </p:nvPr>
        </p:nvSpPr>
        <p:spPr>
          <a:xfrm>
            <a:off x="2351973" y="3707820"/>
            <a:ext cx="7488055" cy="1227888"/>
          </a:xfrm>
          <a:prstGeom prst="rect">
            <a:avLst/>
          </a:prstGeom>
        </p:spPr>
        <p:txBody>
          <a:bodyPr anchor="t">
            <a:noAutofit/>
          </a:bodyPr>
          <a:lstStyle>
            <a:lvl1pPr marL="0" indent="0" algn="ctr">
              <a:buNone/>
              <a:defRPr sz="20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Click to edit Master text styles</a:t>
            </a:r>
          </a:p>
        </p:txBody>
      </p:sp>
    </p:spTree>
    <p:extLst>
      <p:ext uri="{BB962C8B-B14F-4D97-AF65-F5344CB8AC3E}">
        <p14:creationId xmlns:p14="http://schemas.microsoft.com/office/powerpoint/2010/main" val="12991847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ackground">
    <p:spTree>
      <p:nvGrpSpPr>
        <p:cNvPr id="1" name=""/>
        <p:cNvGrpSpPr/>
        <p:nvPr/>
      </p:nvGrpSpPr>
      <p:grpSpPr>
        <a:xfrm>
          <a:off x="0" y="0"/>
          <a:ext cx="0" cy="0"/>
          <a:chOff x="0" y="0"/>
          <a:chExt cx="0" cy="0"/>
        </a:xfrm>
      </p:grpSpPr>
      <p:pic>
        <p:nvPicPr>
          <p:cNvPr id="4" name="Bilde 3" descr="Et bilde som inneholder bygning, person, kvinne, ung&#10;&#10;Automatisk generert beskrivelse">
            <a:extLst>
              <a:ext uri="{FF2B5EF4-FFF2-40B4-BE49-F238E27FC236}">
                <a16:creationId xmlns:a16="http://schemas.microsoft.com/office/drawing/2014/main" id="{347B0E7C-4579-4576-AF68-7E36524526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100" y="0"/>
            <a:ext cx="12230100" cy="6858000"/>
          </a:xfrm>
          <a:prstGeom prst="rect">
            <a:avLst/>
          </a:prstGeom>
        </p:spPr>
      </p:pic>
      <p:pic>
        <p:nvPicPr>
          <p:cNvPr id="5" name="Bilde 4">
            <a:extLst>
              <a:ext uri="{FF2B5EF4-FFF2-40B4-BE49-F238E27FC236}">
                <a16:creationId xmlns:a16="http://schemas.microsoft.com/office/drawing/2014/main" id="{A558EB16-3382-4CE3-BB9E-79B883585A7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52521" y="6429313"/>
            <a:ext cx="1825937" cy="319232"/>
          </a:xfrm>
          <a:prstGeom prst="rect">
            <a:avLst/>
          </a:prstGeom>
        </p:spPr>
      </p:pic>
      <p:sp>
        <p:nvSpPr>
          <p:cNvPr id="6" name="Title 1">
            <a:extLst>
              <a:ext uri="{FF2B5EF4-FFF2-40B4-BE49-F238E27FC236}">
                <a16:creationId xmlns:a16="http://schemas.microsoft.com/office/drawing/2014/main" id="{850311F6-6889-4595-A4A8-04606161AADD}"/>
              </a:ext>
            </a:extLst>
          </p:cNvPr>
          <p:cNvSpPr>
            <a:spLocks noGrp="1"/>
          </p:cNvSpPr>
          <p:nvPr>
            <p:ph type="title" hasCustomPrompt="1"/>
          </p:nvPr>
        </p:nvSpPr>
        <p:spPr>
          <a:xfrm>
            <a:off x="-38100" y="2154630"/>
            <a:ext cx="12230100" cy="2120054"/>
          </a:xfrm>
          <a:prstGeom prst="rect">
            <a:avLst/>
          </a:prstGeom>
          <a:solidFill>
            <a:schemeClr val="bg1">
              <a:lumMod val="50000"/>
              <a:alpha val="63000"/>
            </a:schemeClr>
          </a:solidFill>
        </p:spPr>
        <p:txBody>
          <a:bodyPr>
            <a:normAutofit/>
          </a:bodyPr>
          <a:lstStyle>
            <a:lvl1pPr algn="ctr">
              <a:defRPr sz="4400" b="1" i="0">
                <a:solidFill>
                  <a:schemeClr val="accent1"/>
                </a:solidFill>
                <a:latin typeface="Helvetica" pitchFamily="2" charset="0"/>
                <a:cs typeface="Arial" panose="020B0604020202020204" pitchFamily="34" charset="0"/>
              </a:defRPr>
            </a:lvl1pPr>
          </a:lstStyle>
          <a:p>
            <a:r>
              <a:rPr lang="en-GB" noProof="0"/>
              <a:t>Click to edit Master title style</a:t>
            </a:r>
          </a:p>
        </p:txBody>
      </p:sp>
    </p:spTree>
    <p:extLst>
      <p:ext uri="{BB962C8B-B14F-4D97-AF65-F5344CB8AC3E}">
        <p14:creationId xmlns:p14="http://schemas.microsoft.com/office/powerpoint/2010/main" val="41925990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grpSp>
        <p:nvGrpSpPr>
          <p:cNvPr id="25" name="Group 24">
            <a:extLst>
              <a:ext uri="{FF2B5EF4-FFF2-40B4-BE49-F238E27FC236}">
                <a16:creationId xmlns:a16="http://schemas.microsoft.com/office/drawing/2014/main" id="{6DEF82C5-480D-954F-B095-FD483D7FEEB4}"/>
              </a:ext>
            </a:extLst>
          </p:cNvPr>
          <p:cNvGrpSpPr/>
          <p:nvPr/>
        </p:nvGrpSpPr>
        <p:grpSpPr>
          <a:xfrm>
            <a:off x="731838" y="4085429"/>
            <a:ext cx="5202388" cy="1070771"/>
            <a:chOff x="558332" y="2312872"/>
            <a:chExt cx="5202388" cy="756000"/>
          </a:xfrm>
        </p:grpSpPr>
        <p:sp>
          <p:nvSpPr>
            <p:cNvPr id="26" name="Rectangle 25">
              <a:extLst>
                <a:ext uri="{FF2B5EF4-FFF2-40B4-BE49-F238E27FC236}">
                  <a16:creationId xmlns:a16="http://schemas.microsoft.com/office/drawing/2014/main" id="{7E68816F-8ED8-F14C-9463-BC5BE746F915}"/>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4813DECF-DB9F-1D41-BF9F-AB28D2D0FFA9}"/>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86060DA3-1C3F-574A-B441-7E66952FAF26}"/>
              </a:ext>
            </a:extLst>
          </p:cNvPr>
          <p:cNvGrpSpPr/>
          <p:nvPr/>
        </p:nvGrpSpPr>
        <p:grpSpPr>
          <a:xfrm>
            <a:off x="731838" y="2892118"/>
            <a:ext cx="5202388" cy="1070771"/>
            <a:chOff x="558332" y="2312872"/>
            <a:chExt cx="5202388" cy="756000"/>
          </a:xfrm>
        </p:grpSpPr>
        <p:sp>
          <p:nvSpPr>
            <p:cNvPr id="30" name="Rectangle 29">
              <a:extLst>
                <a:ext uri="{FF2B5EF4-FFF2-40B4-BE49-F238E27FC236}">
                  <a16:creationId xmlns:a16="http://schemas.microsoft.com/office/drawing/2014/main" id="{6B36066D-F13C-AE43-8952-9366B8A0D7AC}"/>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Straight Connector 30">
              <a:extLst>
                <a:ext uri="{FF2B5EF4-FFF2-40B4-BE49-F238E27FC236}">
                  <a16:creationId xmlns:a16="http://schemas.microsoft.com/office/drawing/2014/main" id="{BFC7F9BA-6C49-4740-A870-49B6EC480963}"/>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5" name="Text Placeholder 20">
            <a:extLst>
              <a:ext uri="{FF2B5EF4-FFF2-40B4-BE49-F238E27FC236}">
                <a16:creationId xmlns:a16="http://schemas.microsoft.com/office/drawing/2014/main" id="{8B979C09-D13C-7246-A315-CB1F91820224}"/>
              </a:ext>
            </a:extLst>
          </p:cNvPr>
          <p:cNvSpPr>
            <a:spLocks noGrp="1"/>
          </p:cNvSpPr>
          <p:nvPr>
            <p:ph type="body" sz="quarter" idx="14" hasCustomPrompt="1"/>
          </p:nvPr>
        </p:nvSpPr>
        <p:spPr>
          <a:xfrm>
            <a:off x="817639" y="4138343"/>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92CE0F41-7E9E-3148-9463-F5580DB7B873}"/>
              </a:ext>
            </a:extLst>
          </p:cNvPr>
          <p:cNvSpPr>
            <a:spLocks noGrp="1"/>
          </p:cNvSpPr>
          <p:nvPr>
            <p:ph type="body" sz="quarter" idx="15" hasCustomPrompt="1"/>
          </p:nvPr>
        </p:nvSpPr>
        <p:spPr>
          <a:xfrm>
            <a:off x="817639" y="2968372"/>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18" name="Bilde 3">
            <a:extLst>
              <a:ext uri="{FF2B5EF4-FFF2-40B4-BE49-F238E27FC236}">
                <a16:creationId xmlns:a16="http://schemas.microsoft.com/office/drawing/2014/main" id="{1BD9195B-80E5-6AC0-01C9-D82C02ED118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9" name="Date Placeholder 2">
            <a:extLst>
              <a:ext uri="{FF2B5EF4-FFF2-40B4-BE49-F238E27FC236}">
                <a16:creationId xmlns:a16="http://schemas.microsoft.com/office/drawing/2014/main" id="{6B7C66F6-643D-31ED-8414-0874C0375E13}"/>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20" name="Footer Placeholder 3">
            <a:extLst>
              <a:ext uri="{FF2B5EF4-FFF2-40B4-BE49-F238E27FC236}">
                <a16:creationId xmlns:a16="http://schemas.microsoft.com/office/drawing/2014/main" id="{39A2C9C4-B763-96E0-2166-3E5E140F1670}"/>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21" name="Slide Number Placeholder 4">
            <a:extLst>
              <a:ext uri="{FF2B5EF4-FFF2-40B4-BE49-F238E27FC236}">
                <a16:creationId xmlns:a16="http://schemas.microsoft.com/office/drawing/2014/main" id="{4B3ECF92-0715-0968-72F1-075744B6594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649939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sp>
        <p:nvSpPr>
          <p:cNvPr id="26" name="Rectangle 25">
            <a:extLst>
              <a:ext uri="{FF2B5EF4-FFF2-40B4-BE49-F238E27FC236}">
                <a16:creationId xmlns:a16="http://schemas.microsoft.com/office/drawing/2014/main" id="{7E68816F-8ED8-F14C-9463-BC5BE746F915}"/>
              </a:ext>
            </a:extLst>
          </p:cNvPr>
          <p:cNvSpPr/>
          <p:nvPr/>
        </p:nvSpPr>
        <p:spPr>
          <a:xfrm>
            <a:off x="731838" y="4085429"/>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4813DECF-DB9F-1D41-BF9F-AB28D2D0FFA9}"/>
              </a:ext>
            </a:extLst>
          </p:cNvPr>
          <p:cNvCxnSpPr>
            <a:cxnSpLocks/>
          </p:cNvCxnSpPr>
          <p:nvPr/>
        </p:nvCxnSpPr>
        <p:spPr>
          <a:xfrm>
            <a:off x="808013" y="4085429"/>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B36066D-F13C-AE43-8952-9366B8A0D7AC}"/>
              </a:ext>
            </a:extLst>
          </p:cNvPr>
          <p:cNvSpPr/>
          <p:nvPr/>
        </p:nvSpPr>
        <p:spPr>
          <a:xfrm>
            <a:off x="731838" y="2892118"/>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Straight Connector 30">
            <a:extLst>
              <a:ext uri="{FF2B5EF4-FFF2-40B4-BE49-F238E27FC236}">
                <a16:creationId xmlns:a16="http://schemas.microsoft.com/office/drawing/2014/main" id="{BFC7F9BA-6C49-4740-A870-49B6EC480963}"/>
              </a:ext>
            </a:extLst>
          </p:cNvPr>
          <p:cNvCxnSpPr>
            <a:cxnSpLocks/>
          </p:cNvCxnSpPr>
          <p:nvPr/>
        </p:nvCxnSpPr>
        <p:spPr>
          <a:xfrm>
            <a:off x="808013" y="2892118"/>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5" name="Text Placeholder 20">
            <a:extLst>
              <a:ext uri="{FF2B5EF4-FFF2-40B4-BE49-F238E27FC236}">
                <a16:creationId xmlns:a16="http://schemas.microsoft.com/office/drawing/2014/main" id="{8B979C09-D13C-7246-A315-CB1F91820224}"/>
              </a:ext>
            </a:extLst>
          </p:cNvPr>
          <p:cNvSpPr>
            <a:spLocks noGrp="1"/>
          </p:cNvSpPr>
          <p:nvPr>
            <p:ph type="body" sz="quarter" idx="14" hasCustomPrompt="1"/>
          </p:nvPr>
        </p:nvSpPr>
        <p:spPr>
          <a:xfrm>
            <a:off x="1088020" y="4138343"/>
            <a:ext cx="4710674"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92CE0F41-7E9E-3148-9463-F5580DB7B873}"/>
              </a:ext>
            </a:extLst>
          </p:cNvPr>
          <p:cNvSpPr>
            <a:spLocks noGrp="1"/>
          </p:cNvSpPr>
          <p:nvPr>
            <p:ph type="body" sz="quarter" idx="15" hasCustomPrompt="1"/>
          </p:nvPr>
        </p:nvSpPr>
        <p:spPr>
          <a:xfrm>
            <a:off x="1088020" y="2968372"/>
            <a:ext cx="4710674"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18" name="Bilde 3">
            <a:extLst>
              <a:ext uri="{FF2B5EF4-FFF2-40B4-BE49-F238E27FC236}">
                <a16:creationId xmlns:a16="http://schemas.microsoft.com/office/drawing/2014/main" id="{1BD9195B-80E5-6AC0-01C9-D82C02ED118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9" name="Date Placeholder 2">
            <a:extLst>
              <a:ext uri="{FF2B5EF4-FFF2-40B4-BE49-F238E27FC236}">
                <a16:creationId xmlns:a16="http://schemas.microsoft.com/office/drawing/2014/main" id="{6B7C66F6-643D-31ED-8414-0874C0375E13}"/>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20" name="Footer Placeholder 3">
            <a:extLst>
              <a:ext uri="{FF2B5EF4-FFF2-40B4-BE49-F238E27FC236}">
                <a16:creationId xmlns:a16="http://schemas.microsoft.com/office/drawing/2014/main" id="{39A2C9C4-B763-96E0-2166-3E5E140F1670}"/>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21" name="Slide Number Placeholder 4">
            <a:extLst>
              <a:ext uri="{FF2B5EF4-FFF2-40B4-BE49-F238E27FC236}">
                <a16:creationId xmlns:a16="http://schemas.microsoft.com/office/drawing/2014/main" id="{4B3ECF92-0715-0968-72F1-075744B6594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1787505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80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grpSp>
        <p:nvGrpSpPr>
          <p:cNvPr id="15" name="Group 14">
            <a:extLst>
              <a:ext uri="{FF2B5EF4-FFF2-40B4-BE49-F238E27FC236}">
                <a16:creationId xmlns:a16="http://schemas.microsoft.com/office/drawing/2014/main" id="{695E2979-A264-70BD-555D-9C31C89B99C2}"/>
              </a:ext>
            </a:extLst>
          </p:cNvPr>
          <p:cNvGrpSpPr/>
          <p:nvPr userDrawn="1"/>
        </p:nvGrpSpPr>
        <p:grpSpPr>
          <a:xfrm>
            <a:off x="731838" y="4768603"/>
            <a:ext cx="5202388" cy="1070771"/>
            <a:chOff x="558332" y="2312872"/>
            <a:chExt cx="5202388" cy="756000"/>
          </a:xfrm>
        </p:grpSpPr>
        <p:sp>
          <p:nvSpPr>
            <p:cNvPr id="16" name="Rectangle 15">
              <a:extLst>
                <a:ext uri="{FF2B5EF4-FFF2-40B4-BE49-F238E27FC236}">
                  <a16:creationId xmlns:a16="http://schemas.microsoft.com/office/drawing/2014/main" id="{5A95CCCA-102E-EF68-04F2-04CF2EC0D71D}"/>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3EE749C5-12C4-D619-3255-42F84C1B0073}"/>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8" name="Text Placeholder 20">
            <a:extLst>
              <a:ext uri="{FF2B5EF4-FFF2-40B4-BE49-F238E27FC236}">
                <a16:creationId xmlns:a16="http://schemas.microsoft.com/office/drawing/2014/main" id="{2D990C2F-6E86-3D57-71A9-0EC247EF1E73}"/>
              </a:ext>
            </a:extLst>
          </p:cNvPr>
          <p:cNvSpPr>
            <a:spLocks noGrp="1"/>
          </p:cNvSpPr>
          <p:nvPr>
            <p:ph type="body" sz="quarter" idx="13" hasCustomPrompt="1"/>
          </p:nvPr>
        </p:nvSpPr>
        <p:spPr>
          <a:xfrm>
            <a:off x="817639" y="4832982"/>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19" name="Group 18">
            <a:extLst>
              <a:ext uri="{FF2B5EF4-FFF2-40B4-BE49-F238E27FC236}">
                <a16:creationId xmlns:a16="http://schemas.microsoft.com/office/drawing/2014/main" id="{650D11A3-D263-14DD-3733-CD4D2938DB81}"/>
              </a:ext>
            </a:extLst>
          </p:cNvPr>
          <p:cNvGrpSpPr/>
          <p:nvPr userDrawn="1"/>
        </p:nvGrpSpPr>
        <p:grpSpPr>
          <a:xfrm>
            <a:off x="731838" y="3575292"/>
            <a:ext cx="5202388" cy="1070771"/>
            <a:chOff x="558332" y="2312872"/>
            <a:chExt cx="5202388" cy="756000"/>
          </a:xfrm>
        </p:grpSpPr>
        <p:sp>
          <p:nvSpPr>
            <p:cNvPr id="20" name="Rectangle 19">
              <a:extLst>
                <a:ext uri="{FF2B5EF4-FFF2-40B4-BE49-F238E27FC236}">
                  <a16:creationId xmlns:a16="http://schemas.microsoft.com/office/drawing/2014/main" id="{9D1217C1-C2C0-3651-3A4C-AD62443C809C}"/>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E77A3BA5-0BF4-57C8-4CDA-B3213523080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23C11601-452E-0C34-0222-E299865A8A59}"/>
              </a:ext>
            </a:extLst>
          </p:cNvPr>
          <p:cNvGrpSpPr/>
          <p:nvPr userDrawn="1"/>
        </p:nvGrpSpPr>
        <p:grpSpPr>
          <a:xfrm>
            <a:off x="731838" y="2381981"/>
            <a:ext cx="5202388" cy="1070771"/>
            <a:chOff x="558332" y="2312872"/>
            <a:chExt cx="5202388" cy="756000"/>
          </a:xfrm>
        </p:grpSpPr>
        <p:sp>
          <p:nvSpPr>
            <p:cNvPr id="33" name="Rectangle 32">
              <a:extLst>
                <a:ext uri="{FF2B5EF4-FFF2-40B4-BE49-F238E27FC236}">
                  <a16:creationId xmlns:a16="http://schemas.microsoft.com/office/drawing/2014/main" id="{3A29BEAE-EEB8-A485-0568-1CCF8FA3E2BC}"/>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BF79195B-E970-3457-F0DB-6DE3AB238E3E}"/>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5" name="Text Placeholder 20">
            <a:extLst>
              <a:ext uri="{FF2B5EF4-FFF2-40B4-BE49-F238E27FC236}">
                <a16:creationId xmlns:a16="http://schemas.microsoft.com/office/drawing/2014/main" id="{46450FDC-9A98-3624-3A28-C4C680E51476}"/>
              </a:ext>
            </a:extLst>
          </p:cNvPr>
          <p:cNvSpPr>
            <a:spLocks noGrp="1"/>
          </p:cNvSpPr>
          <p:nvPr>
            <p:ph type="body" sz="quarter" idx="14" hasCustomPrompt="1"/>
          </p:nvPr>
        </p:nvSpPr>
        <p:spPr>
          <a:xfrm>
            <a:off x="817639" y="3628206"/>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6" name="Text Placeholder 20">
            <a:extLst>
              <a:ext uri="{FF2B5EF4-FFF2-40B4-BE49-F238E27FC236}">
                <a16:creationId xmlns:a16="http://schemas.microsoft.com/office/drawing/2014/main" id="{49CBE21D-FBDF-140E-6D35-005ADF870536}"/>
              </a:ext>
            </a:extLst>
          </p:cNvPr>
          <p:cNvSpPr>
            <a:spLocks noGrp="1"/>
          </p:cNvSpPr>
          <p:nvPr>
            <p:ph type="body" sz="quarter" idx="15" hasCustomPrompt="1"/>
          </p:nvPr>
        </p:nvSpPr>
        <p:spPr>
          <a:xfrm>
            <a:off x="817639" y="2458235"/>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25" name="Bilde 3">
            <a:extLst>
              <a:ext uri="{FF2B5EF4-FFF2-40B4-BE49-F238E27FC236}">
                <a16:creationId xmlns:a16="http://schemas.microsoft.com/office/drawing/2014/main" id="{424BDAF4-D422-3AC5-47B1-4F05D60BB9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70BDCB77-5919-9FD6-02AD-705B6BAD4FF3}"/>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26" name="Footer Placeholder 3">
            <a:extLst>
              <a:ext uri="{FF2B5EF4-FFF2-40B4-BE49-F238E27FC236}">
                <a16:creationId xmlns:a16="http://schemas.microsoft.com/office/drawing/2014/main" id="{3BE94EF0-077E-7A72-B08A-C1C403280FDF}"/>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27" name="Slide Number Placeholder 4">
            <a:extLst>
              <a:ext uri="{FF2B5EF4-FFF2-40B4-BE49-F238E27FC236}">
                <a16:creationId xmlns:a16="http://schemas.microsoft.com/office/drawing/2014/main" id="{30D922FC-A49B-FD69-6391-505A8FE74E59}"/>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6776103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79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sp>
        <p:nvSpPr>
          <p:cNvPr id="16" name="Rectangle 15">
            <a:extLst>
              <a:ext uri="{FF2B5EF4-FFF2-40B4-BE49-F238E27FC236}">
                <a16:creationId xmlns:a16="http://schemas.microsoft.com/office/drawing/2014/main" id="{5A95CCCA-102E-EF68-04F2-04CF2EC0D71D}"/>
              </a:ext>
            </a:extLst>
          </p:cNvPr>
          <p:cNvSpPr/>
          <p:nvPr/>
        </p:nvSpPr>
        <p:spPr>
          <a:xfrm>
            <a:off x="731838" y="4768603"/>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3EE749C5-12C4-D619-3255-42F84C1B0073}"/>
              </a:ext>
            </a:extLst>
          </p:cNvPr>
          <p:cNvCxnSpPr>
            <a:cxnSpLocks/>
          </p:cNvCxnSpPr>
          <p:nvPr/>
        </p:nvCxnSpPr>
        <p:spPr>
          <a:xfrm>
            <a:off x="817639" y="4768603"/>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Text Placeholder 20">
            <a:extLst>
              <a:ext uri="{FF2B5EF4-FFF2-40B4-BE49-F238E27FC236}">
                <a16:creationId xmlns:a16="http://schemas.microsoft.com/office/drawing/2014/main" id="{2D990C2F-6E86-3D57-71A9-0EC247EF1E73}"/>
              </a:ext>
            </a:extLst>
          </p:cNvPr>
          <p:cNvSpPr>
            <a:spLocks noGrp="1"/>
          </p:cNvSpPr>
          <p:nvPr userDrawn="1">
            <p:ph type="body" sz="quarter" idx="13" hasCustomPrompt="1"/>
          </p:nvPr>
        </p:nvSpPr>
        <p:spPr>
          <a:xfrm>
            <a:off x="1033669" y="4832982"/>
            <a:ext cx="4765025"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20" name="Rectangle 19">
            <a:extLst>
              <a:ext uri="{FF2B5EF4-FFF2-40B4-BE49-F238E27FC236}">
                <a16:creationId xmlns:a16="http://schemas.microsoft.com/office/drawing/2014/main" id="{9D1217C1-C2C0-3651-3A4C-AD62443C809C}"/>
              </a:ext>
            </a:extLst>
          </p:cNvPr>
          <p:cNvSpPr/>
          <p:nvPr/>
        </p:nvSpPr>
        <p:spPr>
          <a:xfrm>
            <a:off x="731838" y="3575292"/>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E77A3BA5-0BF4-57C8-4CDA-B3213523080F}"/>
              </a:ext>
            </a:extLst>
          </p:cNvPr>
          <p:cNvCxnSpPr>
            <a:cxnSpLocks/>
          </p:cNvCxnSpPr>
          <p:nvPr/>
        </p:nvCxnSpPr>
        <p:spPr>
          <a:xfrm>
            <a:off x="817639" y="3575292"/>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3A29BEAE-EEB8-A485-0568-1CCF8FA3E2BC}"/>
              </a:ext>
            </a:extLst>
          </p:cNvPr>
          <p:cNvSpPr/>
          <p:nvPr/>
        </p:nvSpPr>
        <p:spPr>
          <a:xfrm>
            <a:off x="731838" y="2381981"/>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BF79195B-E970-3457-F0DB-6DE3AB238E3E}"/>
              </a:ext>
            </a:extLst>
          </p:cNvPr>
          <p:cNvCxnSpPr>
            <a:cxnSpLocks/>
          </p:cNvCxnSpPr>
          <p:nvPr/>
        </p:nvCxnSpPr>
        <p:spPr>
          <a:xfrm>
            <a:off x="817639" y="2381981"/>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46450FDC-9A98-3624-3A28-C4C680E51476}"/>
              </a:ext>
            </a:extLst>
          </p:cNvPr>
          <p:cNvSpPr>
            <a:spLocks noGrp="1"/>
          </p:cNvSpPr>
          <p:nvPr userDrawn="1">
            <p:ph type="body" sz="quarter" idx="14" hasCustomPrompt="1"/>
          </p:nvPr>
        </p:nvSpPr>
        <p:spPr>
          <a:xfrm>
            <a:off x="1033669" y="3628206"/>
            <a:ext cx="4765025"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6" name="Text Placeholder 20">
            <a:extLst>
              <a:ext uri="{FF2B5EF4-FFF2-40B4-BE49-F238E27FC236}">
                <a16:creationId xmlns:a16="http://schemas.microsoft.com/office/drawing/2014/main" id="{49CBE21D-FBDF-140E-6D35-005ADF870536}"/>
              </a:ext>
            </a:extLst>
          </p:cNvPr>
          <p:cNvSpPr>
            <a:spLocks noGrp="1"/>
          </p:cNvSpPr>
          <p:nvPr userDrawn="1">
            <p:ph type="body" sz="quarter" idx="15" hasCustomPrompt="1"/>
          </p:nvPr>
        </p:nvSpPr>
        <p:spPr>
          <a:xfrm>
            <a:off x="1033669" y="2458235"/>
            <a:ext cx="4765025"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25" name="Bilde 3">
            <a:extLst>
              <a:ext uri="{FF2B5EF4-FFF2-40B4-BE49-F238E27FC236}">
                <a16:creationId xmlns:a16="http://schemas.microsoft.com/office/drawing/2014/main" id="{424BDAF4-D422-3AC5-47B1-4F05D60BB9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70BDCB77-5919-9FD6-02AD-705B6BAD4FF3}"/>
              </a:ext>
            </a:extLst>
          </p:cNvPr>
          <p:cNvSpPr>
            <a:spLocks noGrp="1"/>
          </p:cNvSpPr>
          <p:nvPr userDrawn="1">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26" name="Footer Placeholder 3">
            <a:extLst>
              <a:ext uri="{FF2B5EF4-FFF2-40B4-BE49-F238E27FC236}">
                <a16:creationId xmlns:a16="http://schemas.microsoft.com/office/drawing/2014/main" id="{3BE94EF0-077E-7A72-B08A-C1C403280FDF}"/>
              </a:ext>
            </a:extLst>
          </p:cNvPr>
          <p:cNvSpPr>
            <a:spLocks noGrp="1"/>
          </p:cNvSpPr>
          <p:nvPr userDrawn="1">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27" name="Slide Number Placeholder 4">
            <a:extLst>
              <a:ext uri="{FF2B5EF4-FFF2-40B4-BE49-F238E27FC236}">
                <a16:creationId xmlns:a16="http://schemas.microsoft.com/office/drawing/2014/main" id="{30D922FC-A49B-FD69-6391-505A8FE74E59}"/>
              </a:ext>
            </a:extLst>
          </p:cNvPr>
          <p:cNvSpPr>
            <a:spLocks noGrp="1"/>
          </p:cNvSpPr>
          <p:nvPr userDrawn="1">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6686508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78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grpSp>
        <p:nvGrpSpPr>
          <p:cNvPr id="25" name="Group 24">
            <a:extLst>
              <a:ext uri="{FF2B5EF4-FFF2-40B4-BE49-F238E27FC236}">
                <a16:creationId xmlns:a16="http://schemas.microsoft.com/office/drawing/2014/main" id="{37A582FD-82EE-E788-AF1A-D5B8F27F4843}"/>
              </a:ext>
            </a:extLst>
          </p:cNvPr>
          <p:cNvGrpSpPr/>
          <p:nvPr userDrawn="1"/>
        </p:nvGrpSpPr>
        <p:grpSpPr>
          <a:xfrm>
            <a:off x="731838" y="2360372"/>
            <a:ext cx="5202388" cy="756000"/>
            <a:chOff x="558332" y="2312872"/>
            <a:chExt cx="5202388" cy="756000"/>
          </a:xfrm>
        </p:grpSpPr>
        <p:sp>
          <p:nvSpPr>
            <p:cNvPr id="26" name="Rectangle 25">
              <a:extLst>
                <a:ext uri="{FF2B5EF4-FFF2-40B4-BE49-F238E27FC236}">
                  <a16:creationId xmlns:a16="http://schemas.microsoft.com/office/drawing/2014/main" id="{E366F876-8570-297F-035B-0DE6C6600DEB}"/>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E1B9C562-3D2C-2F2B-9171-1A792DDF93D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9" name="Text Placeholder 20">
            <a:extLst>
              <a:ext uri="{FF2B5EF4-FFF2-40B4-BE49-F238E27FC236}">
                <a16:creationId xmlns:a16="http://schemas.microsoft.com/office/drawing/2014/main" id="{E449B1A2-F732-EF88-13A4-8EDA8436E445}"/>
              </a:ext>
            </a:extLst>
          </p:cNvPr>
          <p:cNvSpPr>
            <a:spLocks noGrp="1"/>
          </p:cNvSpPr>
          <p:nvPr>
            <p:ph type="body" sz="quarter" idx="10" hasCustomPrompt="1"/>
          </p:nvPr>
        </p:nvSpPr>
        <p:spPr>
          <a:xfrm>
            <a:off x="817639" y="2449447"/>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30" name="Group 29">
            <a:extLst>
              <a:ext uri="{FF2B5EF4-FFF2-40B4-BE49-F238E27FC236}">
                <a16:creationId xmlns:a16="http://schemas.microsoft.com/office/drawing/2014/main" id="{D6FCE257-7D18-875A-CD9E-90F3822B1E6E}"/>
              </a:ext>
            </a:extLst>
          </p:cNvPr>
          <p:cNvGrpSpPr/>
          <p:nvPr userDrawn="1"/>
        </p:nvGrpSpPr>
        <p:grpSpPr>
          <a:xfrm>
            <a:off x="731838" y="3246651"/>
            <a:ext cx="5202388" cy="756000"/>
            <a:chOff x="558332" y="2312872"/>
            <a:chExt cx="5202388" cy="756000"/>
          </a:xfrm>
        </p:grpSpPr>
        <p:sp>
          <p:nvSpPr>
            <p:cNvPr id="31" name="Rectangle 30">
              <a:extLst>
                <a:ext uri="{FF2B5EF4-FFF2-40B4-BE49-F238E27FC236}">
                  <a16:creationId xmlns:a16="http://schemas.microsoft.com/office/drawing/2014/main" id="{4F0F38EE-E67F-FBED-A126-C22FC09800EC}"/>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7F21480C-2573-EE0E-911E-11FF4E962E2D}"/>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2C4533ED-65E2-0C4A-E8A3-20EAC0CFC98F}"/>
              </a:ext>
            </a:extLst>
          </p:cNvPr>
          <p:cNvGrpSpPr/>
          <p:nvPr userDrawn="1"/>
        </p:nvGrpSpPr>
        <p:grpSpPr>
          <a:xfrm>
            <a:off x="731838" y="4132930"/>
            <a:ext cx="5202388" cy="756000"/>
            <a:chOff x="558332" y="2312872"/>
            <a:chExt cx="5202388" cy="756000"/>
          </a:xfrm>
        </p:grpSpPr>
        <p:sp>
          <p:nvSpPr>
            <p:cNvPr id="39" name="Rectangle 38">
              <a:extLst>
                <a:ext uri="{FF2B5EF4-FFF2-40B4-BE49-F238E27FC236}">
                  <a16:creationId xmlns:a16="http://schemas.microsoft.com/office/drawing/2014/main" id="{118BC62C-526B-BBEF-8DEC-5FD2D9E478AB}"/>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668DEA18-A608-B503-491A-179887B02603}"/>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C4291E4D-E220-C66B-2873-894507738DCE}"/>
              </a:ext>
            </a:extLst>
          </p:cNvPr>
          <p:cNvGrpSpPr/>
          <p:nvPr userDrawn="1"/>
        </p:nvGrpSpPr>
        <p:grpSpPr>
          <a:xfrm>
            <a:off x="731838" y="5019208"/>
            <a:ext cx="5202388" cy="756000"/>
            <a:chOff x="558332" y="2312872"/>
            <a:chExt cx="5202388" cy="756000"/>
          </a:xfrm>
        </p:grpSpPr>
        <p:sp>
          <p:nvSpPr>
            <p:cNvPr id="42" name="Rectangle 41">
              <a:extLst>
                <a:ext uri="{FF2B5EF4-FFF2-40B4-BE49-F238E27FC236}">
                  <a16:creationId xmlns:a16="http://schemas.microsoft.com/office/drawing/2014/main" id="{0D17DF68-02BE-0BBD-A1D3-2F8300DF1C12}"/>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3" name="Straight Connector 42">
              <a:extLst>
                <a:ext uri="{FF2B5EF4-FFF2-40B4-BE49-F238E27FC236}">
                  <a16:creationId xmlns:a16="http://schemas.microsoft.com/office/drawing/2014/main" id="{9CD4D8F9-14BF-CA58-F7A4-FC3AC4163018}"/>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4" name="Text Placeholder 20">
            <a:extLst>
              <a:ext uri="{FF2B5EF4-FFF2-40B4-BE49-F238E27FC236}">
                <a16:creationId xmlns:a16="http://schemas.microsoft.com/office/drawing/2014/main" id="{5E08B787-23FB-55C5-00E1-BC2440525D70}"/>
              </a:ext>
            </a:extLst>
          </p:cNvPr>
          <p:cNvSpPr>
            <a:spLocks noGrp="1"/>
          </p:cNvSpPr>
          <p:nvPr>
            <p:ph type="body" sz="quarter" idx="12" hasCustomPrompt="1"/>
          </p:nvPr>
        </p:nvSpPr>
        <p:spPr>
          <a:xfrm>
            <a:off x="817639" y="3329886"/>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5" name="Text Placeholder 20">
            <a:extLst>
              <a:ext uri="{FF2B5EF4-FFF2-40B4-BE49-F238E27FC236}">
                <a16:creationId xmlns:a16="http://schemas.microsoft.com/office/drawing/2014/main" id="{CCF4088B-D715-137F-2F33-CC96578BAC53}"/>
              </a:ext>
            </a:extLst>
          </p:cNvPr>
          <p:cNvSpPr>
            <a:spLocks noGrp="1"/>
          </p:cNvSpPr>
          <p:nvPr>
            <p:ph type="body" sz="quarter" idx="13" hasCustomPrompt="1"/>
          </p:nvPr>
        </p:nvSpPr>
        <p:spPr>
          <a:xfrm>
            <a:off x="817639" y="4210325"/>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758A94F3-F9EE-52AA-4B7B-B799FEE37001}"/>
              </a:ext>
            </a:extLst>
          </p:cNvPr>
          <p:cNvSpPr>
            <a:spLocks noGrp="1"/>
          </p:cNvSpPr>
          <p:nvPr>
            <p:ph type="body" sz="quarter" idx="14" hasCustomPrompt="1"/>
          </p:nvPr>
        </p:nvSpPr>
        <p:spPr>
          <a:xfrm>
            <a:off x="817639" y="5090765"/>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32" name="Bilde 3">
            <a:extLst>
              <a:ext uri="{FF2B5EF4-FFF2-40B4-BE49-F238E27FC236}">
                <a16:creationId xmlns:a16="http://schemas.microsoft.com/office/drawing/2014/main" id="{98EEFC5F-05DB-267E-00D0-0824C7B567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3" name="Date Placeholder 2">
            <a:extLst>
              <a:ext uri="{FF2B5EF4-FFF2-40B4-BE49-F238E27FC236}">
                <a16:creationId xmlns:a16="http://schemas.microsoft.com/office/drawing/2014/main" id="{EAB28A51-C4C2-D978-4B27-3F1ABED430BF}"/>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34" name="Footer Placeholder 3">
            <a:extLst>
              <a:ext uri="{FF2B5EF4-FFF2-40B4-BE49-F238E27FC236}">
                <a16:creationId xmlns:a16="http://schemas.microsoft.com/office/drawing/2014/main" id="{FD8A2425-82AA-A745-317B-1D51C4065284}"/>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35" name="Slide Number Placeholder 4">
            <a:extLst>
              <a:ext uri="{FF2B5EF4-FFF2-40B4-BE49-F238E27FC236}">
                <a16:creationId xmlns:a16="http://schemas.microsoft.com/office/drawing/2014/main" id="{19C9AE7C-9103-2E0C-B1C2-2F7C060BB04C}"/>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7991739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77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sp>
        <p:nvSpPr>
          <p:cNvPr id="26" name="Rectangle 25">
            <a:extLst>
              <a:ext uri="{FF2B5EF4-FFF2-40B4-BE49-F238E27FC236}">
                <a16:creationId xmlns:a16="http://schemas.microsoft.com/office/drawing/2014/main" id="{E366F876-8570-297F-035B-0DE6C6600DEB}"/>
              </a:ext>
            </a:extLst>
          </p:cNvPr>
          <p:cNvSpPr/>
          <p:nvPr/>
        </p:nvSpPr>
        <p:spPr>
          <a:xfrm>
            <a:off x="731838" y="23603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E1B9C562-3D2C-2F2B-9171-1A792DDF93DF}"/>
              </a:ext>
            </a:extLst>
          </p:cNvPr>
          <p:cNvCxnSpPr>
            <a:cxnSpLocks/>
          </p:cNvCxnSpPr>
          <p:nvPr/>
        </p:nvCxnSpPr>
        <p:spPr>
          <a:xfrm>
            <a:off x="827256" y="2360372"/>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Text Placeholder 20">
            <a:extLst>
              <a:ext uri="{FF2B5EF4-FFF2-40B4-BE49-F238E27FC236}">
                <a16:creationId xmlns:a16="http://schemas.microsoft.com/office/drawing/2014/main" id="{E449B1A2-F732-EF88-13A4-8EDA8436E445}"/>
              </a:ext>
            </a:extLst>
          </p:cNvPr>
          <p:cNvSpPr>
            <a:spLocks noGrp="1"/>
          </p:cNvSpPr>
          <p:nvPr userDrawn="1">
            <p:ph type="body" sz="quarter" idx="10" hasCustomPrompt="1"/>
          </p:nvPr>
        </p:nvSpPr>
        <p:spPr>
          <a:xfrm>
            <a:off x="1009815" y="2449447"/>
            <a:ext cx="478887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1" name="Rectangle 30">
            <a:extLst>
              <a:ext uri="{FF2B5EF4-FFF2-40B4-BE49-F238E27FC236}">
                <a16:creationId xmlns:a16="http://schemas.microsoft.com/office/drawing/2014/main" id="{4F0F38EE-E67F-FBED-A126-C22FC09800EC}"/>
              </a:ext>
            </a:extLst>
          </p:cNvPr>
          <p:cNvSpPr/>
          <p:nvPr/>
        </p:nvSpPr>
        <p:spPr>
          <a:xfrm>
            <a:off x="731838" y="3246651"/>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7F21480C-2573-EE0E-911E-11FF4E962E2D}"/>
              </a:ext>
            </a:extLst>
          </p:cNvPr>
          <p:cNvCxnSpPr>
            <a:cxnSpLocks/>
          </p:cNvCxnSpPr>
          <p:nvPr/>
        </p:nvCxnSpPr>
        <p:spPr>
          <a:xfrm>
            <a:off x="827256" y="3246651"/>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118BC62C-526B-BBEF-8DEC-5FD2D9E478AB}"/>
              </a:ext>
            </a:extLst>
          </p:cNvPr>
          <p:cNvSpPr/>
          <p:nvPr/>
        </p:nvSpPr>
        <p:spPr>
          <a:xfrm>
            <a:off x="731838" y="4132930"/>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668DEA18-A608-B503-491A-179887B02603}"/>
              </a:ext>
            </a:extLst>
          </p:cNvPr>
          <p:cNvCxnSpPr>
            <a:cxnSpLocks/>
          </p:cNvCxnSpPr>
          <p:nvPr/>
        </p:nvCxnSpPr>
        <p:spPr>
          <a:xfrm>
            <a:off x="827256" y="4132930"/>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0D17DF68-02BE-0BBD-A1D3-2F8300DF1C12}"/>
              </a:ext>
            </a:extLst>
          </p:cNvPr>
          <p:cNvSpPr/>
          <p:nvPr/>
        </p:nvSpPr>
        <p:spPr>
          <a:xfrm>
            <a:off x="731838" y="5019208"/>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3" name="Straight Connector 42">
            <a:extLst>
              <a:ext uri="{FF2B5EF4-FFF2-40B4-BE49-F238E27FC236}">
                <a16:creationId xmlns:a16="http://schemas.microsoft.com/office/drawing/2014/main" id="{9CD4D8F9-14BF-CA58-F7A4-FC3AC4163018}"/>
              </a:ext>
            </a:extLst>
          </p:cNvPr>
          <p:cNvCxnSpPr>
            <a:cxnSpLocks/>
          </p:cNvCxnSpPr>
          <p:nvPr/>
        </p:nvCxnSpPr>
        <p:spPr>
          <a:xfrm>
            <a:off x="827256" y="5019208"/>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Text Placeholder 20">
            <a:extLst>
              <a:ext uri="{FF2B5EF4-FFF2-40B4-BE49-F238E27FC236}">
                <a16:creationId xmlns:a16="http://schemas.microsoft.com/office/drawing/2014/main" id="{5E08B787-23FB-55C5-00E1-BC2440525D70}"/>
              </a:ext>
            </a:extLst>
          </p:cNvPr>
          <p:cNvSpPr>
            <a:spLocks noGrp="1"/>
          </p:cNvSpPr>
          <p:nvPr userDrawn="1">
            <p:ph type="body" sz="quarter" idx="12" hasCustomPrompt="1"/>
          </p:nvPr>
        </p:nvSpPr>
        <p:spPr>
          <a:xfrm>
            <a:off x="1009815" y="3329886"/>
            <a:ext cx="478887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5" name="Text Placeholder 20">
            <a:extLst>
              <a:ext uri="{FF2B5EF4-FFF2-40B4-BE49-F238E27FC236}">
                <a16:creationId xmlns:a16="http://schemas.microsoft.com/office/drawing/2014/main" id="{CCF4088B-D715-137F-2F33-CC96578BAC53}"/>
              </a:ext>
            </a:extLst>
          </p:cNvPr>
          <p:cNvSpPr>
            <a:spLocks noGrp="1"/>
          </p:cNvSpPr>
          <p:nvPr userDrawn="1">
            <p:ph type="body" sz="quarter" idx="13" hasCustomPrompt="1"/>
          </p:nvPr>
        </p:nvSpPr>
        <p:spPr>
          <a:xfrm>
            <a:off x="1009815" y="4210325"/>
            <a:ext cx="478887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758A94F3-F9EE-52AA-4B7B-B799FEE37001}"/>
              </a:ext>
            </a:extLst>
          </p:cNvPr>
          <p:cNvSpPr>
            <a:spLocks noGrp="1"/>
          </p:cNvSpPr>
          <p:nvPr userDrawn="1">
            <p:ph type="body" sz="quarter" idx="14" hasCustomPrompt="1"/>
          </p:nvPr>
        </p:nvSpPr>
        <p:spPr>
          <a:xfrm>
            <a:off x="1009815" y="5090765"/>
            <a:ext cx="478887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32" name="Bilde 3">
            <a:extLst>
              <a:ext uri="{FF2B5EF4-FFF2-40B4-BE49-F238E27FC236}">
                <a16:creationId xmlns:a16="http://schemas.microsoft.com/office/drawing/2014/main" id="{98EEFC5F-05DB-267E-00D0-0824C7B567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3" name="Date Placeholder 2">
            <a:extLst>
              <a:ext uri="{FF2B5EF4-FFF2-40B4-BE49-F238E27FC236}">
                <a16:creationId xmlns:a16="http://schemas.microsoft.com/office/drawing/2014/main" id="{EAB28A51-C4C2-D978-4B27-3F1ABED430BF}"/>
              </a:ext>
            </a:extLst>
          </p:cNvPr>
          <p:cNvSpPr>
            <a:spLocks noGrp="1"/>
          </p:cNvSpPr>
          <p:nvPr userDrawn="1">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34" name="Footer Placeholder 3">
            <a:extLst>
              <a:ext uri="{FF2B5EF4-FFF2-40B4-BE49-F238E27FC236}">
                <a16:creationId xmlns:a16="http://schemas.microsoft.com/office/drawing/2014/main" id="{FD8A2425-82AA-A745-317B-1D51C4065284}"/>
              </a:ext>
            </a:extLst>
          </p:cNvPr>
          <p:cNvSpPr>
            <a:spLocks noGrp="1"/>
          </p:cNvSpPr>
          <p:nvPr userDrawn="1">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35" name="Slide Number Placeholder 4">
            <a:extLst>
              <a:ext uri="{FF2B5EF4-FFF2-40B4-BE49-F238E27FC236}">
                <a16:creationId xmlns:a16="http://schemas.microsoft.com/office/drawing/2014/main" id="{19C9AE7C-9103-2E0C-B1C2-2F7C060BB04C}"/>
              </a:ext>
            </a:extLst>
          </p:cNvPr>
          <p:cNvSpPr>
            <a:spLocks noGrp="1"/>
          </p:cNvSpPr>
          <p:nvPr userDrawn="1">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42753825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76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504683"/>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grpSp>
        <p:nvGrpSpPr>
          <p:cNvPr id="32" name="Group 31">
            <a:extLst>
              <a:ext uri="{FF2B5EF4-FFF2-40B4-BE49-F238E27FC236}">
                <a16:creationId xmlns:a16="http://schemas.microsoft.com/office/drawing/2014/main" id="{9E4B393B-5C8D-DB20-7965-7736D1FD5F57}"/>
              </a:ext>
            </a:extLst>
          </p:cNvPr>
          <p:cNvGrpSpPr/>
          <p:nvPr userDrawn="1"/>
        </p:nvGrpSpPr>
        <p:grpSpPr>
          <a:xfrm>
            <a:off x="734070" y="2072928"/>
            <a:ext cx="5202388" cy="756000"/>
            <a:chOff x="558332" y="2312872"/>
            <a:chExt cx="5202388" cy="756000"/>
          </a:xfrm>
        </p:grpSpPr>
        <p:sp>
          <p:nvSpPr>
            <p:cNvPr id="33" name="Rectangle 32">
              <a:extLst>
                <a:ext uri="{FF2B5EF4-FFF2-40B4-BE49-F238E27FC236}">
                  <a16:creationId xmlns:a16="http://schemas.microsoft.com/office/drawing/2014/main" id="{0DA3DEA2-7333-4492-1044-D7EB7386727A}"/>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7F35A7AB-6104-5231-735C-5AE5EF809F71}"/>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5" name="Text Placeholder 20">
            <a:extLst>
              <a:ext uri="{FF2B5EF4-FFF2-40B4-BE49-F238E27FC236}">
                <a16:creationId xmlns:a16="http://schemas.microsoft.com/office/drawing/2014/main" id="{5A2AB5B1-2ECF-5F24-EF62-2BEC48D11679}"/>
              </a:ext>
            </a:extLst>
          </p:cNvPr>
          <p:cNvSpPr>
            <a:spLocks noGrp="1"/>
          </p:cNvSpPr>
          <p:nvPr>
            <p:ph type="body" sz="quarter" idx="10" hasCustomPrompt="1"/>
          </p:nvPr>
        </p:nvSpPr>
        <p:spPr>
          <a:xfrm>
            <a:off x="819871" y="2162003"/>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36" name="Group 35">
            <a:extLst>
              <a:ext uri="{FF2B5EF4-FFF2-40B4-BE49-F238E27FC236}">
                <a16:creationId xmlns:a16="http://schemas.microsoft.com/office/drawing/2014/main" id="{BDB68336-1BE8-7ED3-11EB-37C4F5570633}"/>
              </a:ext>
            </a:extLst>
          </p:cNvPr>
          <p:cNvGrpSpPr/>
          <p:nvPr userDrawn="1"/>
        </p:nvGrpSpPr>
        <p:grpSpPr>
          <a:xfrm>
            <a:off x="734070" y="2915116"/>
            <a:ext cx="5202388" cy="756000"/>
            <a:chOff x="558332" y="2312872"/>
            <a:chExt cx="5202388" cy="756000"/>
          </a:xfrm>
        </p:grpSpPr>
        <p:sp>
          <p:nvSpPr>
            <p:cNvPr id="47" name="Rectangle 46">
              <a:extLst>
                <a:ext uri="{FF2B5EF4-FFF2-40B4-BE49-F238E27FC236}">
                  <a16:creationId xmlns:a16="http://schemas.microsoft.com/office/drawing/2014/main" id="{6F9DD9A6-9D82-99B8-94E5-51FB18A35AFF}"/>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8" name="Straight Connector 47">
              <a:extLst>
                <a:ext uri="{FF2B5EF4-FFF2-40B4-BE49-F238E27FC236}">
                  <a16:creationId xmlns:a16="http://schemas.microsoft.com/office/drawing/2014/main" id="{6BAF944F-5074-63E2-A5E3-2B5F0E5C3D07}"/>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E2E53277-CE50-28C3-C929-98DE8F5E4205}"/>
              </a:ext>
            </a:extLst>
          </p:cNvPr>
          <p:cNvGrpSpPr/>
          <p:nvPr userDrawn="1"/>
        </p:nvGrpSpPr>
        <p:grpSpPr>
          <a:xfrm>
            <a:off x="734070" y="3757304"/>
            <a:ext cx="5202388" cy="756000"/>
            <a:chOff x="558332" y="2312872"/>
            <a:chExt cx="5202388" cy="756000"/>
          </a:xfrm>
        </p:grpSpPr>
        <p:sp>
          <p:nvSpPr>
            <p:cNvPr id="50" name="Rectangle 49">
              <a:extLst>
                <a:ext uri="{FF2B5EF4-FFF2-40B4-BE49-F238E27FC236}">
                  <a16:creationId xmlns:a16="http://schemas.microsoft.com/office/drawing/2014/main" id="{18CC2C82-EAA6-63E4-031C-FC42706250B7}"/>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891DA805-F299-AE45-6235-E1100FC431C5}"/>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CB76BFD8-9678-F7C0-1053-6572ACA36044}"/>
              </a:ext>
            </a:extLst>
          </p:cNvPr>
          <p:cNvGrpSpPr/>
          <p:nvPr userDrawn="1"/>
        </p:nvGrpSpPr>
        <p:grpSpPr>
          <a:xfrm>
            <a:off x="734070" y="4599492"/>
            <a:ext cx="5202388" cy="756000"/>
            <a:chOff x="558332" y="2312872"/>
            <a:chExt cx="5202388" cy="756000"/>
          </a:xfrm>
        </p:grpSpPr>
        <p:sp>
          <p:nvSpPr>
            <p:cNvPr id="53" name="Rectangle 52">
              <a:extLst>
                <a:ext uri="{FF2B5EF4-FFF2-40B4-BE49-F238E27FC236}">
                  <a16:creationId xmlns:a16="http://schemas.microsoft.com/office/drawing/2014/main" id="{83E2BD2D-2C57-54CC-2ECB-DDF1AEF80DCB}"/>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E1648AD5-C028-FBF1-597A-79A21158DE93}"/>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55" name="Text Placeholder 20">
            <a:extLst>
              <a:ext uri="{FF2B5EF4-FFF2-40B4-BE49-F238E27FC236}">
                <a16:creationId xmlns:a16="http://schemas.microsoft.com/office/drawing/2014/main" id="{B1A0D399-AD63-C8F6-A79B-CA49BE109A06}"/>
              </a:ext>
            </a:extLst>
          </p:cNvPr>
          <p:cNvSpPr>
            <a:spLocks noGrp="1"/>
          </p:cNvSpPr>
          <p:nvPr>
            <p:ph type="body" sz="quarter" idx="12" hasCustomPrompt="1"/>
          </p:nvPr>
        </p:nvSpPr>
        <p:spPr>
          <a:xfrm>
            <a:off x="819871" y="3004191"/>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6" name="Text Placeholder 20">
            <a:extLst>
              <a:ext uri="{FF2B5EF4-FFF2-40B4-BE49-F238E27FC236}">
                <a16:creationId xmlns:a16="http://schemas.microsoft.com/office/drawing/2014/main" id="{CCC12247-8BAB-4AE4-DDFB-5CB8B7006906}"/>
              </a:ext>
            </a:extLst>
          </p:cNvPr>
          <p:cNvSpPr>
            <a:spLocks noGrp="1"/>
          </p:cNvSpPr>
          <p:nvPr>
            <p:ph type="body" sz="quarter" idx="13" hasCustomPrompt="1"/>
          </p:nvPr>
        </p:nvSpPr>
        <p:spPr>
          <a:xfrm>
            <a:off x="819871" y="3846379"/>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7" name="Text Placeholder 20">
            <a:extLst>
              <a:ext uri="{FF2B5EF4-FFF2-40B4-BE49-F238E27FC236}">
                <a16:creationId xmlns:a16="http://schemas.microsoft.com/office/drawing/2014/main" id="{2FEA113A-604B-5532-6772-443DEC02D830}"/>
              </a:ext>
            </a:extLst>
          </p:cNvPr>
          <p:cNvSpPr>
            <a:spLocks noGrp="1"/>
          </p:cNvSpPr>
          <p:nvPr>
            <p:ph type="body" sz="quarter" idx="14" hasCustomPrompt="1"/>
          </p:nvPr>
        </p:nvSpPr>
        <p:spPr>
          <a:xfrm>
            <a:off x="819871" y="4688567"/>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58" name="Group 57">
            <a:extLst>
              <a:ext uri="{FF2B5EF4-FFF2-40B4-BE49-F238E27FC236}">
                <a16:creationId xmlns:a16="http://schemas.microsoft.com/office/drawing/2014/main" id="{1749022F-2D24-3B7B-4935-CDF421E1AA27}"/>
              </a:ext>
            </a:extLst>
          </p:cNvPr>
          <p:cNvGrpSpPr/>
          <p:nvPr userDrawn="1"/>
        </p:nvGrpSpPr>
        <p:grpSpPr>
          <a:xfrm>
            <a:off x="752577" y="5441680"/>
            <a:ext cx="5202388" cy="756000"/>
            <a:chOff x="558332" y="2312872"/>
            <a:chExt cx="5202388" cy="756000"/>
          </a:xfrm>
        </p:grpSpPr>
        <p:sp>
          <p:nvSpPr>
            <p:cNvPr id="59" name="Rectangle 58">
              <a:extLst>
                <a:ext uri="{FF2B5EF4-FFF2-40B4-BE49-F238E27FC236}">
                  <a16:creationId xmlns:a16="http://schemas.microsoft.com/office/drawing/2014/main" id="{74C29AE8-19AA-C1C7-9021-ACCC5B30EBA8}"/>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0" name="Straight Connector 59">
              <a:extLst>
                <a:ext uri="{FF2B5EF4-FFF2-40B4-BE49-F238E27FC236}">
                  <a16:creationId xmlns:a16="http://schemas.microsoft.com/office/drawing/2014/main" id="{D1AF8B10-77B7-994C-26DA-98606625369C}"/>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61" name="Text Placeholder 20">
            <a:extLst>
              <a:ext uri="{FF2B5EF4-FFF2-40B4-BE49-F238E27FC236}">
                <a16:creationId xmlns:a16="http://schemas.microsoft.com/office/drawing/2014/main" id="{EBC6E672-A248-2ABD-D4D1-033D6C57FC5E}"/>
              </a:ext>
            </a:extLst>
          </p:cNvPr>
          <p:cNvSpPr>
            <a:spLocks noGrp="1"/>
          </p:cNvSpPr>
          <p:nvPr>
            <p:ph type="body" sz="quarter" idx="15" hasCustomPrompt="1"/>
          </p:nvPr>
        </p:nvSpPr>
        <p:spPr>
          <a:xfrm>
            <a:off x="838378" y="5530755"/>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27" name="Bilde 3">
            <a:extLst>
              <a:ext uri="{FF2B5EF4-FFF2-40B4-BE49-F238E27FC236}">
                <a16:creationId xmlns:a16="http://schemas.microsoft.com/office/drawing/2014/main" id="{A5B0FA5C-4366-EE3B-6258-1E103A7EB7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9" name="Date Placeholder 2">
            <a:extLst>
              <a:ext uri="{FF2B5EF4-FFF2-40B4-BE49-F238E27FC236}">
                <a16:creationId xmlns:a16="http://schemas.microsoft.com/office/drawing/2014/main" id="{52A88FDD-AA4C-DAEE-7C94-F7149BE52E2C}"/>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30" name="Footer Placeholder 3">
            <a:extLst>
              <a:ext uri="{FF2B5EF4-FFF2-40B4-BE49-F238E27FC236}">
                <a16:creationId xmlns:a16="http://schemas.microsoft.com/office/drawing/2014/main" id="{D2BFB3AC-A2B8-F5EF-B14F-1D7D4A7611CA}"/>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31" name="Slide Number Placeholder 4">
            <a:extLst>
              <a:ext uri="{FF2B5EF4-FFF2-40B4-BE49-F238E27FC236}">
                <a16:creationId xmlns:a16="http://schemas.microsoft.com/office/drawing/2014/main" id="{463286B1-D26D-3F1D-B5F5-8A0CF9299383}"/>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275415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75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504683"/>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sp>
        <p:nvSpPr>
          <p:cNvPr id="33" name="Rectangle 32">
            <a:extLst>
              <a:ext uri="{FF2B5EF4-FFF2-40B4-BE49-F238E27FC236}">
                <a16:creationId xmlns:a16="http://schemas.microsoft.com/office/drawing/2014/main" id="{0DA3DEA2-7333-4492-1044-D7EB7386727A}"/>
              </a:ext>
            </a:extLst>
          </p:cNvPr>
          <p:cNvSpPr/>
          <p:nvPr/>
        </p:nvSpPr>
        <p:spPr>
          <a:xfrm>
            <a:off x="734070" y="2072928"/>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7F35A7AB-6104-5231-735C-5AE5EF809F71}"/>
              </a:ext>
            </a:extLst>
          </p:cNvPr>
          <p:cNvCxnSpPr>
            <a:cxnSpLocks/>
          </p:cNvCxnSpPr>
          <p:nvPr/>
        </p:nvCxnSpPr>
        <p:spPr>
          <a:xfrm>
            <a:off x="829487" y="2072928"/>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5A2AB5B1-2ECF-5F24-EF62-2BEC48D11679}"/>
              </a:ext>
            </a:extLst>
          </p:cNvPr>
          <p:cNvSpPr>
            <a:spLocks noGrp="1"/>
          </p:cNvSpPr>
          <p:nvPr userDrawn="1">
            <p:ph type="body" sz="quarter" idx="10" hasCustomPrompt="1"/>
          </p:nvPr>
        </p:nvSpPr>
        <p:spPr>
          <a:xfrm>
            <a:off x="983357" y="2162003"/>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7" name="Rectangle 46">
            <a:extLst>
              <a:ext uri="{FF2B5EF4-FFF2-40B4-BE49-F238E27FC236}">
                <a16:creationId xmlns:a16="http://schemas.microsoft.com/office/drawing/2014/main" id="{6F9DD9A6-9D82-99B8-94E5-51FB18A35AFF}"/>
              </a:ext>
            </a:extLst>
          </p:cNvPr>
          <p:cNvSpPr/>
          <p:nvPr/>
        </p:nvSpPr>
        <p:spPr>
          <a:xfrm>
            <a:off x="734070" y="2915116"/>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8" name="Straight Connector 47">
            <a:extLst>
              <a:ext uri="{FF2B5EF4-FFF2-40B4-BE49-F238E27FC236}">
                <a16:creationId xmlns:a16="http://schemas.microsoft.com/office/drawing/2014/main" id="{6BAF944F-5074-63E2-A5E3-2B5F0E5C3D07}"/>
              </a:ext>
            </a:extLst>
          </p:cNvPr>
          <p:cNvCxnSpPr>
            <a:cxnSpLocks/>
          </p:cNvCxnSpPr>
          <p:nvPr/>
        </p:nvCxnSpPr>
        <p:spPr>
          <a:xfrm>
            <a:off x="829487" y="2915116"/>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18CC2C82-EAA6-63E4-031C-FC42706250B7}"/>
              </a:ext>
            </a:extLst>
          </p:cNvPr>
          <p:cNvSpPr/>
          <p:nvPr/>
        </p:nvSpPr>
        <p:spPr>
          <a:xfrm>
            <a:off x="734070" y="3757304"/>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891DA805-F299-AE45-6235-E1100FC431C5}"/>
              </a:ext>
            </a:extLst>
          </p:cNvPr>
          <p:cNvCxnSpPr>
            <a:cxnSpLocks/>
          </p:cNvCxnSpPr>
          <p:nvPr/>
        </p:nvCxnSpPr>
        <p:spPr>
          <a:xfrm>
            <a:off x="829487" y="3757304"/>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3E2BD2D-2C57-54CC-2ECB-DDF1AEF80DCB}"/>
              </a:ext>
            </a:extLst>
          </p:cNvPr>
          <p:cNvSpPr/>
          <p:nvPr/>
        </p:nvSpPr>
        <p:spPr>
          <a:xfrm>
            <a:off x="734070" y="459949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E1648AD5-C028-FBF1-597A-79A21158DE93}"/>
              </a:ext>
            </a:extLst>
          </p:cNvPr>
          <p:cNvCxnSpPr>
            <a:cxnSpLocks/>
          </p:cNvCxnSpPr>
          <p:nvPr/>
        </p:nvCxnSpPr>
        <p:spPr>
          <a:xfrm>
            <a:off x="829487" y="4599492"/>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Text Placeholder 20">
            <a:extLst>
              <a:ext uri="{FF2B5EF4-FFF2-40B4-BE49-F238E27FC236}">
                <a16:creationId xmlns:a16="http://schemas.microsoft.com/office/drawing/2014/main" id="{B1A0D399-AD63-C8F6-A79B-CA49BE109A06}"/>
              </a:ext>
            </a:extLst>
          </p:cNvPr>
          <p:cNvSpPr>
            <a:spLocks noGrp="1"/>
          </p:cNvSpPr>
          <p:nvPr userDrawn="1">
            <p:ph type="body" sz="quarter" idx="12" hasCustomPrompt="1"/>
          </p:nvPr>
        </p:nvSpPr>
        <p:spPr>
          <a:xfrm>
            <a:off x="983357" y="3004191"/>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6" name="Text Placeholder 20">
            <a:extLst>
              <a:ext uri="{FF2B5EF4-FFF2-40B4-BE49-F238E27FC236}">
                <a16:creationId xmlns:a16="http://schemas.microsoft.com/office/drawing/2014/main" id="{CCC12247-8BAB-4AE4-DDFB-5CB8B7006906}"/>
              </a:ext>
            </a:extLst>
          </p:cNvPr>
          <p:cNvSpPr>
            <a:spLocks noGrp="1"/>
          </p:cNvSpPr>
          <p:nvPr userDrawn="1">
            <p:ph type="body" sz="quarter" idx="13" hasCustomPrompt="1"/>
          </p:nvPr>
        </p:nvSpPr>
        <p:spPr>
          <a:xfrm>
            <a:off x="983357" y="3846379"/>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7" name="Text Placeholder 20">
            <a:extLst>
              <a:ext uri="{FF2B5EF4-FFF2-40B4-BE49-F238E27FC236}">
                <a16:creationId xmlns:a16="http://schemas.microsoft.com/office/drawing/2014/main" id="{2FEA113A-604B-5532-6772-443DEC02D830}"/>
              </a:ext>
            </a:extLst>
          </p:cNvPr>
          <p:cNvSpPr>
            <a:spLocks noGrp="1"/>
          </p:cNvSpPr>
          <p:nvPr userDrawn="1">
            <p:ph type="body" sz="quarter" idx="14" hasCustomPrompt="1"/>
          </p:nvPr>
        </p:nvSpPr>
        <p:spPr>
          <a:xfrm>
            <a:off x="983357" y="4688567"/>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9" name="Rectangle 58">
            <a:extLst>
              <a:ext uri="{FF2B5EF4-FFF2-40B4-BE49-F238E27FC236}">
                <a16:creationId xmlns:a16="http://schemas.microsoft.com/office/drawing/2014/main" id="{74C29AE8-19AA-C1C7-9021-ACCC5B30EBA8}"/>
              </a:ext>
            </a:extLst>
          </p:cNvPr>
          <p:cNvSpPr/>
          <p:nvPr/>
        </p:nvSpPr>
        <p:spPr>
          <a:xfrm>
            <a:off x="752577" y="5441680"/>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0" name="Straight Connector 59">
            <a:extLst>
              <a:ext uri="{FF2B5EF4-FFF2-40B4-BE49-F238E27FC236}">
                <a16:creationId xmlns:a16="http://schemas.microsoft.com/office/drawing/2014/main" id="{D1AF8B10-77B7-994C-26DA-98606625369C}"/>
              </a:ext>
            </a:extLst>
          </p:cNvPr>
          <p:cNvCxnSpPr>
            <a:cxnSpLocks/>
          </p:cNvCxnSpPr>
          <p:nvPr/>
        </p:nvCxnSpPr>
        <p:spPr>
          <a:xfrm>
            <a:off x="847994" y="5441680"/>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Text Placeholder 20">
            <a:extLst>
              <a:ext uri="{FF2B5EF4-FFF2-40B4-BE49-F238E27FC236}">
                <a16:creationId xmlns:a16="http://schemas.microsoft.com/office/drawing/2014/main" id="{EBC6E672-A248-2ABD-D4D1-033D6C57FC5E}"/>
              </a:ext>
            </a:extLst>
          </p:cNvPr>
          <p:cNvSpPr>
            <a:spLocks noGrp="1"/>
          </p:cNvSpPr>
          <p:nvPr userDrawn="1">
            <p:ph type="body" sz="quarter" idx="15" hasCustomPrompt="1"/>
          </p:nvPr>
        </p:nvSpPr>
        <p:spPr>
          <a:xfrm>
            <a:off x="1001864" y="5530755"/>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27" name="Bilde 3">
            <a:extLst>
              <a:ext uri="{FF2B5EF4-FFF2-40B4-BE49-F238E27FC236}">
                <a16:creationId xmlns:a16="http://schemas.microsoft.com/office/drawing/2014/main" id="{A5B0FA5C-4366-EE3B-6258-1E103A7EB7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9" name="Date Placeholder 2">
            <a:extLst>
              <a:ext uri="{FF2B5EF4-FFF2-40B4-BE49-F238E27FC236}">
                <a16:creationId xmlns:a16="http://schemas.microsoft.com/office/drawing/2014/main" id="{52A88FDD-AA4C-DAEE-7C94-F7149BE52E2C}"/>
              </a:ext>
            </a:extLst>
          </p:cNvPr>
          <p:cNvSpPr>
            <a:spLocks noGrp="1"/>
          </p:cNvSpPr>
          <p:nvPr userDrawn="1">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30" name="Footer Placeholder 3">
            <a:extLst>
              <a:ext uri="{FF2B5EF4-FFF2-40B4-BE49-F238E27FC236}">
                <a16:creationId xmlns:a16="http://schemas.microsoft.com/office/drawing/2014/main" id="{D2BFB3AC-A2B8-F5EF-B14F-1D7D4A7611CA}"/>
              </a:ext>
            </a:extLst>
          </p:cNvPr>
          <p:cNvSpPr>
            <a:spLocks noGrp="1"/>
          </p:cNvSpPr>
          <p:nvPr userDrawn="1">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31" name="Slide Number Placeholder 4">
            <a:extLst>
              <a:ext uri="{FF2B5EF4-FFF2-40B4-BE49-F238E27FC236}">
                <a16:creationId xmlns:a16="http://schemas.microsoft.com/office/drawing/2014/main" id="{463286B1-D26D-3F1D-B5F5-8A0CF9299383}"/>
              </a:ext>
            </a:extLst>
          </p:cNvPr>
          <p:cNvSpPr>
            <a:spLocks noGrp="1"/>
          </p:cNvSpPr>
          <p:nvPr userDrawn="1">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7817199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6" name="Rectangle 25">
            <a:extLst>
              <a:ext uri="{FF2B5EF4-FFF2-40B4-BE49-F238E27FC236}">
                <a16:creationId xmlns:a16="http://schemas.microsoft.com/office/drawing/2014/main" id="{964B2FCB-A9B0-4145-B29B-AD456C94D7C2}"/>
              </a:ext>
            </a:extLst>
          </p:cNvPr>
          <p:cNvSpPr/>
          <p:nvPr/>
        </p:nvSpPr>
        <p:spPr>
          <a:xfrm>
            <a:off x="741777" y="2706095"/>
            <a:ext cx="5234480" cy="3070681"/>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8" name="Straight Connector 27">
            <a:extLst>
              <a:ext uri="{FF2B5EF4-FFF2-40B4-BE49-F238E27FC236}">
                <a16:creationId xmlns:a16="http://schemas.microsoft.com/office/drawing/2014/main" id="{17FD8ADB-B041-7841-B1C3-28DBA168A7C7}"/>
              </a:ext>
            </a:extLst>
          </p:cNvPr>
          <p:cNvCxnSpPr>
            <a:cxnSpLocks/>
          </p:cNvCxnSpPr>
          <p:nvPr/>
        </p:nvCxnSpPr>
        <p:spPr>
          <a:xfrm>
            <a:off x="741777" y="2695911"/>
            <a:ext cx="523448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50" name="Text Placeholder 20">
            <a:extLst>
              <a:ext uri="{FF2B5EF4-FFF2-40B4-BE49-F238E27FC236}">
                <a16:creationId xmlns:a16="http://schemas.microsoft.com/office/drawing/2014/main" id="{0AB8628E-6620-874B-85B8-393DA4676167}"/>
              </a:ext>
            </a:extLst>
          </p:cNvPr>
          <p:cNvSpPr>
            <a:spLocks noGrp="1"/>
          </p:cNvSpPr>
          <p:nvPr userDrawn="1">
            <p:ph type="body" sz="quarter" idx="19" hasCustomPrompt="1"/>
          </p:nvPr>
        </p:nvSpPr>
        <p:spPr>
          <a:xfrm>
            <a:off x="916646" y="2866046"/>
            <a:ext cx="4831011" cy="2731120"/>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ext Placeholder 20">
            <a:extLst>
              <a:ext uri="{FF2B5EF4-FFF2-40B4-BE49-F238E27FC236}">
                <a16:creationId xmlns:a16="http://schemas.microsoft.com/office/drawing/2014/main" id="{1CA6145D-0C72-F541-BE9A-355F095B9528}"/>
              </a:ext>
            </a:extLst>
          </p:cNvPr>
          <p:cNvSpPr>
            <a:spLocks noGrp="1"/>
          </p:cNvSpPr>
          <p:nvPr userDrawn="1">
            <p:ph type="body" sz="quarter" idx="22" hasCustomPrompt="1"/>
          </p:nvPr>
        </p:nvSpPr>
        <p:spPr>
          <a:xfrm>
            <a:off x="916646" y="1964633"/>
            <a:ext cx="483101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6" name="Rectangle 45">
            <a:extLst>
              <a:ext uri="{FF2B5EF4-FFF2-40B4-BE49-F238E27FC236}">
                <a16:creationId xmlns:a16="http://schemas.microsoft.com/office/drawing/2014/main" id="{A3D10291-5127-FF2D-DB99-A8BC7A6A2DD7}"/>
              </a:ext>
            </a:extLst>
          </p:cNvPr>
          <p:cNvSpPr/>
          <p:nvPr/>
        </p:nvSpPr>
        <p:spPr>
          <a:xfrm>
            <a:off x="6179192" y="2706095"/>
            <a:ext cx="5234480" cy="3070681"/>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47" name="Straight Connector 46">
            <a:extLst>
              <a:ext uri="{FF2B5EF4-FFF2-40B4-BE49-F238E27FC236}">
                <a16:creationId xmlns:a16="http://schemas.microsoft.com/office/drawing/2014/main" id="{11529A5D-199F-9F29-A51F-7EB14E5F39A4}"/>
              </a:ext>
            </a:extLst>
          </p:cNvPr>
          <p:cNvCxnSpPr>
            <a:cxnSpLocks/>
          </p:cNvCxnSpPr>
          <p:nvPr/>
        </p:nvCxnSpPr>
        <p:spPr>
          <a:xfrm>
            <a:off x="6179192" y="2695911"/>
            <a:ext cx="523448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49" name="Text Placeholder 20">
            <a:extLst>
              <a:ext uri="{FF2B5EF4-FFF2-40B4-BE49-F238E27FC236}">
                <a16:creationId xmlns:a16="http://schemas.microsoft.com/office/drawing/2014/main" id="{53F9C245-C049-7212-1741-F3CF7A9166B4}"/>
              </a:ext>
            </a:extLst>
          </p:cNvPr>
          <p:cNvSpPr>
            <a:spLocks noGrp="1"/>
          </p:cNvSpPr>
          <p:nvPr userDrawn="1">
            <p:ph type="body" sz="quarter" idx="23" hasCustomPrompt="1"/>
          </p:nvPr>
        </p:nvSpPr>
        <p:spPr>
          <a:xfrm>
            <a:off x="6354061" y="2866046"/>
            <a:ext cx="4831011" cy="2731120"/>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1" name="Text Placeholder 20">
            <a:extLst>
              <a:ext uri="{FF2B5EF4-FFF2-40B4-BE49-F238E27FC236}">
                <a16:creationId xmlns:a16="http://schemas.microsoft.com/office/drawing/2014/main" id="{DB1A1BE0-6496-E44D-5A1D-6067B555908A}"/>
              </a:ext>
            </a:extLst>
          </p:cNvPr>
          <p:cNvSpPr>
            <a:spLocks noGrp="1"/>
          </p:cNvSpPr>
          <p:nvPr userDrawn="1">
            <p:ph type="body" sz="quarter" idx="24" hasCustomPrompt="1"/>
          </p:nvPr>
        </p:nvSpPr>
        <p:spPr>
          <a:xfrm>
            <a:off x="6354061" y="1964633"/>
            <a:ext cx="483101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2" name="Title 1">
            <a:extLst>
              <a:ext uri="{FF2B5EF4-FFF2-40B4-BE49-F238E27FC236}">
                <a16:creationId xmlns:a16="http://schemas.microsoft.com/office/drawing/2014/main" id="{B47A2599-5FAF-9034-E375-BAE6412058E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6" name="Bilde 3">
            <a:extLst>
              <a:ext uri="{FF2B5EF4-FFF2-40B4-BE49-F238E27FC236}">
                <a16:creationId xmlns:a16="http://schemas.microsoft.com/office/drawing/2014/main" id="{26F30CAA-FF03-C96A-502E-FF88C11C47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7" name="Date Placeholder 2">
            <a:extLst>
              <a:ext uri="{FF2B5EF4-FFF2-40B4-BE49-F238E27FC236}">
                <a16:creationId xmlns:a16="http://schemas.microsoft.com/office/drawing/2014/main" id="{FCE1B1D8-3C46-DA56-7783-6203653E2315}"/>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19" name="Footer Placeholder 3">
            <a:extLst>
              <a:ext uri="{FF2B5EF4-FFF2-40B4-BE49-F238E27FC236}">
                <a16:creationId xmlns:a16="http://schemas.microsoft.com/office/drawing/2014/main" id="{7A65BB47-36D4-FED3-14E1-32016471939C}"/>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20" name="Slide Number Placeholder 4">
            <a:extLst>
              <a:ext uri="{FF2B5EF4-FFF2-40B4-BE49-F238E27FC236}">
                <a16:creationId xmlns:a16="http://schemas.microsoft.com/office/drawing/2014/main" id="{F1C9FB8A-BD98-C6EA-1693-3C82E226D1DE}"/>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9256873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74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6" name="Rectangle 25">
            <a:extLst>
              <a:ext uri="{FF2B5EF4-FFF2-40B4-BE49-F238E27FC236}">
                <a16:creationId xmlns:a16="http://schemas.microsoft.com/office/drawing/2014/main" id="{964B2FCB-A9B0-4145-B29B-AD456C94D7C2}"/>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8" name="Straight Connector 27">
            <a:extLst>
              <a:ext uri="{FF2B5EF4-FFF2-40B4-BE49-F238E27FC236}">
                <a16:creationId xmlns:a16="http://schemas.microsoft.com/office/drawing/2014/main" id="{17FD8ADB-B041-7841-B1C3-28DBA168A7C7}"/>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30" name="Rectangle 29">
            <a:extLst>
              <a:ext uri="{FF2B5EF4-FFF2-40B4-BE49-F238E27FC236}">
                <a16:creationId xmlns:a16="http://schemas.microsoft.com/office/drawing/2014/main" id="{BEA4711D-5FB9-1140-ACF9-77B5A0C68D53}"/>
              </a:ext>
            </a:extLst>
          </p:cNvPr>
          <p:cNvSpPr/>
          <p:nvPr/>
        </p:nvSpPr>
        <p:spPr>
          <a:xfrm>
            <a:off x="4253915"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2" name="Straight Connector 31">
            <a:extLst>
              <a:ext uri="{FF2B5EF4-FFF2-40B4-BE49-F238E27FC236}">
                <a16:creationId xmlns:a16="http://schemas.microsoft.com/office/drawing/2014/main" id="{52130800-D63A-3843-B550-B3C820A89816}"/>
              </a:ext>
            </a:extLst>
          </p:cNvPr>
          <p:cNvCxnSpPr>
            <a:cxnSpLocks/>
          </p:cNvCxnSpPr>
          <p:nvPr/>
        </p:nvCxnSpPr>
        <p:spPr>
          <a:xfrm>
            <a:off x="4253915"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37" name="Rectangle 36">
            <a:extLst>
              <a:ext uri="{FF2B5EF4-FFF2-40B4-BE49-F238E27FC236}">
                <a16:creationId xmlns:a16="http://schemas.microsoft.com/office/drawing/2014/main" id="{0C98384D-7BB5-5C48-A5ED-327B4184534B}"/>
              </a:ext>
            </a:extLst>
          </p:cNvPr>
          <p:cNvSpPr/>
          <p:nvPr/>
        </p:nvSpPr>
        <p:spPr>
          <a:xfrm>
            <a:off x="775949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48" name="Straight Connector 47">
            <a:extLst>
              <a:ext uri="{FF2B5EF4-FFF2-40B4-BE49-F238E27FC236}">
                <a16:creationId xmlns:a16="http://schemas.microsoft.com/office/drawing/2014/main" id="{DE9F925F-0CBA-BF4C-9DFE-2CF31B40A496}"/>
              </a:ext>
            </a:extLst>
          </p:cNvPr>
          <p:cNvCxnSpPr>
            <a:cxnSpLocks/>
          </p:cNvCxnSpPr>
          <p:nvPr/>
        </p:nvCxnSpPr>
        <p:spPr>
          <a:xfrm>
            <a:off x="775949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50" name="Text Placeholder 20">
            <a:extLst>
              <a:ext uri="{FF2B5EF4-FFF2-40B4-BE49-F238E27FC236}">
                <a16:creationId xmlns:a16="http://schemas.microsoft.com/office/drawing/2014/main" id="{0AB8628E-6620-874B-85B8-393DA4676167}"/>
              </a:ext>
            </a:extLst>
          </p:cNvPr>
          <p:cNvSpPr>
            <a:spLocks noGrp="1"/>
          </p:cNvSpPr>
          <p:nvPr>
            <p:ph type="body" sz="quarter" idx="19" hasCustomPrompt="1"/>
          </p:nvPr>
        </p:nvSpPr>
        <p:spPr>
          <a:xfrm>
            <a:off x="916646" y="3179823"/>
            <a:ext cx="2774041" cy="2372109"/>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9" name="Text Placeholder 20">
            <a:extLst>
              <a:ext uri="{FF2B5EF4-FFF2-40B4-BE49-F238E27FC236}">
                <a16:creationId xmlns:a16="http://schemas.microsoft.com/office/drawing/2014/main" id="{A56B007D-AE67-314F-AB2F-B2CB4787DDFB}"/>
              </a:ext>
            </a:extLst>
          </p:cNvPr>
          <p:cNvSpPr>
            <a:spLocks noGrp="1"/>
          </p:cNvSpPr>
          <p:nvPr>
            <p:ph type="body" sz="quarter" idx="20" hasCustomPrompt="1"/>
          </p:nvPr>
        </p:nvSpPr>
        <p:spPr>
          <a:xfrm>
            <a:off x="4450894" y="3185748"/>
            <a:ext cx="2774041" cy="2372109"/>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60" name="Text Placeholder 20">
            <a:extLst>
              <a:ext uri="{FF2B5EF4-FFF2-40B4-BE49-F238E27FC236}">
                <a16:creationId xmlns:a16="http://schemas.microsoft.com/office/drawing/2014/main" id="{8F5D6E2F-7511-1C4E-BCEA-BE59A10E6B55}"/>
              </a:ext>
            </a:extLst>
          </p:cNvPr>
          <p:cNvSpPr>
            <a:spLocks noGrp="1"/>
          </p:cNvSpPr>
          <p:nvPr>
            <p:ph type="body" sz="quarter" idx="21" hasCustomPrompt="1"/>
          </p:nvPr>
        </p:nvSpPr>
        <p:spPr>
          <a:xfrm>
            <a:off x="7956476" y="3195932"/>
            <a:ext cx="2774041" cy="2372109"/>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ext Placeholder 20">
            <a:extLst>
              <a:ext uri="{FF2B5EF4-FFF2-40B4-BE49-F238E27FC236}">
                <a16:creationId xmlns:a16="http://schemas.microsoft.com/office/drawing/2014/main" id="{1CA6145D-0C72-F541-BE9A-355F095B9528}"/>
              </a:ext>
            </a:extLst>
          </p:cNvPr>
          <p:cNvSpPr>
            <a:spLocks noGrp="1"/>
          </p:cNvSpPr>
          <p:nvPr>
            <p:ph type="body" sz="quarter" idx="22" hasCustomPrompt="1"/>
          </p:nvPr>
        </p:nvSpPr>
        <p:spPr>
          <a:xfrm>
            <a:off x="916646" y="2278410"/>
            <a:ext cx="277404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9" name="Text Placeholder 20">
            <a:extLst>
              <a:ext uri="{FF2B5EF4-FFF2-40B4-BE49-F238E27FC236}">
                <a16:creationId xmlns:a16="http://schemas.microsoft.com/office/drawing/2014/main" id="{CD8BDA50-ABD7-723D-FFC8-3A1EF3BE0050}"/>
              </a:ext>
            </a:extLst>
          </p:cNvPr>
          <p:cNvSpPr>
            <a:spLocks noGrp="1"/>
          </p:cNvSpPr>
          <p:nvPr>
            <p:ph type="body" sz="quarter" idx="23" hasCustomPrompt="1"/>
          </p:nvPr>
        </p:nvSpPr>
        <p:spPr>
          <a:xfrm>
            <a:off x="4450894" y="2284335"/>
            <a:ext cx="277404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20" name="Text Placeholder 20">
            <a:extLst>
              <a:ext uri="{FF2B5EF4-FFF2-40B4-BE49-F238E27FC236}">
                <a16:creationId xmlns:a16="http://schemas.microsoft.com/office/drawing/2014/main" id="{A675B563-EEF3-5077-3650-299FDCF523BE}"/>
              </a:ext>
            </a:extLst>
          </p:cNvPr>
          <p:cNvSpPr>
            <a:spLocks noGrp="1"/>
          </p:cNvSpPr>
          <p:nvPr>
            <p:ph type="body" sz="quarter" idx="24" hasCustomPrompt="1"/>
          </p:nvPr>
        </p:nvSpPr>
        <p:spPr>
          <a:xfrm>
            <a:off x="7956476" y="2294519"/>
            <a:ext cx="277404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21" name="Title 1">
            <a:extLst>
              <a:ext uri="{FF2B5EF4-FFF2-40B4-BE49-F238E27FC236}">
                <a16:creationId xmlns:a16="http://schemas.microsoft.com/office/drawing/2014/main" id="{FBC1BB7D-600D-3086-600E-967C8E38E39A}"/>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4" name="Bilde 3">
            <a:extLst>
              <a:ext uri="{FF2B5EF4-FFF2-40B4-BE49-F238E27FC236}">
                <a16:creationId xmlns:a16="http://schemas.microsoft.com/office/drawing/2014/main" id="{9CD177BF-FF5D-5C7A-316D-6DDD63B3FFF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B26D9874-3CD2-94C0-D547-2A64FD3F17BF}"/>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25" name="Footer Placeholder 3">
            <a:extLst>
              <a:ext uri="{FF2B5EF4-FFF2-40B4-BE49-F238E27FC236}">
                <a16:creationId xmlns:a16="http://schemas.microsoft.com/office/drawing/2014/main" id="{4D5AC9D7-1147-F331-F642-24F580EC7E33}"/>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27" name="Slide Number Placeholder 4">
            <a:extLst>
              <a:ext uri="{FF2B5EF4-FFF2-40B4-BE49-F238E27FC236}">
                <a16:creationId xmlns:a16="http://schemas.microsoft.com/office/drawing/2014/main" id="{EA107953-00EC-C977-6B85-65310C640CF0}"/>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4688596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ue Texture">
    <p:bg>
      <p:bgPr>
        <a:blipFill>
          <a:blip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11500"/>
                    </a14:imgEffect>
                    <a14:imgEffect>
                      <a14:saturation sat="330000"/>
                    </a14:imgEffect>
                  </a14:imgLayer>
                </a14:imgProps>
              </a:ext>
            </a:extLst>
          </a:blip>
          <a:tile tx="0" ty="0" sx="100000" sy="100000" flip="none" algn="tl"/>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5642505" y="1771920"/>
            <a:ext cx="4978082" cy="1964372"/>
          </a:xfrm>
          <a:prstGeom prst="rect">
            <a:avLst/>
          </a:prstGeom>
        </p:spPr>
        <p:txBody>
          <a:bodyPr anchor="b">
            <a:normAutofit/>
          </a:bodyPr>
          <a:lstStyle>
            <a:lvl1pPr marL="0" indent="0">
              <a:buNone/>
              <a:defRPr sz="4000" b="0" i="0">
                <a:solidFill>
                  <a:schemeClr val="accent2"/>
                </a:solidFill>
                <a:latin typeface="Helvetica Light" panose="020B0403020202020204" pitchFamily="34" charset="0"/>
                <a:cs typeface="Arial" panose="020B0604020202020204" pitchFamily="34" charset="0"/>
              </a:defRPr>
            </a:lvl1pPr>
            <a:lvl2pPr>
              <a:defRPr b="1">
                <a:solidFill>
                  <a:schemeClr val="bg1"/>
                </a:solidFill>
                <a:latin typeface="Franklin Gothic Medium" panose="020B0603020102020204" pitchFamily="34" charset="0"/>
              </a:defRPr>
            </a:lvl2pPr>
            <a:lvl3pPr>
              <a:defRPr b="1">
                <a:solidFill>
                  <a:schemeClr val="bg1"/>
                </a:solidFill>
                <a:latin typeface="Franklin Gothic Medium" panose="020B0603020102020204" pitchFamily="34" charset="0"/>
              </a:defRPr>
            </a:lvl3pPr>
            <a:lvl4pPr>
              <a:defRPr b="1">
                <a:solidFill>
                  <a:schemeClr val="bg1"/>
                </a:solidFill>
                <a:latin typeface="Franklin Gothic Medium" panose="020B0603020102020204" pitchFamily="34" charset="0"/>
              </a:defRPr>
            </a:lvl4pPr>
            <a:lvl5pPr>
              <a:defRPr b="1">
                <a:solidFill>
                  <a:schemeClr val="bg1"/>
                </a:solidFill>
                <a:latin typeface="Franklin Gothic Medium" panose="020B0603020102020204" pitchFamily="34" charset="0"/>
              </a:defRPr>
            </a:lvl5pPr>
          </a:lstStyle>
          <a:p>
            <a:pPr lvl="0"/>
            <a:r>
              <a:rPr lang="en-GB" noProof="0"/>
              <a:t>Edit Master text styles</a:t>
            </a:r>
          </a:p>
        </p:txBody>
      </p:sp>
      <p:sp>
        <p:nvSpPr>
          <p:cNvPr id="9" name="Text Placeholder 8"/>
          <p:cNvSpPr>
            <a:spLocks noGrp="1"/>
          </p:cNvSpPr>
          <p:nvPr>
            <p:ph type="body" sz="quarter" idx="11" hasCustomPrompt="1"/>
          </p:nvPr>
        </p:nvSpPr>
        <p:spPr>
          <a:xfrm>
            <a:off x="5642610" y="3843970"/>
            <a:ext cx="5018088" cy="1404937"/>
          </a:xfrm>
          <a:prstGeom prst="rect">
            <a:avLst/>
          </a:prstGeom>
        </p:spPr>
        <p:txBody>
          <a:bodyPr>
            <a:normAutofit/>
          </a:bodyPr>
          <a:lstStyle>
            <a:lvl1pPr marL="0" indent="0">
              <a:buNone/>
              <a:defRPr sz="2400" b="0" i="0">
                <a:solidFill>
                  <a:schemeClr val="bg1"/>
                </a:solidFill>
                <a:latin typeface="Helvetica Light" panose="020B0403020202020204" pitchFamily="34" charset="0"/>
                <a:cs typeface="Arial" panose="020B0604020202020204" pitchFamily="34" charset="0"/>
              </a:defRPr>
            </a:lvl1pPr>
            <a:lvl2pPr>
              <a:defRPr>
                <a:solidFill>
                  <a:schemeClr val="bg1"/>
                </a:solidFill>
                <a:latin typeface="Franklin Gothic Medium" panose="020B0603020102020204" pitchFamily="34" charset="0"/>
              </a:defRPr>
            </a:lvl2pPr>
            <a:lvl3pPr>
              <a:defRPr>
                <a:solidFill>
                  <a:schemeClr val="bg1"/>
                </a:solidFill>
                <a:latin typeface="Franklin Gothic Medium" panose="020B0603020102020204" pitchFamily="34" charset="0"/>
              </a:defRPr>
            </a:lvl3pPr>
            <a:lvl4pPr>
              <a:defRPr>
                <a:solidFill>
                  <a:schemeClr val="bg1"/>
                </a:solidFill>
                <a:latin typeface="Franklin Gothic Medium" panose="020B0603020102020204" pitchFamily="34" charset="0"/>
              </a:defRPr>
            </a:lvl4pPr>
            <a:lvl5pPr>
              <a:defRPr>
                <a:solidFill>
                  <a:schemeClr val="bg1"/>
                </a:solidFill>
                <a:latin typeface="Franklin Gothic Medium" panose="020B0603020102020204" pitchFamily="34" charset="0"/>
              </a:defRPr>
            </a:lvl5pPr>
          </a:lstStyle>
          <a:p>
            <a:pPr lvl="0"/>
            <a:r>
              <a:rPr lang="en-GB" noProof="0"/>
              <a:t>Edit Master text styles</a:t>
            </a:r>
          </a:p>
        </p:txBody>
      </p:sp>
      <p:pic>
        <p:nvPicPr>
          <p:cNvPr id="5" name="Bilde 4">
            <a:extLst>
              <a:ext uri="{FF2B5EF4-FFF2-40B4-BE49-F238E27FC236}">
                <a16:creationId xmlns:a16="http://schemas.microsoft.com/office/drawing/2014/main" id="{3A07580A-3D59-446E-AF02-EE9B1C03A1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74077" y="1771920"/>
            <a:ext cx="3923340" cy="2542905"/>
          </a:xfrm>
          <a:prstGeom prst="rect">
            <a:avLst/>
          </a:prstGeom>
        </p:spPr>
      </p:pic>
    </p:spTree>
    <p:extLst>
      <p:ext uri="{BB962C8B-B14F-4D97-AF65-F5344CB8AC3E}">
        <p14:creationId xmlns:p14="http://schemas.microsoft.com/office/powerpoint/2010/main" val="5045424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73_Custom Layou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011D626-3DE3-B061-399E-A199D5C50ED2}"/>
              </a:ext>
            </a:extLst>
          </p:cNvPr>
          <p:cNvGrpSpPr/>
          <p:nvPr userDrawn="1"/>
        </p:nvGrpSpPr>
        <p:grpSpPr>
          <a:xfrm>
            <a:off x="741777" y="2466299"/>
            <a:ext cx="2568674" cy="3483187"/>
            <a:chOff x="741777" y="3009688"/>
            <a:chExt cx="3168000" cy="2705311"/>
          </a:xfrm>
        </p:grpSpPr>
        <p:sp>
          <p:nvSpPr>
            <p:cNvPr id="26" name="Rectangle 25">
              <a:extLst>
                <a:ext uri="{FF2B5EF4-FFF2-40B4-BE49-F238E27FC236}">
                  <a16:creationId xmlns:a16="http://schemas.microsoft.com/office/drawing/2014/main" id="{964B2FCB-A9B0-4145-B29B-AD456C94D7C2}"/>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8" name="Straight Connector 27">
              <a:extLst>
                <a:ext uri="{FF2B5EF4-FFF2-40B4-BE49-F238E27FC236}">
                  <a16:creationId xmlns:a16="http://schemas.microsoft.com/office/drawing/2014/main" id="{17FD8ADB-B041-7841-B1C3-28DBA168A7C7}"/>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50" name="Text Placeholder 20">
            <a:extLst>
              <a:ext uri="{FF2B5EF4-FFF2-40B4-BE49-F238E27FC236}">
                <a16:creationId xmlns:a16="http://schemas.microsoft.com/office/drawing/2014/main" id="{0AB8628E-6620-874B-85B8-393DA4676167}"/>
              </a:ext>
            </a:extLst>
          </p:cNvPr>
          <p:cNvSpPr>
            <a:spLocks noGrp="1"/>
          </p:cNvSpPr>
          <p:nvPr>
            <p:ph type="body" sz="quarter" idx="19" hasCustomPrompt="1"/>
          </p:nvPr>
        </p:nvSpPr>
        <p:spPr>
          <a:xfrm>
            <a:off x="916647" y="2636434"/>
            <a:ext cx="2218440" cy="3165235"/>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ext Placeholder 20">
            <a:extLst>
              <a:ext uri="{FF2B5EF4-FFF2-40B4-BE49-F238E27FC236}">
                <a16:creationId xmlns:a16="http://schemas.microsoft.com/office/drawing/2014/main" id="{1CA6145D-0C72-F541-BE9A-355F095B9528}"/>
              </a:ext>
            </a:extLst>
          </p:cNvPr>
          <p:cNvSpPr>
            <a:spLocks noGrp="1"/>
          </p:cNvSpPr>
          <p:nvPr>
            <p:ph type="body" sz="quarter" idx="22" hasCustomPrompt="1"/>
          </p:nvPr>
        </p:nvSpPr>
        <p:spPr>
          <a:xfrm>
            <a:off x="916647" y="1655697"/>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grpSp>
        <p:nvGrpSpPr>
          <p:cNvPr id="36" name="Group 35">
            <a:extLst>
              <a:ext uri="{FF2B5EF4-FFF2-40B4-BE49-F238E27FC236}">
                <a16:creationId xmlns:a16="http://schemas.microsoft.com/office/drawing/2014/main" id="{10FCA0BF-9E4E-438D-86BD-D6CE1C6532F4}"/>
              </a:ext>
            </a:extLst>
          </p:cNvPr>
          <p:cNvGrpSpPr/>
          <p:nvPr userDrawn="1"/>
        </p:nvGrpSpPr>
        <p:grpSpPr>
          <a:xfrm>
            <a:off x="3419661" y="2466299"/>
            <a:ext cx="2568674" cy="3483187"/>
            <a:chOff x="741777" y="3009688"/>
            <a:chExt cx="3168000" cy="2705311"/>
          </a:xfrm>
        </p:grpSpPr>
        <p:sp>
          <p:nvSpPr>
            <p:cNvPr id="38" name="Rectangle 37">
              <a:extLst>
                <a:ext uri="{FF2B5EF4-FFF2-40B4-BE49-F238E27FC236}">
                  <a16:creationId xmlns:a16="http://schemas.microsoft.com/office/drawing/2014/main" id="{9371083E-173B-64B6-90DB-3932E95AE3CE}"/>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9" name="Straight Connector 38">
              <a:extLst>
                <a:ext uri="{FF2B5EF4-FFF2-40B4-BE49-F238E27FC236}">
                  <a16:creationId xmlns:a16="http://schemas.microsoft.com/office/drawing/2014/main" id="{50410FC9-B8E7-3F8D-595B-42FB6FEA213B}"/>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40" name="Text Placeholder 20">
            <a:extLst>
              <a:ext uri="{FF2B5EF4-FFF2-40B4-BE49-F238E27FC236}">
                <a16:creationId xmlns:a16="http://schemas.microsoft.com/office/drawing/2014/main" id="{81692953-2040-E900-7B7B-F1391A6919F4}"/>
              </a:ext>
            </a:extLst>
          </p:cNvPr>
          <p:cNvSpPr>
            <a:spLocks noGrp="1"/>
          </p:cNvSpPr>
          <p:nvPr>
            <p:ph type="body" sz="quarter" idx="23" hasCustomPrompt="1"/>
          </p:nvPr>
        </p:nvSpPr>
        <p:spPr>
          <a:xfrm>
            <a:off x="3594531" y="2636434"/>
            <a:ext cx="2218440" cy="3165235"/>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1" name="Text Placeholder 20">
            <a:extLst>
              <a:ext uri="{FF2B5EF4-FFF2-40B4-BE49-F238E27FC236}">
                <a16:creationId xmlns:a16="http://schemas.microsoft.com/office/drawing/2014/main" id="{99CAF562-9E6C-E9A1-8784-3B5643C9B56C}"/>
              </a:ext>
            </a:extLst>
          </p:cNvPr>
          <p:cNvSpPr>
            <a:spLocks noGrp="1"/>
          </p:cNvSpPr>
          <p:nvPr>
            <p:ph type="body" sz="quarter" idx="24" hasCustomPrompt="1"/>
          </p:nvPr>
        </p:nvSpPr>
        <p:spPr>
          <a:xfrm>
            <a:off x="3594531" y="1655697"/>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grpSp>
        <p:nvGrpSpPr>
          <p:cNvPr id="42" name="Group 41">
            <a:extLst>
              <a:ext uri="{FF2B5EF4-FFF2-40B4-BE49-F238E27FC236}">
                <a16:creationId xmlns:a16="http://schemas.microsoft.com/office/drawing/2014/main" id="{3BC38829-0CB0-DAC5-3FD3-5F83FAD74D25}"/>
              </a:ext>
            </a:extLst>
          </p:cNvPr>
          <p:cNvGrpSpPr/>
          <p:nvPr userDrawn="1"/>
        </p:nvGrpSpPr>
        <p:grpSpPr>
          <a:xfrm>
            <a:off x="6097545" y="2466299"/>
            <a:ext cx="2568674" cy="3483187"/>
            <a:chOff x="741777" y="3009688"/>
            <a:chExt cx="3168000" cy="2705311"/>
          </a:xfrm>
        </p:grpSpPr>
        <p:sp>
          <p:nvSpPr>
            <p:cNvPr id="43" name="Rectangle 42">
              <a:extLst>
                <a:ext uri="{FF2B5EF4-FFF2-40B4-BE49-F238E27FC236}">
                  <a16:creationId xmlns:a16="http://schemas.microsoft.com/office/drawing/2014/main" id="{934B1946-4432-7FE4-DB63-2FEDA29EC05B}"/>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44" name="Straight Connector 43">
              <a:extLst>
                <a:ext uri="{FF2B5EF4-FFF2-40B4-BE49-F238E27FC236}">
                  <a16:creationId xmlns:a16="http://schemas.microsoft.com/office/drawing/2014/main" id="{947D6BC6-595C-82B9-6399-4E27F2A595EC}"/>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45" name="Text Placeholder 20">
            <a:extLst>
              <a:ext uri="{FF2B5EF4-FFF2-40B4-BE49-F238E27FC236}">
                <a16:creationId xmlns:a16="http://schemas.microsoft.com/office/drawing/2014/main" id="{F8FE9088-EF4C-3223-9561-5AA13C2DA0BC}"/>
              </a:ext>
            </a:extLst>
          </p:cNvPr>
          <p:cNvSpPr>
            <a:spLocks noGrp="1"/>
          </p:cNvSpPr>
          <p:nvPr>
            <p:ph type="body" sz="quarter" idx="25" hasCustomPrompt="1"/>
          </p:nvPr>
        </p:nvSpPr>
        <p:spPr>
          <a:xfrm>
            <a:off x="6272415" y="2636434"/>
            <a:ext cx="2218440" cy="3165235"/>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FDAFBEA9-6483-A006-3BCE-3E336865EB86}"/>
              </a:ext>
            </a:extLst>
          </p:cNvPr>
          <p:cNvSpPr>
            <a:spLocks noGrp="1"/>
          </p:cNvSpPr>
          <p:nvPr>
            <p:ph type="body" sz="quarter" idx="26" hasCustomPrompt="1"/>
          </p:nvPr>
        </p:nvSpPr>
        <p:spPr>
          <a:xfrm>
            <a:off x="6272415" y="1655697"/>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grpSp>
        <p:nvGrpSpPr>
          <p:cNvPr id="47" name="Group 46">
            <a:extLst>
              <a:ext uri="{FF2B5EF4-FFF2-40B4-BE49-F238E27FC236}">
                <a16:creationId xmlns:a16="http://schemas.microsoft.com/office/drawing/2014/main" id="{B49072DD-A0AB-BA37-188D-A6CBE2760790}"/>
              </a:ext>
            </a:extLst>
          </p:cNvPr>
          <p:cNvGrpSpPr/>
          <p:nvPr userDrawn="1"/>
        </p:nvGrpSpPr>
        <p:grpSpPr>
          <a:xfrm>
            <a:off x="8775429" y="2466299"/>
            <a:ext cx="2568674" cy="3483187"/>
            <a:chOff x="741777" y="3009688"/>
            <a:chExt cx="3168000" cy="2705311"/>
          </a:xfrm>
        </p:grpSpPr>
        <p:sp>
          <p:nvSpPr>
            <p:cNvPr id="49" name="Rectangle 48">
              <a:extLst>
                <a:ext uri="{FF2B5EF4-FFF2-40B4-BE49-F238E27FC236}">
                  <a16:creationId xmlns:a16="http://schemas.microsoft.com/office/drawing/2014/main" id="{43226A65-F603-7E9F-1818-EB37E0ADFE01}"/>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51" name="Straight Connector 50">
              <a:extLst>
                <a:ext uri="{FF2B5EF4-FFF2-40B4-BE49-F238E27FC236}">
                  <a16:creationId xmlns:a16="http://schemas.microsoft.com/office/drawing/2014/main" id="{72CD8099-2E22-CF35-A54D-8A6B45292651}"/>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52" name="Text Placeholder 20">
            <a:extLst>
              <a:ext uri="{FF2B5EF4-FFF2-40B4-BE49-F238E27FC236}">
                <a16:creationId xmlns:a16="http://schemas.microsoft.com/office/drawing/2014/main" id="{D2A91264-00E1-4BD3-293E-BE40AAD98C5F}"/>
              </a:ext>
            </a:extLst>
          </p:cNvPr>
          <p:cNvSpPr>
            <a:spLocks noGrp="1"/>
          </p:cNvSpPr>
          <p:nvPr>
            <p:ph type="body" sz="quarter" idx="27" hasCustomPrompt="1"/>
          </p:nvPr>
        </p:nvSpPr>
        <p:spPr>
          <a:xfrm>
            <a:off x="8950299" y="2636434"/>
            <a:ext cx="2218440" cy="3165235"/>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3" name="Text Placeholder 20">
            <a:extLst>
              <a:ext uri="{FF2B5EF4-FFF2-40B4-BE49-F238E27FC236}">
                <a16:creationId xmlns:a16="http://schemas.microsoft.com/office/drawing/2014/main" id="{7AE9B17A-9DE8-3C9E-DDDC-CA860B6819B3}"/>
              </a:ext>
            </a:extLst>
          </p:cNvPr>
          <p:cNvSpPr>
            <a:spLocks noGrp="1"/>
          </p:cNvSpPr>
          <p:nvPr>
            <p:ph type="body" sz="quarter" idx="28" hasCustomPrompt="1"/>
          </p:nvPr>
        </p:nvSpPr>
        <p:spPr>
          <a:xfrm>
            <a:off x="8950299" y="1655697"/>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4" name="Title 1">
            <a:extLst>
              <a:ext uri="{FF2B5EF4-FFF2-40B4-BE49-F238E27FC236}">
                <a16:creationId xmlns:a16="http://schemas.microsoft.com/office/drawing/2014/main" id="{4CBCEBE8-4452-D323-6817-17EE7B63E7D9}"/>
              </a:ext>
            </a:extLst>
          </p:cNvPr>
          <p:cNvSpPr>
            <a:spLocks noGrp="1"/>
          </p:cNvSpPr>
          <p:nvPr>
            <p:ph type="title" hasCustomPrompt="1"/>
          </p:nvPr>
        </p:nvSpPr>
        <p:spPr>
          <a:xfrm>
            <a:off x="741777" y="365126"/>
            <a:ext cx="10671895" cy="1072413"/>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9" name="Bilde 3">
            <a:extLst>
              <a:ext uri="{FF2B5EF4-FFF2-40B4-BE49-F238E27FC236}">
                <a16:creationId xmlns:a16="http://schemas.microsoft.com/office/drawing/2014/main" id="{83CBD614-335B-27CF-E780-42F6959997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0" name="Date Placeholder 2">
            <a:extLst>
              <a:ext uri="{FF2B5EF4-FFF2-40B4-BE49-F238E27FC236}">
                <a16:creationId xmlns:a16="http://schemas.microsoft.com/office/drawing/2014/main" id="{E001BFB9-41A9-46E7-0739-121E9A9F8FD7}"/>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31" name="Footer Placeholder 3">
            <a:extLst>
              <a:ext uri="{FF2B5EF4-FFF2-40B4-BE49-F238E27FC236}">
                <a16:creationId xmlns:a16="http://schemas.microsoft.com/office/drawing/2014/main" id="{F8DD2AE9-39A5-3C89-9B7E-E313A23E435B}"/>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32" name="Slide Number Placeholder 4">
            <a:extLst>
              <a:ext uri="{FF2B5EF4-FFF2-40B4-BE49-F238E27FC236}">
                <a16:creationId xmlns:a16="http://schemas.microsoft.com/office/drawing/2014/main" id="{CF06A512-AED3-A481-0B29-F7227D9E7699}"/>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1887599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72_Custom Layou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64B2FCB-A9B0-4145-B29B-AD456C94D7C2}"/>
              </a:ext>
            </a:extLst>
          </p:cNvPr>
          <p:cNvSpPr/>
          <p:nvPr/>
        </p:nvSpPr>
        <p:spPr>
          <a:xfrm>
            <a:off x="741777" y="2294769"/>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8" name="Straight Connector 27">
            <a:extLst>
              <a:ext uri="{FF2B5EF4-FFF2-40B4-BE49-F238E27FC236}">
                <a16:creationId xmlns:a16="http://schemas.microsoft.com/office/drawing/2014/main" id="{17FD8ADB-B041-7841-B1C3-28DBA168A7C7}"/>
              </a:ext>
            </a:extLst>
          </p:cNvPr>
          <p:cNvCxnSpPr>
            <a:cxnSpLocks/>
          </p:cNvCxnSpPr>
          <p:nvPr/>
        </p:nvCxnSpPr>
        <p:spPr>
          <a:xfrm>
            <a:off x="741777" y="2281656"/>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22" name="Rektangel 2">
            <a:extLst>
              <a:ext uri="{FF2B5EF4-FFF2-40B4-BE49-F238E27FC236}">
                <a16:creationId xmlns:a16="http://schemas.microsoft.com/office/drawing/2014/main" id="{D40A3AB9-ABBE-2444-B58D-F892A304954B}"/>
              </a:ext>
            </a:extLst>
          </p:cNvPr>
          <p:cNvSpPr/>
          <p:nvPr userDrawn="1"/>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50" name="Text Placeholder 20">
            <a:extLst>
              <a:ext uri="{FF2B5EF4-FFF2-40B4-BE49-F238E27FC236}">
                <a16:creationId xmlns:a16="http://schemas.microsoft.com/office/drawing/2014/main" id="{0AB8628E-6620-874B-85B8-393DA4676167}"/>
              </a:ext>
            </a:extLst>
          </p:cNvPr>
          <p:cNvSpPr>
            <a:spLocks noGrp="1"/>
          </p:cNvSpPr>
          <p:nvPr userDrawn="1">
            <p:ph type="body" sz="quarter" idx="19" hasCustomPrompt="1"/>
          </p:nvPr>
        </p:nvSpPr>
        <p:spPr>
          <a:xfrm>
            <a:off x="916647" y="2451792"/>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ext Placeholder 20">
            <a:extLst>
              <a:ext uri="{FF2B5EF4-FFF2-40B4-BE49-F238E27FC236}">
                <a16:creationId xmlns:a16="http://schemas.microsoft.com/office/drawing/2014/main" id="{1CA6145D-0C72-F541-BE9A-355F095B9528}"/>
              </a:ext>
            </a:extLst>
          </p:cNvPr>
          <p:cNvSpPr>
            <a:spLocks noGrp="1"/>
          </p:cNvSpPr>
          <p:nvPr userDrawn="1">
            <p:ph type="body" sz="quarter" idx="22" hasCustomPrompt="1"/>
          </p:nvPr>
        </p:nvSpPr>
        <p:spPr>
          <a:xfrm>
            <a:off x="916647" y="1471054"/>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8" name="Rectangle 37">
            <a:extLst>
              <a:ext uri="{FF2B5EF4-FFF2-40B4-BE49-F238E27FC236}">
                <a16:creationId xmlns:a16="http://schemas.microsoft.com/office/drawing/2014/main" id="{9371083E-173B-64B6-90DB-3932E95AE3CE}"/>
              </a:ext>
            </a:extLst>
          </p:cNvPr>
          <p:cNvSpPr/>
          <p:nvPr/>
        </p:nvSpPr>
        <p:spPr>
          <a:xfrm>
            <a:off x="3419661" y="2294769"/>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9" name="Straight Connector 38">
            <a:extLst>
              <a:ext uri="{FF2B5EF4-FFF2-40B4-BE49-F238E27FC236}">
                <a16:creationId xmlns:a16="http://schemas.microsoft.com/office/drawing/2014/main" id="{50410FC9-B8E7-3F8D-595B-42FB6FEA213B}"/>
              </a:ext>
            </a:extLst>
          </p:cNvPr>
          <p:cNvCxnSpPr>
            <a:cxnSpLocks/>
          </p:cNvCxnSpPr>
          <p:nvPr/>
        </p:nvCxnSpPr>
        <p:spPr>
          <a:xfrm>
            <a:off x="3419661" y="2281656"/>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40" name="Text Placeholder 20">
            <a:extLst>
              <a:ext uri="{FF2B5EF4-FFF2-40B4-BE49-F238E27FC236}">
                <a16:creationId xmlns:a16="http://schemas.microsoft.com/office/drawing/2014/main" id="{81692953-2040-E900-7B7B-F1391A6919F4}"/>
              </a:ext>
            </a:extLst>
          </p:cNvPr>
          <p:cNvSpPr>
            <a:spLocks noGrp="1"/>
          </p:cNvSpPr>
          <p:nvPr userDrawn="1">
            <p:ph type="body" sz="quarter" idx="23" hasCustomPrompt="1"/>
          </p:nvPr>
        </p:nvSpPr>
        <p:spPr>
          <a:xfrm>
            <a:off x="3594531" y="2451792"/>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1" name="Text Placeholder 20">
            <a:extLst>
              <a:ext uri="{FF2B5EF4-FFF2-40B4-BE49-F238E27FC236}">
                <a16:creationId xmlns:a16="http://schemas.microsoft.com/office/drawing/2014/main" id="{99CAF562-9E6C-E9A1-8784-3B5643C9B56C}"/>
              </a:ext>
            </a:extLst>
          </p:cNvPr>
          <p:cNvSpPr>
            <a:spLocks noGrp="1"/>
          </p:cNvSpPr>
          <p:nvPr userDrawn="1">
            <p:ph type="body" sz="quarter" idx="24" hasCustomPrompt="1"/>
          </p:nvPr>
        </p:nvSpPr>
        <p:spPr>
          <a:xfrm>
            <a:off x="3594531" y="1471054"/>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3" name="Rectangle 42">
            <a:extLst>
              <a:ext uri="{FF2B5EF4-FFF2-40B4-BE49-F238E27FC236}">
                <a16:creationId xmlns:a16="http://schemas.microsoft.com/office/drawing/2014/main" id="{934B1946-4432-7FE4-DB63-2FEDA29EC05B}"/>
              </a:ext>
            </a:extLst>
          </p:cNvPr>
          <p:cNvSpPr/>
          <p:nvPr/>
        </p:nvSpPr>
        <p:spPr>
          <a:xfrm>
            <a:off x="6097545" y="2294769"/>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44" name="Straight Connector 43">
            <a:extLst>
              <a:ext uri="{FF2B5EF4-FFF2-40B4-BE49-F238E27FC236}">
                <a16:creationId xmlns:a16="http://schemas.microsoft.com/office/drawing/2014/main" id="{947D6BC6-595C-82B9-6399-4E27F2A595EC}"/>
              </a:ext>
            </a:extLst>
          </p:cNvPr>
          <p:cNvCxnSpPr>
            <a:cxnSpLocks/>
          </p:cNvCxnSpPr>
          <p:nvPr/>
        </p:nvCxnSpPr>
        <p:spPr>
          <a:xfrm>
            <a:off x="6097545" y="2281656"/>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45" name="Text Placeholder 20">
            <a:extLst>
              <a:ext uri="{FF2B5EF4-FFF2-40B4-BE49-F238E27FC236}">
                <a16:creationId xmlns:a16="http://schemas.microsoft.com/office/drawing/2014/main" id="{F8FE9088-EF4C-3223-9561-5AA13C2DA0BC}"/>
              </a:ext>
            </a:extLst>
          </p:cNvPr>
          <p:cNvSpPr>
            <a:spLocks noGrp="1"/>
          </p:cNvSpPr>
          <p:nvPr userDrawn="1">
            <p:ph type="body" sz="quarter" idx="25" hasCustomPrompt="1"/>
          </p:nvPr>
        </p:nvSpPr>
        <p:spPr>
          <a:xfrm>
            <a:off x="6272415" y="2451792"/>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FDAFBEA9-6483-A006-3BCE-3E336865EB86}"/>
              </a:ext>
            </a:extLst>
          </p:cNvPr>
          <p:cNvSpPr>
            <a:spLocks noGrp="1"/>
          </p:cNvSpPr>
          <p:nvPr userDrawn="1">
            <p:ph type="body" sz="quarter" idx="26" hasCustomPrompt="1"/>
          </p:nvPr>
        </p:nvSpPr>
        <p:spPr>
          <a:xfrm>
            <a:off x="6272415" y="1471054"/>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9" name="Rectangle 48">
            <a:extLst>
              <a:ext uri="{FF2B5EF4-FFF2-40B4-BE49-F238E27FC236}">
                <a16:creationId xmlns:a16="http://schemas.microsoft.com/office/drawing/2014/main" id="{43226A65-F603-7E9F-1818-EB37E0ADFE01}"/>
              </a:ext>
            </a:extLst>
          </p:cNvPr>
          <p:cNvSpPr/>
          <p:nvPr/>
        </p:nvSpPr>
        <p:spPr>
          <a:xfrm>
            <a:off x="8775429" y="2294769"/>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51" name="Straight Connector 50">
            <a:extLst>
              <a:ext uri="{FF2B5EF4-FFF2-40B4-BE49-F238E27FC236}">
                <a16:creationId xmlns:a16="http://schemas.microsoft.com/office/drawing/2014/main" id="{72CD8099-2E22-CF35-A54D-8A6B45292651}"/>
              </a:ext>
            </a:extLst>
          </p:cNvPr>
          <p:cNvCxnSpPr>
            <a:cxnSpLocks/>
          </p:cNvCxnSpPr>
          <p:nvPr/>
        </p:nvCxnSpPr>
        <p:spPr>
          <a:xfrm>
            <a:off x="8775429" y="2281656"/>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52" name="Text Placeholder 20">
            <a:extLst>
              <a:ext uri="{FF2B5EF4-FFF2-40B4-BE49-F238E27FC236}">
                <a16:creationId xmlns:a16="http://schemas.microsoft.com/office/drawing/2014/main" id="{D2A91264-00E1-4BD3-293E-BE40AAD98C5F}"/>
              </a:ext>
            </a:extLst>
          </p:cNvPr>
          <p:cNvSpPr>
            <a:spLocks noGrp="1"/>
          </p:cNvSpPr>
          <p:nvPr userDrawn="1">
            <p:ph type="body" sz="quarter" idx="27" hasCustomPrompt="1"/>
          </p:nvPr>
        </p:nvSpPr>
        <p:spPr>
          <a:xfrm>
            <a:off x="8950299" y="2451792"/>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3" name="Text Placeholder 20">
            <a:extLst>
              <a:ext uri="{FF2B5EF4-FFF2-40B4-BE49-F238E27FC236}">
                <a16:creationId xmlns:a16="http://schemas.microsoft.com/office/drawing/2014/main" id="{7AE9B17A-9DE8-3C9E-DDDC-CA860B6819B3}"/>
              </a:ext>
            </a:extLst>
          </p:cNvPr>
          <p:cNvSpPr>
            <a:spLocks noGrp="1"/>
          </p:cNvSpPr>
          <p:nvPr userDrawn="1">
            <p:ph type="body" sz="quarter" idx="28" hasCustomPrompt="1"/>
          </p:nvPr>
        </p:nvSpPr>
        <p:spPr>
          <a:xfrm>
            <a:off x="8950299" y="1471054"/>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25" name="Rectangle 24">
            <a:extLst>
              <a:ext uri="{FF2B5EF4-FFF2-40B4-BE49-F238E27FC236}">
                <a16:creationId xmlns:a16="http://schemas.microsoft.com/office/drawing/2014/main" id="{771DEEDC-8187-24ED-7E42-DAF4D52C68F0}"/>
              </a:ext>
            </a:extLst>
          </p:cNvPr>
          <p:cNvSpPr/>
          <p:nvPr userDrawn="1"/>
        </p:nvSpPr>
        <p:spPr>
          <a:xfrm>
            <a:off x="741777" y="4673718"/>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7" name="Straight Connector 26">
            <a:extLst>
              <a:ext uri="{FF2B5EF4-FFF2-40B4-BE49-F238E27FC236}">
                <a16:creationId xmlns:a16="http://schemas.microsoft.com/office/drawing/2014/main" id="{6FEC3663-E96C-EB19-6441-42F6D2DC96EB}"/>
              </a:ext>
            </a:extLst>
          </p:cNvPr>
          <p:cNvCxnSpPr>
            <a:cxnSpLocks/>
          </p:cNvCxnSpPr>
          <p:nvPr userDrawn="1"/>
        </p:nvCxnSpPr>
        <p:spPr>
          <a:xfrm>
            <a:off x="741777" y="4660605"/>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29" name="Text Placeholder 20">
            <a:extLst>
              <a:ext uri="{FF2B5EF4-FFF2-40B4-BE49-F238E27FC236}">
                <a16:creationId xmlns:a16="http://schemas.microsoft.com/office/drawing/2014/main" id="{213A7298-F970-E6B0-83A2-28DA87BFD348}"/>
              </a:ext>
            </a:extLst>
          </p:cNvPr>
          <p:cNvSpPr>
            <a:spLocks noGrp="1"/>
          </p:cNvSpPr>
          <p:nvPr>
            <p:ph type="body" sz="quarter" idx="29" hasCustomPrompt="1"/>
          </p:nvPr>
        </p:nvSpPr>
        <p:spPr>
          <a:xfrm>
            <a:off x="916647" y="4830741"/>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0" name="Text Placeholder 20">
            <a:extLst>
              <a:ext uri="{FF2B5EF4-FFF2-40B4-BE49-F238E27FC236}">
                <a16:creationId xmlns:a16="http://schemas.microsoft.com/office/drawing/2014/main" id="{14C5DD45-1491-CE4C-68D4-8537C20243BA}"/>
              </a:ext>
            </a:extLst>
          </p:cNvPr>
          <p:cNvSpPr>
            <a:spLocks noGrp="1"/>
          </p:cNvSpPr>
          <p:nvPr>
            <p:ph type="body" sz="quarter" idx="30" hasCustomPrompt="1"/>
          </p:nvPr>
        </p:nvSpPr>
        <p:spPr>
          <a:xfrm>
            <a:off x="916647" y="3850003"/>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1" name="Rectangle 30">
            <a:extLst>
              <a:ext uri="{FF2B5EF4-FFF2-40B4-BE49-F238E27FC236}">
                <a16:creationId xmlns:a16="http://schemas.microsoft.com/office/drawing/2014/main" id="{64127DA2-9D94-3342-77FA-829E376A2AAB}"/>
              </a:ext>
            </a:extLst>
          </p:cNvPr>
          <p:cNvSpPr/>
          <p:nvPr userDrawn="1"/>
        </p:nvSpPr>
        <p:spPr>
          <a:xfrm>
            <a:off x="3419661" y="4673718"/>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2" name="Straight Connector 31">
            <a:extLst>
              <a:ext uri="{FF2B5EF4-FFF2-40B4-BE49-F238E27FC236}">
                <a16:creationId xmlns:a16="http://schemas.microsoft.com/office/drawing/2014/main" id="{94459CC2-233A-3DEB-79C8-F3938E2874EA}"/>
              </a:ext>
            </a:extLst>
          </p:cNvPr>
          <p:cNvCxnSpPr>
            <a:cxnSpLocks/>
          </p:cNvCxnSpPr>
          <p:nvPr userDrawn="1"/>
        </p:nvCxnSpPr>
        <p:spPr>
          <a:xfrm>
            <a:off x="3419661" y="4660605"/>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33" name="Text Placeholder 20">
            <a:extLst>
              <a:ext uri="{FF2B5EF4-FFF2-40B4-BE49-F238E27FC236}">
                <a16:creationId xmlns:a16="http://schemas.microsoft.com/office/drawing/2014/main" id="{0CF42145-CC43-0481-2346-A89427045E01}"/>
              </a:ext>
            </a:extLst>
          </p:cNvPr>
          <p:cNvSpPr>
            <a:spLocks noGrp="1"/>
          </p:cNvSpPr>
          <p:nvPr>
            <p:ph type="body" sz="quarter" idx="31" hasCustomPrompt="1"/>
          </p:nvPr>
        </p:nvSpPr>
        <p:spPr>
          <a:xfrm>
            <a:off x="3594531" y="4830741"/>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4" name="Text Placeholder 20">
            <a:extLst>
              <a:ext uri="{FF2B5EF4-FFF2-40B4-BE49-F238E27FC236}">
                <a16:creationId xmlns:a16="http://schemas.microsoft.com/office/drawing/2014/main" id="{769DBB9D-40B5-FDB7-C647-56DDDA0858C3}"/>
              </a:ext>
            </a:extLst>
          </p:cNvPr>
          <p:cNvSpPr>
            <a:spLocks noGrp="1"/>
          </p:cNvSpPr>
          <p:nvPr>
            <p:ph type="body" sz="quarter" idx="32" hasCustomPrompt="1"/>
          </p:nvPr>
        </p:nvSpPr>
        <p:spPr>
          <a:xfrm>
            <a:off x="3594531" y="3850003"/>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5" name="Rectangle 34">
            <a:extLst>
              <a:ext uri="{FF2B5EF4-FFF2-40B4-BE49-F238E27FC236}">
                <a16:creationId xmlns:a16="http://schemas.microsoft.com/office/drawing/2014/main" id="{54BCF977-5C7F-3DF5-226C-277F16D4A6FF}"/>
              </a:ext>
            </a:extLst>
          </p:cNvPr>
          <p:cNvSpPr/>
          <p:nvPr userDrawn="1"/>
        </p:nvSpPr>
        <p:spPr>
          <a:xfrm>
            <a:off x="6097545" y="4673718"/>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7" name="Straight Connector 36">
            <a:extLst>
              <a:ext uri="{FF2B5EF4-FFF2-40B4-BE49-F238E27FC236}">
                <a16:creationId xmlns:a16="http://schemas.microsoft.com/office/drawing/2014/main" id="{61D22BE9-B0C4-9A41-C5B2-58F43FE7CDAA}"/>
              </a:ext>
            </a:extLst>
          </p:cNvPr>
          <p:cNvCxnSpPr>
            <a:cxnSpLocks/>
          </p:cNvCxnSpPr>
          <p:nvPr userDrawn="1"/>
        </p:nvCxnSpPr>
        <p:spPr>
          <a:xfrm>
            <a:off x="6097545" y="4660605"/>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48" name="Text Placeholder 20">
            <a:extLst>
              <a:ext uri="{FF2B5EF4-FFF2-40B4-BE49-F238E27FC236}">
                <a16:creationId xmlns:a16="http://schemas.microsoft.com/office/drawing/2014/main" id="{31A2F491-F043-7829-889E-CC01ADD3DF5F}"/>
              </a:ext>
            </a:extLst>
          </p:cNvPr>
          <p:cNvSpPr>
            <a:spLocks noGrp="1"/>
          </p:cNvSpPr>
          <p:nvPr>
            <p:ph type="body" sz="quarter" idx="33" hasCustomPrompt="1"/>
          </p:nvPr>
        </p:nvSpPr>
        <p:spPr>
          <a:xfrm>
            <a:off x="6272415" y="4830741"/>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4" name="Text Placeholder 20">
            <a:extLst>
              <a:ext uri="{FF2B5EF4-FFF2-40B4-BE49-F238E27FC236}">
                <a16:creationId xmlns:a16="http://schemas.microsoft.com/office/drawing/2014/main" id="{450FF938-86F3-41D1-C772-3BB3B837341F}"/>
              </a:ext>
            </a:extLst>
          </p:cNvPr>
          <p:cNvSpPr>
            <a:spLocks noGrp="1"/>
          </p:cNvSpPr>
          <p:nvPr>
            <p:ph type="body" sz="quarter" idx="34" hasCustomPrompt="1"/>
          </p:nvPr>
        </p:nvSpPr>
        <p:spPr>
          <a:xfrm>
            <a:off x="6272415" y="3850003"/>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5" name="Rectangle 54">
            <a:extLst>
              <a:ext uri="{FF2B5EF4-FFF2-40B4-BE49-F238E27FC236}">
                <a16:creationId xmlns:a16="http://schemas.microsoft.com/office/drawing/2014/main" id="{F8392C24-170F-C3C9-8554-7D2FF1E002D9}"/>
              </a:ext>
            </a:extLst>
          </p:cNvPr>
          <p:cNvSpPr/>
          <p:nvPr userDrawn="1"/>
        </p:nvSpPr>
        <p:spPr>
          <a:xfrm>
            <a:off x="8775429" y="4673718"/>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56" name="Straight Connector 55">
            <a:extLst>
              <a:ext uri="{FF2B5EF4-FFF2-40B4-BE49-F238E27FC236}">
                <a16:creationId xmlns:a16="http://schemas.microsoft.com/office/drawing/2014/main" id="{9B9E750F-A21C-FCB9-4EFC-7BEA8BFE35C0}"/>
              </a:ext>
            </a:extLst>
          </p:cNvPr>
          <p:cNvCxnSpPr>
            <a:cxnSpLocks/>
          </p:cNvCxnSpPr>
          <p:nvPr userDrawn="1"/>
        </p:nvCxnSpPr>
        <p:spPr>
          <a:xfrm>
            <a:off x="8775429" y="4660605"/>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57" name="Text Placeholder 20">
            <a:extLst>
              <a:ext uri="{FF2B5EF4-FFF2-40B4-BE49-F238E27FC236}">
                <a16:creationId xmlns:a16="http://schemas.microsoft.com/office/drawing/2014/main" id="{DB2B63C6-9F13-A41E-F5D4-B1F419019F2E}"/>
              </a:ext>
            </a:extLst>
          </p:cNvPr>
          <p:cNvSpPr>
            <a:spLocks noGrp="1"/>
          </p:cNvSpPr>
          <p:nvPr>
            <p:ph type="body" sz="quarter" idx="35" hasCustomPrompt="1"/>
          </p:nvPr>
        </p:nvSpPr>
        <p:spPr>
          <a:xfrm>
            <a:off x="8950299" y="4830741"/>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8" name="Text Placeholder 20">
            <a:extLst>
              <a:ext uri="{FF2B5EF4-FFF2-40B4-BE49-F238E27FC236}">
                <a16:creationId xmlns:a16="http://schemas.microsoft.com/office/drawing/2014/main" id="{A121C4C7-0C16-A825-2C55-2F10B1BA2063}"/>
              </a:ext>
            </a:extLst>
          </p:cNvPr>
          <p:cNvSpPr>
            <a:spLocks noGrp="1"/>
          </p:cNvSpPr>
          <p:nvPr>
            <p:ph type="body" sz="quarter" idx="36" hasCustomPrompt="1"/>
          </p:nvPr>
        </p:nvSpPr>
        <p:spPr>
          <a:xfrm>
            <a:off x="8950299" y="3850003"/>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9" name="Title 1">
            <a:extLst>
              <a:ext uri="{FF2B5EF4-FFF2-40B4-BE49-F238E27FC236}">
                <a16:creationId xmlns:a16="http://schemas.microsoft.com/office/drawing/2014/main" id="{9B587442-3116-C0A0-18F9-7A897267D819}"/>
              </a:ext>
            </a:extLst>
          </p:cNvPr>
          <p:cNvSpPr>
            <a:spLocks noGrp="1"/>
          </p:cNvSpPr>
          <p:nvPr>
            <p:ph type="title" hasCustomPrompt="1"/>
          </p:nvPr>
        </p:nvSpPr>
        <p:spPr>
          <a:xfrm>
            <a:off x="741777" y="365126"/>
            <a:ext cx="10671895" cy="99368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42" name="Bilde 3">
            <a:extLst>
              <a:ext uri="{FF2B5EF4-FFF2-40B4-BE49-F238E27FC236}">
                <a16:creationId xmlns:a16="http://schemas.microsoft.com/office/drawing/2014/main" id="{1E180836-C789-8619-DB8A-CE3F0915A7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47" name="Date Placeholder 2">
            <a:extLst>
              <a:ext uri="{FF2B5EF4-FFF2-40B4-BE49-F238E27FC236}">
                <a16:creationId xmlns:a16="http://schemas.microsoft.com/office/drawing/2014/main" id="{40EC078F-DB36-1601-92FF-770899727D07}"/>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60" name="Footer Placeholder 3">
            <a:extLst>
              <a:ext uri="{FF2B5EF4-FFF2-40B4-BE49-F238E27FC236}">
                <a16:creationId xmlns:a16="http://schemas.microsoft.com/office/drawing/2014/main" id="{39F40227-679D-0B79-92F0-5999FCFA70E5}"/>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61" name="Slide Number Placeholder 4">
            <a:extLst>
              <a:ext uri="{FF2B5EF4-FFF2-40B4-BE49-F238E27FC236}">
                <a16:creationId xmlns:a16="http://schemas.microsoft.com/office/drawing/2014/main" id="{29A40919-D39A-66B3-F03F-0EBE8A9FA2A3}"/>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40344413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71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8" name="Title 1">
            <a:extLst>
              <a:ext uri="{FF2B5EF4-FFF2-40B4-BE49-F238E27FC236}">
                <a16:creationId xmlns:a16="http://schemas.microsoft.com/office/drawing/2014/main" id="{24C98934-0BC0-6144-9BC0-31616D8C2519}"/>
              </a:ext>
            </a:extLst>
          </p:cNvPr>
          <p:cNvSpPr>
            <a:spLocks noGrp="1"/>
          </p:cNvSpPr>
          <p:nvPr>
            <p:ph type="title" hasCustomPrompt="1"/>
          </p:nvPr>
        </p:nvSpPr>
        <p:spPr>
          <a:xfrm>
            <a:off x="741777" y="365126"/>
            <a:ext cx="10671895" cy="1036620"/>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0" name="Bilde 3">
            <a:extLst>
              <a:ext uri="{FF2B5EF4-FFF2-40B4-BE49-F238E27FC236}">
                <a16:creationId xmlns:a16="http://schemas.microsoft.com/office/drawing/2014/main" id="{8F41D518-6784-585C-BEDA-150EF2A499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1" name="Text Placeholder 20">
            <a:extLst>
              <a:ext uri="{FF2B5EF4-FFF2-40B4-BE49-F238E27FC236}">
                <a16:creationId xmlns:a16="http://schemas.microsoft.com/office/drawing/2014/main" id="{0D31FB67-27C8-9D49-44F1-EDEDC8A9FD23}"/>
              </a:ext>
            </a:extLst>
          </p:cNvPr>
          <p:cNvSpPr>
            <a:spLocks noGrp="1"/>
          </p:cNvSpPr>
          <p:nvPr>
            <p:ph type="body" sz="quarter" idx="22" hasCustomPrompt="1"/>
          </p:nvPr>
        </p:nvSpPr>
        <p:spPr>
          <a:xfrm>
            <a:off x="731837" y="1555199"/>
            <a:ext cx="10559013" cy="314610"/>
          </a:xfrm>
          <a:prstGeom prst="rect">
            <a:avLst/>
          </a:prstGeom>
        </p:spPr>
        <p:txBody>
          <a:bodyPr anchor="t">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2" name="Text Placeholder 20">
            <a:extLst>
              <a:ext uri="{FF2B5EF4-FFF2-40B4-BE49-F238E27FC236}">
                <a16:creationId xmlns:a16="http://schemas.microsoft.com/office/drawing/2014/main" id="{69679182-FAE3-13C5-B33C-B5EB0EE5763E}"/>
              </a:ext>
            </a:extLst>
          </p:cNvPr>
          <p:cNvSpPr>
            <a:spLocks noGrp="1"/>
          </p:cNvSpPr>
          <p:nvPr>
            <p:ph type="body" sz="quarter" idx="15" hasCustomPrompt="1"/>
          </p:nvPr>
        </p:nvSpPr>
        <p:spPr>
          <a:xfrm>
            <a:off x="741776" y="2017226"/>
            <a:ext cx="10549075" cy="4035704"/>
          </a:xfrm>
          <a:prstGeom prst="rect">
            <a:avLst/>
          </a:prstGeom>
        </p:spPr>
        <p:txBody>
          <a:bodyPr anchor="t">
            <a:noAutofit/>
          </a:bodyPr>
          <a:lstStyle>
            <a:lvl1pPr marL="0" indent="0">
              <a:buNone/>
              <a:defRPr sz="12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3" name="Date Placeholder 2">
            <a:extLst>
              <a:ext uri="{FF2B5EF4-FFF2-40B4-BE49-F238E27FC236}">
                <a16:creationId xmlns:a16="http://schemas.microsoft.com/office/drawing/2014/main" id="{DD2C5759-92AC-9F4E-F31D-6058BE479403}"/>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14" name="Footer Placeholder 3">
            <a:extLst>
              <a:ext uri="{FF2B5EF4-FFF2-40B4-BE49-F238E27FC236}">
                <a16:creationId xmlns:a16="http://schemas.microsoft.com/office/drawing/2014/main" id="{B9BAD17B-B40E-C4E1-1CDA-75F73720EFCA}"/>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15" name="Slide Number Placeholder 4">
            <a:extLst>
              <a:ext uri="{FF2B5EF4-FFF2-40B4-BE49-F238E27FC236}">
                <a16:creationId xmlns:a16="http://schemas.microsoft.com/office/drawing/2014/main" id="{4FE82372-A133-AD73-D04A-C2CFD2C25714}"/>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629669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guide id="2" pos="6607">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70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6" name="Title 1">
            <a:extLst>
              <a:ext uri="{FF2B5EF4-FFF2-40B4-BE49-F238E27FC236}">
                <a16:creationId xmlns:a16="http://schemas.microsoft.com/office/drawing/2014/main" id="{B4A3ECC9-8F4D-E101-59A0-077077FE57B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8" name="Bilde 3">
            <a:extLst>
              <a:ext uri="{FF2B5EF4-FFF2-40B4-BE49-F238E27FC236}">
                <a16:creationId xmlns:a16="http://schemas.microsoft.com/office/drawing/2014/main" id="{3420C06F-BD3E-F705-FE57-5A3BA80667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9" name="Date Placeholder 2">
            <a:extLst>
              <a:ext uri="{FF2B5EF4-FFF2-40B4-BE49-F238E27FC236}">
                <a16:creationId xmlns:a16="http://schemas.microsoft.com/office/drawing/2014/main" id="{3715DC52-4B33-BE62-CDE3-71452BD46731}"/>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10" name="Footer Placeholder 3">
            <a:extLst>
              <a:ext uri="{FF2B5EF4-FFF2-40B4-BE49-F238E27FC236}">
                <a16:creationId xmlns:a16="http://schemas.microsoft.com/office/drawing/2014/main" id="{1C77C9C1-3D73-870B-D81D-B51E5E3A470C}"/>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11" name="Slide Number Placeholder 4">
            <a:extLst>
              <a:ext uri="{FF2B5EF4-FFF2-40B4-BE49-F238E27FC236}">
                <a16:creationId xmlns:a16="http://schemas.microsoft.com/office/drawing/2014/main" id="{67F64C78-F787-DDB6-45BD-07EC8DE8E7D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1344444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guide id="2" pos="6607">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69_Custom Layout">
    <p:bg>
      <p:bgPr>
        <a:solidFill>
          <a:schemeClr val="accent3"/>
        </a:solidFill>
        <a:effectLst/>
      </p:bgPr>
    </p:bg>
    <p:spTree>
      <p:nvGrpSpPr>
        <p:cNvPr id="1" name=""/>
        <p:cNvGrpSpPr/>
        <p:nvPr/>
      </p:nvGrpSpPr>
      <p:grpSpPr>
        <a:xfrm>
          <a:off x="0" y="0"/>
          <a:ext cx="0" cy="0"/>
          <a:chOff x="0" y="0"/>
          <a:chExt cx="0" cy="0"/>
        </a:xfrm>
      </p:grpSpPr>
      <p:pic>
        <p:nvPicPr>
          <p:cNvPr id="23" name="Bilde 3">
            <a:extLst>
              <a:ext uri="{FF2B5EF4-FFF2-40B4-BE49-F238E27FC236}">
                <a16:creationId xmlns:a16="http://schemas.microsoft.com/office/drawing/2014/main" id="{D00E2AFF-DEA5-0D40-A283-8310B81ED59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6" name="Title 1">
            <a:extLst>
              <a:ext uri="{FF2B5EF4-FFF2-40B4-BE49-F238E27FC236}">
                <a16:creationId xmlns:a16="http://schemas.microsoft.com/office/drawing/2014/main" id="{B4A3ECC9-8F4D-E101-59A0-077077FE57B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bg1"/>
                </a:solidFill>
                <a:latin typeface="Helvetica Light" panose="020B0403020202020204" pitchFamily="34" charset="0"/>
              </a:defRPr>
            </a:lvl1pPr>
          </a:lstStyle>
          <a:p>
            <a:r>
              <a:rPr lang="en-GB"/>
              <a:t>Slide title here</a:t>
            </a:r>
            <a:endParaRPr lang="en-US"/>
          </a:p>
        </p:txBody>
      </p:sp>
      <p:cxnSp>
        <p:nvCxnSpPr>
          <p:cNvPr id="7" name="Straight Connector 6">
            <a:extLst>
              <a:ext uri="{FF2B5EF4-FFF2-40B4-BE49-F238E27FC236}">
                <a16:creationId xmlns:a16="http://schemas.microsoft.com/office/drawing/2014/main" id="{795D36FA-32FE-D914-4600-645D7F8B4F09}"/>
              </a:ext>
            </a:extLst>
          </p:cNvPr>
          <p:cNvCxnSpPr>
            <a:cxnSpLocks/>
          </p:cNvCxnSpPr>
          <p:nvPr userDrawn="1"/>
        </p:nvCxnSpPr>
        <p:spPr>
          <a:xfrm>
            <a:off x="259644" y="6415094"/>
            <a:ext cx="1165729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Date Placeholder 2">
            <a:extLst>
              <a:ext uri="{FF2B5EF4-FFF2-40B4-BE49-F238E27FC236}">
                <a16:creationId xmlns:a16="http://schemas.microsoft.com/office/drawing/2014/main" id="{215FB111-AAF3-6032-3C9E-731E726A2869}"/>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12" name="Footer Placeholder 3">
            <a:extLst>
              <a:ext uri="{FF2B5EF4-FFF2-40B4-BE49-F238E27FC236}">
                <a16:creationId xmlns:a16="http://schemas.microsoft.com/office/drawing/2014/main" id="{C9CF8A18-7C8B-000D-F346-39DC81A61DB3}"/>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13" name="Slide Number Placeholder 4">
            <a:extLst>
              <a:ext uri="{FF2B5EF4-FFF2-40B4-BE49-F238E27FC236}">
                <a16:creationId xmlns:a16="http://schemas.microsoft.com/office/drawing/2014/main" id="{E583F702-8D79-7A26-D8A6-4AA71B0DFC52}"/>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1340071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guide id="2" pos="6607">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grpSp>
        <p:nvGrpSpPr>
          <p:cNvPr id="19" name="Group 18">
            <a:extLst>
              <a:ext uri="{FF2B5EF4-FFF2-40B4-BE49-F238E27FC236}">
                <a16:creationId xmlns:a16="http://schemas.microsoft.com/office/drawing/2014/main" id="{B2E54100-83F6-3840-9740-66AEE324BF5D}"/>
              </a:ext>
            </a:extLst>
          </p:cNvPr>
          <p:cNvGrpSpPr/>
          <p:nvPr/>
        </p:nvGrpSpPr>
        <p:grpSpPr>
          <a:xfrm>
            <a:off x="1187723" y="1964633"/>
            <a:ext cx="9298521" cy="1070771"/>
            <a:chOff x="558331" y="2312872"/>
            <a:chExt cx="9298521" cy="756000"/>
          </a:xfrm>
        </p:grpSpPr>
        <p:sp>
          <p:nvSpPr>
            <p:cNvPr id="20" name="Rectangle 19">
              <a:extLst>
                <a:ext uri="{FF2B5EF4-FFF2-40B4-BE49-F238E27FC236}">
                  <a16:creationId xmlns:a16="http://schemas.microsoft.com/office/drawing/2014/main" id="{68E4597E-D37D-6D49-A946-1A166440BD7E}"/>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1273524" y="2040887"/>
            <a:ext cx="8988074" cy="942012"/>
          </a:xfrm>
          <a:prstGeom prst="rect">
            <a:avLst/>
          </a:prstGeom>
        </p:spPr>
        <p:txBody>
          <a:bodyPr anchor="ctr">
            <a:noAutofit/>
          </a:bodyPr>
          <a:lstStyle>
            <a:lvl1pPr>
              <a:defRPr sz="16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33" name="Group 32">
            <a:extLst>
              <a:ext uri="{FF2B5EF4-FFF2-40B4-BE49-F238E27FC236}">
                <a16:creationId xmlns:a16="http://schemas.microsoft.com/office/drawing/2014/main" id="{8CF6493A-85E1-3947-8DFF-8992C3EB5575}"/>
              </a:ext>
            </a:extLst>
          </p:cNvPr>
          <p:cNvGrpSpPr/>
          <p:nvPr/>
        </p:nvGrpSpPr>
        <p:grpSpPr>
          <a:xfrm>
            <a:off x="1187723" y="3221669"/>
            <a:ext cx="9298521" cy="1070771"/>
            <a:chOff x="558331" y="2312872"/>
            <a:chExt cx="9298521" cy="756000"/>
          </a:xfrm>
        </p:grpSpPr>
        <p:sp>
          <p:nvSpPr>
            <p:cNvPr id="34" name="Rectangle 33">
              <a:extLst>
                <a:ext uri="{FF2B5EF4-FFF2-40B4-BE49-F238E27FC236}">
                  <a16:creationId xmlns:a16="http://schemas.microsoft.com/office/drawing/2014/main" id="{5E8ECC9D-C46B-2A4B-BE5F-C9E1BCA7AAB3}"/>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5" name="Straight Connector 34">
              <a:extLst>
                <a:ext uri="{FF2B5EF4-FFF2-40B4-BE49-F238E27FC236}">
                  <a16:creationId xmlns:a16="http://schemas.microsoft.com/office/drawing/2014/main" id="{43F1115C-F8E4-1A46-B855-3890FC0AD164}"/>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9" name="Text Placeholder 20">
            <a:extLst>
              <a:ext uri="{FF2B5EF4-FFF2-40B4-BE49-F238E27FC236}">
                <a16:creationId xmlns:a16="http://schemas.microsoft.com/office/drawing/2014/main" id="{8AA3BD84-2566-4A4F-935C-DC90EF27B068}"/>
              </a:ext>
            </a:extLst>
          </p:cNvPr>
          <p:cNvSpPr>
            <a:spLocks noGrp="1"/>
          </p:cNvSpPr>
          <p:nvPr>
            <p:ph type="body" sz="quarter" idx="16" hasCustomPrompt="1"/>
          </p:nvPr>
        </p:nvSpPr>
        <p:spPr>
          <a:xfrm>
            <a:off x="1273524" y="3297923"/>
            <a:ext cx="8988074" cy="942012"/>
          </a:xfrm>
          <a:prstGeom prst="rect">
            <a:avLst/>
          </a:prstGeom>
        </p:spPr>
        <p:txBody>
          <a:bodyPr anchor="ctr">
            <a:noAutofit/>
          </a:bodyPr>
          <a:lstStyle>
            <a:lvl1pPr>
              <a:defRPr sz="16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40" name="Group 39">
            <a:extLst>
              <a:ext uri="{FF2B5EF4-FFF2-40B4-BE49-F238E27FC236}">
                <a16:creationId xmlns:a16="http://schemas.microsoft.com/office/drawing/2014/main" id="{988AB194-4E6C-E643-89BB-F483B519222E}"/>
              </a:ext>
            </a:extLst>
          </p:cNvPr>
          <p:cNvGrpSpPr/>
          <p:nvPr/>
        </p:nvGrpSpPr>
        <p:grpSpPr>
          <a:xfrm>
            <a:off x="1187723" y="4476771"/>
            <a:ext cx="9298521" cy="1070771"/>
            <a:chOff x="558331" y="2312872"/>
            <a:chExt cx="9298521" cy="756000"/>
          </a:xfrm>
        </p:grpSpPr>
        <p:sp>
          <p:nvSpPr>
            <p:cNvPr id="41" name="Rectangle 40">
              <a:extLst>
                <a:ext uri="{FF2B5EF4-FFF2-40B4-BE49-F238E27FC236}">
                  <a16:creationId xmlns:a16="http://schemas.microsoft.com/office/drawing/2014/main" id="{7B794547-A81B-B146-9F79-83EF1310EF3B}"/>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2" name="Straight Connector 41">
              <a:extLst>
                <a:ext uri="{FF2B5EF4-FFF2-40B4-BE49-F238E27FC236}">
                  <a16:creationId xmlns:a16="http://schemas.microsoft.com/office/drawing/2014/main" id="{1281F5AA-DC43-4A4F-9B6D-F2524A03C140}"/>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4" name="Text Placeholder 20">
            <a:extLst>
              <a:ext uri="{FF2B5EF4-FFF2-40B4-BE49-F238E27FC236}">
                <a16:creationId xmlns:a16="http://schemas.microsoft.com/office/drawing/2014/main" id="{BFEE6F6E-0ACE-CB4C-AE62-AD392FEF8D6B}"/>
              </a:ext>
            </a:extLst>
          </p:cNvPr>
          <p:cNvSpPr>
            <a:spLocks noGrp="1"/>
          </p:cNvSpPr>
          <p:nvPr>
            <p:ph type="body" sz="quarter" idx="17" hasCustomPrompt="1"/>
          </p:nvPr>
        </p:nvSpPr>
        <p:spPr>
          <a:xfrm>
            <a:off x="1273524" y="4553025"/>
            <a:ext cx="8988074" cy="942012"/>
          </a:xfrm>
          <a:prstGeom prst="rect">
            <a:avLst/>
          </a:prstGeom>
        </p:spPr>
        <p:txBody>
          <a:bodyPr anchor="ctr">
            <a:noAutofit/>
          </a:bodyPr>
          <a:lstStyle>
            <a:lvl1pPr>
              <a:defRPr sz="16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itle 1">
            <a:extLst>
              <a:ext uri="{FF2B5EF4-FFF2-40B4-BE49-F238E27FC236}">
                <a16:creationId xmlns:a16="http://schemas.microsoft.com/office/drawing/2014/main" id="{5A8ED574-45A5-BA5F-83D9-501C74743261}"/>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4" name="Bilde 3">
            <a:extLst>
              <a:ext uri="{FF2B5EF4-FFF2-40B4-BE49-F238E27FC236}">
                <a16:creationId xmlns:a16="http://schemas.microsoft.com/office/drawing/2014/main" id="{A611CCAD-80C3-06B4-705B-1B5115DACC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F9946F15-B6F1-AD65-1F0F-84F361170B27}"/>
              </a:ext>
            </a:extLst>
          </p:cNvPr>
          <p:cNvSpPr>
            <a:spLocks noGrp="1"/>
          </p:cNvSpPr>
          <p:nvPr>
            <p:ph type="dt" sz="half" idx="18"/>
          </p:nvPr>
        </p:nvSpPr>
        <p:spPr>
          <a:xfrm>
            <a:off x="2303627" y="6492875"/>
            <a:ext cx="528585" cy="365125"/>
          </a:xfrm>
        </p:spPr>
        <p:txBody>
          <a:bodyPr/>
          <a:lstStyle/>
          <a:p>
            <a:fld id="{89EBDBA3-ED9C-5441-A1EE-6DCE277531F5}" type="datetimeFigureOut">
              <a:rPr lang="en-US" smtClean="0"/>
              <a:pPr/>
              <a:t>8/20/2024</a:t>
            </a:fld>
            <a:endParaRPr lang="en-US"/>
          </a:p>
        </p:txBody>
      </p:sp>
      <p:sp>
        <p:nvSpPr>
          <p:cNvPr id="25" name="Footer Placeholder 3">
            <a:extLst>
              <a:ext uri="{FF2B5EF4-FFF2-40B4-BE49-F238E27FC236}">
                <a16:creationId xmlns:a16="http://schemas.microsoft.com/office/drawing/2014/main" id="{D3677154-2D1D-755A-7A98-B9A188F49124}"/>
              </a:ext>
            </a:extLst>
          </p:cNvPr>
          <p:cNvSpPr>
            <a:spLocks noGrp="1"/>
          </p:cNvSpPr>
          <p:nvPr>
            <p:ph type="ftr" sz="quarter" idx="19"/>
          </p:nvPr>
        </p:nvSpPr>
        <p:spPr>
          <a:xfrm>
            <a:off x="175116" y="6492875"/>
            <a:ext cx="2107096" cy="365125"/>
          </a:xfrm>
        </p:spPr>
        <p:txBody>
          <a:bodyPr/>
          <a:lstStyle/>
          <a:p>
            <a:r>
              <a:rPr lang="en-US"/>
              <a:t>© </a:t>
            </a:r>
            <a:r>
              <a:rPr lang="en-US" err="1"/>
              <a:t>StrongPoint</a:t>
            </a:r>
            <a:r>
              <a:rPr lang="en-US"/>
              <a:t> 2022. All rights reserved.   |</a:t>
            </a:r>
          </a:p>
        </p:txBody>
      </p:sp>
      <p:sp>
        <p:nvSpPr>
          <p:cNvPr id="26" name="Slide Number Placeholder 4">
            <a:extLst>
              <a:ext uri="{FF2B5EF4-FFF2-40B4-BE49-F238E27FC236}">
                <a16:creationId xmlns:a16="http://schemas.microsoft.com/office/drawing/2014/main" id="{DC439C8F-6268-A04D-43C5-37B3E15F0B04}"/>
              </a:ext>
            </a:extLst>
          </p:cNvPr>
          <p:cNvSpPr>
            <a:spLocks noGrp="1"/>
          </p:cNvSpPr>
          <p:nvPr>
            <p:ph type="sldNum" sz="quarter" idx="20"/>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42387524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grpSp>
        <p:nvGrpSpPr>
          <p:cNvPr id="19" name="Group 18">
            <a:extLst>
              <a:ext uri="{FF2B5EF4-FFF2-40B4-BE49-F238E27FC236}">
                <a16:creationId xmlns:a16="http://schemas.microsoft.com/office/drawing/2014/main" id="{B2E54100-83F6-3840-9740-66AEE324BF5D}"/>
              </a:ext>
            </a:extLst>
          </p:cNvPr>
          <p:cNvGrpSpPr/>
          <p:nvPr/>
        </p:nvGrpSpPr>
        <p:grpSpPr>
          <a:xfrm>
            <a:off x="1187723" y="1869808"/>
            <a:ext cx="9298521" cy="863468"/>
            <a:chOff x="558331" y="2312872"/>
            <a:chExt cx="9298521" cy="756000"/>
          </a:xfrm>
        </p:grpSpPr>
        <p:sp>
          <p:nvSpPr>
            <p:cNvPr id="20" name="Rectangle 19">
              <a:extLst>
                <a:ext uri="{FF2B5EF4-FFF2-40B4-BE49-F238E27FC236}">
                  <a16:creationId xmlns:a16="http://schemas.microsoft.com/office/drawing/2014/main" id="{68E4597E-D37D-6D49-A946-1A166440BD7E}"/>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1273524" y="1946061"/>
            <a:ext cx="8988074"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17" name="Group 16">
            <a:extLst>
              <a:ext uri="{FF2B5EF4-FFF2-40B4-BE49-F238E27FC236}">
                <a16:creationId xmlns:a16="http://schemas.microsoft.com/office/drawing/2014/main" id="{3C27F867-309D-EA46-8C0F-93359D32C6CB}"/>
              </a:ext>
            </a:extLst>
          </p:cNvPr>
          <p:cNvGrpSpPr/>
          <p:nvPr/>
        </p:nvGrpSpPr>
        <p:grpSpPr>
          <a:xfrm>
            <a:off x="1187723" y="2835884"/>
            <a:ext cx="9298521" cy="863468"/>
            <a:chOff x="558331" y="2312872"/>
            <a:chExt cx="9298521" cy="756000"/>
          </a:xfrm>
        </p:grpSpPr>
        <p:sp>
          <p:nvSpPr>
            <p:cNvPr id="18" name="Rectangle 17">
              <a:extLst>
                <a:ext uri="{FF2B5EF4-FFF2-40B4-BE49-F238E27FC236}">
                  <a16:creationId xmlns:a16="http://schemas.microsoft.com/office/drawing/2014/main" id="{99E19D7A-E6A9-054C-AB01-00DB0026F10D}"/>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82A16F31-8845-CC4C-9AD4-2BC372F49F8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5" name="Text Placeholder 20">
            <a:extLst>
              <a:ext uri="{FF2B5EF4-FFF2-40B4-BE49-F238E27FC236}">
                <a16:creationId xmlns:a16="http://schemas.microsoft.com/office/drawing/2014/main" id="{FC0F6143-34C5-944F-BEB1-CDAB609C4E6E}"/>
              </a:ext>
            </a:extLst>
          </p:cNvPr>
          <p:cNvSpPr>
            <a:spLocks noGrp="1"/>
          </p:cNvSpPr>
          <p:nvPr>
            <p:ph type="body" sz="quarter" idx="16" hasCustomPrompt="1"/>
          </p:nvPr>
        </p:nvSpPr>
        <p:spPr>
          <a:xfrm>
            <a:off x="1273524" y="2912137"/>
            <a:ext cx="8988074"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26" name="Group 25">
            <a:extLst>
              <a:ext uri="{FF2B5EF4-FFF2-40B4-BE49-F238E27FC236}">
                <a16:creationId xmlns:a16="http://schemas.microsoft.com/office/drawing/2014/main" id="{B34B0E98-BDEB-A143-938B-9D5929ECC2A1}"/>
              </a:ext>
            </a:extLst>
          </p:cNvPr>
          <p:cNvGrpSpPr/>
          <p:nvPr/>
        </p:nvGrpSpPr>
        <p:grpSpPr>
          <a:xfrm>
            <a:off x="1187723" y="3801960"/>
            <a:ext cx="9298521" cy="863468"/>
            <a:chOff x="558331" y="2312872"/>
            <a:chExt cx="9298521" cy="756000"/>
          </a:xfrm>
        </p:grpSpPr>
        <p:sp>
          <p:nvSpPr>
            <p:cNvPr id="27" name="Rectangle 26">
              <a:extLst>
                <a:ext uri="{FF2B5EF4-FFF2-40B4-BE49-F238E27FC236}">
                  <a16:creationId xmlns:a16="http://schemas.microsoft.com/office/drawing/2014/main" id="{154CD58A-8677-9545-B209-DF3C50FFCE03}"/>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CDD90E82-23AD-3E41-AFF1-C14FF24768FB}"/>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9" name="Text Placeholder 20">
            <a:extLst>
              <a:ext uri="{FF2B5EF4-FFF2-40B4-BE49-F238E27FC236}">
                <a16:creationId xmlns:a16="http://schemas.microsoft.com/office/drawing/2014/main" id="{CBE9FA2F-6631-2348-B5E8-CB1404D78870}"/>
              </a:ext>
            </a:extLst>
          </p:cNvPr>
          <p:cNvSpPr>
            <a:spLocks noGrp="1"/>
          </p:cNvSpPr>
          <p:nvPr>
            <p:ph type="body" sz="quarter" idx="17" hasCustomPrompt="1"/>
          </p:nvPr>
        </p:nvSpPr>
        <p:spPr>
          <a:xfrm>
            <a:off x="1273524" y="3878213"/>
            <a:ext cx="8988074"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30" name="Group 29">
            <a:extLst>
              <a:ext uri="{FF2B5EF4-FFF2-40B4-BE49-F238E27FC236}">
                <a16:creationId xmlns:a16="http://schemas.microsoft.com/office/drawing/2014/main" id="{2FEE898A-C06A-E34F-A972-FD3103EE3129}"/>
              </a:ext>
            </a:extLst>
          </p:cNvPr>
          <p:cNvGrpSpPr/>
          <p:nvPr/>
        </p:nvGrpSpPr>
        <p:grpSpPr>
          <a:xfrm>
            <a:off x="1194774" y="4768036"/>
            <a:ext cx="9298521" cy="863468"/>
            <a:chOff x="558331" y="2312872"/>
            <a:chExt cx="9298521" cy="756000"/>
          </a:xfrm>
        </p:grpSpPr>
        <p:sp>
          <p:nvSpPr>
            <p:cNvPr id="31" name="Rectangle 30">
              <a:extLst>
                <a:ext uri="{FF2B5EF4-FFF2-40B4-BE49-F238E27FC236}">
                  <a16:creationId xmlns:a16="http://schemas.microsoft.com/office/drawing/2014/main" id="{DA81EE83-C4CA-464B-95C0-5BA7057E8005}"/>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Connector 35">
              <a:extLst>
                <a:ext uri="{FF2B5EF4-FFF2-40B4-BE49-F238E27FC236}">
                  <a16:creationId xmlns:a16="http://schemas.microsoft.com/office/drawing/2014/main" id="{30F7734C-D965-A94B-944D-9E59C1C659A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7" name="Text Placeholder 20">
            <a:extLst>
              <a:ext uri="{FF2B5EF4-FFF2-40B4-BE49-F238E27FC236}">
                <a16:creationId xmlns:a16="http://schemas.microsoft.com/office/drawing/2014/main" id="{2E0AC1D5-7922-AD4E-9F76-639646857156}"/>
              </a:ext>
            </a:extLst>
          </p:cNvPr>
          <p:cNvSpPr>
            <a:spLocks noGrp="1"/>
          </p:cNvSpPr>
          <p:nvPr>
            <p:ph type="body" sz="quarter" idx="18" hasCustomPrompt="1"/>
          </p:nvPr>
        </p:nvSpPr>
        <p:spPr>
          <a:xfrm>
            <a:off x="1280575" y="4844289"/>
            <a:ext cx="8988074"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4" name="Title 1">
            <a:extLst>
              <a:ext uri="{FF2B5EF4-FFF2-40B4-BE49-F238E27FC236}">
                <a16:creationId xmlns:a16="http://schemas.microsoft.com/office/drawing/2014/main" id="{3D98C387-A2A9-7ECF-B58A-43D17D41B545}"/>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33" name="Bilde 3">
            <a:extLst>
              <a:ext uri="{FF2B5EF4-FFF2-40B4-BE49-F238E27FC236}">
                <a16:creationId xmlns:a16="http://schemas.microsoft.com/office/drawing/2014/main" id="{5A493850-0919-73DC-4660-940F19B6928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5" name="Date Placeholder 2">
            <a:extLst>
              <a:ext uri="{FF2B5EF4-FFF2-40B4-BE49-F238E27FC236}">
                <a16:creationId xmlns:a16="http://schemas.microsoft.com/office/drawing/2014/main" id="{CD3C5EDB-8EF3-32E0-4CB6-0B791BC79CDC}"/>
              </a:ext>
            </a:extLst>
          </p:cNvPr>
          <p:cNvSpPr>
            <a:spLocks noGrp="1"/>
          </p:cNvSpPr>
          <p:nvPr>
            <p:ph type="dt" sz="half" idx="19"/>
          </p:nvPr>
        </p:nvSpPr>
        <p:spPr>
          <a:xfrm>
            <a:off x="2303627" y="6492875"/>
            <a:ext cx="528585" cy="365125"/>
          </a:xfrm>
        </p:spPr>
        <p:txBody>
          <a:bodyPr/>
          <a:lstStyle/>
          <a:p>
            <a:fld id="{89EBDBA3-ED9C-5441-A1EE-6DCE277531F5}" type="datetimeFigureOut">
              <a:rPr lang="en-US" smtClean="0"/>
              <a:pPr/>
              <a:t>8/20/2024</a:t>
            </a:fld>
            <a:endParaRPr lang="en-US"/>
          </a:p>
        </p:txBody>
      </p:sp>
      <p:sp>
        <p:nvSpPr>
          <p:cNvPr id="38" name="Footer Placeholder 3">
            <a:extLst>
              <a:ext uri="{FF2B5EF4-FFF2-40B4-BE49-F238E27FC236}">
                <a16:creationId xmlns:a16="http://schemas.microsoft.com/office/drawing/2014/main" id="{14E8C576-3009-3581-06ED-C2DA5B0955E0}"/>
              </a:ext>
            </a:extLst>
          </p:cNvPr>
          <p:cNvSpPr>
            <a:spLocks noGrp="1"/>
          </p:cNvSpPr>
          <p:nvPr>
            <p:ph type="ftr" sz="quarter" idx="20"/>
          </p:nvPr>
        </p:nvSpPr>
        <p:spPr>
          <a:xfrm>
            <a:off x="175116" y="6492875"/>
            <a:ext cx="2107096" cy="365125"/>
          </a:xfrm>
        </p:spPr>
        <p:txBody>
          <a:bodyPr/>
          <a:lstStyle/>
          <a:p>
            <a:r>
              <a:rPr lang="en-US"/>
              <a:t>© </a:t>
            </a:r>
            <a:r>
              <a:rPr lang="en-US" err="1"/>
              <a:t>StrongPoint</a:t>
            </a:r>
            <a:r>
              <a:rPr lang="en-US"/>
              <a:t> 2022. All rights reserved.   |</a:t>
            </a:r>
          </a:p>
        </p:txBody>
      </p:sp>
      <p:sp>
        <p:nvSpPr>
          <p:cNvPr id="39" name="Slide Number Placeholder 4">
            <a:extLst>
              <a:ext uri="{FF2B5EF4-FFF2-40B4-BE49-F238E27FC236}">
                <a16:creationId xmlns:a16="http://schemas.microsoft.com/office/drawing/2014/main" id="{BCCE60F8-4242-58AF-4166-CEDF8927560F}"/>
              </a:ext>
            </a:extLst>
          </p:cNvPr>
          <p:cNvSpPr>
            <a:spLocks noGrp="1"/>
          </p:cNvSpPr>
          <p:nvPr>
            <p:ph type="sldNum" sz="quarter" idx="21"/>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6081953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7" y="1980018"/>
            <a:ext cx="5629107" cy="37616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920607" y="2173414"/>
            <a:ext cx="5189583" cy="3418494"/>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cxnSp>
        <p:nvCxnSpPr>
          <p:cNvPr id="38" name="Straight Connector 37">
            <a:extLst>
              <a:ext uri="{FF2B5EF4-FFF2-40B4-BE49-F238E27FC236}">
                <a16:creationId xmlns:a16="http://schemas.microsoft.com/office/drawing/2014/main" id="{50BA0497-110B-3B4D-9B26-9615B579AE79}"/>
              </a:ext>
            </a:extLst>
          </p:cNvPr>
          <p:cNvCxnSpPr>
            <a:cxnSpLocks/>
          </p:cNvCxnSpPr>
          <p:nvPr/>
        </p:nvCxnSpPr>
        <p:spPr>
          <a:xfrm>
            <a:off x="6764797" y="1968295"/>
            <a:ext cx="0" cy="377341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C4E265A3-E59C-4BC7-CBFB-20219EE3DCE7}"/>
              </a:ext>
            </a:extLst>
          </p:cNvPr>
          <p:cNvSpPr>
            <a:spLocks noGrp="1"/>
          </p:cNvSpPr>
          <p:nvPr>
            <p:ph type="body" sz="quarter" idx="20"/>
          </p:nvPr>
        </p:nvSpPr>
        <p:spPr>
          <a:xfrm>
            <a:off x="6961306" y="2732861"/>
            <a:ext cx="4520840" cy="2859047"/>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Click to edit Master text styles</a:t>
            </a:r>
          </a:p>
        </p:txBody>
      </p:sp>
      <p:sp>
        <p:nvSpPr>
          <p:cNvPr id="39" name="Text Placeholder 20">
            <a:extLst>
              <a:ext uri="{FF2B5EF4-FFF2-40B4-BE49-F238E27FC236}">
                <a16:creationId xmlns:a16="http://schemas.microsoft.com/office/drawing/2014/main" id="{0620665D-BB66-4164-1374-A28DAD6902DA}"/>
              </a:ext>
            </a:extLst>
          </p:cNvPr>
          <p:cNvSpPr>
            <a:spLocks noGrp="1"/>
          </p:cNvSpPr>
          <p:nvPr>
            <p:ph type="body" sz="quarter" idx="28" hasCustomPrompt="1"/>
          </p:nvPr>
        </p:nvSpPr>
        <p:spPr>
          <a:xfrm>
            <a:off x="6961306" y="1986725"/>
            <a:ext cx="4520835" cy="629219"/>
          </a:xfrm>
          <a:prstGeom prst="rect">
            <a:avLst/>
          </a:prstGeom>
        </p:spPr>
        <p:txBody>
          <a:bodyPr anchor="t">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0" name="Title 1">
            <a:extLst>
              <a:ext uri="{FF2B5EF4-FFF2-40B4-BE49-F238E27FC236}">
                <a16:creationId xmlns:a16="http://schemas.microsoft.com/office/drawing/2014/main" id="{51F252D0-5EDA-7351-60DB-CC72A28D7A48}"/>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3" name="Bilde 3">
            <a:extLst>
              <a:ext uri="{FF2B5EF4-FFF2-40B4-BE49-F238E27FC236}">
                <a16:creationId xmlns:a16="http://schemas.microsoft.com/office/drawing/2014/main" id="{94408A45-5155-B048-3606-450C4DFB675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4" name="Date Placeholder 2">
            <a:extLst>
              <a:ext uri="{FF2B5EF4-FFF2-40B4-BE49-F238E27FC236}">
                <a16:creationId xmlns:a16="http://schemas.microsoft.com/office/drawing/2014/main" id="{3C9C0C90-AE8A-48F2-1EBA-7E27ACD7BA9F}"/>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15" name="Footer Placeholder 3">
            <a:extLst>
              <a:ext uri="{FF2B5EF4-FFF2-40B4-BE49-F238E27FC236}">
                <a16:creationId xmlns:a16="http://schemas.microsoft.com/office/drawing/2014/main" id="{E26AB59A-D5D9-39F1-D704-0AFB2691E90A}"/>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16" name="Slide Number Placeholder 4">
            <a:extLst>
              <a:ext uri="{FF2B5EF4-FFF2-40B4-BE49-F238E27FC236}">
                <a16:creationId xmlns:a16="http://schemas.microsoft.com/office/drawing/2014/main" id="{8FA05EBA-527C-CFCE-E5AE-2CA4589D5691}"/>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2713785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68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grpSp>
        <p:nvGrpSpPr>
          <p:cNvPr id="19" name="Group 18">
            <a:extLst>
              <a:ext uri="{FF2B5EF4-FFF2-40B4-BE49-F238E27FC236}">
                <a16:creationId xmlns:a16="http://schemas.microsoft.com/office/drawing/2014/main" id="{B2E54100-83F6-3840-9740-66AEE324BF5D}"/>
              </a:ext>
            </a:extLst>
          </p:cNvPr>
          <p:cNvGrpSpPr/>
          <p:nvPr/>
        </p:nvGrpSpPr>
        <p:grpSpPr>
          <a:xfrm>
            <a:off x="741777" y="1980018"/>
            <a:ext cx="5629107" cy="863468"/>
            <a:chOff x="558331" y="2312872"/>
            <a:chExt cx="9298521" cy="756000"/>
          </a:xfrm>
        </p:grpSpPr>
        <p:sp>
          <p:nvSpPr>
            <p:cNvPr id="20" name="Rectangle 19">
              <a:extLst>
                <a:ext uri="{FF2B5EF4-FFF2-40B4-BE49-F238E27FC236}">
                  <a16:creationId xmlns:a16="http://schemas.microsoft.com/office/drawing/2014/main" id="{68E4597E-D37D-6D49-A946-1A166440BD7E}"/>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7578" y="2056271"/>
            <a:ext cx="5189583"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grpSp>
        <p:nvGrpSpPr>
          <p:cNvPr id="17" name="Group 16">
            <a:extLst>
              <a:ext uri="{FF2B5EF4-FFF2-40B4-BE49-F238E27FC236}">
                <a16:creationId xmlns:a16="http://schemas.microsoft.com/office/drawing/2014/main" id="{3C27F867-309D-EA46-8C0F-93359D32C6CB}"/>
              </a:ext>
            </a:extLst>
          </p:cNvPr>
          <p:cNvGrpSpPr/>
          <p:nvPr/>
        </p:nvGrpSpPr>
        <p:grpSpPr>
          <a:xfrm>
            <a:off x="741777" y="2946094"/>
            <a:ext cx="5629107" cy="863468"/>
            <a:chOff x="558331" y="2312872"/>
            <a:chExt cx="9298521" cy="756000"/>
          </a:xfrm>
        </p:grpSpPr>
        <p:sp>
          <p:nvSpPr>
            <p:cNvPr id="18" name="Rectangle 17">
              <a:extLst>
                <a:ext uri="{FF2B5EF4-FFF2-40B4-BE49-F238E27FC236}">
                  <a16:creationId xmlns:a16="http://schemas.microsoft.com/office/drawing/2014/main" id="{99E19D7A-E6A9-054C-AB01-00DB0026F10D}"/>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82A16F31-8845-CC4C-9AD4-2BC372F49F8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5" name="Text Placeholder 20">
            <a:extLst>
              <a:ext uri="{FF2B5EF4-FFF2-40B4-BE49-F238E27FC236}">
                <a16:creationId xmlns:a16="http://schemas.microsoft.com/office/drawing/2014/main" id="{FC0F6143-34C5-944F-BEB1-CDAB609C4E6E}"/>
              </a:ext>
            </a:extLst>
          </p:cNvPr>
          <p:cNvSpPr>
            <a:spLocks noGrp="1"/>
          </p:cNvSpPr>
          <p:nvPr>
            <p:ph type="body" sz="quarter" idx="16" hasCustomPrompt="1"/>
          </p:nvPr>
        </p:nvSpPr>
        <p:spPr>
          <a:xfrm>
            <a:off x="827578" y="3022347"/>
            <a:ext cx="5189583" cy="710960"/>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grpSp>
        <p:nvGrpSpPr>
          <p:cNvPr id="26" name="Group 25">
            <a:extLst>
              <a:ext uri="{FF2B5EF4-FFF2-40B4-BE49-F238E27FC236}">
                <a16:creationId xmlns:a16="http://schemas.microsoft.com/office/drawing/2014/main" id="{B34B0E98-BDEB-A143-938B-9D5929ECC2A1}"/>
              </a:ext>
            </a:extLst>
          </p:cNvPr>
          <p:cNvGrpSpPr/>
          <p:nvPr/>
        </p:nvGrpSpPr>
        <p:grpSpPr>
          <a:xfrm>
            <a:off x="741777" y="3912170"/>
            <a:ext cx="5629107" cy="863468"/>
            <a:chOff x="558331" y="2312872"/>
            <a:chExt cx="9298521" cy="756000"/>
          </a:xfrm>
        </p:grpSpPr>
        <p:sp>
          <p:nvSpPr>
            <p:cNvPr id="27" name="Rectangle 26">
              <a:extLst>
                <a:ext uri="{FF2B5EF4-FFF2-40B4-BE49-F238E27FC236}">
                  <a16:creationId xmlns:a16="http://schemas.microsoft.com/office/drawing/2014/main" id="{154CD58A-8677-9545-B209-DF3C50FFCE03}"/>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CDD90E82-23AD-3E41-AFF1-C14FF24768FB}"/>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9" name="Text Placeholder 20">
            <a:extLst>
              <a:ext uri="{FF2B5EF4-FFF2-40B4-BE49-F238E27FC236}">
                <a16:creationId xmlns:a16="http://schemas.microsoft.com/office/drawing/2014/main" id="{CBE9FA2F-6631-2348-B5E8-CB1404D78870}"/>
              </a:ext>
            </a:extLst>
          </p:cNvPr>
          <p:cNvSpPr>
            <a:spLocks noGrp="1"/>
          </p:cNvSpPr>
          <p:nvPr>
            <p:ph type="body" sz="quarter" idx="17" hasCustomPrompt="1"/>
          </p:nvPr>
        </p:nvSpPr>
        <p:spPr>
          <a:xfrm>
            <a:off x="827578" y="3988423"/>
            <a:ext cx="5189583" cy="710960"/>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grpSp>
        <p:nvGrpSpPr>
          <p:cNvPr id="30" name="Group 29">
            <a:extLst>
              <a:ext uri="{FF2B5EF4-FFF2-40B4-BE49-F238E27FC236}">
                <a16:creationId xmlns:a16="http://schemas.microsoft.com/office/drawing/2014/main" id="{2FEE898A-C06A-E34F-A972-FD3103EE3129}"/>
              </a:ext>
            </a:extLst>
          </p:cNvPr>
          <p:cNvGrpSpPr/>
          <p:nvPr/>
        </p:nvGrpSpPr>
        <p:grpSpPr>
          <a:xfrm>
            <a:off x="748828" y="4878246"/>
            <a:ext cx="5629107" cy="863468"/>
            <a:chOff x="558331" y="2312872"/>
            <a:chExt cx="9298521" cy="756000"/>
          </a:xfrm>
        </p:grpSpPr>
        <p:sp>
          <p:nvSpPr>
            <p:cNvPr id="31" name="Rectangle 30">
              <a:extLst>
                <a:ext uri="{FF2B5EF4-FFF2-40B4-BE49-F238E27FC236}">
                  <a16:creationId xmlns:a16="http://schemas.microsoft.com/office/drawing/2014/main" id="{DA81EE83-C4CA-464B-95C0-5BA7057E8005}"/>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Connector 35">
              <a:extLst>
                <a:ext uri="{FF2B5EF4-FFF2-40B4-BE49-F238E27FC236}">
                  <a16:creationId xmlns:a16="http://schemas.microsoft.com/office/drawing/2014/main" id="{30F7734C-D965-A94B-944D-9E59C1C659A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7" name="Text Placeholder 20">
            <a:extLst>
              <a:ext uri="{FF2B5EF4-FFF2-40B4-BE49-F238E27FC236}">
                <a16:creationId xmlns:a16="http://schemas.microsoft.com/office/drawing/2014/main" id="{2E0AC1D5-7922-AD4E-9F76-639646857156}"/>
              </a:ext>
            </a:extLst>
          </p:cNvPr>
          <p:cNvSpPr>
            <a:spLocks noGrp="1"/>
          </p:cNvSpPr>
          <p:nvPr>
            <p:ph type="body" sz="quarter" idx="18" hasCustomPrompt="1"/>
          </p:nvPr>
        </p:nvSpPr>
        <p:spPr>
          <a:xfrm>
            <a:off x="834629" y="4954499"/>
            <a:ext cx="5189583" cy="710960"/>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cxnSp>
        <p:nvCxnSpPr>
          <p:cNvPr id="38" name="Straight Connector 37">
            <a:extLst>
              <a:ext uri="{FF2B5EF4-FFF2-40B4-BE49-F238E27FC236}">
                <a16:creationId xmlns:a16="http://schemas.microsoft.com/office/drawing/2014/main" id="{50BA0497-110B-3B4D-9B26-9615B579AE79}"/>
              </a:ext>
            </a:extLst>
          </p:cNvPr>
          <p:cNvCxnSpPr>
            <a:cxnSpLocks/>
          </p:cNvCxnSpPr>
          <p:nvPr userDrawn="1"/>
        </p:nvCxnSpPr>
        <p:spPr>
          <a:xfrm>
            <a:off x="6764797" y="1968295"/>
            <a:ext cx="0" cy="377341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48532500-70E3-56B8-5408-3B19292DC938}"/>
              </a:ext>
            </a:extLst>
          </p:cNvPr>
          <p:cNvSpPr>
            <a:spLocks noGrp="1"/>
          </p:cNvSpPr>
          <p:nvPr>
            <p:ph type="body" sz="quarter" idx="20"/>
          </p:nvPr>
        </p:nvSpPr>
        <p:spPr>
          <a:xfrm>
            <a:off x="6961306" y="2732861"/>
            <a:ext cx="4520840" cy="2859047"/>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Click to edit Master text styles</a:t>
            </a:r>
          </a:p>
        </p:txBody>
      </p:sp>
      <p:sp>
        <p:nvSpPr>
          <p:cNvPr id="39" name="Text Placeholder 20">
            <a:extLst>
              <a:ext uri="{FF2B5EF4-FFF2-40B4-BE49-F238E27FC236}">
                <a16:creationId xmlns:a16="http://schemas.microsoft.com/office/drawing/2014/main" id="{70055568-A992-C0C3-247D-12598FCCA433}"/>
              </a:ext>
            </a:extLst>
          </p:cNvPr>
          <p:cNvSpPr>
            <a:spLocks noGrp="1"/>
          </p:cNvSpPr>
          <p:nvPr>
            <p:ph type="body" sz="quarter" idx="28" hasCustomPrompt="1"/>
          </p:nvPr>
        </p:nvSpPr>
        <p:spPr>
          <a:xfrm>
            <a:off x="6961306" y="1986725"/>
            <a:ext cx="4520835" cy="629219"/>
          </a:xfrm>
          <a:prstGeom prst="rect">
            <a:avLst/>
          </a:prstGeom>
        </p:spPr>
        <p:txBody>
          <a:bodyPr anchor="t">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0" name="Title 1">
            <a:extLst>
              <a:ext uri="{FF2B5EF4-FFF2-40B4-BE49-F238E27FC236}">
                <a16:creationId xmlns:a16="http://schemas.microsoft.com/office/drawing/2014/main" id="{A6F30889-31DB-9A6C-379C-3B0014AD5F04}"/>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33" name="Bilde 3">
            <a:extLst>
              <a:ext uri="{FF2B5EF4-FFF2-40B4-BE49-F238E27FC236}">
                <a16:creationId xmlns:a16="http://schemas.microsoft.com/office/drawing/2014/main" id="{7F36F31A-B85F-ECCC-EE19-25B832DA9B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4" name="Date Placeholder 2">
            <a:extLst>
              <a:ext uri="{FF2B5EF4-FFF2-40B4-BE49-F238E27FC236}">
                <a16:creationId xmlns:a16="http://schemas.microsoft.com/office/drawing/2014/main" id="{11A5783A-4D89-B982-66F2-1C55D2A4FF15}"/>
              </a:ext>
            </a:extLst>
          </p:cNvPr>
          <p:cNvSpPr>
            <a:spLocks noGrp="1"/>
          </p:cNvSpPr>
          <p:nvPr>
            <p:ph type="dt" sz="half" idx="29"/>
          </p:nvPr>
        </p:nvSpPr>
        <p:spPr>
          <a:xfrm>
            <a:off x="2303627" y="6492875"/>
            <a:ext cx="528585" cy="365125"/>
          </a:xfrm>
        </p:spPr>
        <p:txBody>
          <a:bodyPr/>
          <a:lstStyle/>
          <a:p>
            <a:fld id="{89EBDBA3-ED9C-5441-A1EE-6DCE277531F5}" type="datetimeFigureOut">
              <a:rPr lang="en-US" smtClean="0"/>
              <a:pPr/>
              <a:t>8/20/2024</a:t>
            </a:fld>
            <a:endParaRPr lang="en-US"/>
          </a:p>
        </p:txBody>
      </p:sp>
      <p:sp>
        <p:nvSpPr>
          <p:cNvPr id="41" name="Footer Placeholder 3">
            <a:extLst>
              <a:ext uri="{FF2B5EF4-FFF2-40B4-BE49-F238E27FC236}">
                <a16:creationId xmlns:a16="http://schemas.microsoft.com/office/drawing/2014/main" id="{E43AA8C9-01E7-D4A7-9845-3A5D50C9A1D1}"/>
              </a:ext>
            </a:extLst>
          </p:cNvPr>
          <p:cNvSpPr>
            <a:spLocks noGrp="1"/>
          </p:cNvSpPr>
          <p:nvPr>
            <p:ph type="ftr" sz="quarter" idx="30"/>
          </p:nvPr>
        </p:nvSpPr>
        <p:spPr>
          <a:xfrm>
            <a:off x="175116" y="6492875"/>
            <a:ext cx="2107096" cy="365125"/>
          </a:xfrm>
        </p:spPr>
        <p:txBody>
          <a:bodyPr/>
          <a:lstStyle/>
          <a:p>
            <a:r>
              <a:rPr lang="en-US"/>
              <a:t>© </a:t>
            </a:r>
            <a:r>
              <a:rPr lang="en-US" err="1"/>
              <a:t>StrongPoint</a:t>
            </a:r>
            <a:r>
              <a:rPr lang="en-US"/>
              <a:t> 2022. All rights reserved.   |</a:t>
            </a:r>
          </a:p>
        </p:txBody>
      </p:sp>
      <p:sp>
        <p:nvSpPr>
          <p:cNvPr id="42" name="Slide Number Placeholder 4">
            <a:extLst>
              <a:ext uri="{FF2B5EF4-FFF2-40B4-BE49-F238E27FC236}">
                <a16:creationId xmlns:a16="http://schemas.microsoft.com/office/drawing/2014/main" id="{26E63F40-F6DA-BE09-86BD-4CDD968104DB}"/>
              </a:ext>
            </a:extLst>
          </p:cNvPr>
          <p:cNvSpPr>
            <a:spLocks noGrp="1"/>
          </p:cNvSpPr>
          <p:nvPr>
            <p:ph type="sldNum" sz="quarter" idx="31"/>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4755020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7" y="1606947"/>
            <a:ext cx="9063966"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41777"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84024" y="1850244"/>
            <a:ext cx="6770384" cy="3804619"/>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34" name="Bilde 13" descr="Et bilde som inneholder innendørs, datamaskin, leke, bord&#10;&#10;Automatisk generert beskrivelse">
            <a:extLst>
              <a:ext uri="{FF2B5EF4-FFF2-40B4-BE49-F238E27FC236}">
                <a16:creationId xmlns:a16="http://schemas.microsoft.com/office/drawing/2014/main" id="{82ADC36C-C5B4-5446-B311-0999748BC0A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597963" y="2054672"/>
            <a:ext cx="4594037" cy="4254591"/>
          </a:xfrm>
          <a:prstGeom prst="rect">
            <a:avLst/>
          </a:prstGeom>
        </p:spPr>
      </p:pic>
      <p:sp>
        <p:nvSpPr>
          <p:cNvPr id="9" name="Title 1">
            <a:extLst>
              <a:ext uri="{FF2B5EF4-FFF2-40B4-BE49-F238E27FC236}">
                <a16:creationId xmlns:a16="http://schemas.microsoft.com/office/drawing/2014/main" id="{E57EA93B-AC9E-03E8-D91C-19CF2DA6B9C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2" name="Bilde 3">
            <a:extLst>
              <a:ext uri="{FF2B5EF4-FFF2-40B4-BE49-F238E27FC236}">
                <a16:creationId xmlns:a16="http://schemas.microsoft.com/office/drawing/2014/main" id="{63E4AE8C-7FC8-B6DB-17CB-A62427F9C80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3" name="Date Placeholder 2">
            <a:extLst>
              <a:ext uri="{FF2B5EF4-FFF2-40B4-BE49-F238E27FC236}">
                <a16:creationId xmlns:a16="http://schemas.microsoft.com/office/drawing/2014/main" id="{601DC5CA-617F-ECD5-4035-EC54D988924A}"/>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14" name="Footer Placeholder 3">
            <a:extLst>
              <a:ext uri="{FF2B5EF4-FFF2-40B4-BE49-F238E27FC236}">
                <a16:creationId xmlns:a16="http://schemas.microsoft.com/office/drawing/2014/main" id="{D69B4FC8-AC6B-54DD-EAE6-85D02AD3BF20}"/>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15" name="Slide Number Placeholder 4">
            <a:extLst>
              <a:ext uri="{FF2B5EF4-FFF2-40B4-BE49-F238E27FC236}">
                <a16:creationId xmlns:a16="http://schemas.microsoft.com/office/drawing/2014/main" id="{BBE056E2-6CC0-262C-7F2E-B95D44CED5BA}"/>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4719088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43_Custom Layou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5D4AB-B803-4643-BCDF-D6393E1CDC9B}"/>
              </a:ext>
            </a:extLst>
          </p:cNvPr>
          <p:cNvSpPr>
            <a:spLocks noGrp="1"/>
          </p:cNvSpPr>
          <p:nvPr>
            <p:ph type="title"/>
          </p:nvPr>
        </p:nvSpPr>
        <p:spPr>
          <a:xfrm>
            <a:off x="1218623" y="913943"/>
            <a:ext cx="8567928" cy="1325563"/>
          </a:xfrm>
          <a:prstGeom prst="rect">
            <a:avLst/>
          </a:prstGeom>
        </p:spPr>
        <p:txBody>
          <a:bodyPr/>
          <a:lstStyle>
            <a:lvl1pPr>
              <a:defRPr b="0" i="0">
                <a:solidFill>
                  <a:schemeClr val="bg1"/>
                </a:solidFill>
                <a:latin typeface="Helvetica Light" panose="020B0403020202020204" pitchFamily="34" charset="0"/>
              </a:defRPr>
            </a:lvl1pPr>
          </a:lstStyle>
          <a:p>
            <a:r>
              <a:rPr lang="en-GB"/>
              <a:t>Click to edit Master title style</a:t>
            </a:r>
            <a:endParaRPr lang="en-US"/>
          </a:p>
        </p:txBody>
      </p:sp>
      <p:pic>
        <p:nvPicPr>
          <p:cNvPr id="5" name="Bilde 5">
            <a:extLst>
              <a:ext uri="{FF2B5EF4-FFF2-40B4-BE49-F238E27FC236}">
                <a16:creationId xmlns:a16="http://schemas.microsoft.com/office/drawing/2014/main" id="{826408B4-1F28-DA4C-9BD1-39058BB264B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218623" y="5599967"/>
            <a:ext cx="2822031" cy="493381"/>
          </a:xfrm>
          <a:prstGeom prst="rect">
            <a:avLst/>
          </a:prstGeom>
        </p:spPr>
      </p:pic>
      <p:cxnSp>
        <p:nvCxnSpPr>
          <p:cNvPr id="6" name="Straight Connector 5">
            <a:extLst>
              <a:ext uri="{FF2B5EF4-FFF2-40B4-BE49-F238E27FC236}">
                <a16:creationId xmlns:a16="http://schemas.microsoft.com/office/drawing/2014/main" id="{2982B310-7E67-7C47-9E67-4430CA714644}"/>
              </a:ext>
            </a:extLst>
          </p:cNvPr>
          <p:cNvCxnSpPr/>
          <p:nvPr userDrawn="1"/>
        </p:nvCxnSpPr>
        <p:spPr>
          <a:xfrm>
            <a:off x="1218623" y="4964483"/>
            <a:ext cx="827826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20">
            <a:extLst>
              <a:ext uri="{FF2B5EF4-FFF2-40B4-BE49-F238E27FC236}">
                <a16:creationId xmlns:a16="http://schemas.microsoft.com/office/drawing/2014/main" id="{1D537A84-0006-344B-B900-FF658484079B}"/>
              </a:ext>
            </a:extLst>
          </p:cNvPr>
          <p:cNvSpPr>
            <a:spLocks noGrp="1"/>
          </p:cNvSpPr>
          <p:nvPr>
            <p:ph type="body" sz="quarter" idx="25"/>
          </p:nvPr>
        </p:nvSpPr>
        <p:spPr>
          <a:xfrm>
            <a:off x="1218623" y="3529464"/>
            <a:ext cx="5145898" cy="1227888"/>
          </a:xfrm>
          <a:prstGeom prst="rect">
            <a:avLst/>
          </a:prstGeom>
        </p:spPr>
        <p:txBody>
          <a:bodyPr anchor="t">
            <a:noAutofit/>
          </a:bodyPr>
          <a:lstStyle>
            <a:lvl1pPr marL="0" indent="0">
              <a:buNone/>
              <a:defRPr sz="14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Click to edit Master text styles</a:t>
            </a:r>
          </a:p>
        </p:txBody>
      </p:sp>
    </p:spTree>
    <p:extLst>
      <p:ext uri="{BB962C8B-B14F-4D97-AF65-F5344CB8AC3E}">
        <p14:creationId xmlns:p14="http://schemas.microsoft.com/office/powerpoint/2010/main" val="12404328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67_Custom Layout">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038D6646-E4D2-DD44-A139-EB42716908C7}"/>
              </a:ext>
            </a:extLst>
          </p:cNvPr>
          <p:cNvSpPr>
            <a:spLocks noGrp="1"/>
          </p:cNvSpPr>
          <p:nvPr>
            <p:ph type="pic" sz="quarter" idx="16"/>
          </p:nvPr>
        </p:nvSpPr>
        <p:spPr>
          <a:xfrm>
            <a:off x="6678514" y="1635371"/>
            <a:ext cx="4735158" cy="4226168"/>
          </a:xfrm>
          <a:prstGeom prst="rect">
            <a:avLst/>
          </a:prstGeom>
        </p:spPr>
        <p:txBody>
          <a:bodyPr anchor="ctr"/>
          <a:lstStyle>
            <a:lvl1pPr marL="0" indent="0" algn="ctr">
              <a:buNone/>
              <a:defRPr b="0" i="0">
                <a:solidFill>
                  <a:schemeClr val="accent1"/>
                </a:solidFill>
                <a:latin typeface="Helvetica Light" panose="020B0403020202020204" pitchFamily="34" charset="0"/>
              </a:defRPr>
            </a:lvl1pPr>
          </a:lstStyle>
          <a:p>
            <a:r>
              <a:rPr lang="en-GB"/>
              <a:t>Click icon to add picture</a:t>
            </a:r>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8" y="1606947"/>
            <a:ext cx="5850934"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41777"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7579" y="1699192"/>
            <a:ext cx="5674814" cy="4068562"/>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 name="Title 1">
            <a:extLst>
              <a:ext uri="{FF2B5EF4-FFF2-40B4-BE49-F238E27FC236}">
                <a16:creationId xmlns:a16="http://schemas.microsoft.com/office/drawing/2014/main" id="{1E4EE4EB-D8A2-2E64-5C7C-82412718B6BF}"/>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11" name="Date Placeholder 2">
            <a:extLst>
              <a:ext uri="{FF2B5EF4-FFF2-40B4-BE49-F238E27FC236}">
                <a16:creationId xmlns:a16="http://schemas.microsoft.com/office/drawing/2014/main" id="{7F4BF283-092E-C00E-953E-068744DAAA49}"/>
              </a:ext>
            </a:extLst>
          </p:cNvPr>
          <p:cNvSpPr>
            <a:spLocks noGrp="1"/>
          </p:cNvSpPr>
          <p:nvPr>
            <p:ph type="dt" sz="half" idx="17"/>
          </p:nvPr>
        </p:nvSpPr>
        <p:spPr>
          <a:xfrm>
            <a:off x="2303627" y="6492875"/>
            <a:ext cx="528585" cy="365125"/>
          </a:xfrm>
        </p:spPr>
        <p:txBody>
          <a:bodyPr/>
          <a:lstStyle/>
          <a:p>
            <a:fld id="{89EBDBA3-ED9C-5441-A1EE-6DCE277531F5}" type="datetimeFigureOut">
              <a:rPr lang="en-US" smtClean="0"/>
              <a:pPr/>
              <a:t>8/20/2024</a:t>
            </a:fld>
            <a:endParaRPr lang="en-US"/>
          </a:p>
        </p:txBody>
      </p:sp>
      <p:sp>
        <p:nvSpPr>
          <p:cNvPr id="12" name="Footer Placeholder 3">
            <a:extLst>
              <a:ext uri="{FF2B5EF4-FFF2-40B4-BE49-F238E27FC236}">
                <a16:creationId xmlns:a16="http://schemas.microsoft.com/office/drawing/2014/main" id="{2D503D9A-B423-C00F-2CB6-41A20DB6790B}"/>
              </a:ext>
            </a:extLst>
          </p:cNvPr>
          <p:cNvSpPr>
            <a:spLocks noGrp="1"/>
          </p:cNvSpPr>
          <p:nvPr>
            <p:ph type="ftr" sz="quarter" idx="18"/>
          </p:nvPr>
        </p:nvSpPr>
        <p:spPr>
          <a:xfrm>
            <a:off x="175116" y="6492875"/>
            <a:ext cx="2107096" cy="365125"/>
          </a:xfrm>
        </p:spPr>
        <p:txBody>
          <a:bodyPr/>
          <a:lstStyle/>
          <a:p>
            <a:r>
              <a:rPr lang="en-US"/>
              <a:t>© </a:t>
            </a:r>
            <a:r>
              <a:rPr lang="en-US" err="1"/>
              <a:t>StrongPoint</a:t>
            </a:r>
            <a:r>
              <a:rPr lang="en-US"/>
              <a:t> 2022. All rights reserved.   |</a:t>
            </a:r>
          </a:p>
        </p:txBody>
      </p:sp>
      <p:sp>
        <p:nvSpPr>
          <p:cNvPr id="13" name="Slide Number Placeholder 4">
            <a:extLst>
              <a:ext uri="{FF2B5EF4-FFF2-40B4-BE49-F238E27FC236}">
                <a16:creationId xmlns:a16="http://schemas.microsoft.com/office/drawing/2014/main" id="{E31BBD39-6B1B-18BF-C0CF-DAD8F2A95290}"/>
              </a:ext>
            </a:extLst>
          </p:cNvPr>
          <p:cNvSpPr>
            <a:spLocks noGrp="1"/>
          </p:cNvSpPr>
          <p:nvPr>
            <p:ph type="sldNum" sz="quarter" idx="19"/>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9644706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66_Custom Layout">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038D6646-E4D2-DD44-A139-EB42716908C7}"/>
              </a:ext>
            </a:extLst>
          </p:cNvPr>
          <p:cNvSpPr>
            <a:spLocks noGrp="1"/>
          </p:cNvSpPr>
          <p:nvPr>
            <p:ph type="pic" sz="quarter" idx="16"/>
          </p:nvPr>
        </p:nvSpPr>
        <p:spPr>
          <a:xfrm>
            <a:off x="4674124" y="1635371"/>
            <a:ext cx="6739548" cy="4226168"/>
          </a:xfrm>
          <a:prstGeom prst="rect">
            <a:avLst/>
          </a:prstGeom>
        </p:spPr>
        <p:txBody>
          <a:bodyPr anchor="ctr"/>
          <a:lstStyle>
            <a:lvl1pPr marL="0" indent="0" algn="ctr">
              <a:buNone/>
              <a:defRPr b="0" i="0">
                <a:solidFill>
                  <a:schemeClr val="accent1"/>
                </a:solidFill>
                <a:latin typeface="Helvetica Light" panose="020B0403020202020204" pitchFamily="34" charset="0"/>
              </a:defRPr>
            </a:lvl1pPr>
          </a:lstStyle>
          <a:p>
            <a:r>
              <a:rPr lang="en-GB"/>
              <a:t>Click icon to add picture</a:t>
            </a:r>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8" y="1606947"/>
            <a:ext cx="3846545"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41777"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7579" y="1699192"/>
            <a:ext cx="3597460" cy="4068562"/>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 name="Title 1">
            <a:extLst>
              <a:ext uri="{FF2B5EF4-FFF2-40B4-BE49-F238E27FC236}">
                <a16:creationId xmlns:a16="http://schemas.microsoft.com/office/drawing/2014/main" id="{1E4EE4EB-D8A2-2E64-5C7C-82412718B6BF}"/>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2" name="Bilde 3">
            <a:extLst>
              <a:ext uri="{FF2B5EF4-FFF2-40B4-BE49-F238E27FC236}">
                <a16:creationId xmlns:a16="http://schemas.microsoft.com/office/drawing/2014/main" id="{0327E981-B6C3-CD4C-0EF0-126DBFD1988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3" name="Date Placeholder 2">
            <a:extLst>
              <a:ext uri="{FF2B5EF4-FFF2-40B4-BE49-F238E27FC236}">
                <a16:creationId xmlns:a16="http://schemas.microsoft.com/office/drawing/2014/main" id="{DC9AEC75-ADB7-C1ED-BDB5-2C7758DE421F}"/>
              </a:ext>
            </a:extLst>
          </p:cNvPr>
          <p:cNvSpPr>
            <a:spLocks noGrp="1"/>
          </p:cNvSpPr>
          <p:nvPr>
            <p:ph type="dt" sz="half" idx="17"/>
          </p:nvPr>
        </p:nvSpPr>
        <p:spPr>
          <a:xfrm>
            <a:off x="2303627" y="6492875"/>
            <a:ext cx="528585" cy="365125"/>
          </a:xfrm>
        </p:spPr>
        <p:txBody>
          <a:bodyPr/>
          <a:lstStyle/>
          <a:p>
            <a:fld id="{89EBDBA3-ED9C-5441-A1EE-6DCE277531F5}" type="datetimeFigureOut">
              <a:rPr lang="en-US" smtClean="0"/>
              <a:pPr/>
              <a:t>8/20/2024</a:t>
            </a:fld>
            <a:endParaRPr lang="en-US"/>
          </a:p>
        </p:txBody>
      </p:sp>
      <p:sp>
        <p:nvSpPr>
          <p:cNvPr id="14" name="Footer Placeholder 3">
            <a:extLst>
              <a:ext uri="{FF2B5EF4-FFF2-40B4-BE49-F238E27FC236}">
                <a16:creationId xmlns:a16="http://schemas.microsoft.com/office/drawing/2014/main" id="{737E5B01-DCF8-EE11-DF60-D46A5131CF87}"/>
              </a:ext>
            </a:extLst>
          </p:cNvPr>
          <p:cNvSpPr>
            <a:spLocks noGrp="1"/>
          </p:cNvSpPr>
          <p:nvPr>
            <p:ph type="ftr" sz="quarter" idx="18"/>
          </p:nvPr>
        </p:nvSpPr>
        <p:spPr>
          <a:xfrm>
            <a:off x="175116" y="6492875"/>
            <a:ext cx="2107096" cy="365125"/>
          </a:xfrm>
        </p:spPr>
        <p:txBody>
          <a:bodyPr/>
          <a:lstStyle/>
          <a:p>
            <a:r>
              <a:rPr lang="en-US"/>
              <a:t>© </a:t>
            </a:r>
            <a:r>
              <a:rPr lang="en-US" err="1"/>
              <a:t>StrongPoint</a:t>
            </a:r>
            <a:r>
              <a:rPr lang="en-US"/>
              <a:t> 2022. All rights reserved.   |</a:t>
            </a:r>
          </a:p>
        </p:txBody>
      </p:sp>
      <p:sp>
        <p:nvSpPr>
          <p:cNvPr id="15" name="Slide Number Placeholder 4">
            <a:extLst>
              <a:ext uri="{FF2B5EF4-FFF2-40B4-BE49-F238E27FC236}">
                <a16:creationId xmlns:a16="http://schemas.microsoft.com/office/drawing/2014/main" id="{6DBBC043-34AD-A698-EA2B-CF6680B72D21}"/>
              </a:ext>
            </a:extLst>
          </p:cNvPr>
          <p:cNvSpPr>
            <a:spLocks noGrp="1"/>
          </p:cNvSpPr>
          <p:nvPr>
            <p:ph type="sldNum" sz="quarter" idx="19"/>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8160963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65_Custom Layout">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038D6646-E4D2-DD44-A139-EB42716908C7}"/>
              </a:ext>
            </a:extLst>
          </p:cNvPr>
          <p:cNvSpPr>
            <a:spLocks noGrp="1"/>
          </p:cNvSpPr>
          <p:nvPr>
            <p:ph type="pic" sz="quarter" idx="16"/>
          </p:nvPr>
        </p:nvSpPr>
        <p:spPr>
          <a:xfrm>
            <a:off x="8271590" y="1635371"/>
            <a:ext cx="3142081" cy="4226168"/>
          </a:xfrm>
          <a:prstGeom prst="rect">
            <a:avLst/>
          </a:prstGeom>
        </p:spPr>
        <p:txBody>
          <a:bodyPr anchor="ctr"/>
          <a:lstStyle>
            <a:lvl1pPr marL="0" indent="0" algn="ctr">
              <a:buNone/>
              <a:defRPr b="0" i="0">
                <a:solidFill>
                  <a:schemeClr val="accent1"/>
                </a:solidFill>
                <a:latin typeface="Helvetica Light" panose="020B0403020202020204" pitchFamily="34" charset="0"/>
              </a:defRPr>
            </a:lvl1pPr>
          </a:lstStyle>
          <a:p>
            <a:r>
              <a:rPr lang="en-GB"/>
              <a:t>Click icon to add picture</a:t>
            </a:r>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8" y="1606947"/>
            <a:ext cx="3896132"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41777"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7578" y="1699192"/>
            <a:ext cx="3680615" cy="4068562"/>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 name="Title 1">
            <a:extLst>
              <a:ext uri="{FF2B5EF4-FFF2-40B4-BE49-F238E27FC236}">
                <a16:creationId xmlns:a16="http://schemas.microsoft.com/office/drawing/2014/main" id="{1E4EE4EB-D8A2-2E64-5C7C-82412718B6BF}"/>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11" name="Picture Placeholder 3">
            <a:extLst>
              <a:ext uri="{FF2B5EF4-FFF2-40B4-BE49-F238E27FC236}">
                <a16:creationId xmlns:a16="http://schemas.microsoft.com/office/drawing/2014/main" id="{3CC9F20E-3553-313F-ADE6-7FAB12C7B417}"/>
              </a:ext>
            </a:extLst>
          </p:cNvPr>
          <p:cNvSpPr>
            <a:spLocks noGrp="1"/>
          </p:cNvSpPr>
          <p:nvPr>
            <p:ph type="pic" sz="quarter" idx="17"/>
          </p:nvPr>
        </p:nvSpPr>
        <p:spPr>
          <a:xfrm>
            <a:off x="4764746" y="1635371"/>
            <a:ext cx="3380014" cy="4226168"/>
          </a:xfrm>
          <a:prstGeom prst="rect">
            <a:avLst/>
          </a:prstGeom>
        </p:spPr>
        <p:txBody>
          <a:bodyPr anchor="ctr"/>
          <a:lstStyle>
            <a:lvl1pPr marL="0" indent="0" algn="ctr">
              <a:buNone/>
              <a:defRPr b="0" i="0">
                <a:solidFill>
                  <a:schemeClr val="accent1"/>
                </a:solidFill>
                <a:latin typeface="Helvetica Light" panose="020B0403020202020204" pitchFamily="34" charset="0"/>
              </a:defRPr>
            </a:lvl1pPr>
          </a:lstStyle>
          <a:p>
            <a:r>
              <a:rPr lang="en-GB"/>
              <a:t>Click icon to add picture</a:t>
            </a:r>
          </a:p>
        </p:txBody>
      </p:sp>
      <p:pic>
        <p:nvPicPr>
          <p:cNvPr id="13" name="Bilde 3">
            <a:extLst>
              <a:ext uri="{FF2B5EF4-FFF2-40B4-BE49-F238E27FC236}">
                <a16:creationId xmlns:a16="http://schemas.microsoft.com/office/drawing/2014/main" id="{5F1C00DC-FD44-9124-9788-8918143E08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4" name="Date Placeholder 2">
            <a:extLst>
              <a:ext uri="{FF2B5EF4-FFF2-40B4-BE49-F238E27FC236}">
                <a16:creationId xmlns:a16="http://schemas.microsoft.com/office/drawing/2014/main" id="{E7111538-68AD-F0AD-97EF-F3CFFC032DA1}"/>
              </a:ext>
            </a:extLst>
          </p:cNvPr>
          <p:cNvSpPr>
            <a:spLocks noGrp="1"/>
          </p:cNvSpPr>
          <p:nvPr>
            <p:ph type="dt" sz="half" idx="18"/>
          </p:nvPr>
        </p:nvSpPr>
        <p:spPr>
          <a:xfrm>
            <a:off x="2303627" y="6492875"/>
            <a:ext cx="528585" cy="365125"/>
          </a:xfrm>
        </p:spPr>
        <p:txBody>
          <a:bodyPr/>
          <a:lstStyle/>
          <a:p>
            <a:fld id="{89EBDBA3-ED9C-5441-A1EE-6DCE277531F5}" type="datetimeFigureOut">
              <a:rPr lang="en-US" smtClean="0"/>
              <a:pPr/>
              <a:t>8/20/2024</a:t>
            </a:fld>
            <a:endParaRPr lang="en-US"/>
          </a:p>
        </p:txBody>
      </p:sp>
      <p:sp>
        <p:nvSpPr>
          <p:cNvPr id="15" name="Footer Placeholder 3">
            <a:extLst>
              <a:ext uri="{FF2B5EF4-FFF2-40B4-BE49-F238E27FC236}">
                <a16:creationId xmlns:a16="http://schemas.microsoft.com/office/drawing/2014/main" id="{01142E11-F214-36F3-8C13-CB4805DA263C}"/>
              </a:ext>
            </a:extLst>
          </p:cNvPr>
          <p:cNvSpPr>
            <a:spLocks noGrp="1"/>
          </p:cNvSpPr>
          <p:nvPr>
            <p:ph type="ftr" sz="quarter" idx="19"/>
          </p:nvPr>
        </p:nvSpPr>
        <p:spPr>
          <a:xfrm>
            <a:off x="175116" y="6492875"/>
            <a:ext cx="2107096" cy="365125"/>
          </a:xfrm>
        </p:spPr>
        <p:txBody>
          <a:bodyPr/>
          <a:lstStyle/>
          <a:p>
            <a:r>
              <a:rPr lang="en-US"/>
              <a:t>© </a:t>
            </a:r>
            <a:r>
              <a:rPr lang="en-US" err="1"/>
              <a:t>StrongPoint</a:t>
            </a:r>
            <a:r>
              <a:rPr lang="en-US"/>
              <a:t> 2022. All rights reserved.   |</a:t>
            </a:r>
          </a:p>
        </p:txBody>
      </p:sp>
      <p:sp>
        <p:nvSpPr>
          <p:cNvPr id="16" name="Slide Number Placeholder 4">
            <a:extLst>
              <a:ext uri="{FF2B5EF4-FFF2-40B4-BE49-F238E27FC236}">
                <a16:creationId xmlns:a16="http://schemas.microsoft.com/office/drawing/2014/main" id="{6FB8189E-9F09-A4BD-84B5-48D52AF3348E}"/>
              </a:ext>
            </a:extLst>
          </p:cNvPr>
          <p:cNvSpPr>
            <a:spLocks noGrp="1"/>
          </p:cNvSpPr>
          <p:nvPr>
            <p:ph type="sldNum" sz="quarter" idx="20"/>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1494415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37741" y="1606947"/>
            <a:ext cx="10630718"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37741"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3542" y="1699192"/>
            <a:ext cx="10338438" cy="4068562"/>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8" name="Title 1">
            <a:extLst>
              <a:ext uri="{FF2B5EF4-FFF2-40B4-BE49-F238E27FC236}">
                <a16:creationId xmlns:a16="http://schemas.microsoft.com/office/drawing/2014/main" id="{750EA6DB-7BE5-46DA-7D39-CE1BBA16615F}"/>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1" name="Bilde 3">
            <a:extLst>
              <a:ext uri="{FF2B5EF4-FFF2-40B4-BE49-F238E27FC236}">
                <a16:creationId xmlns:a16="http://schemas.microsoft.com/office/drawing/2014/main" id="{30247BF6-FA19-7552-D334-E3C9D9D6DF4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2" name="Date Placeholder 2">
            <a:extLst>
              <a:ext uri="{FF2B5EF4-FFF2-40B4-BE49-F238E27FC236}">
                <a16:creationId xmlns:a16="http://schemas.microsoft.com/office/drawing/2014/main" id="{8A1D8C01-17C6-A91E-6D56-51CD8050B615}"/>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13" name="Footer Placeholder 3">
            <a:extLst>
              <a:ext uri="{FF2B5EF4-FFF2-40B4-BE49-F238E27FC236}">
                <a16:creationId xmlns:a16="http://schemas.microsoft.com/office/drawing/2014/main" id="{6B02DFB0-2518-39B7-471B-1FD6736FDFAA}"/>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14" name="Slide Number Placeholder 4">
            <a:extLst>
              <a:ext uri="{FF2B5EF4-FFF2-40B4-BE49-F238E27FC236}">
                <a16:creationId xmlns:a16="http://schemas.microsoft.com/office/drawing/2014/main" id="{A7D45FAD-36C9-58C2-B818-7F227551A5A8}"/>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7576561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64_Custom Layout">
    <p:spTree>
      <p:nvGrpSpPr>
        <p:cNvPr id="1" name=""/>
        <p:cNvGrpSpPr/>
        <p:nvPr/>
      </p:nvGrpSpPr>
      <p:grpSpPr>
        <a:xfrm>
          <a:off x="0" y="0"/>
          <a:ext cx="0" cy="0"/>
          <a:chOff x="0" y="0"/>
          <a:chExt cx="0" cy="0"/>
        </a:xfrm>
      </p:grpSpPr>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1448411" y="237532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779147" y="1485777"/>
            <a:ext cx="2938011" cy="605707"/>
          </a:xfrm>
          <a:prstGeom prst="rect">
            <a:avLst/>
          </a:prstGeom>
        </p:spPr>
        <p:txBody>
          <a:bodyPr anchor="b">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529693" y="2380462"/>
            <a:ext cx="2187469"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6" name="Oval 5">
            <a:extLst>
              <a:ext uri="{FF2B5EF4-FFF2-40B4-BE49-F238E27FC236}">
                <a16:creationId xmlns:a16="http://schemas.microsoft.com/office/drawing/2014/main" id="{8DBB2A8D-B9A7-F046-8E3F-1F0126DB7CCD}"/>
              </a:ext>
            </a:extLst>
          </p:cNvPr>
          <p:cNvSpPr/>
          <p:nvPr userDrawn="1"/>
        </p:nvSpPr>
        <p:spPr>
          <a:xfrm>
            <a:off x="773262" y="2507190"/>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7" name="Straight Connector 46">
            <a:extLst>
              <a:ext uri="{FF2B5EF4-FFF2-40B4-BE49-F238E27FC236}">
                <a16:creationId xmlns:a16="http://schemas.microsoft.com/office/drawing/2014/main" id="{9319F917-FF3E-6F4A-8DED-9BD99CAF6CEC}"/>
              </a:ext>
            </a:extLst>
          </p:cNvPr>
          <p:cNvCxnSpPr>
            <a:cxnSpLocks/>
          </p:cNvCxnSpPr>
          <p:nvPr userDrawn="1"/>
        </p:nvCxnSpPr>
        <p:spPr>
          <a:xfrm>
            <a:off x="5202442" y="237532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8" name="Text Placeholder 20">
            <a:extLst>
              <a:ext uri="{FF2B5EF4-FFF2-40B4-BE49-F238E27FC236}">
                <a16:creationId xmlns:a16="http://schemas.microsoft.com/office/drawing/2014/main" id="{90110F60-89B8-F44F-86DF-237FA9EDC86F}"/>
              </a:ext>
            </a:extLst>
          </p:cNvPr>
          <p:cNvSpPr>
            <a:spLocks noGrp="1"/>
          </p:cNvSpPr>
          <p:nvPr>
            <p:ph type="body" sz="quarter" idx="31" hasCustomPrompt="1"/>
          </p:nvPr>
        </p:nvSpPr>
        <p:spPr>
          <a:xfrm>
            <a:off x="4533178" y="1485777"/>
            <a:ext cx="2938003" cy="605707"/>
          </a:xfrm>
          <a:prstGeom prst="rect">
            <a:avLst/>
          </a:prstGeom>
        </p:spPr>
        <p:txBody>
          <a:bodyPr anchor="b">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9" name="Text Placeholder 20">
            <a:extLst>
              <a:ext uri="{FF2B5EF4-FFF2-40B4-BE49-F238E27FC236}">
                <a16:creationId xmlns:a16="http://schemas.microsoft.com/office/drawing/2014/main" id="{8F9630DC-CA99-8F43-AA5B-00980E185C7F}"/>
              </a:ext>
            </a:extLst>
          </p:cNvPr>
          <p:cNvSpPr>
            <a:spLocks noGrp="1"/>
          </p:cNvSpPr>
          <p:nvPr>
            <p:ph type="body" sz="quarter" idx="32" hasCustomPrompt="1"/>
          </p:nvPr>
        </p:nvSpPr>
        <p:spPr>
          <a:xfrm>
            <a:off x="5283725" y="2380462"/>
            <a:ext cx="2187470"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3" name="Oval 52">
            <a:extLst>
              <a:ext uri="{FF2B5EF4-FFF2-40B4-BE49-F238E27FC236}">
                <a16:creationId xmlns:a16="http://schemas.microsoft.com/office/drawing/2014/main" id="{75A3B9E5-08F2-814D-9BEE-10B6FF734436}"/>
              </a:ext>
            </a:extLst>
          </p:cNvPr>
          <p:cNvSpPr/>
          <p:nvPr userDrawn="1"/>
        </p:nvSpPr>
        <p:spPr>
          <a:xfrm>
            <a:off x="4527293" y="2507190"/>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4" name="Straight Connector 53">
            <a:extLst>
              <a:ext uri="{FF2B5EF4-FFF2-40B4-BE49-F238E27FC236}">
                <a16:creationId xmlns:a16="http://schemas.microsoft.com/office/drawing/2014/main" id="{E613A742-D6B6-E547-AFAD-DAF27F529BB3}"/>
              </a:ext>
            </a:extLst>
          </p:cNvPr>
          <p:cNvCxnSpPr>
            <a:cxnSpLocks/>
          </p:cNvCxnSpPr>
          <p:nvPr userDrawn="1"/>
        </p:nvCxnSpPr>
        <p:spPr>
          <a:xfrm>
            <a:off x="9035840" y="237532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Text Placeholder 20">
            <a:extLst>
              <a:ext uri="{FF2B5EF4-FFF2-40B4-BE49-F238E27FC236}">
                <a16:creationId xmlns:a16="http://schemas.microsoft.com/office/drawing/2014/main" id="{FDAE3801-F6B0-9040-BFF6-0C2A999B3008}"/>
              </a:ext>
            </a:extLst>
          </p:cNvPr>
          <p:cNvSpPr>
            <a:spLocks noGrp="1"/>
          </p:cNvSpPr>
          <p:nvPr>
            <p:ph type="body" sz="quarter" idx="33" hasCustomPrompt="1"/>
          </p:nvPr>
        </p:nvSpPr>
        <p:spPr>
          <a:xfrm>
            <a:off x="8366577" y="1485777"/>
            <a:ext cx="2938004" cy="605707"/>
          </a:xfrm>
          <a:prstGeom prst="rect">
            <a:avLst/>
          </a:prstGeom>
        </p:spPr>
        <p:txBody>
          <a:bodyPr anchor="b">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6" name="Text Placeholder 20">
            <a:extLst>
              <a:ext uri="{FF2B5EF4-FFF2-40B4-BE49-F238E27FC236}">
                <a16:creationId xmlns:a16="http://schemas.microsoft.com/office/drawing/2014/main" id="{AC05E92B-0A22-F74F-A0A0-37E184796253}"/>
              </a:ext>
            </a:extLst>
          </p:cNvPr>
          <p:cNvSpPr>
            <a:spLocks noGrp="1"/>
          </p:cNvSpPr>
          <p:nvPr>
            <p:ph type="body" sz="quarter" idx="34" hasCustomPrompt="1"/>
          </p:nvPr>
        </p:nvSpPr>
        <p:spPr>
          <a:xfrm>
            <a:off x="9117123" y="2380462"/>
            <a:ext cx="219359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7" name="Oval 56">
            <a:extLst>
              <a:ext uri="{FF2B5EF4-FFF2-40B4-BE49-F238E27FC236}">
                <a16:creationId xmlns:a16="http://schemas.microsoft.com/office/drawing/2014/main" id="{3413011A-3D10-E14D-B233-D9B81B58D993}"/>
              </a:ext>
            </a:extLst>
          </p:cNvPr>
          <p:cNvSpPr/>
          <p:nvPr userDrawn="1"/>
        </p:nvSpPr>
        <p:spPr>
          <a:xfrm>
            <a:off x="8360691" y="2507190"/>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8" name="Straight Connector 57">
            <a:extLst>
              <a:ext uri="{FF2B5EF4-FFF2-40B4-BE49-F238E27FC236}">
                <a16:creationId xmlns:a16="http://schemas.microsoft.com/office/drawing/2014/main" id="{14D0E40A-826D-D447-875C-24BB261305E6}"/>
              </a:ext>
            </a:extLst>
          </p:cNvPr>
          <p:cNvCxnSpPr>
            <a:cxnSpLocks/>
          </p:cNvCxnSpPr>
          <p:nvPr userDrawn="1"/>
        </p:nvCxnSpPr>
        <p:spPr>
          <a:xfrm>
            <a:off x="1448411" y="3304813"/>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Text Placeholder 20">
            <a:extLst>
              <a:ext uri="{FF2B5EF4-FFF2-40B4-BE49-F238E27FC236}">
                <a16:creationId xmlns:a16="http://schemas.microsoft.com/office/drawing/2014/main" id="{8F334DBA-DB16-D64B-BA18-F61C21BB3599}"/>
              </a:ext>
            </a:extLst>
          </p:cNvPr>
          <p:cNvSpPr>
            <a:spLocks noGrp="1"/>
          </p:cNvSpPr>
          <p:nvPr>
            <p:ph type="body" sz="quarter" idx="35" hasCustomPrompt="1"/>
          </p:nvPr>
        </p:nvSpPr>
        <p:spPr>
          <a:xfrm>
            <a:off x="1529693" y="3309950"/>
            <a:ext cx="2187469"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64" name="Oval 63">
            <a:extLst>
              <a:ext uri="{FF2B5EF4-FFF2-40B4-BE49-F238E27FC236}">
                <a16:creationId xmlns:a16="http://schemas.microsoft.com/office/drawing/2014/main" id="{B2763EBF-B45B-7F4C-9541-765EF4D57406}"/>
              </a:ext>
            </a:extLst>
          </p:cNvPr>
          <p:cNvSpPr/>
          <p:nvPr userDrawn="1"/>
        </p:nvSpPr>
        <p:spPr>
          <a:xfrm>
            <a:off x="773262" y="3436678"/>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5" name="Straight Connector 64">
            <a:extLst>
              <a:ext uri="{FF2B5EF4-FFF2-40B4-BE49-F238E27FC236}">
                <a16:creationId xmlns:a16="http://schemas.microsoft.com/office/drawing/2014/main" id="{39C8D00F-526F-4D4A-87BC-AE247330FE55}"/>
              </a:ext>
            </a:extLst>
          </p:cNvPr>
          <p:cNvCxnSpPr>
            <a:cxnSpLocks/>
          </p:cNvCxnSpPr>
          <p:nvPr userDrawn="1"/>
        </p:nvCxnSpPr>
        <p:spPr>
          <a:xfrm>
            <a:off x="5202442" y="3304813"/>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6" name="Text Placeholder 20">
            <a:extLst>
              <a:ext uri="{FF2B5EF4-FFF2-40B4-BE49-F238E27FC236}">
                <a16:creationId xmlns:a16="http://schemas.microsoft.com/office/drawing/2014/main" id="{D58352EA-9911-8742-A2FE-08E11A7F4AA9}"/>
              </a:ext>
            </a:extLst>
          </p:cNvPr>
          <p:cNvSpPr>
            <a:spLocks noGrp="1"/>
          </p:cNvSpPr>
          <p:nvPr>
            <p:ph type="body" sz="quarter" idx="36" hasCustomPrompt="1"/>
          </p:nvPr>
        </p:nvSpPr>
        <p:spPr>
          <a:xfrm>
            <a:off x="5283725" y="3309950"/>
            <a:ext cx="2187470"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67" name="Oval 66">
            <a:extLst>
              <a:ext uri="{FF2B5EF4-FFF2-40B4-BE49-F238E27FC236}">
                <a16:creationId xmlns:a16="http://schemas.microsoft.com/office/drawing/2014/main" id="{CC472FC1-B8F3-434A-899E-A519F9565D65}"/>
              </a:ext>
            </a:extLst>
          </p:cNvPr>
          <p:cNvSpPr/>
          <p:nvPr userDrawn="1"/>
        </p:nvSpPr>
        <p:spPr>
          <a:xfrm>
            <a:off x="4527293" y="3436678"/>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8" name="Straight Connector 67">
            <a:extLst>
              <a:ext uri="{FF2B5EF4-FFF2-40B4-BE49-F238E27FC236}">
                <a16:creationId xmlns:a16="http://schemas.microsoft.com/office/drawing/2014/main" id="{0FBF096B-09C8-A742-8D7B-2CD71288F329}"/>
              </a:ext>
            </a:extLst>
          </p:cNvPr>
          <p:cNvCxnSpPr>
            <a:cxnSpLocks/>
          </p:cNvCxnSpPr>
          <p:nvPr userDrawn="1"/>
        </p:nvCxnSpPr>
        <p:spPr>
          <a:xfrm>
            <a:off x="9035840" y="3304813"/>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9" name="Text Placeholder 20">
            <a:extLst>
              <a:ext uri="{FF2B5EF4-FFF2-40B4-BE49-F238E27FC236}">
                <a16:creationId xmlns:a16="http://schemas.microsoft.com/office/drawing/2014/main" id="{693B4C3E-8292-A048-A211-BD35FDE740A1}"/>
              </a:ext>
            </a:extLst>
          </p:cNvPr>
          <p:cNvSpPr>
            <a:spLocks noGrp="1"/>
          </p:cNvSpPr>
          <p:nvPr>
            <p:ph type="body" sz="quarter" idx="37" hasCustomPrompt="1"/>
          </p:nvPr>
        </p:nvSpPr>
        <p:spPr>
          <a:xfrm>
            <a:off x="9117123" y="3309950"/>
            <a:ext cx="219359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70" name="Oval 69">
            <a:extLst>
              <a:ext uri="{FF2B5EF4-FFF2-40B4-BE49-F238E27FC236}">
                <a16:creationId xmlns:a16="http://schemas.microsoft.com/office/drawing/2014/main" id="{B40AD22E-5FFC-D145-9D3B-1CD5D45D23AA}"/>
              </a:ext>
            </a:extLst>
          </p:cNvPr>
          <p:cNvSpPr/>
          <p:nvPr userDrawn="1"/>
        </p:nvSpPr>
        <p:spPr>
          <a:xfrm>
            <a:off x="8360691" y="3436678"/>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1" name="Straight Connector 70">
            <a:extLst>
              <a:ext uri="{FF2B5EF4-FFF2-40B4-BE49-F238E27FC236}">
                <a16:creationId xmlns:a16="http://schemas.microsoft.com/office/drawing/2014/main" id="{9B854D38-8E94-2945-A6F3-1F4A80FB0143}"/>
              </a:ext>
            </a:extLst>
          </p:cNvPr>
          <p:cNvCxnSpPr>
            <a:cxnSpLocks/>
          </p:cNvCxnSpPr>
          <p:nvPr userDrawn="1"/>
        </p:nvCxnSpPr>
        <p:spPr>
          <a:xfrm>
            <a:off x="1448411" y="4229496"/>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Text Placeholder 20">
            <a:extLst>
              <a:ext uri="{FF2B5EF4-FFF2-40B4-BE49-F238E27FC236}">
                <a16:creationId xmlns:a16="http://schemas.microsoft.com/office/drawing/2014/main" id="{B03FB43F-DE17-034A-AD6E-863D0BF0C97A}"/>
              </a:ext>
            </a:extLst>
          </p:cNvPr>
          <p:cNvSpPr>
            <a:spLocks noGrp="1"/>
          </p:cNvSpPr>
          <p:nvPr>
            <p:ph type="body" sz="quarter" idx="38" hasCustomPrompt="1"/>
          </p:nvPr>
        </p:nvSpPr>
        <p:spPr>
          <a:xfrm>
            <a:off x="1529693" y="4234633"/>
            <a:ext cx="2187469"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73" name="Oval 72">
            <a:extLst>
              <a:ext uri="{FF2B5EF4-FFF2-40B4-BE49-F238E27FC236}">
                <a16:creationId xmlns:a16="http://schemas.microsoft.com/office/drawing/2014/main" id="{CCBBF6A3-F126-B341-869B-7CBDD189EB87}"/>
              </a:ext>
            </a:extLst>
          </p:cNvPr>
          <p:cNvSpPr/>
          <p:nvPr userDrawn="1"/>
        </p:nvSpPr>
        <p:spPr>
          <a:xfrm>
            <a:off x="773262" y="4361361"/>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4" name="Straight Connector 73">
            <a:extLst>
              <a:ext uri="{FF2B5EF4-FFF2-40B4-BE49-F238E27FC236}">
                <a16:creationId xmlns:a16="http://schemas.microsoft.com/office/drawing/2014/main" id="{B494456F-0DF8-A448-9114-AEF7CC59D455}"/>
              </a:ext>
            </a:extLst>
          </p:cNvPr>
          <p:cNvCxnSpPr>
            <a:cxnSpLocks/>
          </p:cNvCxnSpPr>
          <p:nvPr userDrawn="1"/>
        </p:nvCxnSpPr>
        <p:spPr>
          <a:xfrm>
            <a:off x="5202442" y="4229496"/>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5" name="Text Placeholder 20">
            <a:extLst>
              <a:ext uri="{FF2B5EF4-FFF2-40B4-BE49-F238E27FC236}">
                <a16:creationId xmlns:a16="http://schemas.microsoft.com/office/drawing/2014/main" id="{8AED9D6B-FA7A-9240-ACE9-40A615D0C77B}"/>
              </a:ext>
            </a:extLst>
          </p:cNvPr>
          <p:cNvSpPr>
            <a:spLocks noGrp="1"/>
          </p:cNvSpPr>
          <p:nvPr>
            <p:ph type="body" sz="quarter" idx="39" hasCustomPrompt="1"/>
          </p:nvPr>
        </p:nvSpPr>
        <p:spPr>
          <a:xfrm>
            <a:off x="5283725" y="4234633"/>
            <a:ext cx="2187470"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76" name="Oval 75">
            <a:extLst>
              <a:ext uri="{FF2B5EF4-FFF2-40B4-BE49-F238E27FC236}">
                <a16:creationId xmlns:a16="http://schemas.microsoft.com/office/drawing/2014/main" id="{B4E5386C-E801-E648-AE68-4E88E0AC2450}"/>
              </a:ext>
            </a:extLst>
          </p:cNvPr>
          <p:cNvSpPr/>
          <p:nvPr userDrawn="1"/>
        </p:nvSpPr>
        <p:spPr>
          <a:xfrm>
            <a:off x="4527293" y="4361361"/>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7" name="Straight Connector 76">
            <a:extLst>
              <a:ext uri="{FF2B5EF4-FFF2-40B4-BE49-F238E27FC236}">
                <a16:creationId xmlns:a16="http://schemas.microsoft.com/office/drawing/2014/main" id="{77F2F78F-ADE7-554C-A2FD-66B5759CE696}"/>
              </a:ext>
            </a:extLst>
          </p:cNvPr>
          <p:cNvCxnSpPr>
            <a:cxnSpLocks/>
          </p:cNvCxnSpPr>
          <p:nvPr userDrawn="1"/>
        </p:nvCxnSpPr>
        <p:spPr>
          <a:xfrm>
            <a:off x="9035840" y="4229496"/>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8" name="Text Placeholder 20">
            <a:extLst>
              <a:ext uri="{FF2B5EF4-FFF2-40B4-BE49-F238E27FC236}">
                <a16:creationId xmlns:a16="http://schemas.microsoft.com/office/drawing/2014/main" id="{0F8BCE60-D91B-E448-9707-12A4D5117841}"/>
              </a:ext>
            </a:extLst>
          </p:cNvPr>
          <p:cNvSpPr>
            <a:spLocks noGrp="1"/>
          </p:cNvSpPr>
          <p:nvPr>
            <p:ph type="body" sz="quarter" idx="40" hasCustomPrompt="1"/>
          </p:nvPr>
        </p:nvSpPr>
        <p:spPr>
          <a:xfrm>
            <a:off x="9117123" y="4234633"/>
            <a:ext cx="219359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79" name="Oval 78">
            <a:extLst>
              <a:ext uri="{FF2B5EF4-FFF2-40B4-BE49-F238E27FC236}">
                <a16:creationId xmlns:a16="http://schemas.microsoft.com/office/drawing/2014/main" id="{11D4FBDA-1686-F34C-A3EC-8C13DB3FF9E1}"/>
              </a:ext>
            </a:extLst>
          </p:cNvPr>
          <p:cNvSpPr/>
          <p:nvPr userDrawn="1"/>
        </p:nvSpPr>
        <p:spPr>
          <a:xfrm>
            <a:off x="8360691" y="4361361"/>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0" name="Straight Connector 79">
            <a:extLst>
              <a:ext uri="{FF2B5EF4-FFF2-40B4-BE49-F238E27FC236}">
                <a16:creationId xmlns:a16="http://schemas.microsoft.com/office/drawing/2014/main" id="{AFAC971E-6FED-A84A-AFF8-7D2BBE235176}"/>
              </a:ext>
            </a:extLst>
          </p:cNvPr>
          <p:cNvCxnSpPr>
            <a:cxnSpLocks/>
          </p:cNvCxnSpPr>
          <p:nvPr userDrawn="1"/>
        </p:nvCxnSpPr>
        <p:spPr>
          <a:xfrm>
            <a:off x="1448411" y="5171582"/>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1" name="Text Placeholder 20">
            <a:extLst>
              <a:ext uri="{FF2B5EF4-FFF2-40B4-BE49-F238E27FC236}">
                <a16:creationId xmlns:a16="http://schemas.microsoft.com/office/drawing/2014/main" id="{60FC510F-AB34-924E-942D-935C38146DE6}"/>
              </a:ext>
            </a:extLst>
          </p:cNvPr>
          <p:cNvSpPr>
            <a:spLocks noGrp="1"/>
          </p:cNvSpPr>
          <p:nvPr>
            <p:ph type="body" sz="quarter" idx="41" hasCustomPrompt="1"/>
          </p:nvPr>
        </p:nvSpPr>
        <p:spPr>
          <a:xfrm>
            <a:off x="1529693" y="5176719"/>
            <a:ext cx="2187469"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82" name="Oval 81">
            <a:extLst>
              <a:ext uri="{FF2B5EF4-FFF2-40B4-BE49-F238E27FC236}">
                <a16:creationId xmlns:a16="http://schemas.microsoft.com/office/drawing/2014/main" id="{963066B7-3415-694F-BD42-0686E65350FC}"/>
              </a:ext>
            </a:extLst>
          </p:cNvPr>
          <p:cNvSpPr/>
          <p:nvPr userDrawn="1"/>
        </p:nvSpPr>
        <p:spPr>
          <a:xfrm>
            <a:off x="773262" y="5303447"/>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3" name="Straight Connector 82">
            <a:extLst>
              <a:ext uri="{FF2B5EF4-FFF2-40B4-BE49-F238E27FC236}">
                <a16:creationId xmlns:a16="http://schemas.microsoft.com/office/drawing/2014/main" id="{C0A68C1A-30A7-A347-ADC7-875DF28D144E}"/>
              </a:ext>
            </a:extLst>
          </p:cNvPr>
          <p:cNvCxnSpPr>
            <a:cxnSpLocks/>
          </p:cNvCxnSpPr>
          <p:nvPr userDrawn="1"/>
        </p:nvCxnSpPr>
        <p:spPr>
          <a:xfrm>
            <a:off x="5202442" y="5171582"/>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4" name="Text Placeholder 20">
            <a:extLst>
              <a:ext uri="{FF2B5EF4-FFF2-40B4-BE49-F238E27FC236}">
                <a16:creationId xmlns:a16="http://schemas.microsoft.com/office/drawing/2014/main" id="{9BC348A1-0F4B-D748-9427-6CDF7D128789}"/>
              </a:ext>
            </a:extLst>
          </p:cNvPr>
          <p:cNvSpPr>
            <a:spLocks noGrp="1"/>
          </p:cNvSpPr>
          <p:nvPr>
            <p:ph type="body" sz="quarter" idx="42" hasCustomPrompt="1"/>
          </p:nvPr>
        </p:nvSpPr>
        <p:spPr>
          <a:xfrm>
            <a:off x="5283725" y="5176719"/>
            <a:ext cx="2187470"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85" name="Oval 84">
            <a:extLst>
              <a:ext uri="{FF2B5EF4-FFF2-40B4-BE49-F238E27FC236}">
                <a16:creationId xmlns:a16="http://schemas.microsoft.com/office/drawing/2014/main" id="{FC72BBE4-8608-3B46-AA33-6446773A0E7F}"/>
              </a:ext>
            </a:extLst>
          </p:cNvPr>
          <p:cNvSpPr/>
          <p:nvPr userDrawn="1"/>
        </p:nvSpPr>
        <p:spPr>
          <a:xfrm>
            <a:off x="4527293" y="5303447"/>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6" name="Straight Connector 85">
            <a:extLst>
              <a:ext uri="{FF2B5EF4-FFF2-40B4-BE49-F238E27FC236}">
                <a16:creationId xmlns:a16="http://schemas.microsoft.com/office/drawing/2014/main" id="{8C948146-17FD-DB4A-846E-F51BA988AE33}"/>
              </a:ext>
            </a:extLst>
          </p:cNvPr>
          <p:cNvCxnSpPr>
            <a:cxnSpLocks/>
          </p:cNvCxnSpPr>
          <p:nvPr userDrawn="1"/>
        </p:nvCxnSpPr>
        <p:spPr>
          <a:xfrm>
            <a:off x="9035840" y="5171582"/>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7" name="Text Placeholder 20">
            <a:extLst>
              <a:ext uri="{FF2B5EF4-FFF2-40B4-BE49-F238E27FC236}">
                <a16:creationId xmlns:a16="http://schemas.microsoft.com/office/drawing/2014/main" id="{75BDE792-8516-F140-98B5-E6555694FF9F}"/>
              </a:ext>
            </a:extLst>
          </p:cNvPr>
          <p:cNvSpPr>
            <a:spLocks noGrp="1"/>
          </p:cNvSpPr>
          <p:nvPr>
            <p:ph type="body" sz="quarter" idx="43" hasCustomPrompt="1"/>
          </p:nvPr>
        </p:nvSpPr>
        <p:spPr>
          <a:xfrm>
            <a:off x="9117123" y="5176719"/>
            <a:ext cx="219359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88" name="Oval 87">
            <a:extLst>
              <a:ext uri="{FF2B5EF4-FFF2-40B4-BE49-F238E27FC236}">
                <a16:creationId xmlns:a16="http://schemas.microsoft.com/office/drawing/2014/main" id="{DDDC840E-AD4E-2B46-B591-42777DAB80FF}"/>
              </a:ext>
            </a:extLst>
          </p:cNvPr>
          <p:cNvSpPr/>
          <p:nvPr userDrawn="1"/>
        </p:nvSpPr>
        <p:spPr>
          <a:xfrm>
            <a:off x="8360691" y="5303447"/>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Title 1">
            <a:extLst>
              <a:ext uri="{FF2B5EF4-FFF2-40B4-BE49-F238E27FC236}">
                <a16:creationId xmlns:a16="http://schemas.microsoft.com/office/drawing/2014/main" id="{F69BD680-0AAD-24E2-CE88-7D26D6861A10}"/>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50" name="Bilde 3">
            <a:extLst>
              <a:ext uri="{FF2B5EF4-FFF2-40B4-BE49-F238E27FC236}">
                <a16:creationId xmlns:a16="http://schemas.microsoft.com/office/drawing/2014/main" id="{2DE1B364-CE7B-11B5-BC6E-1FAF7873E55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51" name="Date Placeholder 2">
            <a:extLst>
              <a:ext uri="{FF2B5EF4-FFF2-40B4-BE49-F238E27FC236}">
                <a16:creationId xmlns:a16="http://schemas.microsoft.com/office/drawing/2014/main" id="{90471FF1-65DE-B018-6763-A20C8F2B0096}"/>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52" name="Footer Placeholder 3">
            <a:extLst>
              <a:ext uri="{FF2B5EF4-FFF2-40B4-BE49-F238E27FC236}">
                <a16:creationId xmlns:a16="http://schemas.microsoft.com/office/drawing/2014/main" id="{9EEC813E-A40F-C063-108A-6633715C3EF6}"/>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59" name="Slide Number Placeholder 4">
            <a:extLst>
              <a:ext uri="{FF2B5EF4-FFF2-40B4-BE49-F238E27FC236}">
                <a16:creationId xmlns:a16="http://schemas.microsoft.com/office/drawing/2014/main" id="{9DAA2385-A5B6-C08D-177C-2EC33650DD5F}"/>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3332660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63_Custom Layout">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C7B5656-DA3F-9847-9792-691229FFB730}"/>
              </a:ext>
            </a:extLst>
          </p:cNvPr>
          <p:cNvSpPr/>
          <p:nvPr userDrawn="1"/>
        </p:nvSpPr>
        <p:spPr>
          <a:xfrm>
            <a:off x="1081661" y="1477481"/>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1108209" y="2551410"/>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213240" y="1625928"/>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225116" y="2556547"/>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58" name="Straight Connector 57">
            <a:extLst>
              <a:ext uri="{FF2B5EF4-FFF2-40B4-BE49-F238E27FC236}">
                <a16:creationId xmlns:a16="http://schemas.microsoft.com/office/drawing/2014/main" id="{14D0E40A-826D-D447-875C-24BB261305E6}"/>
              </a:ext>
            </a:extLst>
          </p:cNvPr>
          <p:cNvCxnSpPr>
            <a:cxnSpLocks/>
          </p:cNvCxnSpPr>
          <p:nvPr userDrawn="1"/>
        </p:nvCxnSpPr>
        <p:spPr>
          <a:xfrm>
            <a:off x="1108209" y="3480898"/>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Text Placeholder 20">
            <a:extLst>
              <a:ext uri="{FF2B5EF4-FFF2-40B4-BE49-F238E27FC236}">
                <a16:creationId xmlns:a16="http://schemas.microsoft.com/office/drawing/2014/main" id="{8F334DBA-DB16-D64B-BA18-F61C21BB3599}"/>
              </a:ext>
            </a:extLst>
          </p:cNvPr>
          <p:cNvSpPr>
            <a:spLocks noGrp="1"/>
          </p:cNvSpPr>
          <p:nvPr>
            <p:ph type="body" sz="quarter" idx="35" hasCustomPrompt="1"/>
          </p:nvPr>
        </p:nvSpPr>
        <p:spPr>
          <a:xfrm>
            <a:off x="1225116" y="3486035"/>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71" name="Straight Connector 70">
            <a:extLst>
              <a:ext uri="{FF2B5EF4-FFF2-40B4-BE49-F238E27FC236}">
                <a16:creationId xmlns:a16="http://schemas.microsoft.com/office/drawing/2014/main" id="{9B854D38-8E94-2945-A6F3-1F4A80FB0143}"/>
              </a:ext>
            </a:extLst>
          </p:cNvPr>
          <p:cNvCxnSpPr>
            <a:cxnSpLocks/>
          </p:cNvCxnSpPr>
          <p:nvPr userDrawn="1"/>
        </p:nvCxnSpPr>
        <p:spPr>
          <a:xfrm>
            <a:off x="1108209" y="4405581"/>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Text Placeholder 20">
            <a:extLst>
              <a:ext uri="{FF2B5EF4-FFF2-40B4-BE49-F238E27FC236}">
                <a16:creationId xmlns:a16="http://schemas.microsoft.com/office/drawing/2014/main" id="{B03FB43F-DE17-034A-AD6E-863D0BF0C97A}"/>
              </a:ext>
            </a:extLst>
          </p:cNvPr>
          <p:cNvSpPr>
            <a:spLocks noGrp="1"/>
          </p:cNvSpPr>
          <p:nvPr>
            <p:ph type="body" sz="quarter" idx="38" hasCustomPrompt="1"/>
          </p:nvPr>
        </p:nvSpPr>
        <p:spPr>
          <a:xfrm>
            <a:off x="1225116" y="4410718"/>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80" name="Straight Connector 79">
            <a:extLst>
              <a:ext uri="{FF2B5EF4-FFF2-40B4-BE49-F238E27FC236}">
                <a16:creationId xmlns:a16="http://schemas.microsoft.com/office/drawing/2014/main" id="{AFAC971E-6FED-A84A-AFF8-7D2BBE235176}"/>
              </a:ext>
            </a:extLst>
          </p:cNvPr>
          <p:cNvCxnSpPr>
            <a:cxnSpLocks/>
          </p:cNvCxnSpPr>
          <p:nvPr userDrawn="1"/>
        </p:nvCxnSpPr>
        <p:spPr>
          <a:xfrm>
            <a:off x="1108209" y="534766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1" name="Text Placeholder 20">
            <a:extLst>
              <a:ext uri="{FF2B5EF4-FFF2-40B4-BE49-F238E27FC236}">
                <a16:creationId xmlns:a16="http://schemas.microsoft.com/office/drawing/2014/main" id="{60FC510F-AB34-924E-942D-935C38146DE6}"/>
              </a:ext>
            </a:extLst>
          </p:cNvPr>
          <p:cNvSpPr>
            <a:spLocks noGrp="1"/>
          </p:cNvSpPr>
          <p:nvPr>
            <p:ph type="body" sz="quarter" idx="41" hasCustomPrompt="1"/>
          </p:nvPr>
        </p:nvSpPr>
        <p:spPr>
          <a:xfrm>
            <a:off x="1225116" y="535280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 name="TextBox 2">
            <a:extLst>
              <a:ext uri="{FF2B5EF4-FFF2-40B4-BE49-F238E27FC236}">
                <a16:creationId xmlns:a16="http://schemas.microsoft.com/office/drawing/2014/main" id="{F3A29A19-CBAD-DB4D-A8E8-E75B17885703}"/>
              </a:ext>
            </a:extLst>
          </p:cNvPr>
          <p:cNvSpPr txBox="1"/>
          <p:nvPr userDrawn="1"/>
        </p:nvSpPr>
        <p:spPr>
          <a:xfrm>
            <a:off x="665830" y="1665452"/>
            <a:ext cx="559286" cy="523220"/>
          </a:xfrm>
          <a:prstGeom prst="rect">
            <a:avLst/>
          </a:prstGeom>
        </p:spPr>
        <p:txBody>
          <a:bodyPr wrap="square" rtlCol="0">
            <a:spAutoFit/>
          </a:bodyPr>
          <a:lstStyle/>
          <a:p>
            <a:r>
              <a:rPr lang="en-GB" sz="2800" b="1" i="0">
                <a:solidFill>
                  <a:schemeClr val="accent1"/>
                </a:solidFill>
                <a:latin typeface="Helvetica" pitchFamily="2" charset="0"/>
              </a:rPr>
              <a:t>1</a:t>
            </a:r>
          </a:p>
        </p:txBody>
      </p:sp>
      <p:sp>
        <p:nvSpPr>
          <p:cNvPr id="51" name="Rectangle 50">
            <a:extLst>
              <a:ext uri="{FF2B5EF4-FFF2-40B4-BE49-F238E27FC236}">
                <a16:creationId xmlns:a16="http://schemas.microsoft.com/office/drawing/2014/main" id="{25FF2627-BFD7-7245-8BBD-EF14EE38529E}"/>
              </a:ext>
            </a:extLst>
          </p:cNvPr>
          <p:cNvSpPr/>
          <p:nvPr userDrawn="1"/>
        </p:nvSpPr>
        <p:spPr>
          <a:xfrm>
            <a:off x="4721017" y="1477481"/>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a16="http://schemas.microsoft.com/office/drawing/2014/main" id="{9D94247F-1687-1C46-BCBA-B35359725D0B}"/>
              </a:ext>
            </a:extLst>
          </p:cNvPr>
          <p:cNvCxnSpPr>
            <a:cxnSpLocks/>
          </p:cNvCxnSpPr>
          <p:nvPr userDrawn="1"/>
        </p:nvCxnSpPr>
        <p:spPr>
          <a:xfrm>
            <a:off x="4747565" y="2551410"/>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9" name="Text Placeholder 20">
            <a:extLst>
              <a:ext uri="{FF2B5EF4-FFF2-40B4-BE49-F238E27FC236}">
                <a16:creationId xmlns:a16="http://schemas.microsoft.com/office/drawing/2014/main" id="{DF30A173-A5B6-1947-B430-0C6C140A1F01}"/>
              </a:ext>
            </a:extLst>
          </p:cNvPr>
          <p:cNvSpPr>
            <a:spLocks noGrp="1"/>
          </p:cNvSpPr>
          <p:nvPr>
            <p:ph type="body" sz="quarter" idx="42" hasCustomPrompt="1"/>
          </p:nvPr>
        </p:nvSpPr>
        <p:spPr>
          <a:xfrm>
            <a:off x="4852596" y="1625928"/>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60" name="Text Placeholder 20">
            <a:extLst>
              <a:ext uri="{FF2B5EF4-FFF2-40B4-BE49-F238E27FC236}">
                <a16:creationId xmlns:a16="http://schemas.microsoft.com/office/drawing/2014/main" id="{5B1BD81B-610E-C040-9E12-9890AAD2A079}"/>
              </a:ext>
            </a:extLst>
          </p:cNvPr>
          <p:cNvSpPr>
            <a:spLocks noGrp="1"/>
          </p:cNvSpPr>
          <p:nvPr>
            <p:ph type="body" sz="quarter" idx="43" hasCustomPrompt="1"/>
          </p:nvPr>
        </p:nvSpPr>
        <p:spPr>
          <a:xfrm>
            <a:off x="4864472" y="2556547"/>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61" name="Straight Connector 60">
            <a:extLst>
              <a:ext uri="{FF2B5EF4-FFF2-40B4-BE49-F238E27FC236}">
                <a16:creationId xmlns:a16="http://schemas.microsoft.com/office/drawing/2014/main" id="{2FF13610-5A03-124C-A6D3-AA5918F132C9}"/>
              </a:ext>
            </a:extLst>
          </p:cNvPr>
          <p:cNvCxnSpPr>
            <a:cxnSpLocks/>
          </p:cNvCxnSpPr>
          <p:nvPr userDrawn="1"/>
        </p:nvCxnSpPr>
        <p:spPr>
          <a:xfrm>
            <a:off x="4747565" y="3480898"/>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2" name="Text Placeholder 20">
            <a:extLst>
              <a:ext uri="{FF2B5EF4-FFF2-40B4-BE49-F238E27FC236}">
                <a16:creationId xmlns:a16="http://schemas.microsoft.com/office/drawing/2014/main" id="{CA1B7917-580E-9844-8A05-6C5610890CE7}"/>
              </a:ext>
            </a:extLst>
          </p:cNvPr>
          <p:cNvSpPr>
            <a:spLocks noGrp="1"/>
          </p:cNvSpPr>
          <p:nvPr>
            <p:ph type="body" sz="quarter" idx="44" hasCustomPrompt="1"/>
          </p:nvPr>
        </p:nvSpPr>
        <p:spPr>
          <a:xfrm>
            <a:off x="4864472" y="3486035"/>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89" name="Straight Connector 88">
            <a:extLst>
              <a:ext uri="{FF2B5EF4-FFF2-40B4-BE49-F238E27FC236}">
                <a16:creationId xmlns:a16="http://schemas.microsoft.com/office/drawing/2014/main" id="{E2BF938D-CBAC-4B44-9556-DF0C3CA4DF8F}"/>
              </a:ext>
            </a:extLst>
          </p:cNvPr>
          <p:cNvCxnSpPr>
            <a:cxnSpLocks/>
          </p:cNvCxnSpPr>
          <p:nvPr userDrawn="1"/>
        </p:nvCxnSpPr>
        <p:spPr>
          <a:xfrm>
            <a:off x="4747565" y="4405581"/>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0" name="Text Placeholder 20">
            <a:extLst>
              <a:ext uri="{FF2B5EF4-FFF2-40B4-BE49-F238E27FC236}">
                <a16:creationId xmlns:a16="http://schemas.microsoft.com/office/drawing/2014/main" id="{4603BFF9-BFF5-6841-9F55-9A442D528BCD}"/>
              </a:ext>
            </a:extLst>
          </p:cNvPr>
          <p:cNvSpPr>
            <a:spLocks noGrp="1"/>
          </p:cNvSpPr>
          <p:nvPr>
            <p:ph type="body" sz="quarter" idx="45" hasCustomPrompt="1"/>
          </p:nvPr>
        </p:nvSpPr>
        <p:spPr>
          <a:xfrm>
            <a:off x="4864472" y="4410718"/>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91" name="Straight Connector 90">
            <a:extLst>
              <a:ext uri="{FF2B5EF4-FFF2-40B4-BE49-F238E27FC236}">
                <a16:creationId xmlns:a16="http://schemas.microsoft.com/office/drawing/2014/main" id="{9DC2EED5-BB61-9444-A911-2C32CB804CC5}"/>
              </a:ext>
            </a:extLst>
          </p:cNvPr>
          <p:cNvCxnSpPr>
            <a:cxnSpLocks/>
          </p:cNvCxnSpPr>
          <p:nvPr userDrawn="1"/>
        </p:nvCxnSpPr>
        <p:spPr>
          <a:xfrm>
            <a:off x="4747565" y="534766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2" name="Text Placeholder 20">
            <a:extLst>
              <a:ext uri="{FF2B5EF4-FFF2-40B4-BE49-F238E27FC236}">
                <a16:creationId xmlns:a16="http://schemas.microsoft.com/office/drawing/2014/main" id="{E7161696-114D-3C41-BE58-292DC3B4482B}"/>
              </a:ext>
            </a:extLst>
          </p:cNvPr>
          <p:cNvSpPr>
            <a:spLocks noGrp="1"/>
          </p:cNvSpPr>
          <p:nvPr>
            <p:ph type="body" sz="quarter" idx="46" hasCustomPrompt="1"/>
          </p:nvPr>
        </p:nvSpPr>
        <p:spPr>
          <a:xfrm>
            <a:off x="4864472" y="535280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93" name="TextBox 92">
            <a:extLst>
              <a:ext uri="{FF2B5EF4-FFF2-40B4-BE49-F238E27FC236}">
                <a16:creationId xmlns:a16="http://schemas.microsoft.com/office/drawing/2014/main" id="{CB751464-8A7F-FA49-856D-4334A4C81AF1}"/>
              </a:ext>
            </a:extLst>
          </p:cNvPr>
          <p:cNvSpPr txBox="1"/>
          <p:nvPr userDrawn="1"/>
        </p:nvSpPr>
        <p:spPr>
          <a:xfrm>
            <a:off x="4305186" y="1665452"/>
            <a:ext cx="559286" cy="523220"/>
          </a:xfrm>
          <a:prstGeom prst="rect">
            <a:avLst/>
          </a:prstGeom>
        </p:spPr>
        <p:txBody>
          <a:bodyPr wrap="square" rtlCol="0">
            <a:spAutoFit/>
          </a:bodyPr>
          <a:lstStyle/>
          <a:p>
            <a:r>
              <a:rPr lang="en-GB" sz="2800" b="1" i="0">
                <a:solidFill>
                  <a:schemeClr val="accent1"/>
                </a:solidFill>
                <a:latin typeface="Helvetica" pitchFamily="2" charset="0"/>
              </a:rPr>
              <a:t>2</a:t>
            </a:r>
          </a:p>
        </p:txBody>
      </p:sp>
      <p:sp>
        <p:nvSpPr>
          <p:cNvPr id="94" name="Rectangle 93">
            <a:extLst>
              <a:ext uri="{FF2B5EF4-FFF2-40B4-BE49-F238E27FC236}">
                <a16:creationId xmlns:a16="http://schemas.microsoft.com/office/drawing/2014/main" id="{EF0334F8-DBA7-D04B-8D45-8AECC5324BDE}"/>
              </a:ext>
            </a:extLst>
          </p:cNvPr>
          <p:cNvSpPr/>
          <p:nvPr userDrawn="1"/>
        </p:nvSpPr>
        <p:spPr>
          <a:xfrm>
            <a:off x="8307365" y="1471229"/>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Straight Connector 94">
            <a:extLst>
              <a:ext uri="{FF2B5EF4-FFF2-40B4-BE49-F238E27FC236}">
                <a16:creationId xmlns:a16="http://schemas.microsoft.com/office/drawing/2014/main" id="{3D13591D-6EC1-AB4F-9969-6302E362784E}"/>
              </a:ext>
            </a:extLst>
          </p:cNvPr>
          <p:cNvCxnSpPr>
            <a:cxnSpLocks/>
          </p:cNvCxnSpPr>
          <p:nvPr userDrawn="1"/>
        </p:nvCxnSpPr>
        <p:spPr>
          <a:xfrm>
            <a:off x="8333913" y="2545158"/>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6" name="Text Placeholder 20">
            <a:extLst>
              <a:ext uri="{FF2B5EF4-FFF2-40B4-BE49-F238E27FC236}">
                <a16:creationId xmlns:a16="http://schemas.microsoft.com/office/drawing/2014/main" id="{14BEE252-4639-114D-AFB0-243BBC85FDD9}"/>
              </a:ext>
            </a:extLst>
          </p:cNvPr>
          <p:cNvSpPr>
            <a:spLocks noGrp="1"/>
          </p:cNvSpPr>
          <p:nvPr>
            <p:ph type="body" sz="quarter" idx="47" hasCustomPrompt="1"/>
          </p:nvPr>
        </p:nvSpPr>
        <p:spPr>
          <a:xfrm>
            <a:off x="8438944" y="1619676"/>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97" name="Text Placeholder 20">
            <a:extLst>
              <a:ext uri="{FF2B5EF4-FFF2-40B4-BE49-F238E27FC236}">
                <a16:creationId xmlns:a16="http://schemas.microsoft.com/office/drawing/2014/main" id="{FC6370E8-D75B-1844-A610-8287D1D8E14C}"/>
              </a:ext>
            </a:extLst>
          </p:cNvPr>
          <p:cNvSpPr>
            <a:spLocks noGrp="1"/>
          </p:cNvSpPr>
          <p:nvPr>
            <p:ph type="body" sz="quarter" idx="48" hasCustomPrompt="1"/>
          </p:nvPr>
        </p:nvSpPr>
        <p:spPr>
          <a:xfrm>
            <a:off x="8450820" y="2550295"/>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98" name="Straight Connector 97">
            <a:extLst>
              <a:ext uri="{FF2B5EF4-FFF2-40B4-BE49-F238E27FC236}">
                <a16:creationId xmlns:a16="http://schemas.microsoft.com/office/drawing/2014/main" id="{C0D779F3-6521-3942-8C9F-C999AF5DED7E}"/>
              </a:ext>
            </a:extLst>
          </p:cNvPr>
          <p:cNvCxnSpPr>
            <a:cxnSpLocks/>
          </p:cNvCxnSpPr>
          <p:nvPr userDrawn="1"/>
        </p:nvCxnSpPr>
        <p:spPr>
          <a:xfrm>
            <a:off x="8333913" y="3474646"/>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9" name="Text Placeholder 20">
            <a:extLst>
              <a:ext uri="{FF2B5EF4-FFF2-40B4-BE49-F238E27FC236}">
                <a16:creationId xmlns:a16="http://schemas.microsoft.com/office/drawing/2014/main" id="{C51B118D-026B-804A-A087-4B2F7080C4CB}"/>
              </a:ext>
            </a:extLst>
          </p:cNvPr>
          <p:cNvSpPr>
            <a:spLocks noGrp="1"/>
          </p:cNvSpPr>
          <p:nvPr>
            <p:ph type="body" sz="quarter" idx="49" hasCustomPrompt="1"/>
          </p:nvPr>
        </p:nvSpPr>
        <p:spPr>
          <a:xfrm>
            <a:off x="8450820" y="3479783"/>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100" name="Straight Connector 99">
            <a:extLst>
              <a:ext uri="{FF2B5EF4-FFF2-40B4-BE49-F238E27FC236}">
                <a16:creationId xmlns:a16="http://schemas.microsoft.com/office/drawing/2014/main" id="{9B8AEA03-D8B2-AF4D-8117-E6BB4A0DD32B}"/>
              </a:ext>
            </a:extLst>
          </p:cNvPr>
          <p:cNvCxnSpPr>
            <a:cxnSpLocks/>
          </p:cNvCxnSpPr>
          <p:nvPr userDrawn="1"/>
        </p:nvCxnSpPr>
        <p:spPr>
          <a:xfrm>
            <a:off x="8333913" y="4399329"/>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1" name="Text Placeholder 20">
            <a:extLst>
              <a:ext uri="{FF2B5EF4-FFF2-40B4-BE49-F238E27FC236}">
                <a16:creationId xmlns:a16="http://schemas.microsoft.com/office/drawing/2014/main" id="{BBEB6736-19B2-5B4F-8A4E-C0BDDEB6F0BD}"/>
              </a:ext>
            </a:extLst>
          </p:cNvPr>
          <p:cNvSpPr>
            <a:spLocks noGrp="1"/>
          </p:cNvSpPr>
          <p:nvPr>
            <p:ph type="body" sz="quarter" idx="50" hasCustomPrompt="1"/>
          </p:nvPr>
        </p:nvSpPr>
        <p:spPr>
          <a:xfrm>
            <a:off x="8450820" y="4404466"/>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102" name="Straight Connector 101">
            <a:extLst>
              <a:ext uri="{FF2B5EF4-FFF2-40B4-BE49-F238E27FC236}">
                <a16:creationId xmlns:a16="http://schemas.microsoft.com/office/drawing/2014/main" id="{4ABA2814-393E-934A-ABEB-748B137485D0}"/>
              </a:ext>
            </a:extLst>
          </p:cNvPr>
          <p:cNvCxnSpPr>
            <a:cxnSpLocks/>
          </p:cNvCxnSpPr>
          <p:nvPr userDrawn="1"/>
        </p:nvCxnSpPr>
        <p:spPr>
          <a:xfrm>
            <a:off x="8333913" y="534141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3" name="Text Placeholder 20">
            <a:extLst>
              <a:ext uri="{FF2B5EF4-FFF2-40B4-BE49-F238E27FC236}">
                <a16:creationId xmlns:a16="http://schemas.microsoft.com/office/drawing/2014/main" id="{DE66B957-6AB7-A74D-A611-8A2CBDFEF9E8}"/>
              </a:ext>
            </a:extLst>
          </p:cNvPr>
          <p:cNvSpPr>
            <a:spLocks noGrp="1"/>
          </p:cNvSpPr>
          <p:nvPr>
            <p:ph type="body" sz="quarter" idx="51" hasCustomPrompt="1"/>
          </p:nvPr>
        </p:nvSpPr>
        <p:spPr>
          <a:xfrm>
            <a:off x="8450820" y="5346552"/>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4" name="TextBox 103">
            <a:extLst>
              <a:ext uri="{FF2B5EF4-FFF2-40B4-BE49-F238E27FC236}">
                <a16:creationId xmlns:a16="http://schemas.microsoft.com/office/drawing/2014/main" id="{6969653A-6C2C-8147-ACCB-D4F972B28B3B}"/>
              </a:ext>
            </a:extLst>
          </p:cNvPr>
          <p:cNvSpPr txBox="1"/>
          <p:nvPr userDrawn="1"/>
        </p:nvSpPr>
        <p:spPr>
          <a:xfrm>
            <a:off x="7891534" y="1659200"/>
            <a:ext cx="559286" cy="523220"/>
          </a:xfrm>
          <a:prstGeom prst="rect">
            <a:avLst/>
          </a:prstGeom>
        </p:spPr>
        <p:txBody>
          <a:bodyPr wrap="square" rtlCol="0">
            <a:spAutoFit/>
          </a:bodyPr>
          <a:lstStyle/>
          <a:p>
            <a:r>
              <a:rPr lang="en-GB" sz="2800" b="1" i="0">
                <a:solidFill>
                  <a:schemeClr val="accent1"/>
                </a:solidFill>
                <a:latin typeface="Helvetica" pitchFamily="2" charset="0"/>
              </a:rPr>
              <a:t>3</a:t>
            </a:r>
          </a:p>
        </p:txBody>
      </p:sp>
      <p:sp>
        <p:nvSpPr>
          <p:cNvPr id="38" name="Title 1">
            <a:extLst>
              <a:ext uri="{FF2B5EF4-FFF2-40B4-BE49-F238E27FC236}">
                <a16:creationId xmlns:a16="http://schemas.microsoft.com/office/drawing/2014/main" id="{00D9EB27-355B-C0ED-84F3-A25252382F8B}"/>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41" name="Bilde 3">
            <a:extLst>
              <a:ext uri="{FF2B5EF4-FFF2-40B4-BE49-F238E27FC236}">
                <a16:creationId xmlns:a16="http://schemas.microsoft.com/office/drawing/2014/main" id="{802CD67E-099A-F1EE-76BF-B44552A10B5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42" name="Date Placeholder 2">
            <a:extLst>
              <a:ext uri="{FF2B5EF4-FFF2-40B4-BE49-F238E27FC236}">
                <a16:creationId xmlns:a16="http://schemas.microsoft.com/office/drawing/2014/main" id="{84CD0A1D-2D46-EBC0-78C1-A1B18A834B32}"/>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43" name="Footer Placeholder 3">
            <a:extLst>
              <a:ext uri="{FF2B5EF4-FFF2-40B4-BE49-F238E27FC236}">
                <a16:creationId xmlns:a16="http://schemas.microsoft.com/office/drawing/2014/main" id="{D4DFBF39-7B4F-EE99-33C6-C72DB6B6A70F}"/>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46" name="Slide Number Placeholder 4">
            <a:extLst>
              <a:ext uri="{FF2B5EF4-FFF2-40B4-BE49-F238E27FC236}">
                <a16:creationId xmlns:a16="http://schemas.microsoft.com/office/drawing/2014/main" id="{12EDDAFD-A3D0-210E-E712-1CBB4917AF1E}"/>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40051245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62_Custom Layout">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C7B5656-DA3F-9847-9792-691229FFB730}"/>
              </a:ext>
            </a:extLst>
          </p:cNvPr>
          <p:cNvSpPr/>
          <p:nvPr userDrawn="1"/>
        </p:nvSpPr>
        <p:spPr>
          <a:xfrm>
            <a:off x="1081661" y="1716020"/>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1108209" y="2789949"/>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213240" y="1864467"/>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225116" y="2795086"/>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58" name="Straight Connector 57">
            <a:extLst>
              <a:ext uri="{FF2B5EF4-FFF2-40B4-BE49-F238E27FC236}">
                <a16:creationId xmlns:a16="http://schemas.microsoft.com/office/drawing/2014/main" id="{14D0E40A-826D-D447-875C-24BB261305E6}"/>
              </a:ext>
            </a:extLst>
          </p:cNvPr>
          <p:cNvCxnSpPr>
            <a:cxnSpLocks/>
          </p:cNvCxnSpPr>
          <p:nvPr userDrawn="1"/>
        </p:nvCxnSpPr>
        <p:spPr>
          <a:xfrm>
            <a:off x="1108209" y="371943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Text Placeholder 20">
            <a:extLst>
              <a:ext uri="{FF2B5EF4-FFF2-40B4-BE49-F238E27FC236}">
                <a16:creationId xmlns:a16="http://schemas.microsoft.com/office/drawing/2014/main" id="{8F334DBA-DB16-D64B-BA18-F61C21BB3599}"/>
              </a:ext>
            </a:extLst>
          </p:cNvPr>
          <p:cNvSpPr>
            <a:spLocks noGrp="1"/>
          </p:cNvSpPr>
          <p:nvPr>
            <p:ph type="body" sz="quarter" idx="35" hasCustomPrompt="1"/>
          </p:nvPr>
        </p:nvSpPr>
        <p:spPr>
          <a:xfrm>
            <a:off x="1225116" y="372457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71" name="Straight Connector 70">
            <a:extLst>
              <a:ext uri="{FF2B5EF4-FFF2-40B4-BE49-F238E27FC236}">
                <a16:creationId xmlns:a16="http://schemas.microsoft.com/office/drawing/2014/main" id="{9B854D38-8E94-2945-A6F3-1F4A80FB0143}"/>
              </a:ext>
            </a:extLst>
          </p:cNvPr>
          <p:cNvCxnSpPr>
            <a:cxnSpLocks/>
          </p:cNvCxnSpPr>
          <p:nvPr userDrawn="1"/>
        </p:nvCxnSpPr>
        <p:spPr>
          <a:xfrm>
            <a:off x="1108209" y="4644120"/>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Text Placeholder 20">
            <a:extLst>
              <a:ext uri="{FF2B5EF4-FFF2-40B4-BE49-F238E27FC236}">
                <a16:creationId xmlns:a16="http://schemas.microsoft.com/office/drawing/2014/main" id="{B03FB43F-DE17-034A-AD6E-863D0BF0C97A}"/>
              </a:ext>
            </a:extLst>
          </p:cNvPr>
          <p:cNvSpPr>
            <a:spLocks noGrp="1"/>
          </p:cNvSpPr>
          <p:nvPr>
            <p:ph type="body" sz="quarter" idx="38" hasCustomPrompt="1"/>
          </p:nvPr>
        </p:nvSpPr>
        <p:spPr>
          <a:xfrm>
            <a:off x="1225116" y="4649257"/>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 name="TextBox 2">
            <a:extLst>
              <a:ext uri="{FF2B5EF4-FFF2-40B4-BE49-F238E27FC236}">
                <a16:creationId xmlns:a16="http://schemas.microsoft.com/office/drawing/2014/main" id="{F3A29A19-CBAD-DB4D-A8E8-E75B17885703}"/>
              </a:ext>
            </a:extLst>
          </p:cNvPr>
          <p:cNvSpPr txBox="1"/>
          <p:nvPr userDrawn="1"/>
        </p:nvSpPr>
        <p:spPr>
          <a:xfrm>
            <a:off x="665830" y="1903991"/>
            <a:ext cx="559286" cy="523220"/>
          </a:xfrm>
          <a:prstGeom prst="rect">
            <a:avLst/>
          </a:prstGeom>
        </p:spPr>
        <p:txBody>
          <a:bodyPr wrap="square" rtlCol="0">
            <a:spAutoFit/>
          </a:bodyPr>
          <a:lstStyle/>
          <a:p>
            <a:r>
              <a:rPr lang="en-GB" sz="2800" b="1" i="0">
                <a:solidFill>
                  <a:schemeClr val="accent1"/>
                </a:solidFill>
                <a:latin typeface="Helvetica" pitchFamily="2" charset="0"/>
              </a:rPr>
              <a:t>1</a:t>
            </a:r>
          </a:p>
        </p:txBody>
      </p:sp>
      <p:sp>
        <p:nvSpPr>
          <p:cNvPr id="51" name="Rectangle 50">
            <a:extLst>
              <a:ext uri="{FF2B5EF4-FFF2-40B4-BE49-F238E27FC236}">
                <a16:creationId xmlns:a16="http://schemas.microsoft.com/office/drawing/2014/main" id="{25FF2627-BFD7-7245-8BBD-EF14EE38529E}"/>
              </a:ext>
            </a:extLst>
          </p:cNvPr>
          <p:cNvSpPr/>
          <p:nvPr userDrawn="1"/>
        </p:nvSpPr>
        <p:spPr>
          <a:xfrm>
            <a:off x="4721017" y="1716020"/>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a16="http://schemas.microsoft.com/office/drawing/2014/main" id="{9D94247F-1687-1C46-BCBA-B35359725D0B}"/>
              </a:ext>
            </a:extLst>
          </p:cNvPr>
          <p:cNvCxnSpPr>
            <a:cxnSpLocks/>
          </p:cNvCxnSpPr>
          <p:nvPr userDrawn="1"/>
        </p:nvCxnSpPr>
        <p:spPr>
          <a:xfrm>
            <a:off x="4747565" y="2789949"/>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9" name="Text Placeholder 20">
            <a:extLst>
              <a:ext uri="{FF2B5EF4-FFF2-40B4-BE49-F238E27FC236}">
                <a16:creationId xmlns:a16="http://schemas.microsoft.com/office/drawing/2014/main" id="{DF30A173-A5B6-1947-B430-0C6C140A1F01}"/>
              </a:ext>
            </a:extLst>
          </p:cNvPr>
          <p:cNvSpPr>
            <a:spLocks noGrp="1"/>
          </p:cNvSpPr>
          <p:nvPr>
            <p:ph type="body" sz="quarter" idx="42" hasCustomPrompt="1"/>
          </p:nvPr>
        </p:nvSpPr>
        <p:spPr>
          <a:xfrm>
            <a:off x="4852596" y="1864467"/>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60" name="Text Placeholder 20">
            <a:extLst>
              <a:ext uri="{FF2B5EF4-FFF2-40B4-BE49-F238E27FC236}">
                <a16:creationId xmlns:a16="http://schemas.microsoft.com/office/drawing/2014/main" id="{5B1BD81B-610E-C040-9E12-9890AAD2A079}"/>
              </a:ext>
            </a:extLst>
          </p:cNvPr>
          <p:cNvSpPr>
            <a:spLocks noGrp="1"/>
          </p:cNvSpPr>
          <p:nvPr>
            <p:ph type="body" sz="quarter" idx="43" hasCustomPrompt="1"/>
          </p:nvPr>
        </p:nvSpPr>
        <p:spPr>
          <a:xfrm>
            <a:off x="4864472" y="2795086"/>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61" name="Straight Connector 60">
            <a:extLst>
              <a:ext uri="{FF2B5EF4-FFF2-40B4-BE49-F238E27FC236}">
                <a16:creationId xmlns:a16="http://schemas.microsoft.com/office/drawing/2014/main" id="{2FF13610-5A03-124C-A6D3-AA5918F132C9}"/>
              </a:ext>
            </a:extLst>
          </p:cNvPr>
          <p:cNvCxnSpPr>
            <a:cxnSpLocks/>
          </p:cNvCxnSpPr>
          <p:nvPr userDrawn="1"/>
        </p:nvCxnSpPr>
        <p:spPr>
          <a:xfrm>
            <a:off x="4747565" y="371943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2" name="Text Placeholder 20">
            <a:extLst>
              <a:ext uri="{FF2B5EF4-FFF2-40B4-BE49-F238E27FC236}">
                <a16:creationId xmlns:a16="http://schemas.microsoft.com/office/drawing/2014/main" id="{CA1B7917-580E-9844-8A05-6C5610890CE7}"/>
              </a:ext>
            </a:extLst>
          </p:cNvPr>
          <p:cNvSpPr>
            <a:spLocks noGrp="1"/>
          </p:cNvSpPr>
          <p:nvPr>
            <p:ph type="body" sz="quarter" idx="44" hasCustomPrompt="1"/>
          </p:nvPr>
        </p:nvSpPr>
        <p:spPr>
          <a:xfrm>
            <a:off x="4864472" y="372457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89" name="Straight Connector 88">
            <a:extLst>
              <a:ext uri="{FF2B5EF4-FFF2-40B4-BE49-F238E27FC236}">
                <a16:creationId xmlns:a16="http://schemas.microsoft.com/office/drawing/2014/main" id="{E2BF938D-CBAC-4B44-9556-DF0C3CA4DF8F}"/>
              </a:ext>
            </a:extLst>
          </p:cNvPr>
          <p:cNvCxnSpPr>
            <a:cxnSpLocks/>
          </p:cNvCxnSpPr>
          <p:nvPr userDrawn="1"/>
        </p:nvCxnSpPr>
        <p:spPr>
          <a:xfrm>
            <a:off x="4747565" y="4644120"/>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0" name="Text Placeholder 20">
            <a:extLst>
              <a:ext uri="{FF2B5EF4-FFF2-40B4-BE49-F238E27FC236}">
                <a16:creationId xmlns:a16="http://schemas.microsoft.com/office/drawing/2014/main" id="{4603BFF9-BFF5-6841-9F55-9A442D528BCD}"/>
              </a:ext>
            </a:extLst>
          </p:cNvPr>
          <p:cNvSpPr>
            <a:spLocks noGrp="1"/>
          </p:cNvSpPr>
          <p:nvPr>
            <p:ph type="body" sz="quarter" idx="45" hasCustomPrompt="1"/>
          </p:nvPr>
        </p:nvSpPr>
        <p:spPr>
          <a:xfrm>
            <a:off x="4864472" y="4649257"/>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93" name="TextBox 92">
            <a:extLst>
              <a:ext uri="{FF2B5EF4-FFF2-40B4-BE49-F238E27FC236}">
                <a16:creationId xmlns:a16="http://schemas.microsoft.com/office/drawing/2014/main" id="{CB751464-8A7F-FA49-856D-4334A4C81AF1}"/>
              </a:ext>
            </a:extLst>
          </p:cNvPr>
          <p:cNvSpPr txBox="1"/>
          <p:nvPr userDrawn="1"/>
        </p:nvSpPr>
        <p:spPr>
          <a:xfrm>
            <a:off x="4305186" y="1903991"/>
            <a:ext cx="559286" cy="523220"/>
          </a:xfrm>
          <a:prstGeom prst="rect">
            <a:avLst/>
          </a:prstGeom>
        </p:spPr>
        <p:txBody>
          <a:bodyPr wrap="square" rtlCol="0">
            <a:spAutoFit/>
          </a:bodyPr>
          <a:lstStyle/>
          <a:p>
            <a:r>
              <a:rPr lang="en-GB" sz="2800" b="1" i="0">
                <a:solidFill>
                  <a:schemeClr val="accent1"/>
                </a:solidFill>
                <a:latin typeface="Helvetica" pitchFamily="2" charset="0"/>
              </a:rPr>
              <a:t>2</a:t>
            </a:r>
          </a:p>
        </p:txBody>
      </p:sp>
      <p:sp>
        <p:nvSpPr>
          <p:cNvPr id="94" name="Rectangle 93">
            <a:extLst>
              <a:ext uri="{FF2B5EF4-FFF2-40B4-BE49-F238E27FC236}">
                <a16:creationId xmlns:a16="http://schemas.microsoft.com/office/drawing/2014/main" id="{EF0334F8-DBA7-D04B-8D45-8AECC5324BDE}"/>
              </a:ext>
            </a:extLst>
          </p:cNvPr>
          <p:cNvSpPr/>
          <p:nvPr userDrawn="1"/>
        </p:nvSpPr>
        <p:spPr>
          <a:xfrm>
            <a:off x="8307365" y="1709768"/>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Straight Connector 94">
            <a:extLst>
              <a:ext uri="{FF2B5EF4-FFF2-40B4-BE49-F238E27FC236}">
                <a16:creationId xmlns:a16="http://schemas.microsoft.com/office/drawing/2014/main" id="{3D13591D-6EC1-AB4F-9969-6302E362784E}"/>
              </a:ext>
            </a:extLst>
          </p:cNvPr>
          <p:cNvCxnSpPr>
            <a:cxnSpLocks/>
          </p:cNvCxnSpPr>
          <p:nvPr userDrawn="1"/>
        </p:nvCxnSpPr>
        <p:spPr>
          <a:xfrm>
            <a:off x="8333913" y="278369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6" name="Text Placeholder 20">
            <a:extLst>
              <a:ext uri="{FF2B5EF4-FFF2-40B4-BE49-F238E27FC236}">
                <a16:creationId xmlns:a16="http://schemas.microsoft.com/office/drawing/2014/main" id="{14BEE252-4639-114D-AFB0-243BBC85FDD9}"/>
              </a:ext>
            </a:extLst>
          </p:cNvPr>
          <p:cNvSpPr>
            <a:spLocks noGrp="1"/>
          </p:cNvSpPr>
          <p:nvPr>
            <p:ph type="body" sz="quarter" idx="47" hasCustomPrompt="1"/>
          </p:nvPr>
        </p:nvSpPr>
        <p:spPr>
          <a:xfrm>
            <a:off x="8438944" y="1858215"/>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97" name="Text Placeholder 20">
            <a:extLst>
              <a:ext uri="{FF2B5EF4-FFF2-40B4-BE49-F238E27FC236}">
                <a16:creationId xmlns:a16="http://schemas.microsoft.com/office/drawing/2014/main" id="{FC6370E8-D75B-1844-A610-8287D1D8E14C}"/>
              </a:ext>
            </a:extLst>
          </p:cNvPr>
          <p:cNvSpPr>
            <a:spLocks noGrp="1"/>
          </p:cNvSpPr>
          <p:nvPr>
            <p:ph type="body" sz="quarter" idx="48" hasCustomPrompt="1"/>
          </p:nvPr>
        </p:nvSpPr>
        <p:spPr>
          <a:xfrm>
            <a:off x="8450820" y="278883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98" name="Straight Connector 97">
            <a:extLst>
              <a:ext uri="{FF2B5EF4-FFF2-40B4-BE49-F238E27FC236}">
                <a16:creationId xmlns:a16="http://schemas.microsoft.com/office/drawing/2014/main" id="{C0D779F3-6521-3942-8C9F-C999AF5DED7E}"/>
              </a:ext>
            </a:extLst>
          </p:cNvPr>
          <p:cNvCxnSpPr>
            <a:cxnSpLocks/>
          </p:cNvCxnSpPr>
          <p:nvPr userDrawn="1"/>
        </p:nvCxnSpPr>
        <p:spPr>
          <a:xfrm>
            <a:off x="8333913" y="371318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9" name="Text Placeholder 20">
            <a:extLst>
              <a:ext uri="{FF2B5EF4-FFF2-40B4-BE49-F238E27FC236}">
                <a16:creationId xmlns:a16="http://schemas.microsoft.com/office/drawing/2014/main" id="{C51B118D-026B-804A-A087-4B2F7080C4CB}"/>
              </a:ext>
            </a:extLst>
          </p:cNvPr>
          <p:cNvSpPr>
            <a:spLocks noGrp="1"/>
          </p:cNvSpPr>
          <p:nvPr>
            <p:ph type="body" sz="quarter" idx="49" hasCustomPrompt="1"/>
          </p:nvPr>
        </p:nvSpPr>
        <p:spPr>
          <a:xfrm>
            <a:off x="8450820" y="3718322"/>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100" name="Straight Connector 99">
            <a:extLst>
              <a:ext uri="{FF2B5EF4-FFF2-40B4-BE49-F238E27FC236}">
                <a16:creationId xmlns:a16="http://schemas.microsoft.com/office/drawing/2014/main" id="{9B8AEA03-D8B2-AF4D-8117-E6BB4A0DD32B}"/>
              </a:ext>
            </a:extLst>
          </p:cNvPr>
          <p:cNvCxnSpPr>
            <a:cxnSpLocks/>
          </p:cNvCxnSpPr>
          <p:nvPr userDrawn="1"/>
        </p:nvCxnSpPr>
        <p:spPr>
          <a:xfrm>
            <a:off x="8333913" y="4637868"/>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1" name="Text Placeholder 20">
            <a:extLst>
              <a:ext uri="{FF2B5EF4-FFF2-40B4-BE49-F238E27FC236}">
                <a16:creationId xmlns:a16="http://schemas.microsoft.com/office/drawing/2014/main" id="{BBEB6736-19B2-5B4F-8A4E-C0BDDEB6F0BD}"/>
              </a:ext>
            </a:extLst>
          </p:cNvPr>
          <p:cNvSpPr>
            <a:spLocks noGrp="1"/>
          </p:cNvSpPr>
          <p:nvPr>
            <p:ph type="body" sz="quarter" idx="50" hasCustomPrompt="1"/>
          </p:nvPr>
        </p:nvSpPr>
        <p:spPr>
          <a:xfrm>
            <a:off x="8450820" y="4643005"/>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4" name="TextBox 103">
            <a:extLst>
              <a:ext uri="{FF2B5EF4-FFF2-40B4-BE49-F238E27FC236}">
                <a16:creationId xmlns:a16="http://schemas.microsoft.com/office/drawing/2014/main" id="{6969653A-6C2C-8147-ACCB-D4F972B28B3B}"/>
              </a:ext>
            </a:extLst>
          </p:cNvPr>
          <p:cNvSpPr txBox="1"/>
          <p:nvPr userDrawn="1"/>
        </p:nvSpPr>
        <p:spPr>
          <a:xfrm>
            <a:off x="7891534" y="1897739"/>
            <a:ext cx="559286" cy="523220"/>
          </a:xfrm>
          <a:prstGeom prst="rect">
            <a:avLst/>
          </a:prstGeom>
        </p:spPr>
        <p:txBody>
          <a:bodyPr wrap="square" rtlCol="0">
            <a:spAutoFit/>
          </a:bodyPr>
          <a:lstStyle/>
          <a:p>
            <a:r>
              <a:rPr lang="en-GB" sz="2800" b="1" i="0">
                <a:solidFill>
                  <a:schemeClr val="accent1"/>
                </a:solidFill>
                <a:latin typeface="Helvetica" pitchFamily="2" charset="0"/>
              </a:rPr>
              <a:t>3</a:t>
            </a:r>
          </a:p>
        </p:txBody>
      </p:sp>
      <p:sp>
        <p:nvSpPr>
          <p:cNvPr id="38" name="Title 1">
            <a:extLst>
              <a:ext uri="{FF2B5EF4-FFF2-40B4-BE49-F238E27FC236}">
                <a16:creationId xmlns:a16="http://schemas.microsoft.com/office/drawing/2014/main" id="{00D9EB27-355B-C0ED-84F3-A25252382F8B}"/>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35" name="Bilde 3">
            <a:extLst>
              <a:ext uri="{FF2B5EF4-FFF2-40B4-BE49-F238E27FC236}">
                <a16:creationId xmlns:a16="http://schemas.microsoft.com/office/drawing/2014/main" id="{FE2C0ED3-4F0D-76FE-4A81-DA2AEA5E0E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6" name="Date Placeholder 2">
            <a:extLst>
              <a:ext uri="{FF2B5EF4-FFF2-40B4-BE49-F238E27FC236}">
                <a16:creationId xmlns:a16="http://schemas.microsoft.com/office/drawing/2014/main" id="{5AC4A76A-0175-9E3F-9CDE-1DAD263CF72D}"/>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37" name="Footer Placeholder 3">
            <a:extLst>
              <a:ext uri="{FF2B5EF4-FFF2-40B4-BE49-F238E27FC236}">
                <a16:creationId xmlns:a16="http://schemas.microsoft.com/office/drawing/2014/main" id="{5E45CE91-9625-5A6C-8A2E-9C439162CFDF}"/>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39" name="Slide Number Placeholder 4">
            <a:extLst>
              <a:ext uri="{FF2B5EF4-FFF2-40B4-BE49-F238E27FC236}">
                <a16:creationId xmlns:a16="http://schemas.microsoft.com/office/drawing/2014/main" id="{5B2B34E3-8FF7-63CC-43BD-9FB1EDD01E08}"/>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41950140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42_Custom Layout">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C7B5656-DA3F-9847-9792-691229FFB730}"/>
              </a:ext>
            </a:extLst>
          </p:cNvPr>
          <p:cNvSpPr/>
          <p:nvPr userDrawn="1"/>
        </p:nvSpPr>
        <p:spPr>
          <a:xfrm>
            <a:off x="1081661" y="1716020"/>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213240" y="1864467"/>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225116" y="2795085"/>
            <a:ext cx="2916256" cy="2636015"/>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 name="TextBox 2">
            <a:extLst>
              <a:ext uri="{FF2B5EF4-FFF2-40B4-BE49-F238E27FC236}">
                <a16:creationId xmlns:a16="http://schemas.microsoft.com/office/drawing/2014/main" id="{F3A29A19-CBAD-DB4D-A8E8-E75B17885703}"/>
              </a:ext>
            </a:extLst>
          </p:cNvPr>
          <p:cNvSpPr txBox="1"/>
          <p:nvPr userDrawn="1"/>
        </p:nvSpPr>
        <p:spPr>
          <a:xfrm>
            <a:off x="665830" y="1903991"/>
            <a:ext cx="559286" cy="523220"/>
          </a:xfrm>
          <a:prstGeom prst="rect">
            <a:avLst/>
          </a:prstGeom>
        </p:spPr>
        <p:txBody>
          <a:bodyPr wrap="square" rtlCol="0">
            <a:spAutoFit/>
          </a:bodyPr>
          <a:lstStyle/>
          <a:p>
            <a:r>
              <a:rPr lang="en-GB" sz="2800" b="1" i="0">
                <a:solidFill>
                  <a:schemeClr val="accent1"/>
                </a:solidFill>
                <a:latin typeface="Helvetica" pitchFamily="2" charset="0"/>
              </a:rPr>
              <a:t>1</a:t>
            </a:r>
          </a:p>
        </p:txBody>
      </p:sp>
      <p:sp>
        <p:nvSpPr>
          <p:cNvPr id="51" name="Rectangle 50">
            <a:extLst>
              <a:ext uri="{FF2B5EF4-FFF2-40B4-BE49-F238E27FC236}">
                <a16:creationId xmlns:a16="http://schemas.microsoft.com/office/drawing/2014/main" id="{25FF2627-BFD7-7245-8BBD-EF14EE38529E}"/>
              </a:ext>
            </a:extLst>
          </p:cNvPr>
          <p:cNvSpPr/>
          <p:nvPr userDrawn="1"/>
        </p:nvSpPr>
        <p:spPr>
          <a:xfrm>
            <a:off x="4721017" y="1716020"/>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 Placeholder 20">
            <a:extLst>
              <a:ext uri="{FF2B5EF4-FFF2-40B4-BE49-F238E27FC236}">
                <a16:creationId xmlns:a16="http://schemas.microsoft.com/office/drawing/2014/main" id="{DF30A173-A5B6-1947-B430-0C6C140A1F01}"/>
              </a:ext>
            </a:extLst>
          </p:cNvPr>
          <p:cNvSpPr>
            <a:spLocks noGrp="1"/>
          </p:cNvSpPr>
          <p:nvPr>
            <p:ph type="body" sz="quarter" idx="42" hasCustomPrompt="1"/>
          </p:nvPr>
        </p:nvSpPr>
        <p:spPr>
          <a:xfrm>
            <a:off x="4852596" y="1864467"/>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60" name="Text Placeholder 20">
            <a:extLst>
              <a:ext uri="{FF2B5EF4-FFF2-40B4-BE49-F238E27FC236}">
                <a16:creationId xmlns:a16="http://schemas.microsoft.com/office/drawing/2014/main" id="{5B1BD81B-610E-C040-9E12-9890AAD2A079}"/>
              </a:ext>
            </a:extLst>
          </p:cNvPr>
          <p:cNvSpPr>
            <a:spLocks noGrp="1"/>
          </p:cNvSpPr>
          <p:nvPr>
            <p:ph type="body" sz="quarter" idx="43" hasCustomPrompt="1"/>
          </p:nvPr>
        </p:nvSpPr>
        <p:spPr>
          <a:xfrm>
            <a:off x="4864472" y="2795085"/>
            <a:ext cx="2916256" cy="2636015"/>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93" name="TextBox 92">
            <a:extLst>
              <a:ext uri="{FF2B5EF4-FFF2-40B4-BE49-F238E27FC236}">
                <a16:creationId xmlns:a16="http://schemas.microsoft.com/office/drawing/2014/main" id="{CB751464-8A7F-FA49-856D-4334A4C81AF1}"/>
              </a:ext>
            </a:extLst>
          </p:cNvPr>
          <p:cNvSpPr txBox="1"/>
          <p:nvPr userDrawn="1"/>
        </p:nvSpPr>
        <p:spPr>
          <a:xfrm>
            <a:off x="4305186" y="1903991"/>
            <a:ext cx="559286" cy="523220"/>
          </a:xfrm>
          <a:prstGeom prst="rect">
            <a:avLst/>
          </a:prstGeom>
        </p:spPr>
        <p:txBody>
          <a:bodyPr wrap="square" rtlCol="0">
            <a:spAutoFit/>
          </a:bodyPr>
          <a:lstStyle/>
          <a:p>
            <a:r>
              <a:rPr lang="en-GB" sz="2800" b="1" i="0">
                <a:solidFill>
                  <a:schemeClr val="accent1"/>
                </a:solidFill>
                <a:latin typeface="Helvetica" pitchFamily="2" charset="0"/>
              </a:rPr>
              <a:t>2</a:t>
            </a:r>
          </a:p>
        </p:txBody>
      </p:sp>
      <p:sp>
        <p:nvSpPr>
          <p:cNvPr id="94" name="Rectangle 93">
            <a:extLst>
              <a:ext uri="{FF2B5EF4-FFF2-40B4-BE49-F238E27FC236}">
                <a16:creationId xmlns:a16="http://schemas.microsoft.com/office/drawing/2014/main" id="{EF0334F8-DBA7-D04B-8D45-8AECC5324BDE}"/>
              </a:ext>
            </a:extLst>
          </p:cNvPr>
          <p:cNvSpPr/>
          <p:nvPr userDrawn="1"/>
        </p:nvSpPr>
        <p:spPr>
          <a:xfrm>
            <a:off x="8307365" y="1709768"/>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1108209" y="2804934"/>
            <a:ext cx="0" cy="264115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D94247F-1687-1C46-BCBA-B35359725D0B}"/>
              </a:ext>
            </a:extLst>
          </p:cNvPr>
          <p:cNvCxnSpPr>
            <a:cxnSpLocks/>
          </p:cNvCxnSpPr>
          <p:nvPr userDrawn="1"/>
        </p:nvCxnSpPr>
        <p:spPr>
          <a:xfrm>
            <a:off x="4747565" y="2804934"/>
            <a:ext cx="0" cy="264115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3D13591D-6EC1-AB4F-9969-6302E362784E}"/>
              </a:ext>
            </a:extLst>
          </p:cNvPr>
          <p:cNvCxnSpPr>
            <a:cxnSpLocks/>
          </p:cNvCxnSpPr>
          <p:nvPr userDrawn="1"/>
        </p:nvCxnSpPr>
        <p:spPr>
          <a:xfrm>
            <a:off x="8333913" y="2783696"/>
            <a:ext cx="0" cy="264115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6" name="Text Placeholder 20">
            <a:extLst>
              <a:ext uri="{FF2B5EF4-FFF2-40B4-BE49-F238E27FC236}">
                <a16:creationId xmlns:a16="http://schemas.microsoft.com/office/drawing/2014/main" id="{14BEE252-4639-114D-AFB0-243BBC85FDD9}"/>
              </a:ext>
            </a:extLst>
          </p:cNvPr>
          <p:cNvSpPr>
            <a:spLocks noGrp="1"/>
          </p:cNvSpPr>
          <p:nvPr userDrawn="1">
            <p:ph type="body" sz="quarter" idx="47" hasCustomPrompt="1"/>
          </p:nvPr>
        </p:nvSpPr>
        <p:spPr>
          <a:xfrm>
            <a:off x="8438944" y="1858215"/>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97" name="Text Placeholder 20">
            <a:extLst>
              <a:ext uri="{FF2B5EF4-FFF2-40B4-BE49-F238E27FC236}">
                <a16:creationId xmlns:a16="http://schemas.microsoft.com/office/drawing/2014/main" id="{FC6370E8-D75B-1844-A610-8287D1D8E14C}"/>
              </a:ext>
            </a:extLst>
          </p:cNvPr>
          <p:cNvSpPr>
            <a:spLocks noGrp="1"/>
          </p:cNvSpPr>
          <p:nvPr userDrawn="1">
            <p:ph type="body" sz="quarter" idx="48" hasCustomPrompt="1"/>
          </p:nvPr>
        </p:nvSpPr>
        <p:spPr>
          <a:xfrm>
            <a:off x="8450820" y="2788833"/>
            <a:ext cx="2916256" cy="2636015"/>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4" name="TextBox 103">
            <a:extLst>
              <a:ext uri="{FF2B5EF4-FFF2-40B4-BE49-F238E27FC236}">
                <a16:creationId xmlns:a16="http://schemas.microsoft.com/office/drawing/2014/main" id="{6969653A-6C2C-8147-ACCB-D4F972B28B3B}"/>
              </a:ext>
            </a:extLst>
          </p:cNvPr>
          <p:cNvSpPr txBox="1"/>
          <p:nvPr userDrawn="1"/>
        </p:nvSpPr>
        <p:spPr>
          <a:xfrm>
            <a:off x="7891534" y="1897739"/>
            <a:ext cx="559286" cy="523220"/>
          </a:xfrm>
          <a:prstGeom prst="rect">
            <a:avLst/>
          </a:prstGeom>
        </p:spPr>
        <p:txBody>
          <a:bodyPr wrap="square" rtlCol="0">
            <a:spAutoFit/>
          </a:bodyPr>
          <a:lstStyle/>
          <a:p>
            <a:r>
              <a:rPr lang="en-GB" sz="2800" b="1" i="0">
                <a:solidFill>
                  <a:schemeClr val="accent1"/>
                </a:solidFill>
                <a:latin typeface="Helvetica" pitchFamily="2" charset="0"/>
              </a:rPr>
              <a:t>3</a:t>
            </a:r>
          </a:p>
        </p:txBody>
      </p:sp>
      <p:sp>
        <p:nvSpPr>
          <p:cNvPr id="38" name="Title 1">
            <a:extLst>
              <a:ext uri="{FF2B5EF4-FFF2-40B4-BE49-F238E27FC236}">
                <a16:creationId xmlns:a16="http://schemas.microsoft.com/office/drawing/2014/main" id="{00D9EB27-355B-C0ED-84F3-A25252382F8B}"/>
              </a:ext>
            </a:extLst>
          </p:cNvPr>
          <p:cNvSpPr>
            <a:spLocks noGrp="1"/>
          </p:cNvSpPr>
          <p:nvPr userDrawn="1">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4" name="Bilde 3">
            <a:extLst>
              <a:ext uri="{FF2B5EF4-FFF2-40B4-BE49-F238E27FC236}">
                <a16:creationId xmlns:a16="http://schemas.microsoft.com/office/drawing/2014/main" id="{DBA068A6-7045-9B50-BF91-73FC6D7BEB6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802E4C73-E5CC-C29C-AE6D-CF730A25DFAF}"/>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25" name="Footer Placeholder 3">
            <a:extLst>
              <a:ext uri="{FF2B5EF4-FFF2-40B4-BE49-F238E27FC236}">
                <a16:creationId xmlns:a16="http://schemas.microsoft.com/office/drawing/2014/main" id="{82B0D240-8EAB-165B-6D33-B23105C34323}"/>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26" name="Slide Number Placeholder 4">
            <a:extLst>
              <a:ext uri="{FF2B5EF4-FFF2-40B4-BE49-F238E27FC236}">
                <a16:creationId xmlns:a16="http://schemas.microsoft.com/office/drawing/2014/main" id="{50FA445D-D6C4-B3F6-746A-1862AB3F8648}"/>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807703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1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B1796F2-5DEC-996C-ABCB-7228BC4850E5}"/>
              </a:ext>
            </a:extLst>
          </p:cNvPr>
          <p:cNvSpPr>
            <a:spLocks noGrp="1"/>
          </p:cNvSpPr>
          <p:nvPr>
            <p:ph type="pic" sz="quarter" idx="52"/>
          </p:nvPr>
        </p:nvSpPr>
        <p:spPr>
          <a:xfrm>
            <a:off x="941547" y="1445066"/>
            <a:ext cx="3060700" cy="1820862"/>
          </a:xfrm>
          <a:prstGeom prst="rect">
            <a:avLst/>
          </a:prstGeom>
        </p:spPr>
        <p:txBody>
          <a:bodyPr anchor="ctr"/>
          <a:lstStyle>
            <a:lvl1pPr algn="ctr">
              <a:defRPr sz="1800"/>
            </a:lvl1pPr>
          </a:lstStyle>
          <a:p>
            <a:r>
              <a:rPr lang="en-GB"/>
              <a:t>Click icon to add picture</a:t>
            </a:r>
            <a:endParaRPr lang="en-US"/>
          </a:p>
        </p:txBody>
      </p:sp>
      <p:sp>
        <p:nvSpPr>
          <p:cNvPr id="45" name="Rectangle 44">
            <a:extLst>
              <a:ext uri="{FF2B5EF4-FFF2-40B4-BE49-F238E27FC236}">
                <a16:creationId xmlns:a16="http://schemas.microsoft.com/office/drawing/2014/main" id="{1C7B5656-DA3F-9847-9792-691229FFB730}"/>
              </a:ext>
            </a:extLst>
          </p:cNvPr>
          <p:cNvSpPr/>
          <p:nvPr userDrawn="1"/>
        </p:nvSpPr>
        <p:spPr>
          <a:xfrm>
            <a:off x="942119" y="3332603"/>
            <a:ext cx="3065442" cy="28072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061370" y="3403048"/>
            <a:ext cx="2830400" cy="582683"/>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061370" y="4001634"/>
            <a:ext cx="2830400" cy="2090483"/>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flipH="1">
            <a:off x="942119" y="3281228"/>
            <a:ext cx="306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8" name="Title 1">
            <a:extLst>
              <a:ext uri="{FF2B5EF4-FFF2-40B4-BE49-F238E27FC236}">
                <a16:creationId xmlns:a16="http://schemas.microsoft.com/office/drawing/2014/main" id="{00D9EB27-355B-C0ED-84F3-A25252382F8B}"/>
              </a:ext>
            </a:extLst>
          </p:cNvPr>
          <p:cNvSpPr>
            <a:spLocks noGrp="1"/>
          </p:cNvSpPr>
          <p:nvPr userDrawn="1">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4" name="Bilde 3">
            <a:extLst>
              <a:ext uri="{FF2B5EF4-FFF2-40B4-BE49-F238E27FC236}">
                <a16:creationId xmlns:a16="http://schemas.microsoft.com/office/drawing/2014/main" id="{DBA068A6-7045-9B50-BF91-73FC6D7BEB6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6" name="Picture Placeholder 7">
            <a:extLst>
              <a:ext uri="{FF2B5EF4-FFF2-40B4-BE49-F238E27FC236}">
                <a16:creationId xmlns:a16="http://schemas.microsoft.com/office/drawing/2014/main" id="{036ADB22-C59D-5054-F408-EBE475CB6330}"/>
              </a:ext>
            </a:extLst>
          </p:cNvPr>
          <p:cNvSpPr>
            <a:spLocks noGrp="1"/>
          </p:cNvSpPr>
          <p:nvPr>
            <p:ph type="pic" sz="quarter" idx="53"/>
          </p:nvPr>
        </p:nvSpPr>
        <p:spPr>
          <a:xfrm>
            <a:off x="4335930" y="1445066"/>
            <a:ext cx="3060700" cy="1820862"/>
          </a:xfrm>
          <a:prstGeom prst="rect">
            <a:avLst/>
          </a:prstGeom>
        </p:spPr>
        <p:txBody>
          <a:bodyPr anchor="ctr"/>
          <a:lstStyle>
            <a:lvl1pPr algn="ctr">
              <a:defRPr sz="1800"/>
            </a:lvl1pPr>
          </a:lstStyle>
          <a:p>
            <a:r>
              <a:rPr lang="en-GB"/>
              <a:t>Click icon to add picture</a:t>
            </a:r>
            <a:endParaRPr lang="en-US"/>
          </a:p>
        </p:txBody>
      </p:sp>
      <p:sp>
        <p:nvSpPr>
          <p:cNvPr id="27" name="Rectangle 26">
            <a:extLst>
              <a:ext uri="{FF2B5EF4-FFF2-40B4-BE49-F238E27FC236}">
                <a16:creationId xmlns:a16="http://schemas.microsoft.com/office/drawing/2014/main" id="{8B0ECE18-051B-DE63-AC4A-05752AB1499A}"/>
              </a:ext>
            </a:extLst>
          </p:cNvPr>
          <p:cNvSpPr/>
          <p:nvPr userDrawn="1"/>
        </p:nvSpPr>
        <p:spPr>
          <a:xfrm>
            <a:off x="4336502" y="3332603"/>
            <a:ext cx="3065442" cy="28072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 Placeholder 20">
            <a:extLst>
              <a:ext uri="{FF2B5EF4-FFF2-40B4-BE49-F238E27FC236}">
                <a16:creationId xmlns:a16="http://schemas.microsoft.com/office/drawing/2014/main" id="{456D4E1E-2C93-62C8-726C-E573B0A1F359}"/>
              </a:ext>
            </a:extLst>
          </p:cNvPr>
          <p:cNvSpPr>
            <a:spLocks noGrp="1"/>
          </p:cNvSpPr>
          <p:nvPr>
            <p:ph type="body" sz="quarter" idx="54" hasCustomPrompt="1"/>
          </p:nvPr>
        </p:nvSpPr>
        <p:spPr>
          <a:xfrm>
            <a:off x="4455753" y="3403048"/>
            <a:ext cx="2830400" cy="582683"/>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0" name="Text Placeholder 20">
            <a:extLst>
              <a:ext uri="{FF2B5EF4-FFF2-40B4-BE49-F238E27FC236}">
                <a16:creationId xmlns:a16="http://schemas.microsoft.com/office/drawing/2014/main" id="{C9E572EA-46BB-1ADC-2DCA-101125632D82}"/>
              </a:ext>
            </a:extLst>
          </p:cNvPr>
          <p:cNvSpPr>
            <a:spLocks noGrp="1"/>
          </p:cNvSpPr>
          <p:nvPr>
            <p:ph type="body" sz="quarter" idx="55" hasCustomPrompt="1"/>
          </p:nvPr>
        </p:nvSpPr>
        <p:spPr>
          <a:xfrm>
            <a:off x="4455753" y="4001634"/>
            <a:ext cx="2830400" cy="2090483"/>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31" name="Straight Connector 30">
            <a:extLst>
              <a:ext uri="{FF2B5EF4-FFF2-40B4-BE49-F238E27FC236}">
                <a16:creationId xmlns:a16="http://schemas.microsoft.com/office/drawing/2014/main" id="{FEAFBB64-B5C6-3C6D-951F-45E4DD827B97}"/>
              </a:ext>
            </a:extLst>
          </p:cNvPr>
          <p:cNvCxnSpPr>
            <a:cxnSpLocks/>
          </p:cNvCxnSpPr>
          <p:nvPr userDrawn="1"/>
        </p:nvCxnSpPr>
        <p:spPr>
          <a:xfrm flipH="1">
            <a:off x="4336502" y="3281228"/>
            <a:ext cx="306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Picture Placeholder 7">
            <a:extLst>
              <a:ext uri="{FF2B5EF4-FFF2-40B4-BE49-F238E27FC236}">
                <a16:creationId xmlns:a16="http://schemas.microsoft.com/office/drawing/2014/main" id="{226F6508-C1DE-4FDD-5D54-3E8CB0269374}"/>
              </a:ext>
            </a:extLst>
          </p:cNvPr>
          <p:cNvSpPr>
            <a:spLocks noGrp="1"/>
          </p:cNvSpPr>
          <p:nvPr>
            <p:ph type="pic" sz="quarter" idx="56"/>
          </p:nvPr>
        </p:nvSpPr>
        <p:spPr>
          <a:xfrm>
            <a:off x="7721049" y="1445066"/>
            <a:ext cx="3060700" cy="1820862"/>
          </a:xfrm>
          <a:prstGeom prst="rect">
            <a:avLst/>
          </a:prstGeom>
        </p:spPr>
        <p:txBody>
          <a:bodyPr anchor="ctr"/>
          <a:lstStyle>
            <a:lvl1pPr algn="ctr">
              <a:defRPr sz="1800"/>
            </a:lvl1pPr>
          </a:lstStyle>
          <a:p>
            <a:r>
              <a:rPr lang="en-GB"/>
              <a:t>Click icon to add picture</a:t>
            </a:r>
            <a:endParaRPr lang="en-US"/>
          </a:p>
        </p:txBody>
      </p:sp>
      <p:sp>
        <p:nvSpPr>
          <p:cNvPr id="33" name="Rectangle 32">
            <a:extLst>
              <a:ext uri="{FF2B5EF4-FFF2-40B4-BE49-F238E27FC236}">
                <a16:creationId xmlns:a16="http://schemas.microsoft.com/office/drawing/2014/main" id="{0C44F1A5-425E-87A2-2D24-3917E09030C5}"/>
              </a:ext>
            </a:extLst>
          </p:cNvPr>
          <p:cNvSpPr/>
          <p:nvPr userDrawn="1"/>
        </p:nvSpPr>
        <p:spPr>
          <a:xfrm>
            <a:off x="7721621" y="3332603"/>
            <a:ext cx="3065442" cy="28072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0">
            <a:extLst>
              <a:ext uri="{FF2B5EF4-FFF2-40B4-BE49-F238E27FC236}">
                <a16:creationId xmlns:a16="http://schemas.microsoft.com/office/drawing/2014/main" id="{71F3DA74-293C-7493-FE9F-ED46727177E4}"/>
              </a:ext>
            </a:extLst>
          </p:cNvPr>
          <p:cNvSpPr>
            <a:spLocks noGrp="1"/>
          </p:cNvSpPr>
          <p:nvPr>
            <p:ph type="body" sz="quarter" idx="57" hasCustomPrompt="1"/>
          </p:nvPr>
        </p:nvSpPr>
        <p:spPr>
          <a:xfrm>
            <a:off x="7840872" y="3403048"/>
            <a:ext cx="2830400" cy="582683"/>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5" name="Text Placeholder 20">
            <a:extLst>
              <a:ext uri="{FF2B5EF4-FFF2-40B4-BE49-F238E27FC236}">
                <a16:creationId xmlns:a16="http://schemas.microsoft.com/office/drawing/2014/main" id="{7C59F177-1602-67CB-884F-2E55B9C4C0BB}"/>
              </a:ext>
            </a:extLst>
          </p:cNvPr>
          <p:cNvSpPr>
            <a:spLocks noGrp="1"/>
          </p:cNvSpPr>
          <p:nvPr>
            <p:ph type="body" sz="quarter" idx="58" hasCustomPrompt="1"/>
          </p:nvPr>
        </p:nvSpPr>
        <p:spPr>
          <a:xfrm>
            <a:off x="7840872" y="4001634"/>
            <a:ext cx="2830400" cy="2090483"/>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36" name="Straight Connector 35">
            <a:extLst>
              <a:ext uri="{FF2B5EF4-FFF2-40B4-BE49-F238E27FC236}">
                <a16:creationId xmlns:a16="http://schemas.microsoft.com/office/drawing/2014/main" id="{75855995-0E07-4D27-6A42-BA419A06BB34}"/>
              </a:ext>
            </a:extLst>
          </p:cNvPr>
          <p:cNvCxnSpPr>
            <a:cxnSpLocks/>
          </p:cNvCxnSpPr>
          <p:nvPr userDrawn="1"/>
        </p:nvCxnSpPr>
        <p:spPr>
          <a:xfrm flipH="1">
            <a:off x="7721621" y="3281228"/>
            <a:ext cx="306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Date Placeholder 2">
            <a:extLst>
              <a:ext uri="{FF2B5EF4-FFF2-40B4-BE49-F238E27FC236}">
                <a16:creationId xmlns:a16="http://schemas.microsoft.com/office/drawing/2014/main" id="{23D09F0E-DD0A-56E4-A786-86687543EDF0}"/>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25" name="Footer Placeholder 3">
            <a:extLst>
              <a:ext uri="{FF2B5EF4-FFF2-40B4-BE49-F238E27FC236}">
                <a16:creationId xmlns:a16="http://schemas.microsoft.com/office/drawing/2014/main" id="{86EFD8CB-B4B0-C98B-BAE4-8B0E6EA80F4C}"/>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37" name="Slide Number Placeholder 4">
            <a:extLst>
              <a:ext uri="{FF2B5EF4-FFF2-40B4-BE49-F238E27FC236}">
                <a16:creationId xmlns:a16="http://schemas.microsoft.com/office/drawing/2014/main" id="{9BE7881F-148D-208B-717A-EE47DCF21D13}"/>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399605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4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7" name="Text Placeholder 20">
            <a:extLst>
              <a:ext uri="{FF2B5EF4-FFF2-40B4-BE49-F238E27FC236}">
                <a16:creationId xmlns:a16="http://schemas.microsoft.com/office/drawing/2014/main" id="{49356417-6D30-E548-B1B3-2604029A7EF5}"/>
              </a:ext>
            </a:extLst>
          </p:cNvPr>
          <p:cNvSpPr>
            <a:spLocks noGrp="1"/>
          </p:cNvSpPr>
          <p:nvPr>
            <p:ph type="body" sz="quarter" idx="23" hasCustomPrompt="1"/>
          </p:nvPr>
        </p:nvSpPr>
        <p:spPr>
          <a:xfrm>
            <a:off x="916850" y="4573616"/>
            <a:ext cx="3137757" cy="1534671"/>
          </a:xfrm>
          <a:prstGeom prst="rect">
            <a:avLst/>
          </a:prstGeom>
        </p:spPr>
        <p:txBody>
          <a:bodyPr anchor="t">
            <a:noAutofit/>
          </a:bodyPr>
          <a:lstStyle>
            <a:lvl1pPr marL="0" indent="0" algn="ctr">
              <a:spcBef>
                <a:spcPts val="0"/>
              </a:spcBef>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012918" y="3256113"/>
            <a:ext cx="2945621" cy="918683"/>
          </a:xfrm>
          <a:prstGeom prst="rect">
            <a:avLst/>
          </a:prstGeom>
        </p:spPr>
        <p:txBody>
          <a:bodyPr anchor="ctr">
            <a:noAutofit/>
          </a:bodyPr>
          <a:lstStyle>
            <a:lvl1pPr marL="0" indent="0" algn="ctr">
              <a:spcBef>
                <a:spcPts val="0"/>
              </a:spcBef>
              <a:buNone/>
              <a:defRPr sz="20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a:t>
            </a:r>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968418" y="4391374"/>
            <a:ext cx="303462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1883E524-E691-2542-8EAD-DFBDB929960C}"/>
              </a:ext>
            </a:extLst>
          </p:cNvPr>
          <p:cNvSpPr/>
          <p:nvPr userDrawn="1"/>
        </p:nvSpPr>
        <p:spPr>
          <a:xfrm>
            <a:off x="1686942" y="1578688"/>
            <a:ext cx="1597573" cy="1597573"/>
          </a:xfrm>
          <a:prstGeom prst="ellipse">
            <a:avLst/>
          </a:prstGeom>
          <a:solidFill>
            <a:schemeClr val="accent4">
              <a:lumMod val="20000"/>
              <a:lumOff val="8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9" name="Text Placeholder 20">
            <a:extLst>
              <a:ext uri="{FF2B5EF4-FFF2-40B4-BE49-F238E27FC236}">
                <a16:creationId xmlns:a16="http://schemas.microsoft.com/office/drawing/2014/main" id="{D9AD4255-D80E-7342-B2C4-C5F594A23C7A}"/>
              </a:ext>
            </a:extLst>
          </p:cNvPr>
          <p:cNvSpPr>
            <a:spLocks noGrp="1"/>
          </p:cNvSpPr>
          <p:nvPr>
            <p:ph type="body" sz="quarter" idx="25" hasCustomPrompt="1"/>
          </p:nvPr>
        </p:nvSpPr>
        <p:spPr>
          <a:xfrm>
            <a:off x="4537281" y="4573616"/>
            <a:ext cx="3137757" cy="1534671"/>
          </a:xfrm>
          <a:prstGeom prst="rect">
            <a:avLst/>
          </a:prstGeom>
        </p:spPr>
        <p:txBody>
          <a:bodyPr anchor="t">
            <a:noAutofit/>
          </a:bodyPr>
          <a:lstStyle>
            <a:lvl1pPr marL="0" indent="0" algn="ctr">
              <a:spcBef>
                <a:spcPts val="0"/>
              </a:spcBef>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24" name="Text Placeholder 20">
            <a:extLst>
              <a:ext uri="{FF2B5EF4-FFF2-40B4-BE49-F238E27FC236}">
                <a16:creationId xmlns:a16="http://schemas.microsoft.com/office/drawing/2014/main" id="{8366C65D-987E-F940-9669-8FC67DF547D6}"/>
              </a:ext>
            </a:extLst>
          </p:cNvPr>
          <p:cNvSpPr>
            <a:spLocks noGrp="1"/>
          </p:cNvSpPr>
          <p:nvPr>
            <p:ph type="body" sz="quarter" idx="26" hasCustomPrompt="1"/>
          </p:nvPr>
        </p:nvSpPr>
        <p:spPr>
          <a:xfrm>
            <a:off x="4633349" y="3256113"/>
            <a:ext cx="2945621" cy="918683"/>
          </a:xfrm>
          <a:prstGeom prst="rect">
            <a:avLst/>
          </a:prstGeom>
        </p:spPr>
        <p:txBody>
          <a:bodyPr anchor="ctr">
            <a:noAutofit/>
          </a:bodyPr>
          <a:lstStyle>
            <a:lvl1pPr marL="0" indent="0" algn="ctr">
              <a:spcBef>
                <a:spcPts val="0"/>
              </a:spcBef>
              <a:buNone/>
              <a:defRPr sz="20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a:t>
            </a:r>
          </a:p>
        </p:txBody>
      </p:sp>
      <p:cxnSp>
        <p:nvCxnSpPr>
          <p:cNvPr id="25" name="Straight Connector 24">
            <a:extLst>
              <a:ext uri="{FF2B5EF4-FFF2-40B4-BE49-F238E27FC236}">
                <a16:creationId xmlns:a16="http://schemas.microsoft.com/office/drawing/2014/main" id="{1C8D12F1-1584-DD43-9F53-43F3AA6A406A}"/>
              </a:ext>
            </a:extLst>
          </p:cNvPr>
          <p:cNvCxnSpPr>
            <a:cxnSpLocks/>
          </p:cNvCxnSpPr>
          <p:nvPr userDrawn="1"/>
        </p:nvCxnSpPr>
        <p:spPr>
          <a:xfrm>
            <a:off x="4588849" y="4391374"/>
            <a:ext cx="303462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2DE219C-FDB1-CD4B-86C9-B419D3423531}"/>
              </a:ext>
            </a:extLst>
          </p:cNvPr>
          <p:cNvSpPr/>
          <p:nvPr userDrawn="1"/>
        </p:nvSpPr>
        <p:spPr>
          <a:xfrm>
            <a:off x="5307373" y="1578688"/>
            <a:ext cx="1597573" cy="1597573"/>
          </a:xfrm>
          <a:prstGeom prst="ellipse">
            <a:avLst/>
          </a:prstGeom>
          <a:solidFill>
            <a:schemeClr val="accent4">
              <a:lumMod val="20000"/>
              <a:lumOff val="8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31" name="Text Placeholder 20">
            <a:extLst>
              <a:ext uri="{FF2B5EF4-FFF2-40B4-BE49-F238E27FC236}">
                <a16:creationId xmlns:a16="http://schemas.microsoft.com/office/drawing/2014/main" id="{54C66FC1-2D84-0C46-9D7E-D57CFB2A719F}"/>
              </a:ext>
            </a:extLst>
          </p:cNvPr>
          <p:cNvSpPr>
            <a:spLocks noGrp="1"/>
          </p:cNvSpPr>
          <p:nvPr>
            <p:ph type="body" sz="quarter" idx="27" hasCustomPrompt="1"/>
          </p:nvPr>
        </p:nvSpPr>
        <p:spPr>
          <a:xfrm>
            <a:off x="8137393" y="4573616"/>
            <a:ext cx="3137757" cy="1534671"/>
          </a:xfrm>
          <a:prstGeom prst="rect">
            <a:avLst/>
          </a:prstGeom>
        </p:spPr>
        <p:txBody>
          <a:bodyPr anchor="t">
            <a:noAutofit/>
          </a:bodyPr>
          <a:lstStyle>
            <a:lvl1pPr marL="0" indent="0" algn="ctr">
              <a:spcBef>
                <a:spcPts val="0"/>
              </a:spcBef>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2" name="Text Placeholder 20">
            <a:extLst>
              <a:ext uri="{FF2B5EF4-FFF2-40B4-BE49-F238E27FC236}">
                <a16:creationId xmlns:a16="http://schemas.microsoft.com/office/drawing/2014/main" id="{9A1F39ED-4F03-854D-B159-03CB2DC987D8}"/>
              </a:ext>
            </a:extLst>
          </p:cNvPr>
          <p:cNvSpPr>
            <a:spLocks noGrp="1"/>
          </p:cNvSpPr>
          <p:nvPr>
            <p:ph type="body" sz="quarter" idx="28" hasCustomPrompt="1"/>
          </p:nvPr>
        </p:nvSpPr>
        <p:spPr>
          <a:xfrm>
            <a:off x="8233461" y="3256113"/>
            <a:ext cx="2945621" cy="918683"/>
          </a:xfrm>
          <a:prstGeom prst="rect">
            <a:avLst/>
          </a:prstGeom>
        </p:spPr>
        <p:txBody>
          <a:bodyPr anchor="ctr">
            <a:noAutofit/>
          </a:bodyPr>
          <a:lstStyle>
            <a:lvl1pPr marL="0" indent="0" algn="ctr">
              <a:spcBef>
                <a:spcPts val="0"/>
              </a:spcBef>
              <a:buNone/>
              <a:defRPr sz="20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a:t>
            </a:r>
          </a:p>
        </p:txBody>
      </p:sp>
      <p:cxnSp>
        <p:nvCxnSpPr>
          <p:cNvPr id="33" name="Straight Connector 32">
            <a:extLst>
              <a:ext uri="{FF2B5EF4-FFF2-40B4-BE49-F238E27FC236}">
                <a16:creationId xmlns:a16="http://schemas.microsoft.com/office/drawing/2014/main" id="{131695BE-7EC4-254F-88F8-92DE21E21441}"/>
              </a:ext>
            </a:extLst>
          </p:cNvPr>
          <p:cNvCxnSpPr>
            <a:cxnSpLocks/>
          </p:cNvCxnSpPr>
          <p:nvPr userDrawn="1"/>
        </p:nvCxnSpPr>
        <p:spPr>
          <a:xfrm>
            <a:off x="8188961" y="4391374"/>
            <a:ext cx="303462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535F4D65-5C03-B047-9C33-37F966AF2003}"/>
              </a:ext>
            </a:extLst>
          </p:cNvPr>
          <p:cNvSpPr/>
          <p:nvPr userDrawn="1"/>
        </p:nvSpPr>
        <p:spPr>
          <a:xfrm>
            <a:off x="8907485" y="1578688"/>
            <a:ext cx="1597573" cy="1597573"/>
          </a:xfrm>
          <a:prstGeom prst="ellipse">
            <a:avLst/>
          </a:prstGeom>
          <a:solidFill>
            <a:schemeClr val="accent4">
              <a:lumMod val="20000"/>
              <a:lumOff val="8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7" name="Title 1">
            <a:extLst>
              <a:ext uri="{FF2B5EF4-FFF2-40B4-BE49-F238E27FC236}">
                <a16:creationId xmlns:a16="http://schemas.microsoft.com/office/drawing/2014/main" id="{51B9A6BB-8E74-6CCC-357E-4A3C6975D961}"/>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4" name="Picture Placeholder 3">
            <a:extLst>
              <a:ext uri="{FF2B5EF4-FFF2-40B4-BE49-F238E27FC236}">
                <a16:creationId xmlns:a16="http://schemas.microsoft.com/office/drawing/2014/main" id="{807C389F-EE04-F928-A905-8D5A0A8319F6}"/>
              </a:ext>
            </a:extLst>
          </p:cNvPr>
          <p:cNvSpPr>
            <a:spLocks noGrp="1"/>
          </p:cNvSpPr>
          <p:nvPr>
            <p:ph type="pic" sz="quarter" idx="29"/>
          </p:nvPr>
        </p:nvSpPr>
        <p:spPr>
          <a:xfrm>
            <a:off x="1791990" y="1686396"/>
            <a:ext cx="1387475" cy="1387475"/>
          </a:xfrm>
          <a:prstGeom prst="ellipse">
            <a:avLst/>
          </a:prstGeom>
        </p:spPr>
        <p:txBody>
          <a:bodyPr anchor="ctr"/>
          <a:lstStyle>
            <a:lvl1pPr marL="0" indent="0" algn="ctr">
              <a:buNone/>
              <a:defRPr sz="1600"/>
            </a:lvl1pPr>
          </a:lstStyle>
          <a:p>
            <a:r>
              <a:rPr lang="en-GB"/>
              <a:t>Click icon to add picture</a:t>
            </a:r>
            <a:endParaRPr lang="en-US"/>
          </a:p>
        </p:txBody>
      </p:sp>
      <p:sp>
        <p:nvSpPr>
          <p:cNvPr id="20" name="Picture Placeholder 3">
            <a:extLst>
              <a:ext uri="{FF2B5EF4-FFF2-40B4-BE49-F238E27FC236}">
                <a16:creationId xmlns:a16="http://schemas.microsoft.com/office/drawing/2014/main" id="{C344D4AD-0C44-0016-1984-DEE4E4A47A86}"/>
              </a:ext>
            </a:extLst>
          </p:cNvPr>
          <p:cNvSpPr>
            <a:spLocks noGrp="1"/>
          </p:cNvSpPr>
          <p:nvPr>
            <p:ph type="pic" sz="quarter" idx="30"/>
          </p:nvPr>
        </p:nvSpPr>
        <p:spPr>
          <a:xfrm>
            <a:off x="5423086" y="1686396"/>
            <a:ext cx="1387475" cy="1387475"/>
          </a:xfrm>
          <a:prstGeom prst="ellipse">
            <a:avLst/>
          </a:prstGeom>
        </p:spPr>
        <p:txBody>
          <a:bodyPr anchor="ctr"/>
          <a:lstStyle>
            <a:lvl1pPr marL="0" indent="0" algn="ctr">
              <a:buNone/>
              <a:defRPr sz="1600"/>
            </a:lvl1pPr>
          </a:lstStyle>
          <a:p>
            <a:r>
              <a:rPr lang="en-GB"/>
              <a:t>Click icon to add picture</a:t>
            </a:r>
            <a:endParaRPr lang="en-US"/>
          </a:p>
        </p:txBody>
      </p:sp>
      <p:sp>
        <p:nvSpPr>
          <p:cNvPr id="21" name="Picture Placeholder 3">
            <a:extLst>
              <a:ext uri="{FF2B5EF4-FFF2-40B4-BE49-F238E27FC236}">
                <a16:creationId xmlns:a16="http://schemas.microsoft.com/office/drawing/2014/main" id="{9126EBDC-8FE3-E299-69BB-1724B93F2D1C}"/>
              </a:ext>
            </a:extLst>
          </p:cNvPr>
          <p:cNvSpPr>
            <a:spLocks noGrp="1"/>
          </p:cNvSpPr>
          <p:nvPr>
            <p:ph type="pic" sz="quarter" idx="31"/>
          </p:nvPr>
        </p:nvSpPr>
        <p:spPr>
          <a:xfrm>
            <a:off x="9001173" y="1686396"/>
            <a:ext cx="1387475" cy="1387475"/>
          </a:xfrm>
          <a:prstGeom prst="ellipse">
            <a:avLst/>
          </a:prstGeom>
        </p:spPr>
        <p:txBody>
          <a:bodyPr anchor="ctr"/>
          <a:lstStyle>
            <a:lvl1pPr marL="0" indent="0" algn="ctr">
              <a:buNone/>
              <a:defRPr sz="1600"/>
            </a:lvl1pPr>
          </a:lstStyle>
          <a:p>
            <a:r>
              <a:rPr lang="en-GB"/>
              <a:t>Click icon to add picture</a:t>
            </a:r>
            <a:endParaRPr lang="en-US"/>
          </a:p>
        </p:txBody>
      </p:sp>
      <p:pic>
        <p:nvPicPr>
          <p:cNvPr id="29" name="Bilde 3">
            <a:extLst>
              <a:ext uri="{FF2B5EF4-FFF2-40B4-BE49-F238E27FC236}">
                <a16:creationId xmlns:a16="http://schemas.microsoft.com/office/drawing/2014/main" id="{2D4B3CC7-6177-04CF-F34E-5EB758235AE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8FB02BF7-CD56-E79D-DDC8-97850F67C805}"/>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30" name="Footer Placeholder 3">
            <a:extLst>
              <a:ext uri="{FF2B5EF4-FFF2-40B4-BE49-F238E27FC236}">
                <a16:creationId xmlns:a16="http://schemas.microsoft.com/office/drawing/2014/main" id="{0713B773-2E0A-E988-8286-745F4694DCE1}"/>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35" name="Slide Number Placeholder 4">
            <a:extLst>
              <a:ext uri="{FF2B5EF4-FFF2-40B4-BE49-F238E27FC236}">
                <a16:creationId xmlns:a16="http://schemas.microsoft.com/office/drawing/2014/main" id="{6A77CE4C-F430-19AB-F402-F004842BAEF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439852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45_Custom Layout">
    <p:bg>
      <p:bgPr>
        <a:solidFill>
          <a:schemeClr val="accent1"/>
        </a:solidFill>
        <a:effectLst/>
      </p:bgPr>
    </p:bg>
    <p:spTree>
      <p:nvGrpSpPr>
        <p:cNvPr id="1" name=""/>
        <p:cNvGrpSpPr/>
        <p:nvPr/>
      </p:nvGrpSpPr>
      <p:grpSpPr>
        <a:xfrm>
          <a:off x="0" y="0"/>
          <a:ext cx="0" cy="0"/>
          <a:chOff x="0" y="0"/>
          <a:chExt cx="0" cy="0"/>
        </a:xfrm>
      </p:grpSpPr>
      <p:pic>
        <p:nvPicPr>
          <p:cNvPr id="8" name="object 4">
            <a:extLst>
              <a:ext uri="{FF2B5EF4-FFF2-40B4-BE49-F238E27FC236}">
                <a16:creationId xmlns:a16="http://schemas.microsoft.com/office/drawing/2014/main" id="{266DE70F-23E3-3D7B-545C-3A919B538BC9}"/>
              </a:ext>
            </a:extLst>
          </p:cNvPr>
          <p:cNvPicPr/>
          <p:nvPr userDrawn="1"/>
        </p:nvPicPr>
        <p:blipFill rotWithShape="1">
          <a:blip r:embed="rId2" cstate="screen">
            <a:alphaModFix amt="19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F65D4AB-B803-4643-BCDF-D6393E1CDC9B}"/>
              </a:ext>
            </a:extLst>
          </p:cNvPr>
          <p:cNvSpPr>
            <a:spLocks noGrp="1"/>
          </p:cNvSpPr>
          <p:nvPr>
            <p:ph type="title"/>
          </p:nvPr>
        </p:nvSpPr>
        <p:spPr>
          <a:xfrm>
            <a:off x="1218623" y="2778070"/>
            <a:ext cx="8567928" cy="1325563"/>
          </a:xfrm>
          <a:prstGeom prst="rect">
            <a:avLst/>
          </a:prstGeom>
        </p:spPr>
        <p:txBody>
          <a:bodyPr/>
          <a:lstStyle>
            <a:lvl1pPr>
              <a:defRPr sz="4800" b="1" i="0">
                <a:solidFill>
                  <a:schemeClr val="bg1"/>
                </a:solidFill>
                <a:latin typeface="Helvetica" pitchFamily="2" charset="0"/>
              </a:defRPr>
            </a:lvl1pPr>
          </a:lstStyle>
          <a:p>
            <a:r>
              <a:rPr lang="en-GB"/>
              <a:t>Click to edit Master title style</a:t>
            </a:r>
            <a:endParaRPr lang="en-US"/>
          </a:p>
        </p:txBody>
      </p:sp>
      <p:pic>
        <p:nvPicPr>
          <p:cNvPr id="5" name="Bilde 5">
            <a:extLst>
              <a:ext uri="{FF2B5EF4-FFF2-40B4-BE49-F238E27FC236}">
                <a16:creationId xmlns:a16="http://schemas.microsoft.com/office/drawing/2014/main" id="{826408B4-1F28-DA4C-9BD1-39058BB264B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8623" y="1564372"/>
            <a:ext cx="2822031" cy="493381"/>
          </a:xfrm>
          <a:prstGeom prst="rect">
            <a:avLst/>
          </a:prstGeom>
        </p:spPr>
      </p:pic>
      <p:sp>
        <p:nvSpPr>
          <p:cNvPr id="7" name="Text Placeholder 20">
            <a:extLst>
              <a:ext uri="{FF2B5EF4-FFF2-40B4-BE49-F238E27FC236}">
                <a16:creationId xmlns:a16="http://schemas.microsoft.com/office/drawing/2014/main" id="{1D537A84-0006-344B-B900-FF658484079B}"/>
              </a:ext>
            </a:extLst>
          </p:cNvPr>
          <p:cNvSpPr>
            <a:spLocks noGrp="1"/>
          </p:cNvSpPr>
          <p:nvPr>
            <p:ph type="body" sz="quarter" idx="25"/>
          </p:nvPr>
        </p:nvSpPr>
        <p:spPr>
          <a:xfrm>
            <a:off x="1218623" y="4679684"/>
            <a:ext cx="5145898" cy="1227888"/>
          </a:xfrm>
          <a:prstGeom prst="rect">
            <a:avLst/>
          </a:prstGeom>
        </p:spPr>
        <p:txBody>
          <a:bodyPr anchor="t">
            <a:noAutofit/>
          </a:bodyPr>
          <a:lstStyle>
            <a:lvl1pPr marL="0" indent="0">
              <a:buNone/>
              <a:defRPr sz="20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Click to edit Master text styles</a:t>
            </a:r>
          </a:p>
        </p:txBody>
      </p:sp>
    </p:spTree>
    <p:extLst>
      <p:ext uri="{BB962C8B-B14F-4D97-AF65-F5344CB8AC3E}">
        <p14:creationId xmlns:p14="http://schemas.microsoft.com/office/powerpoint/2010/main" val="12801177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cSld name="1_Headlin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95447"/>
            <a:ext cx="10515600" cy="85756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0" kern="1200">
                <a:solidFill>
                  <a:schemeClr val="accent5"/>
                </a:solidFill>
                <a:latin typeface="Arial" panose="020B0604020202020204" pitchFamily="34" charset="0"/>
                <a:ea typeface="+mj-ea"/>
                <a:cs typeface="Arial" panose="020B0604020202020204" pitchFamily="34" charset="0"/>
              </a:defRPr>
            </a:lvl1pPr>
          </a:lstStyle>
          <a:p>
            <a:r>
              <a:rPr lang="en-GB" noProof="0"/>
              <a:t>Click to edit Master title style</a:t>
            </a:r>
          </a:p>
        </p:txBody>
      </p:sp>
      <p:sp>
        <p:nvSpPr>
          <p:cNvPr id="3" name="Content Placeholder 2"/>
          <p:cNvSpPr>
            <a:spLocks noGrp="1"/>
          </p:cNvSpPr>
          <p:nvPr>
            <p:ph idx="1" hasCustomPrompt="1"/>
          </p:nvPr>
        </p:nvSpPr>
        <p:spPr>
          <a:xfrm>
            <a:off x="838200" y="1187952"/>
            <a:ext cx="10515600" cy="4351338"/>
          </a:xfrm>
          <a:prstGeom prst="rect">
            <a:avLst/>
          </a:prstGeom>
        </p:spPr>
        <p:txBody>
          <a:bodyPr vert="horz" lIns="91440" tIns="45720" rIns="91440" bIns="45720" rtlCol="0">
            <a:normAutofit/>
          </a:bodyPr>
          <a:lstStyle>
            <a:lvl1pPr marL="342900" indent="-342900" algn="l" defTabSz="914400" rtl="0" eaLnBrk="1" latinLnBrk="0" hangingPunct="1">
              <a:lnSpc>
                <a:spcPct val="90000"/>
              </a:lnSpc>
              <a:spcBef>
                <a:spcPts val="1000"/>
              </a:spcBef>
              <a:buClr>
                <a:schemeClr val="accent1"/>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5" name="Bilde 4">
            <a:extLst>
              <a:ext uri="{FF2B5EF4-FFF2-40B4-BE49-F238E27FC236}">
                <a16:creationId xmlns:a16="http://schemas.microsoft.com/office/drawing/2014/main" id="{0096DD13-1996-423A-AAFD-299278D609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52521" y="6430245"/>
            <a:ext cx="1825937" cy="319232"/>
          </a:xfrm>
          <a:prstGeom prst="rect">
            <a:avLst/>
          </a:prstGeom>
        </p:spPr>
      </p:pic>
    </p:spTree>
    <p:extLst>
      <p:ext uri="{BB962C8B-B14F-4D97-AF65-F5344CB8AC3E}">
        <p14:creationId xmlns:p14="http://schemas.microsoft.com/office/powerpoint/2010/main" val="240767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tart page logo">
    <p:spTree>
      <p:nvGrpSpPr>
        <p:cNvPr id="1" name=""/>
        <p:cNvGrpSpPr/>
        <p:nvPr/>
      </p:nvGrpSpPr>
      <p:grpSpPr>
        <a:xfrm>
          <a:off x="0" y="0"/>
          <a:ext cx="0" cy="0"/>
          <a:chOff x="0" y="0"/>
          <a:chExt cx="0" cy="0"/>
        </a:xfrm>
      </p:grpSpPr>
      <p:sp>
        <p:nvSpPr>
          <p:cNvPr id="4" name="!!Blue">
            <a:extLst>
              <a:ext uri="{FF2B5EF4-FFF2-40B4-BE49-F238E27FC236}">
                <a16:creationId xmlns:a16="http://schemas.microsoft.com/office/drawing/2014/main" id="{76E7F38C-5641-4FDA-B434-AC413DE3A377}"/>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pic>
        <p:nvPicPr>
          <p:cNvPr id="3" name="Bilde 2">
            <a:extLst>
              <a:ext uri="{FF2B5EF4-FFF2-40B4-BE49-F238E27FC236}">
                <a16:creationId xmlns:a16="http://schemas.microsoft.com/office/drawing/2014/main" id="{02986883-6611-464E-A44F-2C88C009DE0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00718" y="1357984"/>
            <a:ext cx="6390564" cy="4142032"/>
          </a:xfrm>
          <a:prstGeom prst="rect">
            <a:avLst/>
          </a:prstGeom>
        </p:spPr>
      </p:pic>
    </p:spTree>
    <p:extLst>
      <p:ext uri="{BB962C8B-B14F-4D97-AF65-F5344CB8AC3E}">
        <p14:creationId xmlns:p14="http://schemas.microsoft.com/office/powerpoint/2010/main" val="3984212207"/>
      </p:ext>
    </p:extLst>
  </p:cSld>
  <p:clrMapOvr>
    <a:masterClrMapping/>
  </p:clrMapOvr>
  <p:transition spd="slow">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tart page 3">
    <p:spTree>
      <p:nvGrpSpPr>
        <p:cNvPr id="1" name=""/>
        <p:cNvGrpSpPr/>
        <p:nvPr/>
      </p:nvGrpSpPr>
      <p:grpSpPr>
        <a:xfrm>
          <a:off x="0" y="0"/>
          <a:ext cx="0" cy="0"/>
          <a:chOff x="0" y="0"/>
          <a:chExt cx="0" cy="0"/>
        </a:xfrm>
      </p:grpSpPr>
      <p:sp>
        <p:nvSpPr>
          <p:cNvPr id="3" name="!!Blue">
            <a:extLst>
              <a:ext uri="{FF2B5EF4-FFF2-40B4-BE49-F238E27FC236}">
                <a16:creationId xmlns:a16="http://schemas.microsoft.com/office/drawing/2014/main" id="{A9C13785-1488-437B-BE9E-873F1FAAF20D}"/>
              </a:ext>
            </a:extLst>
          </p:cNvPr>
          <p:cNvSpPr/>
          <p:nvPr userDrawn="1"/>
        </p:nvSpPr>
        <p:spPr>
          <a:xfrm>
            <a:off x="0" y="-32618"/>
            <a:ext cx="12192000" cy="68906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cap="all" baseline="0" noProof="0">
              <a:latin typeface="Helvetica" pitchFamily="2" charset="0"/>
              <a:cs typeface="Arial" panose="020B0604020202020204" pitchFamily="34" charset="0"/>
            </a:endParaRPr>
          </a:p>
        </p:txBody>
      </p:sp>
      <p:sp>
        <p:nvSpPr>
          <p:cNvPr id="7" name="Title">
            <a:extLst>
              <a:ext uri="{FF2B5EF4-FFF2-40B4-BE49-F238E27FC236}">
                <a16:creationId xmlns:a16="http://schemas.microsoft.com/office/drawing/2014/main" id="{13294DAA-8C17-424F-8143-208C3FE914DC}"/>
              </a:ext>
            </a:extLst>
          </p:cNvPr>
          <p:cNvSpPr>
            <a:spLocks noGrp="1"/>
          </p:cNvSpPr>
          <p:nvPr>
            <p:ph type="body" sz="quarter" idx="10" hasCustomPrompt="1"/>
          </p:nvPr>
        </p:nvSpPr>
        <p:spPr>
          <a:xfrm>
            <a:off x="0" y="4995863"/>
            <a:ext cx="12192000" cy="1143000"/>
          </a:xfrm>
          <a:prstGeom prst="rect">
            <a:avLst/>
          </a:prstGeom>
        </p:spPr>
        <p:txBody>
          <a:bodyPr/>
          <a:lstStyle>
            <a:lvl1pPr marL="0" indent="0" algn="ctr">
              <a:buNone/>
              <a:defRPr sz="2000" b="0" i="0" cap="all" spc="600" baseline="0">
                <a:solidFill>
                  <a:schemeClr val="bg1"/>
                </a:solidFill>
                <a:latin typeface="Helvetica" pitchFamily="2" charset="0"/>
                <a:cs typeface="Arial" panose="020B0604020202020204" pitchFamily="34" charset="0"/>
              </a:defRPr>
            </a:lvl1pPr>
          </a:lstStyle>
          <a:p>
            <a:pPr lvl="0"/>
            <a:r>
              <a:rPr lang="en-GB" noProof="0"/>
              <a:t>Main title here</a:t>
            </a:r>
          </a:p>
        </p:txBody>
      </p:sp>
      <p:pic>
        <p:nvPicPr>
          <p:cNvPr id="4" name="Bilde 3">
            <a:extLst>
              <a:ext uri="{FF2B5EF4-FFF2-40B4-BE49-F238E27FC236}">
                <a16:creationId xmlns:a16="http://schemas.microsoft.com/office/drawing/2014/main" id="{54C0EBEF-EDC7-498E-8550-F88AC37723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9708" y="2286000"/>
            <a:ext cx="7472584" cy="1306446"/>
          </a:xfrm>
          <a:prstGeom prst="rect">
            <a:avLst/>
          </a:prstGeom>
        </p:spPr>
      </p:pic>
    </p:spTree>
    <p:extLst>
      <p:ext uri="{BB962C8B-B14F-4D97-AF65-F5344CB8AC3E}">
        <p14:creationId xmlns:p14="http://schemas.microsoft.com/office/powerpoint/2010/main" val="481947761"/>
      </p:ext>
    </p:extLst>
  </p:cSld>
  <p:clrMapOvr>
    <a:masterClrMapping/>
  </p:clrMapOvr>
  <p:transition spd="slow">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_Start page 3">
    <p:spTree>
      <p:nvGrpSpPr>
        <p:cNvPr id="1" name=""/>
        <p:cNvGrpSpPr/>
        <p:nvPr/>
      </p:nvGrpSpPr>
      <p:grpSpPr>
        <a:xfrm>
          <a:off x="0" y="0"/>
          <a:ext cx="0" cy="0"/>
          <a:chOff x="0" y="0"/>
          <a:chExt cx="0" cy="0"/>
        </a:xfrm>
      </p:grpSpPr>
      <p:sp>
        <p:nvSpPr>
          <p:cNvPr id="3" name="!!Blue">
            <a:extLst>
              <a:ext uri="{FF2B5EF4-FFF2-40B4-BE49-F238E27FC236}">
                <a16:creationId xmlns:a16="http://schemas.microsoft.com/office/drawing/2014/main" id="{A9C13785-1488-437B-BE9E-873F1FAAF20D}"/>
              </a:ext>
            </a:extLst>
          </p:cNvPr>
          <p:cNvSpPr/>
          <p:nvPr userDrawn="1"/>
        </p:nvSpPr>
        <p:spPr>
          <a:xfrm>
            <a:off x="0" y="-32618"/>
            <a:ext cx="12192000" cy="6890618"/>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cap="all" baseline="0" noProof="0">
              <a:latin typeface="Helvetica" pitchFamily="2" charset="0"/>
              <a:cs typeface="Arial" panose="020B0604020202020204" pitchFamily="34" charset="0"/>
            </a:endParaRPr>
          </a:p>
        </p:txBody>
      </p:sp>
      <p:sp>
        <p:nvSpPr>
          <p:cNvPr id="7" name="Title">
            <a:extLst>
              <a:ext uri="{FF2B5EF4-FFF2-40B4-BE49-F238E27FC236}">
                <a16:creationId xmlns:a16="http://schemas.microsoft.com/office/drawing/2014/main" id="{13294DAA-8C17-424F-8143-208C3FE914DC}"/>
              </a:ext>
            </a:extLst>
          </p:cNvPr>
          <p:cNvSpPr>
            <a:spLocks noGrp="1"/>
          </p:cNvSpPr>
          <p:nvPr>
            <p:ph type="body" sz="quarter" idx="10" hasCustomPrompt="1"/>
          </p:nvPr>
        </p:nvSpPr>
        <p:spPr>
          <a:xfrm>
            <a:off x="0" y="2824882"/>
            <a:ext cx="12192000" cy="1143000"/>
          </a:xfrm>
          <a:prstGeom prst="rect">
            <a:avLst/>
          </a:prstGeom>
        </p:spPr>
        <p:txBody>
          <a:bodyPr anchor="ctr"/>
          <a:lstStyle>
            <a:lvl1pPr marL="0" indent="0" algn="ctr">
              <a:buNone/>
              <a:defRPr sz="2000" b="0" i="0" cap="all" spc="600" baseline="0">
                <a:solidFill>
                  <a:schemeClr val="bg1"/>
                </a:solidFill>
                <a:latin typeface="Helvetica" pitchFamily="2" charset="0"/>
                <a:cs typeface="Arial" panose="020B0604020202020204" pitchFamily="34" charset="0"/>
              </a:defRPr>
            </a:lvl1pPr>
          </a:lstStyle>
          <a:p>
            <a:pPr lvl="0"/>
            <a:r>
              <a:rPr lang="en-GB" noProof="0"/>
              <a:t>Main title here</a:t>
            </a:r>
          </a:p>
        </p:txBody>
      </p:sp>
      <p:pic>
        <p:nvPicPr>
          <p:cNvPr id="4" name="Bilde 3">
            <a:extLst>
              <a:ext uri="{FF2B5EF4-FFF2-40B4-BE49-F238E27FC236}">
                <a16:creationId xmlns:a16="http://schemas.microsoft.com/office/drawing/2014/main" id="{DB9A7EB4-0E3C-4A13-BD98-E851652E698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2521" y="6429313"/>
            <a:ext cx="1825937" cy="319232"/>
          </a:xfrm>
          <a:prstGeom prst="rect">
            <a:avLst/>
          </a:prstGeom>
        </p:spPr>
      </p:pic>
    </p:spTree>
    <p:extLst>
      <p:ext uri="{BB962C8B-B14F-4D97-AF65-F5344CB8AC3E}">
        <p14:creationId xmlns:p14="http://schemas.microsoft.com/office/powerpoint/2010/main" val="226035960"/>
      </p:ext>
    </p:extLst>
  </p:cSld>
  <p:clrMapOvr>
    <a:masterClrMapping/>
  </p:clrMapOvr>
  <p:transition spd="slow">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Start page 1">
    <p:spTree>
      <p:nvGrpSpPr>
        <p:cNvPr id="1" name=""/>
        <p:cNvGrpSpPr/>
        <p:nvPr/>
      </p:nvGrpSpPr>
      <p:grpSpPr>
        <a:xfrm>
          <a:off x="0" y="0"/>
          <a:ext cx="0" cy="0"/>
          <a:chOff x="0" y="0"/>
          <a:chExt cx="0" cy="0"/>
        </a:xfrm>
      </p:grpSpPr>
      <p:sp>
        <p:nvSpPr>
          <p:cNvPr id="4" name="!!Blue">
            <a:extLst>
              <a:ext uri="{FF2B5EF4-FFF2-40B4-BE49-F238E27FC236}">
                <a16:creationId xmlns:a16="http://schemas.microsoft.com/office/drawing/2014/main" id="{7DC3AE6F-449B-4868-9641-CCAC18F98E26}"/>
              </a:ext>
            </a:extLst>
          </p:cNvPr>
          <p:cNvSpPr/>
          <p:nvPr userDrawn="1"/>
        </p:nvSpPr>
        <p:spPr>
          <a:xfrm>
            <a:off x="0" y="0"/>
            <a:ext cx="12192000" cy="6858000"/>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pic>
        <p:nvPicPr>
          <p:cNvPr id="5" name="Bilde 4">
            <a:extLst>
              <a:ext uri="{FF2B5EF4-FFF2-40B4-BE49-F238E27FC236}">
                <a16:creationId xmlns:a16="http://schemas.microsoft.com/office/drawing/2014/main" id="{F0852DDD-536D-48EE-85B1-4AD1A6653E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00718" y="1357984"/>
            <a:ext cx="6390564" cy="4142032"/>
          </a:xfrm>
          <a:prstGeom prst="rect">
            <a:avLst/>
          </a:prstGeom>
        </p:spPr>
      </p:pic>
    </p:spTree>
    <p:extLst>
      <p:ext uri="{BB962C8B-B14F-4D97-AF65-F5344CB8AC3E}">
        <p14:creationId xmlns:p14="http://schemas.microsoft.com/office/powerpoint/2010/main" val="3020592692"/>
      </p:ext>
    </p:extLst>
  </p:cSld>
  <p:clrMapOvr>
    <a:masterClrMapping/>
  </p:clrMapOvr>
  <p:transition spd="slow">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Start page 3">
    <p:spTree>
      <p:nvGrpSpPr>
        <p:cNvPr id="1" name=""/>
        <p:cNvGrpSpPr/>
        <p:nvPr/>
      </p:nvGrpSpPr>
      <p:grpSpPr>
        <a:xfrm>
          <a:off x="0" y="0"/>
          <a:ext cx="0" cy="0"/>
          <a:chOff x="0" y="0"/>
          <a:chExt cx="0" cy="0"/>
        </a:xfrm>
      </p:grpSpPr>
      <p:sp>
        <p:nvSpPr>
          <p:cNvPr id="3" name="!!Blue">
            <a:extLst>
              <a:ext uri="{FF2B5EF4-FFF2-40B4-BE49-F238E27FC236}">
                <a16:creationId xmlns:a16="http://schemas.microsoft.com/office/drawing/2014/main" id="{A9C13785-1488-437B-BE9E-873F1FAAF20D}"/>
              </a:ext>
            </a:extLst>
          </p:cNvPr>
          <p:cNvSpPr/>
          <p:nvPr userDrawn="1"/>
        </p:nvSpPr>
        <p:spPr>
          <a:xfrm>
            <a:off x="0" y="-32618"/>
            <a:ext cx="12192000" cy="6890618"/>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cap="all" baseline="0" noProof="0">
              <a:latin typeface="Helvetica" pitchFamily="2" charset="0"/>
              <a:cs typeface="Arial" panose="020B0604020202020204" pitchFamily="34" charset="0"/>
            </a:endParaRPr>
          </a:p>
        </p:txBody>
      </p:sp>
      <p:sp>
        <p:nvSpPr>
          <p:cNvPr id="7" name="Title">
            <a:extLst>
              <a:ext uri="{FF2B5EF4-FFF2-40B4-BE49-F238E27FC236}">
                <a16:creationId xmlns:a16="http://schemas.microsoft.com/office/drawing/2014/main" id="{13294DAA-8C17-424F-8143-208C3FE914DC}"/>
              </a:ext>
            </a:extLst>
          </p:cNvPr>
          <p:cNvSpPr>
            <a:spLocks noGrp="1"/>
          </p:cNvSpPr>
          <p:nvPr>
            <p:ph type="body" sz="quarter" idx="10" hasCustomPrompt="1"/>
          </p:nvPr>
        </p:nvSpPr>
        <p:spPr>
          <a:xfrm>
            <a:off x="0" y="4995863"/>
            <a:ext cx="12192000" cy="1143000"/>
          </a:xfrm>
          <a:prstGeom prst="rect">
            <a:avLst/>
          </a:prstGeom>
        </p:spPr>
        <p:txBody>
          <a:bodyPr/>
          <a:lstStyle>
            <a:lvl1pPr marL="0" indent="0" algn="ctr">
              <a:buNone/>
              <a:defRPr sz="2000" b="0" i="0" cap="all" spc="600" baseline="0">
                <a:solidFill>
                  <a:schemeClr val="bg1"/>
                </a:solidFill>
                <a:latin typeface="Helvetica" pitchFamily="2" charset="0"/>
                <a:cs typeface="Arial" panose="020B0604020202020204" pitchFamily="34" charset="0"/>
              </a:defRPr>
            </a:lvl1pPr>
          </a:lstStyle>
          <a:p>
            <a:pPr lvl="0"/>
            <a:r>
              <a:rPr lang="en-GB" noProof="0"/>
              <a:t>Main title here</a:t>
            </a:r>
          </a:p>
        </p:txBody>
      </p:sp>
      <p:pic>
        <p:nvPicPr>
          <p:cNvPr id="4" name="Bilde 3">
            <a:extLst>
              <a:ext uri="{FF2B5EF4-FFF2-40B4-BE49-F238E27FC236}">
                <a16:creationId xmlns:a16="http://schemas.microsoft.com/office/drawing/2014/main" id="{54C0EBEF-EDC7-498E-8550-F88AC37723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9708" y="2286000"/>
            <a:ext cx="7472584" cy="1306446"/>
          </a:xfrm>
          <a:prstGeom prst="rect">
            <a:avLst/>
          </a:prstGeom>
        </p:spPr>
      </p:pic>
    </p:spTree>
    <p:extLst>
      <p:ext uri="{BB962C8B-B14F-4D97-AF65-F5344CB8AC3E}">
        <p14:creationId xmlns:p14="http://schemas.microsoft.com/office/powerpoint/2010/main" val="2934518371"/>
      </p:ext>
    </p:extLst>
  </p:cSld>
  <p:clrMapOvr>
    <a:masterClrMapping/>
  </p:clrMapOvr>
  <p:transition spd="slow">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Start page 3">
    <p:spTree>
      <p:nvGrpSpPr>
        <p:cNvPr id="1" name=""/>
        <p:cNvGrpSpPr/>
        <p:nvPr/>
      </p:nvGrpSpPr>
      <p:grpSpPr>
        <a:xfrm>
          <a:off x="0" y="0"/>
          <a:ext cx="0" cy="0"/>
          <a:chOff x="0" y="0"/>
          <a:chExt cx="0" cy="0"/>
        </a:xfrm>
      </p:grpSpPr>
      <p:sp>
        <p:nvSpPr>
          <p:cNvPr id="3" name="!!Blue">
            <a:extLst>
              <a:ext uri="{FF2B5EF4-FFF2-40B4-BE49-F238E27FC236}">
                <a16:creationId xmlns:a16="http://schemas.microsoft.com/office/drawing/2014/main" id="{A9C13785-1488-437B-BE9E-873F1FAAF20D}"/>
              </a:ext>
            </a:extLst>
          </p:cNvPr>
          <p:cNvSpPr/>
          <p:nvPr userDrawn="1"/>
        </p:nvSpPr>
        <p:spPr>
          <a:xfrm>
            <a:off x="0" y="-32618"/>
            <a:ext cx="12192000" cy="6890618"/>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cap="all" baseline="0" noProof="0">
              <a:latin typeface="Helvetica" pitchFamily="2" charset="0"/>
              <a:cs typeface="Arial" panose="020B0604020202020204" pitchFamily="34" charset="0"/>
            </a:endParaRPr>
          </a:p>
        </p:txBody>
      </p:sp>
      <p:sp>
        <p:nvSpPr>
          <p:cNvPr id="7" name="Title">
            <a:extLst>
              <a:ext uri="{FF2B5EF4-FFF2-40B4-BE49-F238E27FC236}">
                <a16:creationId xmlns:a16="http://schemas.microsoft.com/office/drawing/2014/main" id="{13294DAA-8C17-424F-8143-208C3FE914DC}"/>
              </a:ext>
            </a:extLst>
          </p:cNvPr>
          <p:cNvSpPr>
            <a:spLocks noGrp="1"/>
          </p:cNvSpPr>
          <p:nvPr>
            <p:ph type="body" sz="quarter" idx="10" hasCustomPrompt="1"/>
          </p:nvPr>
        </p:nvSpPr>
        <p:spPr>
          <a:xfrm>
            <a:off x="0" y="2824882"/>
            <a:ext cx="12192000" cy="1143000"/>
          </a:xfrm>
          <a:prstGeom prst="rect">
            <a:avLst/>
          </a:prstGeom>
        </p:spPr>
        <p:txBody>
          <a:bodyPr anchor="ctr"/>
          <a:lstStyle>
            <a:lvl1pPr marL="0" indent="0" algn="ctr">
              <a:buNone/>
              <a:defRPr sz="2000" b="0" i="0" cap="all" spc="600" baseline="0">
                <a:solidFill>
                  <a:schemeClr val="bg1"/>
                </a:solidFill>
                <a:latin typeface="Helvetica" pitchFamily="2" charset="0"/>
                <a:cs typeface="Arial" panose="020B0604020202020204" pitchFamily="34" charset="0"/>
              </a:defRPr>
            </a:lvl1pPr>
          </a:lstStyle>
          <a:p>
            <a:pPr lvl="0"/>
            <a:r>
              <a:rPr lang="en-GB" noProof="0"/>
              <a:t>Main title here</a:t>
            </a:r>
          </a:p>
        </p:txBody>
      </p:sp>
      <p:pic>
        <p:nvPicPr>
          <p:cNvPr id="5" name="Bilde 4">
            <a:extLst>
              <a:ext uri="{FF2B5EF4-FFF2-40B4-BE49-F238E27FC236}">
                <a16:creationId xmlns:a16="http://schemas.microsoft.com/office/drawing/2014/main" id="{E47329FA-AE28-469A-87AC-F23577C4FB9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2521" y="6429313"/>
            <a:ext cx="1825937" cy="319232"/>
          </a:xfrm>
          <a:prstGeom prst="rect">
            <a:avLst/>
          </a:prstGeom>
        </p:spPr>
      </p:pic>
    </p:spTree>
    <p:extLst>
      <p:ext uri="{BB962C8B-B14F-4D97-AF65-F5344CB8AC3E}">
        <p14:creationId xmlns:p14="http://schemas.microsoft.com/office/powerpoint/2010/main" val="3104211131"/>
      </p:ext>
    </p:extLst>
  </p:cSld>
  <p:clrMapOvr>
    <a:masterClrMapping/>
  </p:clrMapOvr>
  <p:transition spd="slow">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tart Page 4">
    <p:spTree>
      <p:nvGrpSpPr>
        <p:cNvPr id="1" name=""/>
        <p:cNvGrpSpPr/>
        <p:nvPr/>
      </p:nvGrpSpPr>
      <p:grpSpPr>
        <a:xfrm>
          <a:off x="0" y="0"/>
          <a:ext cx="0" cy="0"/>
          <a:chOff x="0" y="0"/>
          <a:chExt cx="0" cy="0"/>
        </a:xfrm>
      </p:grpSpPr>
      <p:pic>
        <p:nvPicPr>
          <p:cNvPr id="10" name="Background Picture" descr="Et bilde som inneholder person, mat, bygning, stående&#10;&#10;Automatisk generert beskrivelse">
            <a:extLst>
              <a:ext uri="{FF2B5EF4-FFF2-40B4-BE49-F238E27FC236}">
                <a16:creationId xmlns:a16="http://schemas.microsoft.com/office/drawing/2014/main" id="{CDBD00A1-FA82-4DFE-84DF-F8297B7A1FB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35000"/>
            <a:ext cx="12192000" cy="8128000"/>
          </a:xfrm>
          <a:prstGeom prst="rect">
            <a:avLst/>
          </a:prstGeom>
        </p:spPr>
      </p:pic>
      <p:sp>
        <p:nvSpPr>
          <p:cNvPr id="7" name="Title">
            <a:extLst>
              <a:ext uri="{FF2B5EF4-FFF2-40B4-BE49-F238E27FC236}">
                <a16:creationId xmlns:a16="http://schemas.microsoft.com/office/drawing/2014/main" id="{13294DAA-8C17-424F-8143-208C3FE914DC}"/>
              </a:ext>
            </a:extLst>
          </p:cNvPr>
          <p:cNvSpPr>
            <a:spLocks noGrp="1"/>
          </p:cNvSpPr>
          <p:nvPr>
            <p:ph type="body" sz="quarter" idx="10" hasCustomPrompt="1"/>
          </p:nvPr>
        </p:nvSpPr>
        <p:spPr>
          <a:xfrm>
            <a:off x="0" y="5715000"/>
            <a:ext cx="12192000" cy="1143000"/>
          </a:xfrm>
          <a:prstGeom prst="rect">
            <a:avLst/>
          </a:prstGeom>
        </p:spPr>
        <p:txBody>
          <a:bodyPr/>
          <a:lstStyle>
            <a:lvl1pPr marL="0" indent="0" algn="ctr">
              <a:buNone/>
              <a:defRPr sz="2800" b="0" i="0" cap="all" spc="600" baseline="0">
                <a:solidFill>
                  <a:schemeClr val="tx1"/>
                </a:solidFill>
                <a:latin typeface="Helvetica" pitchFamily="2" charset="0"/>
                <a:cs typeface="Arial" panose="020B0604020202020204" pitchFamily="34" charset="0"/>
              </a:defRPr>
            </a:lvl1pPr>
          </a:lstStyle>
          <a:p>
            <a:pPr lvl="0"/>
            <a:r>
              <a:rPr lang="en-GB" noProof="0"/>
              <a:t>Main Title here</a:t>
            </a:r>
          </a:p>
        </p:txBody>
      </p:sp>
      <p:sp>
        <p:nvSpPr>
          <p:cNvPr id="6" name="!!Yellow">
            <a:extLst>
              <a:ext uri="{FF2B5EF4-FFF2-40B4-BE49-F238E27FC236}">
                <a16:creationId xmlns:a16="http://schemas.microsoft.com/office/drawing/2014/main" id="{CCFBDB04-BE7C-451A-8C1F-F17167D5B954}"/>
              </a:ext>
            </a:extLst>
          </p:cNvPr>
          <p:cNvSpPr/>
          <p:nvPr userDrawn="1"/>
        </p:nvSpPr>
        <p:spPr>
          <a:xfrm rot="16200000">
            <a:off x="5493659" y="4587989"/>
            <a:ext cx="1661884" cy="15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17" name="!!Blue">
            <a:extLst>
              <a:ext uri="{FF2B5EF4-FFF2-40B4-BE49-F238E27FC236}">
                <a16:creationId xmlns:a16="http://schemas.microsoft.com/office/drawing/2014/main" id="{DD8018AE-B7C4-4C53-9CAC-C9195BAFD01B}"/>
              </a:ext>
            </a:extLst>
          </p:cNvPr>
          <p:cNvSpPr/>
          <p:nvPr userDrawn="1"/>
        </p:nvSpPr>
        <p:spPr>
          <a:xfrm>
            <a:off x="0" y="3833248"/>
            <a:ext cx="6248400" cy="16618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pic>
        <p:nvPicPr>
          <p:cNvPr id="9" name="Bilde 8">
            <a:extLst>
              <a:ext uri="{FF2B5EF4-FFF2-40B4-BE49-F238E27FC236}">
                <a16:creationId xmlns:a16="http://schemas.microsoft.com/office/drawing/2014/main" id="{96D94C91-9E30-47C8-A221-62DCC86B5E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1762" y="4224965"/>
            <a:ext cx="5084878" cy="888999"/>
          </a:xfrm>
          <a:prstGeom prst="rect">
            <a:avLst/>
          </a:prstGeom>
        </p:spPr>
      </p:pic>
    </p:spTree>
    <p:extLst>
      <p:ext uri="{BB962C8B-B14F-4D97-AF65-F5344CB8AC3E}">
        <p14:creationId xmlns:p14="http://schemas.microsoft.com/office/powerpoint/2010/main" val="2567619120"/>
      </p:ext>
    </p:extLst>
  </p:cSld>
  <p:clrMapOvr>
    <a:masterClrMapping/>
  </p:clrMapOvr>
  <p:transition spd="slow">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ull picture, Title">
    <p:bg>
      <p:bgPr>
        <a:solidFill>
          <a:schemeClr val="bg1"/>
        </a:solidFill>
        <a:effectLst/>
      </p:bgPr>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158D014F-728F-437C-9904-BA1DBBEB82AA}"/>
              </a:ext>
            </a:extLst>
          </p:cNvPr>
          <p:cNvSpPr>
            <a:spLocks noGrp="1"/>
          </p:cNvSpPr>
          <p:nvPr>
            <p:ph type="pic" sz="quarter" idx="10" hasCustomPrompt="1"/>
          </p:nvPr>
        </p:nvSpPr>
        <p:spPr>
          <a:xfrm>
            <a:off x="0" y="-1"/>
            <a:ext cx="12192000" cy="4661444"/>
          </a:xfrm>
          <a:prstGeom prst="rect">
            <a:avLst/>
          </a:prstGeom>
          <a:noFill/>
        </p:spPr>
        <p:txBody>
          <a:bodyPr/>
          <a:lstStyle>
            <a:lvl1pPr marL="0" indent="0">
              <a:buNone/>
              <a:defRPr sz="1800" b="0" i="0">
                <a:solidFill>
                  <a:schemeClr val="bg1">
                    <a:lumMod val="50000"/>
                  </a:schemeClr>
                </a:solidFill>
                <a:latin typeface="Helvetica" pitchFamily="2" charset="0"/>
                <a:ea typeface="Open Sans" panose="020B0606030504020204" pitchFamily="34" charset="0"/>
                <a:cs typeface="Open Sans" panose="020B0606030504020204" pitchFamily="34" charset="0"/>
              </a:defRPr>
            </a:lvl1pPr>
          </a:lstStyle>
          <a:p>
            <a:r>
              <a:rPr lang="en-GB" noProof="0"/>
              <a:t>Image Placeholder</a:t>
            </a:r>
          </a:p>
        </p:txBody>
      </p:sp>
      <p:sp>
        <p:nvSpPr>
          <p:cNvPr id="5" name="!!Blue">
            <a:extLst>
              <a:ext uri="{FF2B5EF4-FFF2-40B4-BE49-F238E27FC236}">
                <a16:creationId xmlns:a16="http://schemas.microsoft.com/office/drawing/2014/main" id="{5E24F489-E6BB-4384-B378-663B8C919357}"/>
              </a:ext>
            </a:extLst>
          </p:cNvPr>
          <p:cNvSpPr/>
          <p:nvPr userDrawn="1"/>
        </p:nvSpPr>
        <p:spPr>
          <a:xfrm>
            <a:off x="0" y="4616322"/>
            <a:ext cx="12192000" cy="22416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cxnSp>
        <p:nvCxnSpPr>
          <p:cNvPr id="7" name="!!Yellow">
            <a:extLst>
              <a:ext uri="{FF2B5EF4-FFF2-40B4-BE49-F238E27FC236}">
                <a16:creationId xmlns:a16="http://schemas.microsoft.com/office/drawing/2014/main" id="{DE98A62D-C220-4B5B-AD26-81FFF33E5164}"/>
              </a:ext>
            </a:extLst>
          </p:cNvPr>
          <p:cNvCxnSpPr>
            <a:cxnSpLocks/>
          </p:cNvCxnSpPr>
          <p:nvPr userDrawn="1"/>
        </p:nvCxnSpPr>
        <p:spPr>
          <a:xfrm>
            <a:off x="10477500" y="5348056"/>
            <a:ext cx="1714500" cy="0"/>
          </a:xfrm>
          <a:prstGeom prst="line">
            <a:avLst/>
          </a:prstGeom>
          <a:ln w="149225">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Plassholder for tekst 8">
            <a:extLst>
              <a:ext uri="{FF2B5EF4-FFF2-40B4-BE49-F238E27FC236}">
                <a16:creationId xmlns:a16="http://schemas.microsoft.com/office/drawing/2014/main" id="{38C7107A-0111-432E-8F72-D19B67E72E16}"/>
              </a:ext>
            </a:extLst>
          </p:cNvPr>
          <p:cNvSpPr>
            <a:spLocks noGrp="1"/>
          </p:cNvSpPr>
          <p:nvPr>
            <p:ph type="body" sz="quarter" idx="11" hasCustomPrompt="1"/>
          </p:nvPr>
        </p:nvSpPr>
        <p:spPr>
          <a:xfrm>
            <a:off x="1066800" y="4959624"/>
            <a:ext cx="9410700" cy="160020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3600" b="0" i="0" cap="all" baseline="0">
                <a:solidFill>
                  <a:schemeClr val="bg1"/>
                </a:solidFill>
                <a:latin typeface="Helvetica"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prstClr val="white"/>
                </a:solidFill>
                <a:effectLst/>
                <a:uLnTx/>
                <a:uFillTx/>
                <a:latin typeface="+mn-lt"/>
                <a:ea typeface="Roboto Cn" panose="02000000000000000000" pitchFamily="2" charset="0"/>
                <a:cs typeface="Arial" panose="020B0604020202020204" pitchFamily="34" charset="0"/>
              </a:rPr>
              <a:t>PRESENTATION TITLE</a:t>
            </a:r>
            <a:br>
              <a:rPr kumimoji="0" lang="en-GB" sz="4800" b="1" i="0" u="none" strike="noStrike" kern="1200" cap="none" spc="0" normalizeH="0" baseline="0" noProof="0">
                <a:ln>
                  <a:noFill/>
                </a:ln>
                <a:solidFill>
                  <a:prstClr val="white"/>
                </a:solidFill>
                <a:effectLst/>
                <a:uLnTx/>
                <a:uFillTx/>
                <a:latin typeface="+mn-lt"/>
                <a:ea typeface="Roboto Cn" panose="02000000000000000000" pitchFamily="2" charset="0"/>
                <a:cs typeface="Arial" panose="020B0604020202020204" pitchFamily="34" charset="0"/>
              </a:rPr>
            </a:br>
            <a:r>
              <a:rPr kumimoji="0" lang="en-GB" sz="4800" b="1" i="0" u="none" strike="noStrike" kern="1200" cap="none" spc="0" normalizeH="0" baseline="0" noProof="0">
                <a:ln>
                  <a:noFill/>
                </a:ln>
                <a:solidFill>
                  <a:prstClr val="white"/>
                </a:solidFill>
                <a:effectLst/>
                <a:uLnTx/>
                <a:uFillTx/>
                <a:latin typeface="+mn-lt"/>
                <a:ea typeface="Roboto Cn" panose="02000000000000000000" pitchFamily="2" charset="0"/>
                <a:cs typeface="Arial" panose="020B0604020202020204" pitchFamily="34" charset="0"/>
              </a:rPr>
              <a:t>HERE</a:t>
            </a:r>
          </a:p>
          <a:p>
            <a:pPr lvl="0"/>
            <a:endParaRPr lang="en-GB" noProof="0"/>
          </a:p>
        </p:txBody>
      </p:sp>
    </p:spTree>
    <p:extLst>
      <p:ext uri="{BB962C8B-B14F-4D97-AF65-F5344CB8AC3E}">
        <p14:creationId xmlns:p14="http://schemas.microsoft.com/office/powerpoint/2010/main" val="3141267810"/>
      </p:ext>
    </p:extLst>
  </p:cSld>
  <p:clrMapOvr>
    <a:masterClrMapping/>
  </p:clrMapOvr>
  <p:transition spd="slow">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838200" y="1187952"/>
            <a:ext cx="10515600"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Clr>
                <a:schemeClr val="accent1"/>
              </a:buClr>
              <a:buFont typeface="Arial" panose="020B0604020202020204" pitchFamily="34" charset="0"/>
              <a:buNone/>
              <a:defRPr sz="2400" b="0" i="0" kern="1200">
                <a:solidFill>
                  <a:schemeClr val="tx1"/>
                </a:solidFill>
                <a:latin typeface="Helvetica"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1"/>
              </a:buClr>
              <a:buFont typeface="Arial" panose="020B0604020202020204" pitchFamily="34" charset="0"/>
              <a:buChar char="•"/>
              <a:defRPr sz="2000" b="0" i="0" kern="1200">
                <a:solidFill>
                  <a:schemeClr val="tx1"/>
                </a:solidFill>
                <a:latin typeface="Helvetica"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1"/>
              </a:buClr>
              <a:buFont typeface="Arial" panose="020B0604020202020204" pitchFamily="34" charset="0"/>
              <a:buChar char="•"/>
              <a:defRPr sz="1800" b="0" i="0" kern="1200">
                <a:solidFill>
                  <a:schemeClr val="tx1"/>
                </a:solidFill>
                <a:latin typeface="Helvetica"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1"/>
              </a:buClr>
              <a:buFont typeface="Arial" panose="020B0604020202020204" pitchFamily="34" charset="0"/>
              <a:buChar char="•"/>
              <a:defRPr sz="1600" b="0" i="0" kern="1200">
                <a:solidFill>
                  <a:schemeClr val="tx1"/>
                </a:solidFill>
                <a:latin typeface="Helvetica"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1"/>
              </a:buClr>
              <a:buFont typeface="Arial" panose="020B0604020202020204" pitchFamily="34" charset="0"/>
              <a:buChar char="•"/>
              <a:defRPr sz="1600" b="0" i="0" kern="1200">
                <a:solidFill>
                  <a:schemeClr val="tx1"/>
                </a:solidFill>
                <a:latin typeface="Helvetica"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5" name="Bilde 4">
            <a:extLst>
              <a:ext uri="{FF2B5EF4-FFF2-40B4-BE49-F238E27FC236}">
                <a16:creationId xmlns:a16="http://schemas.microsoft.com/office/drawing/2014/main" id="{0096DD13-1996-423A-AAFD-299278D609E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2521" y="6430245"/>
            <a:ext cx="1825937" cy="319232"/>
          </a:xfrm>
          <a:prstGeom prst="rect">
            <a:avLst/>
          </a:prstGeom>
        </p:spPr>
      </p:pic>
      <p:sp>
        <p:nvSpPr>
          <p:cNvPr id="6" name="Title 1">
            <a:extLst>
              <a:ext uri="{FF2B5EF4-FFF2-40B4-BE49-F238E27FC236}">
                <a16:creationId xmlns:a16="http://schemas.microsoft.com/office/drawing/2014/main" id="{471A3A61-62E0-4A2E-96BC-1D215FE56024}"/>
              </a:ext>
            </a:extLst>
          </p:cNvPr>
          <p:cNvSpPr>
            <a:spLocks noGrp="1"/>
          </p:cNvSpPr>
          <p:nvPr>
            <p:ph type="title" hasCustomPrompt="1"/>
          </p:nvPr>
        </p:nvSpPr>
        <p:spPr>
          <a:xfrm>
            <a:off x="838200" y="365125"/>
            <a:ext cx="10554548" cy="687890"/>
          </a:xfrm>
          <a:prstGeom prst="rect">
            <a:avLst/>
          </a:prstGeom>
        </p:spPr>
        <p:txBody>
          <a:bodyPr/>
          <a:lstStyle>
            <a:lvl1pPr>
              <a:defRPr lang="en-GB" sz="3200" b="0" i="0" noProof="0" dirty="0">
                <a:solidFill>
                  <a:srgbClr val="141E50"/>
                </a:solidFill>
                <a:latin typeface="Helvetica" pitchFamily="2" charset="0"/>
                <a:cs typeface="Arial" panose="020B0604020202020204" pitchFamily="34" charset="0"/>
              </a:defRPr>
            </a:lvl1pPr>
          </a:lstStyle>
          <a:p>
            <a:pPr marL="0" lvl="0"/>
            <a:r>
              <a:rPr lang="en-GB" noProof="0"/>
              <a:t>Click to edit Master title style</a:t>
            </a:r>
          </a:p>
        </p:txBody>
      </p:sp>
      <p:sp>
        <p:nvSpPr>
          <p:cNvPr id="7" name="Plassholder for tekst 6">
            <a:extLst>
              <a:ext uri="{FF2B5EF4-FFF2-40B4-BE49-F238E27FC236}">
                <a16:creationId xmlns:a16="http://schemas.microsoft.com/office/drawing/2014/main" id="{46F34127-2458-47B6-B42F-2ED78425D5FE}"/>
              </a:ext>
            </a:extLst>
          </p:cNvPr>
          <p:cNvSpPr>
            <a:spLocks noGrp="1"/>
          </p:cNvSpPr>
          <p:nvPr>
            <p:ph type="body" sz="quarter" idx="10" hasCustomPrompt="1"/>
          </p:nvPr>
        </p:nvSpPr>
        <p:spPr>
          <a:xfrm>
            <a:off x="838200" y="6429314"/>
            <a:ext cx="9100779" cy="319232"/>
          </a:xfrm>
          <a:prstGeom prst="rect">
            <a:avLst/>
          </a:prstGeom>
        </p:spPr>
        <p:txBody>
          <a:bodyPr>
            <a:noAutofit/>
          </a:bodyPr>
          <a:lstStyle>
            <a:lvl1pPr marL="0" indent="0">
              <a:lnSpc>
                <a:spcPct val="100000"/>
              </a:lnSpc>
              <a:spcBef>
                <a:spcPts val="0"/>
              </a:spcBef>
              <a:buNone/>
              <a:defRPr sz="1000">
                <a:solidFill>
                  <a:srgbClr val="1B1B1B"/>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nb-NO"/>
              <a:t>Source</a:t>
            </a:r>
          </a:p>
        </p:txBody>
      </p:sp>
    </p:spTree>
    <p:extLst>
      <p:ext uri="{BB962C8B-B14F-4D97-AF65-F5344CB8AC3E}">
        <p14:creationId xmlns:p14="http://schemas.microsoft.com/office/powerpoint/2010/main" val="1830645812"/>
      </p:ext>
    </p:extLst>
  </p:cSld>
  <p:clrMapOvr>
    <a:masterClrMapping/>
  </p:clrMapOvr>
  <p:transition spd="slow">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58_Custom Layout">
    <p:bg>
      <p:bgPr>
        <a:solidFill>
          <a:schemeClr val="accent1"/>
        </a:solidFill>
        <a:effectLst/>
      </p:bgPr>
    </p:bg>
    <p:spTree>
      <p:nvGrpSpPr>
        <p:cNvPr id="1" name=""/>
        <p:cNvGrpSpPr/>
        <p:nvPr/>
      </p:nvGrpSpPr>
      <p:grpSpPr>
        <a:xfrm>
          <a:off x="0" y="0"/>
          <a:ext cx="0" cy="0"/>
          <a:chOff x="0" y="0"/>
          <a:chExt cx="0" cy="0"/>
        </a:xfrm>
      </p:grpSpPr>
      <p:pic>
        <p:nvPicPr>
          <p:cNvPr id="6" name="object 2">
            <a:extLst>
              <a:ext uri="{FF2B5EF4-FFF2-40B4-BE49-F238E27FC236}">
                <a16:creationId xmlns:a16="http://schemas.microsoft.com/office/drawing/2014/main" id="{3E06A675-647C-40C5-6399-B642063039A4}"/>
              </a:ext>
            </a:extLst>
          </p:cNvPr>
          <p:cNvPicPr/>
          <p:nvPr userDrawn="1"/>
        </p:nvPicPr>
        <p:blipFill rotWithShape="1">
          <a:blip r:embed="rId2" cstate="screen">
            <a:alphaModFix amt="27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a:extLst>
              <a:ext uri="{FF2B5EF4-FFF2-40B4-BE49-F238E27FC236}">
                <a16:creationId xmlns:a16="http://schemas.microsoft.com/office/drawing/2014/main" id="{52C1C368-503A-C622-6FDE-E0060070AE50}"/>
              </a:ext>
            </a:extLst>
          </p:cNvPr>
          <p:cNvSpPr>
            <a:spLocks noGrp="1"/>
          </p:cNvSpPr>
          <p:nvPr>
            <p:ph type="title"/>
          </p:nvPr>
        </p:nvSpPr>
        <p:spPr>
          <a:xfrm>
            <a:off x="1218622" y="3429000"/>
            <a:ext cx="9418875" cy="1325563"/>
          </a:xfrm>
          <a:prstGeom prst="rect">
            <a:avLst/>
          </a:prstGeom>
        </p:spPr>
        <p:txBody>
          <a:bodyPr/>
          <a:lstStyle>
            <a:lvl1pPr>
              <a:defRPr b="0" i="0">
                <a:solidFill>
                  <a:schemeClr val="bg1"/>
                </a:solidFill>
                <a:latin typeface="Helvetica Light" panose="020B0403020202020204" pitchFamily="34" charset="0"/>
              </a:defRPr>
            </a:lvl1pPr>
          </a:lstStyle>
          <a:p>
            <a:r>
              <a:rPr lang="en-GB"/>
              <a:t>Click to edit Master title style</a:t>
            </a:r>
            <a:endParaRPr lang="en-US"/>
          </a:p>
        </p:txBody>
      </p:sp>
      <p:pic>
        <p:nvPicPr>
          <p:cNvPr id="10" name="Bilde 5">
            <a:extLst>
              <a:ext uri="{FF2B5EF4-FFF2-40B4-BE49-F238E27FC236}">
                <a16:creationId xmlns:a16="http://schemas.microsoft.com/office/drawing/2014/main" id="{7DCA0359-8D81-843C-70E8-4571A42EA7A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12031" y="5389851"/>
            <a:ext cx="2822031" cy="493381"/>
          </a:xfrm>
          <a:prstGeom prst="rect">
            <a:avLst/>
          </a:prstGeom>
        </p:spPr>
      </p:pic>
      <p:cxnSp>
        <p:nvCxnSpPr>
          <p:cNvPr id="11" name="Straight Connector 10">
            <a:extLst>
              <a:ext uri="{FF2B5EF4-FFF2-40B4-BE49-F238E27FC236}">
                <a16:creationId xmlns:a16="http://schemas.microsoft.com/office/drawing/2014/main" id="{D2B4E9CF-53FB-6A14-C29B-FB79E254B303}"/>
              </a:ext>
            </a:extLst>
          </p:cNvPr>
          <p:cNvCxnSpPr>
            <a:cxnSpLocks/>
          </p:cNvCxnSpPr>
          <p:nvPr userDrawn="1"/>
        </p:nvCxnSpPr>
        <p:spPr>
          <a:xfrm>
            <a:off x="1315186" y="4964483"/>
            <a:ext cx="941887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0BD676DD-16C3-41CC-2353-A2227D88BB3E}"/>
              </a:ext>
            </a:extLst>
          </p:cNvPr>
          <p:cNvSpPr>
            <a:spLocks noGrp="1"/>
          </p:cNvSpPr>
          <p:nvPr>
            <p:ph type="body" sz="quarter" idx="25"/>
          </p:nvPr>
        </p:nvSpPr>
        <p:spPr>
          <a:xfrm>
            <a:off x="1218622" y="5269288"/>
            <a:ext cx="5730817" cy="1227888"/>
          </a:xfrm>
          <a:prstGeom prst="rect">
            <a:avLst/>
          </a:prstGeom>
        </p:spPr>
        <p:txBody>
          <a:bodyPr anchor="t">
            <a:noAutofit/>
          </a:bodyPr>
          <a:lstStyle>
            <a:lvl1pPr marL="0" indent="0">
              <a:buNone/>
              <a:defRPr sz="14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Click to edit Master text styles</a:t>
            </a:r>
          </a:p>
        </p:txBody>
      </p:sp>
    </p:spTree>
    <p:extLst>
      <p:ext uri="{BB962C8B-B14F-4D97-AF65-F5344CB8AC3E}">
        <p14:creationId xmlns:p14="http://schemas.microsoft.com/office/powerpoint/2010/main" val="6297240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mall image on the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54548" cy="687890"/>
          </a:xfrm>
          <a:prstGeom prst="rect">
            <a:avLst/>
          </a:prstGeom>
        </p:spPr>
        <p:txBody>
          <a:bodyPr/>
          <a:lstStyle>
            <a:lvl1pPr>
              <a:defRPr lang="en-GB" sz="3200" b="0" i="0" noProof="0" dirty="0">
                <a:solidFill>
                  <a:srgbClr val="141E50"/>
                </a:solidFill>
                <a:latin typeface="Helvetica" pitchFamily="2" charset="0"/>
                <a:cs typeface="Arial" panose="020B0604020202020204" pitchFamily="34" charset="0"/>
              </a:defRPr>
            </a:lvl1pPr>
          </a:lstStyle>
          <a:p>
            <a:pPr marL="0" lvl="0"/>
            <a:r>
              <a:rPr lang="en-GB" noProof="0"/>
              <a:t>Click to edit Master title style</a:t>
            </a:r>
          </a:p>
        </p:txBody>
      </p:sp>
      <p:sp>
        <p:nvSpPr>
          <p:cNvPr id="7" name="Text Placeholder 6"/>
          <p:cNvSpPr>
            <a:spLocks noGrp="1"/>
          </p:cNvSpPr>
          <p:nvPr>
            <p:ph type="body" sz="quarter" idx="12" hasCustomPrompt="1"/>
          </p:nvPr>
        </p:nvSpPr>
        <p:spPr>
          <a:xfrm>
            <a:off x="5416973" y="1326065"/>
            <a:ext cx="5975775" cy="4335462"/>
          </a:xfrm>
          <a:prstGeom prst="rect">
            <a:avLst/>
          </a:prstGeom>
        </p:spPr>
        <p:txBody>
          <a:bodyPr/>
          <a:lstStyle>
            <a:lvl1pPr marL="0" indent="0">
              <a:buFont typeface="Arial" panose="020B0604020202020204" pitchFamily="34" charset="0"/>
              <a:buNone/>
              <a:defRPr b="0" i="0">
                <a:latin typeface="Helvetica" pitchFamily="2" charset="0"/>
                <a:cs typeface="Arial" panose="020B0604020202020204" pitchFamily="34" charset="0"/>
              </a:defRPr>
            </a:lvl1pPr>
            <a:lvl2pPr>
              <a:defRPr b="0" i="0">
                <a:latin typeface="Helvetica" pitchFamily="2" charset="0"/>
                <a:cs typeface="Arial" panose="020B0604020202020204" pitchFamily="34" charset="0"/>
              </a:defRPr>
            </a:lvl2pPr>
            <a:lvl3pPr>
              <a:defRPr b="0" i="0">
                <a:latin typeface="Helvetica" pitchFamily="2" charset="0"/>
                <a:cs typeface="Arial" panose="020B0604020202020204" pitchFamily="34" charset="0"/>
              </a:defRPr>
            </a:lvl3pPr>
            <a:lvl4pPr>
              <a:defRPr b="0" i="0">
                <a:latin typeface="Helvetica" pitchFamily="2" charset="0"/>
                <a:cs typeface="Arial" panose="020B0604020202020204" pitchFamily="34" charset="0"/>
              </a:defRPr>
            </a:lvl4pPr>
            <a:lvl5pPr>
              <a:defRPr b="0" i="0">
                <a:latin typeface="Helvetica"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Plassholder for innhold 3">
            <a:extLst>
              <a:ext uri="{FF2B5EF4-FFF2-40B4-BE49-F238E27FC236}">
                <a16:creationId xmlns:a16="http://schemas.microsoft.com/office/drawing/2014/main" id="{D8BFF52B-4A46-4B41-9139-AB573461E882}"/>
              </a:ext>
            </a:extLst>
          </p:cNvPr>
          <p:cNvSpPr>
            <a:spLocks noGrp="1"/>
          </p:cNvSpPr>
          <p:nvPr>
            <p:ph sz="quarter" idx="13"/>
          </p:nvPr>
        </p:nvSpPr>
        <p:spPr>
          <a:xfrm>
            <a:off x="838200" y="1326065"/>
            <a:ext cx="4283075" cy="4335462"/>
          </a:xfrm>
          <a:prstGeom prst="rect">
            <a:avLst/>
          </a:prstGeom>
        </p:spPr>
        <p:txBody>
          <a:bodyPr/>
          <a:lstStyle>
            <a:lvl1pPr marL="0" indent="0">
              <a:buNone/>
              <a:defRPr/>
            </a:lvl1pPr>
          </a:lstStyle>
          <a:p>
            <a:pPr lvl="0"/>
            <a:r>
              <a:rPr lang="nb-NO" noProof="0"/>
              <a:t>Klikk for å redigere tekststiler i malen</a:t>
            </a:r>
          </a:p>
        </p:txBody>
      </p:sp>
      <p:pic>
        <p:nvPicPr>
          <p:cNvPr id="6" name="Bilde 5">
            <a:extLst>
              <a:ext uri="{FF2B5EF4-FFF2-40B4-BE49-F238E27FC236}">
                <a16:creationId xmlns:a16="http://schemas.microsoft.com/office/drawing/2014/main" id="{E4BCB4C8-350B-4C4A-850B-2928E30780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2521" y="6430245"/>
            <a:ext cx="1825937" cy="319232"/>
          </a:xfrm>
          <a:prstGeom prst="rect">
            <a:avLst/>
          </a:prstGeom>
        </p:spPr>
      </p:pic>
      <p:sp>
        <p:nvSpPr>
          <p:cNvPr id="8" name="Plassholder for tekst 6">
            <a:extLst>
              <a:ext uri="{FF2B5EF4-FFF2-40B4-BE49-F238E27FC236}">
                <a16:creationId xmlns:a16="http://schemas.microsoft.com/office/drawing/2014/main" id="{7918BADC-6B7A-426B-BB7E-035CF176468B}"/>
              </a:ext>
            </a:extLst>
          </p:cNvPr>
          <p:cNvSpPr>
            <a:spLocks noGrp="1"/>
          </p:cNvSpPr>
          <p:nvPr>
            <p:ph type="body" sz="quarter" idx="10" hasCustomPrompt="1"/>
          </p:nvPr>
        </p:nvSpPr>
        <p:spPr>
          <a:xfrm>
            <a:off x="838200" y="6429314"/>
            <a:ext cx="9100779" cy="319232"/>
          </a:xfrm>
          <a:prstGeom prst="rect">
            <a:avLst/>
          </a:prstGeom>
        </p:spPr>
        <p:txBody>
          <a:bodyPr>
            <a:noAutofit/>
          </a:bodyPr>
          <a:lstStyle>
            <a:lvl1pPr marL="0" indent="0">
              <a:lnSpc>
                <a:spcPct val="100000"/>
              </a:lnSpc>
              <a:spcBef>
                <a:spcPts val="0"/>
              </a:spcBef>
              <a:buNone/>
              <a:defRPr sz="1000">
                <a:solidFill>
                  <a:srgbClr val="1B1B1B"/>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nb-NO"/>
              <a:t>Source</a:t>
            </a:r>
          </a:p>
        </p:txBody>
      </p:sp>
      <p:sp>
        <p:nvSpPr>
          <p:cNvPr id="11" name="Plassholder for lysbildenummer 38">
            <a:extLst>
              <a:ext uri="{FF2B5EF4-FFF2-40B4-BE49-F238E27FC236}">
                <a16:creationId xmlns:a16="http://schemas.microsoft.com/office/drawing/2014/main" id="{6F150E28-C8C6-4F45-AB71-A22A392F7BD8}"/>
              </a:ext>
            </a:extLst>
          </p:cNvPr>
          <p:cNvSpPr>
            <a:spLocks noGrp="1"/>
          </p:cNvSpPr>
          <p:nvPr>
            <p:ph type="sldNum" sz="quarter" idx="4"/>
          </p:nvPr>
        </p:nvSpPr>
        <p:spPr>
          <a:xfrm>
            <a:off x="0" y="6438839"/>
            <a:ext cx="838200" cy="319232"/>
          </a:xfrm>
          <a:prstGeom prst="rect">
            <a:avLst/>
          </a:prstGeom>
        </p:spPr>
        <p:txBody>
          <a:bodyPr vert="horz" lIns="91440" tIns="45720" rIns="91440" bIns="45720" rtlCol="0" anchor="t"/>
          <a:lstStyle>
            <a:lvl1pPr algn="ctr">
              <a:defRPr sz="1000">
                <a:solidFill>
                  <a:srgbClr val="1B1B1B"/>
                </a:solidFill>
              </a:defRPr>
            </a:lvl1pPr>
          </a:lstStyle>
          <a:p>
            <a:fld id="{EDFF9B70-FADC-4CC7-9FFB-4C4965B0F731}" type="slidenum">
              <a:rPr lang="en-GB" smtClean="0"/>
              <a:pPr/>
              <a:t>‹#›</a:t>
            </a:fld>
            <a:endParaRPr lang="en-GB"/>
          </a:p>
        </p:txBody>
      </p:sp>
    </p:spTree>
    <p:extLst>
      <p:ext uri="{BB962C8B-B14F-4D97-AF65-F5344CB8AC3E}">
        <p14:creationId xmlns:p14="http://schemas.microsoft.com/office/powerpoint/2010/main" val="612693684"/>
      </p:ext>
    </p:extLst>
  </p:cSld>
  <p:clrMapOvr>
    <a:masterClrMapping/>
  </p:clrMapOvr>
  <p:transition spd="slow">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Only hea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AFE559D-504A-4E75-89C9-0313E00C5F7E}"/>
              </a:ext>
            </a:extLst>
          </p:cNvPr>
          <p:cNvSpPr>
            <a:spLocks noGrp="1"/>
          </p:cNvSpPr>
          <p:nvPr>
            <p:ph type="title" hasCustomPrompt="1"/>
          </p:nvPr>
        </p:nvSpPr>
        <p:spPr>
          <a:xfrm>
            <a:off x="838200" y="365125"/>
            <a:ext cx="10515600" cy="1325563"/>
          </a:xfrm>
          <a:prstGeom prst="rect">
            <a:avLst/>
          </a:prstGeom>
        </p:spPr>
        <p:txBody>
          <a:bodyPr/>
          <a:lstStyle>
            <a:lvl1pPr>
              <a:defRPr sz="3200" b="0" i="0">
                <a:solidFill>
                  <a:srgbClr val="141E50"/>
                </a:solidFill>
                <a:latin typeface="Helvetica" pitchFamily="2" charset="0"/>
                <a:cs typeface="Arial" panose="020B0604020202020204" pitchFamily="34" charset="0"/>
              </a:defRPr>
            </a:lvl1pPr>
          </a:lstStyle>
          <a:p>
            <a:r>
              <a:rPr lang="en-GB" noProof="0"/>
              <a:t>Click to edit Master title style</a:t>
            </a:r>
          </a:p>
        </p:txBody>
      </p:sp>
      <p:pic>
        <p:nvPicPr>
          <p:cNvPr id="4" name="Bilde 3">
            <a:extLst>
              <a:ext uri="{FF2B5EF4-FFF2-40B4-BE49-F238E27FC236}">
                <a16:creationId xmlns:a16="http://schemas.microsoft.com/office/drawing/2014/main" id="{346DB335-1FBA-47A6-A198-403FA75B3D2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2521" y="6430245"/>
            <a:ext cx="1825937" cy="319232"/>
          </a:xfrm>
          <a:prstGeom prst="rect">
            <a:avLst/>
          </a:prstGeom>
        </p:spPr>
      </p:pic>
      <p:sp>
        <p:nvSpPr>
          <p:cNvPr id="5" name="Plassholder for tekst 6">
            <a:extLst>
              <a:ext uri="{FF2B5EF4-FFF2-40B4-BE49-F238E27FC236}">
                <a16:creationId xmlns:a16="http://schemas.microsoft.com/office/drawing/2014/main" id="{A675FF1B-0A90-4A8D-81C7-7CD1B7B6BA7A}"/>
              </a:ext>
            </a:extLst>
          </p:cNvPr>
          <p:cNvSpPr>
            <a:spLocks noGrp="1"/>
          </p:cNvSpPr>
          <p:nvPr>
            <p:ph type="body" sz="quarter" idx="10" hasCustomPrompt="1"/>
          </p:nvPr>
        </p:nvSpPr>
        <p:spPr>
          <a:xfrm>
            <a:off x="838200" y="6429314"/>
            <a:ext cx="9100779" cy="319232"/>
          </a:xfrm>
          <a:prstGeom prst="rect">
            <a:avLst/>
          </a:prstGeom>
        </p:spPr>
        <p:txBody>
          <a:bodyPr>
            <a:noAutofit/>
          </a:bodyPr>
          <a:lstStyle>
            <a:lvl1pPr marL="0" indent="0">
              <a:lnSpc>
                <a:spcPct val="100000"/>
              </a:lnSpc>
              <a:spcBef>
                <a:spcPts val="0"/>
              </a:spcBef>
              <a:buNone/>
              <a:defRPr sz="1000">
                <a:solidFill>
                  <a:srgbClr val="1B1B1B"/>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nb-NO"/>
              <a:t>Source</a:t>
            </a:r>
          </a:p>
        </p:txBody>
      </p:sp>
      <p:sp>
        <p:nvSpPr>
          <p:cNvPr id="6" name="Plassholder for lysbildenummer 38">
            <a:extLst>
              <a:ext uri="{FF2B5EF4-FFF2-40B4-BE49-F238E27FC236}">
                <a16:creationId xmlns:a16="http://schemas.microsoft.com/office/drawing/2014/main" id="{175A73ED-0227-4CED-9131-EAB9B72DB756}"/>
              </a:ext>
            </a:extLst>
          </p:cNvPr>
          <p:cNvSpPr>
            <a:spLocks noGrp="1"/>
          </p:cNvSpPr>
          <p:nvPr>
            <p:ph type="sldNum" sz="quarter" idx="4"/>
          </p:nvPr>
        </p:nvSpPr>
        <p:spPr>
          <a:xfrm>
            <a:off x="0" y="6438839"/>
            <a:ext cx="838200" cy="319232"/>
          </a:xfrm>
          <a:prstGeom prst="rect">
            <a:avLst/>
          </a:prstGeom>
        </p:spPr>
        <p:txBody>
          <a:bodyPr vert="horz" lIns="91440" tIns="45720" rIns="91440" bIns="45720" rtlCol="0" anchor="t"/>
          <a:lstStyle>
            <a:lvl1pPr algn="ctr">
              <a:defRPr sz="1000">
                <a:solidFill>
                  <a:srgbClr val="1B1B1B"/>
                </a:solidFill>
              </a:defRPr>
            </a:lvl1pPr>
          </a:lstStyle>
          <a:p>
            <a:fld id="{EDFF9B70-FADC-4CC7-9FFB-4C4965B0F731}" type="slidenum">
              <a:rPr lang="en-GB" smtClean="0"/>
              <a:pPr/>
              <a:t>‹#›</a:t>
            </a:fld>
            <a:endParaRPr lang="en-GB"/>
          </a:p>
        </p:txBody>
      </p:sp>
    </p:spTree>
    <p:extLst>
      <p:ext uri="{BB962C8B-B14F-4D97-AF65-F5344CB8AC3E}">
        <p14:creationId xmlns:p14="http://schemas.microsoft.com/office/powerpoint/2010/main" val="3546432611"/>
      </p:ext>
    </p:extLst>
  </p:cSld>
  <p:clrMapOvr>
    <a:masterClrMapping/>
  </p:clrMapOvr>
  <p:transition spd="slow">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Only header">
    <p:spTree>
      <p:nvGrpSpPr>
        <p:cNvPr id="1" name=""/>
        <p:cNvGrpSpPr/>
        <p:nvPr/>
      </p:nvGrpSpPr>
      <p:grpSpPr>
        <a:xfrm>
          <a:off x="0" y="0"/>
          <a:ext cx="0" cy="0"/>
          <a:chOff x="0" y="0"/>
          <a:chExt cx="0" cy="0"/>
        </a:xfrm>
      </p:grpSpPr>
      <p:sp>
        <p:nvSpPr>
          <p:cNvPr id="8" name="Rectangle 36">
            <a:extLst>
              <a:ext uri="{FF2B5EF4-FFF2-40B4-BE49-F238E27FC236}">
                <a16:creationId xmlns:a16="http://schemas.microsoft.com/office/drawing/2014/main" id="{184BABCB-3443-4B62-AD28-EFE820BADE8B}"/>
              </a:ext>
            </a:extLst>
          </p:cNvPr>
          <p:cNvSpPr/>
          <p:nvPr userDrawn="1"/>
        </p:nvSpPr>
        <p:spPr>
          <a:xfrm>
            <a:off x="0" y="6319858"/>
            <a:ext cx="12192000" cy="538142"/>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2" name="Tittel 1">
            <a:extLst>
              <a:ext uri="{FF2B5EF4-FFF2-40B4-BE49-F238E27FC236}">
                <a16:creationId xmlns:a16="http://schemas.microsoft.com/office/drawing/2014/main" id="{FAFE559D-504A-4E75-89C9-0313E00C5F7E}"/>
              </a:ext>
            </a:extLst>
          </p:cNvPr>
          <p:cNvSpPr>
            <a:spLocks noGrp="1"/>
          </p:cNvSpPr>
          <p:nvPr>
            <p:ph type="title" hasCustomPrompt="1"/>
          </p:nvPr>
        </p:nvSpPr>
        <p:spPr>
          <a:xfrm>
            <a:off x="838200" y="365125"/>
            <a:ext cx="10515600" cy="1325563"/>
          </a:xfrm>
          <a:prstGeom prst="rect">
            <a:avLst/>
          </a:prstGeom>
        </p:spPr>
        <p:txBody>
          <a:bodyPr/>
          <a:lstStyle>
            <a:lvl1pPr>
              <a:defRPr sz="3200" b="0" i="0">
                <a:solidFill>
                  <a:srgbClr val="141E50"/>
                </a:solidFill>
                <a:latin typeface="Helvetica" pitchFamily="2" charset="0"/>
                <a:cs typeface="Arial" panose="020B0604020202020204" pitchFamily="34" charset="0"/>
              </a:defRPr>
            </a:lvl1pPr>
          </a:lstStyle>
          <a:p>
            <a:r>
              <a:rPr lang="en-GB" noProof="0"/>
              <a:t>Click to edit Master title style</a:t>
            </a:r>
          </a:p>
        </p:txBody>
      </p:sp>
      <p:pic>
        <p:nvPicPr>
          <p:cNvPr id="7" name="Bilde 6">
            <a:extLst>
              <a:ext uri="{FF2B5EF4-FFF2-40B4-BE49-F238E27FC236}">
                <a16:creationId xmlns:a16="http://schemas.microsoft.com/office/drawing/2014/main" id="{F85C6D54-BB5E-4DD9-831B-232CE4FD03E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2521" y="6429313"/>
            <a:ext cx="1825937" cy="319232"/>
          </a:xfrm>
          <a:prstGeom prst="rect">
            <a:avLst/>
          </a:prstGeom>
        </p:spPr>
      </p:pic>
      <p:sp>
        <p:nvSpPr>
          <p:cNvPr id="10" name="Plassholder for lysbildenummer 38">
            <a:extLst>
              <a:ext uri="{FF2B5EF4-FFF2-40B4-BE49-F238E27FC236}">
                <a16:creationId xmlns:a16="http://schemas.microsoft.com/office/drawing/2014/main" id="{504EEE38-9E7F-48D0-BC21-679C28261D08}"/>
              </a:ext>
            </a:extLst>
          </p:cNvPr>
          <p:cNvSpPr>
            <a:spLocks noGrp="1"/>
          </p:cNvSpPr>
          <p:nvPr>
            <p:ph type="sldNum" sz="quarter" idx="4"/>
          </p:nvPr>
        </p:nvSpPr>
        <p:spPr>
          <a:xfrm>
            <a:off x="0" y="6438839"/>
            <a:ext cx="838200" cy="319232"/>
          </a:xfrm>
          <a:prstGeom prst="rect">
            <a:avLst/>
          </a:prstGeom>
        </p:spPr>
        <p:txBody>
          <a:bodyPr vert="horz" lIns="91440" tIns="45720" rIns="91440" bIns="45720" rtlCol="0" anchor="t"/>
          <a:lstStyle>
            <a:lvl1pPr algn="ctr">
              <a:defRPr sz="1000">
                <a:solidFill>
                  <a:schemeClr val="bg1"/>
                </a:solidFill>
              </a:defRPr>
            </a:lvl1pPr>
          </a:lstStyle>
          <a:p>
            <a:fld id="{EDFF9B70-FADC-4CC7-9FFB-4C4965B0F731}" type="slidenum">
              <a:rPr lang="en-GB" smtClean="0"/>
              <a:pPr/>
              <a:t>‹#›</a:t>
            </a:fld>
            <a:endParaRPr lang="en-GB"/>
          </a:p>
        </p:txBody>
      </p:sp>
    </p:spTree>
    <p:extLst>
      <p:ext uri="{BB962C8B-B14F-4D97-AF65-F5344CB8AC3E}">
        <p14:creationId xmlns:p14="http://schemas.microsoft.com/office/powerpoint/2010/main" val="1522421972"/>
      </p:ext>
    </p:extLst>
  </p:cSld>
  <p:clrMapOvr>
    <a:masterClrMapping/>
  </p:clrMapOvr>
  <p:transition spd="slow">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c with logo 1">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8A7F36D4-7537-4D46-B416-5E096FF07DF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8749" y="409861"/>
            <a:ext cx="1825937" cy="319232"/>
          </a:xfrm>
          <a:prstGeom prst="rect">
            <a:avLst/>
          </a:prstGeom>
        </p:spPr>
      </p:pic>
      <p:sp>
        <p:nvSpPr>
          <p:cNvPr id="3" name="Plassholder for lysbildenummer 38">
            <a:extLst>
              <a:ext uri="{FF2B5EF4-FFF2-40B4-BE49-F238E27FC236}">
                <a16:creationId xmlns:a16="http://schemas.microsoft.com/office/drawing/2014/main" id="{FEFA7774-31E9-4845-A02E-5FE1C03BA0E9}"/>
              </a:ext>
            </a:extLst>
          </p:cNvPr>
          <p:cNvSpPr>
            <a:spLocks noGrp="1"/>
          </p:cNvSpPr>
          <p:nvPr>
            <p:ph type="sldNum" sz="quarter" idx="4"/>
          </p:nvPr>
        </p:nvSpPr>
        <p:spPr>
          <a:xfrm>
            <a:off x="0" y="6438839"/>
            <a:ext cx="838200" cy="319232"/>
          </a:xfrm>
          <a:prstGeom prst="rect">
            <a:avLst/>
          </a:prstGeom>
        </p:spPr>
        <p:txBody>
          <a:bodyPr vert="horz" lIns="91440" tIns="45720" rIns="91440" bIns="45720" rtlCol="0" anchor="t"/>
          <a:lstStyle>
            <a:lvl1pPr algn="ctr">
              <a:defRPr sz="1000">
                <a:solidFill>
                  <a:srgbClr val="1B1B1B"/>
                </a:solidFill>
              </a:defRPr>
            </a:lvl1pPr>
          </a:lstStyle>
          <a:p>
            <a:fld id="{EDFF9B70-FADC-4CC7-9FFB-4C4965B0F731}" type="slidenum">
              <a:rPr lang="en-GB" smtClean="0"/>
              <a:pPr/>
              <a:t>‹#›</a:t>
            </a:fld>
            <a:endParaRPr lang="en-GB"/>
          </a:p>
        </p:txBody>
      </p:sp>
    </p:spTree>
    <p:extLst>
      <p:ext uri="{BB962C8B-B14F-4D97-AF65-F5344CB8AC3E}">
        <p14:creationId xmlns:p14="http://schemas.microsoft.com/office/powerpoint/2010/main" val="2403121683"/>
      </p:ext>
    </p:extLst>
  </p:cSld>
  <p:clrMapOvr>
    <a:masterClrMapping/>
  </p:clrMapOvr>
  <p:transition spd="slow">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ext without headlin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300163" y="602470"/>
            <a:ext cx="9658350" cy="4409440"/>
          </a:xfrm>
          <a:prstGeom prst="rect">
            <a:avLst/>
          </a:prstGeom>
        </p:spPr>
        <p:txBody>
          <a:bodyPr anchor="ctr">
            <a:normAutofit/>
          </a:bodyPr>
          <a:lstStyle>
            <a:lvl1pPr marL="0" indent="0" algn="ctr">
              <a:buNone/>
              <a:defRPr sz="4400" b="0" i="0">
                <a:solidFill>
                  <a:srgbClr val="2832DC"/>
                </a:solidFill>
                <a:latin typeface="Helvetica" pitchFamily="2" charset="0"/>
                <a:cs typeface="Arial" panose="020B0604020202020204" pitchFamily="34" charset="0"/>
              </a:defRPr>
            </a:lvl1pPr>
            <a:lvl2pPr algn="ctr">
              <a:defRPr sz="2400"/>
            </a:lvl2pPr>
            <a:lvl3pPr algn="ctr">
              <a:defRPr sz="2000"/>
            </a:lvl3pPr>
            <a:lvl4pPr algn="ctr">
              <a:defRPr sz="1800"/>
            </a:lvl4pPr>
            <a:lvl5pPr algn="ctr">
              <a:defRPr sz="1800"/>
            </a:lvl5pPr>
          </a:lstStyle>
          <a:p>
            <a:pPr lvl="0"/>
            <a:r>
              <a:rPr lang="en-GB" noProof="0"/>
              <a:t>Click to edit Master text styles</a:t>
            </a:r>
          </a:p>
        </p:txBody>
      </p:sp>
      <p:pic>
        <p:nvPicPr>
          <p:cNvPr id="5" name="Bilde 4">
            <a:extLst>
              <a:ext uri="{FF2B5EF4-FFF2-40B4-BE49-F238E27FC236}">
                <a16:creationId xmlns:a16="http://schemas.microsoft.com/office/drawing/2014/main" id="{BD3625BD-0F11-4BE2-9CED-1CFE1DB8234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2521" y="6430245"/>
            <a:ext cx="1825937" cy="319232"/>
          </a:xfrm>
          <a:prstGeom prst="rect">
            <a:avLst/>
          </a:prstGeom>
        </p:spPr>
      </p:pic>
      <p:sp>
        <p:nvSpPr>
          <p:cNvPr id="6" name="Plassholder for lysbildenummer 38">
            <a:extLst>
              <a:ext uri="{FF2B5EF4-FFF2-40B4-BE49-F238E27FC236}">
                <a16:creationId xmlns:a16="http://schemas.microsoft.com/office/drawing/2014/main" id="{11404CA9-0097-42AE-A22E-B05E5C2BC5DE}"/>
              </a:ext>
            </a:extLst>
          </p:cNvPr>
          <p:cNvSpPr>
            <a:spLocks noGrp="1"/>
          </p:cNvSpPr>
          <p:nvPr>
            <p:ph type="sldNum" sz="quarter" idx="4"/>
          </p:nvPr>
        </p:nvSpPr>
        <p:spPr>
          <a:xfrm>
            <a:off x="0" y="6438839"/>
            <a:ext cx="838200" cy="319232"/>
          </a:xfrm>
          <a:prstGeom prst="rect">
            <a:avLst/>
          </a:prstGeom>
        </p:spPr>
        <p:txBody>
          <a:bodyPr vert="horz" lIns="91440" tIns="45720" rIns="91440" bIns="45720" rtlCol="0" anchor="t"/>
          <a:lstStyle>
            <a:lvl1pPr algn="ctr">
              <a:defRPr sz="1000">
                <a:solidFill>
                  <a:srgbClr val="1B1B1B"/>
                </a:solidFill>
              </a:defRPr>
            </a:lvl1pPr>
          </a:lstStyle>
          <a:p>
            <a:fld id="{EDFF9B70-FADC-4CC7-9FFB-4C4965B0F731}" type="slidenum">
              <a:rPr lang="en-GB" smtClean="0"/>
              <a:pPr/>
              <a:t>‹#›</a:t>
            </a:fld>
            <a:endParaRPr lang="en-GB"/>
          </a:p>
        </p:txBody>
      </p:sp>
    </p:spTree>
    <p:extLst>
      <p:ext uri="{BB962C8B-B14F-4D97-AF65-F5344CB8AC3E}">
        <p14:creationId xmlns:p14="http://schemas.microsoft.com/office/powerpoint/2010/main" val="303413696"/>
      </p:ext>
    </p:extLst>
  </p:cSld>
  <p:clrMapOvr>
    <a:masterClrMapping/>
  </p:clrMapOvr>
  <p:transition spd="slow">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Image on the right">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7721600" y="1"/>
            <a:ext cx="4470400" cy="6858000"/>
          </a:xfrm>
          <a:prstGeom prst="rect">
            <a:avLst/>
          </a:prstGeom>
          <a:solidFill>
            <a:schemeClr val="bg1">
              <a:lumMod val="85000"/>
            </a:schemeClr>
          </a:solidFill>
        </p:spPr>
        <p:txBody>
          <a:bodyPr anchor="b">
            <a:normAutofit/>
          </a:bodyPr>
          <a:lstStyle>
            <a:lvl1pPr algn="ctr">
              <a:defRPr sz="2000" b="0" i="0">
                <a:solidFill>
                  <a:schemeClr val="accent5"/>
                </a:solidFill>
                <a:latin typeface="Helvetica" pitchFamily="2" charset="0"/>
                <a:cs typeface="Arial" panose="020B0604020202020204" pitchFamily="34" charset="0"/>
              </a:defRPr>
            </a:lvl1pPr>
          </a:lstStyle>
          <a:p>
            <a:r>
              <a:rPr lang="en-GB" noProof="0"/>
              <a:t>Click on icon and add a picture</a:t>
            </a:r>
          </a:p>
          <a:p>
            <a:endParaRPr lang="en-GB" noProof="0"/>
          </a:p>
        </p:txBody>
      </p:sp>
      <p:sp>
        <p:nvSpPr>
          <p:cNvPr id="2" name="Title 1"/>
          <p:cNvSpPr>
            <a:spLocks noGrp="1"/>
          </p:cNvSpPr>
          <p:nvPr>
            <p:ph type="title" hasCustomPrompt="1"/>
          </p:nvPr>
        </p:nvSpPr>
        <p:spPr>
          <a:xfrm>
            <a:off x="838200" y="195446"/>
            <a:ext cx="6456680" cy="857568"/>
          </a:xfrm>
          <a:prstGeom prst="rect">
            <a:avLst/>
          </a:prstGeom>
        </p:spPr>
        <p:txBody>
          <a:bodyPr/>
          <a:lstStyle>
            <a:lvl1pPr>
              <a:defRPr sz="3200" b="0" i="0">
                <a:solidFill>
                  <a:srgbClr val="141E50"/>
                </a:solidFill>
                <a:latin typeface="Helvetica" pitchFamily="2" charset="0"/>
                <a:cs typeface="Arial" panose="020B0604020202020204" pitchFamily="34" charset="0"/>
              </a:defRPr>
            </a:lvl1pPr>
          </a:lstStyle>
          <a:p>
            <a:r>
              <a:rPr lang="en-GB" noProof="0"/>
              <a:t>Click to edit title style</a:t>
            </a:r>
          </a:p>
        </p:txBody>
      </p:sp>
      <p:sp>
        <p:nvSpPr>
          <p:cNvPr id="3" name="Content Placeholder 2"/>
          <p:cNvSpPr>
            <a:spLocks noGrp="1"/>
          </p:cNvSpPr>
          <p:nvPr>
            <p:ph idx="1" hasCustomPrompt="1"/>
          </p:nvPr>
        </p:nvSpPr>
        <p:spPr>
          <a:xfrm>
            <a:off x="838200" y="1187951"/>
            <a:ext cx="6456680" cy="5050423"/>
          </a:xfrm>
          <a:prstGeom prst="rect">
            <a:avLst/>
          </a:prstGeom>
        </p:spPr>
        <p:txBody>
          <a:bodyPr/>
          <a:lstStyle>
            <a:lvl1pPr marL="0" indent="0">
              <a:buFont typeface="Arial" panose="020B0604020202020204" pitchFamily="34" charset="0"/>
              <a:buNone/>
              <a:defRPr b="0" i="0">
                <a:latin typeface="Helvetica" pitchFamily="2" charset="0"/>
                <a:cs typeface="Arial" panose="020B0604020202020204" pitchFamily="34" charset="0"/>
              </a:defRPr>
            </a:lvl1pPr>
            <a:lvl2pPr>
              <a:defRPr b="0" i="0">
                <a:latin typeface="Helvetica" pitchFamily="2" charset="0"/>
                <a:cs typeface="Arial" panose="020B0604020202020204" pitchFamily="34" charset="0"/>
              </a:defRPr>
            </a:lvl2pPr>
            <a:lvl3pPr>
              <a:defRPr b="0" i="0">
                <a:latin typeface="Helvetica" pitchFamily="2" charset="0"/>
                <a:cs typeface="Arial" panose="020B0604020202020204" pitchFamily="34" charset="0"/>
              </a:defRPr>
            </a:lvl3pPr>
            <a:lvl4pPr>
              <a:defRPr b="0" i="0">
                <a:latin typeface="Helvetica" pitchFamily="2" charset="0"/>
                <a:cs typeface="Arial" panose="020B0604020202020204" pitchFamily="34" charset="0"/>
              </a:defRPr>
            </a:lvl4pPr>
            <a:lvl5pPr>
              <a:defRPr b="0" i="0">
                <a:latin typeface="Helvetica"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lassholder for tekst 6">
            <a:extLst>
              <a:ext uri="{FF2B5EF4-FFF2-40B4-BE49-F238E27FC236}">
                <a16:creationId xmlns:a16="http://schemas.microsoft.com/office/drawing/2014/main" id="{94F98F37-022D-442A-AD51-96FC9CBBAA64}"/>
              </a:ext>
            </a:extLst>
          </p:cNvPr>
          <p:cNvSpPr>
            <a:spLocks noGrp="1"/>
          </p:cNvSpPr>
          <p:nvPr>
            <p:ph type="body" sz="quarter" idx="11" hasCustomPrompt="1"/>
          </p:nvPr>
        </p:nvSpPr>
        <p:spPr>
          <a:xfrm>
            <a:off x="838201" y="6429314"/>
            <a:ext cx="6456680" cy="319232"/>
          </a:xfrm>
          <a:prstGeom prst="rect">
            <a:avLst/>
          </a:prstGeom>
        </p:spPr>
        <p:txBody>
          <a:bodyPr>
            <a:noAutofit/>
          </a:bodyPr>
          <a:lstStyle>
            <a:lvl1pPr marL="0" indent="0">
              <a:lnSpc>
                <a:spcPct val="100000"/>
              </a:lnSpc>
              <a:spcBef>
                <a:spcPts val="0"/>
              </a:spcBef>
              <a:buNone/>
              <a:defRPr sz="1000">
                <a:solidFill>
                  <a:srgbClr val="1B1B1B"/>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nb-NO"/>
              <a:t>Source</a:t>
            </a:r>
          </a:p>
        </p:txBody>
      </p:sp>
      <p:sp>
        <p:nvSpPr>
          <p:cNvPr id="7" name="Plassholder for lysbildenummer 38">
            <a:extLst>
              <a:ext uri="{FF2B5EF4-FFF2-40B4-BE49-F238E27FC236}">
                <a16:creationId xmlns:a16="http://schemas.microsoft.com/office/drawing/2014/main" id="{ED7AC3E7-0CC9-4FC7-BFA0-5A2281382CF1}"/>
              </a:ext>
            </a:extLst>
          </p:cNvPr>
          <p:cNvSpPr>
            <a:spLocks noGrp="1"/>
          </p:cNvSpPr>
          <p:nvPr>
            <p:ph type="sldNum" sz="quarter" idx="4"/>
          </p:nvPr>
        </p:nvSpPr>
        <p:spPr>
          <a:xfrm>
            <a:off x="0" y="6438839"/>
            <a:ext cx="838200" cy="319232"/>
          </a:xfrm>
          <a:prstGeom prst="rect">
            <a:avLst/>
          </a:prstGeom>
        </p:spPr>
        <p:txBody>
          <a:bodyPr vert="horz" lIns="91440" tIns="45720" rIns="91440" bIns="45720" rtlCol="0" anchor="t"/>
          <a:lstStyle>
            <a:lvl1pPr algn="ctr">
              <a:defRPr sz="1000">
                <a:solidFill>
                  <a:srgbClr val="1B1B1B"/>
                </a:solidFill>
              </a:defRPr>
            </a:lvl1pPr>
          </a:lstStyle>
          <a:p>
            <a:fld id="{EDFF9B70-FADC-4CC7-9FFB-4C4965B0F731}" type="slidenum">
              <a:rPr lang="en-GB" smtClean="0"/>
              <a:pPr/>
              <a:t>‹#›</a:t>
            </a:fld>
            <a:endParaRPr lang="en-GB"/>
          </a:p>
        </p:txBody>
      </p:sp>
    </p:spTree>
    <p:extLst>
      <p:ext uri="{BB962C8B-B14F-4D97-AF65-F5344CB8AC3E}">
        <p14:creationId xmlns:p14="http://schemas.microsoft.com/office/powerpoint/2010/main" val="857806128"/>
      </p:ext>
    </p:extLst>
  </p:cSld>
  <p:clrMapOvr>
    <a:masterClrMapping/>
  </p:clrMapOvr>
  <p:transition spd="slow">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mage on the left">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1"/>
            <a:ext cx="4470400" cy="6858000"/>
          </a:xfrm>
          <a:prstGeom prst="rect">
            <a:avLst/>
          </a:prstGeom>
          <a:solidFill>
            <a:schemeClr val="bg1">
              <a:lumMod val="85000"/>
            </a:schemeClr>
          </a:solidFill>
        </p:spPr>
        <p:txBody>
          <a:bodyPr anchor="b">
            <a:normAutofit/>
          </a:bodyPr>
          <a:lstStyle>
            <a:lvl1pPr algn="ctr">
              <a:defRPr sz="2000" b="0" i="0">
                <a:solidFill>
                  <a:srgbClr val="141E50"/>
                </a:solidFill>
                <a:latin typeface="Helvetica" pitchFamily="2" charset="0"/>
                <a:cs typeface="Arial" panose="020B0604020202020204" pitchFamily="34" charset="0"/>
              </a:defRPr>
            </a:lvl1pPr>
          </a:lstStyle>
          <a:p>
            <a:r>
              <a:rPr lang="en-GB" noProof="0"/>
              <a:t>Click on icon and add a picture</a:t>
            </a:r>
          </a:p>
          <a:p>
            <a:endParaRPr lang="en-GB" noProof="0"/>
          </a:p>
        </p:txBody>
      </p:sp>
      <p:sp>
        <p:nvSpPr>
          <p:cNvPr id="2" name="Title 1"/>
          <p:cNvSpPr>
            <a:spLocks noGrp="1"/>
          </p:cNvSpPr>
          <p:nvPr>
            <p:ph type="title" hasCustomPrompt="1"/>
          </p:nvPr>
        </p:nvSpPr>
        <p:spPr>
          <a:xfrm>
            <a:off x="4902200" y="195447"/>
            <a:ext cx="6456680" cy="857568"/>
          </a:xfrm>
          <a:prstGeom prst="rect">
            <a:avLst/>
          </a:prstGeom>
        </p:spPr>
        <p:txBody>
          <a:bodyPr/>
          <a:lstStyle>
            <a:lvl1pPr>
              <a:defRPr sz="3200" b="0" i="0">
                <a:solidFill>
                  <a:srgbClr val="141E50"/>
                </a:solidFill>
                <a:latin typeface="Helvetica" pitchFamily="2" charset="0"/>
                <a:cs typeface="Arial" panose="020B0604020202020204" pitchFamily="34" charset="0"/>
              </a:defRPr>
            </a:lvl1pPr>
          </a:lstStyle>
          <a:p>
            <a:r>
              <a:rPr lang="en-GB" noProof="0"/>
              <a:t>Click to edit Master title style</a:t>
            </a:r>
          </a:p>
        </p:txBody>
      </p:sp>
      <p:sp>
        <p:nvSpPr>
          <p:cNvPr id="3" name="Content Placeholder 2"/>
          <p:cNvSpPr>
            <a:spLocks noGrp="1"/>
          </p:cNvSpPr>
          <p:nvPr>
            <p:ph idx="1" hasCustomPrompt="1"/>
          </p:nvPr>
        </p:nvSpPr>
        <p:spPr>
          <a:xfrm>
            <a:off x="4902200" y="1187952"/>
            <a:ext cx="6456680" cy="5104564"/>
          </a:xfrm>
          <a:prstGeom prst="rect">
            <a:avLst/>
          </a:prstGeom>
        </p:spPr>
        <p:txBody>
          <a:bodyPr/>
          <a:lstStyle>
            <a:lvl1pPr marL="342900" indent="-342900">
              <a:buFont typeface="Arial" panose="020B0604020202020204" pitchFamily="34" charset="0"/>
              <a:buChar char="•"/>
              <a:defRPr b="0" i="0">
                <a:latin typeface="Helvetica" pitchFamily="2" charset="0"/>
                <a:cs typeface="Arial" panose="020B0604020202020204" pitchFamily="34" charset="0"/>
              </a:defRPr>
            </a:lvl1pPr>
            <a:lvl2pPr>
              <a:defRPr b="0" i="0">
                <a:latin typeface="Helvetica" pitchFamily="2" charset="0"/>
                <a:cs typeface="Arial" panose="020B0604020202020204" pitchFamily="34" charset="0"/>
              </a:defRPr>
            </a:lvl2pPr>
            <a:lvl3pPr>
              <a:defRPr b="0" i="0">
                <a:latin typeface="Helvetica" pitchFamily="2" charset="0"/>
                <a:cs typeface="Arial" panose="020B0604020202020204" pitchFamily="34" charset="0"/>
              </a:defRPr>
            </a:lvl3pPr>
            <a:lvl4pPr>
              <a:defRPr b="0" i="0">
                <a:latin typeface="Helvetica" pitchFamily="2" charset="0"/>
                <a:cs typeface="Arial" panose="020B0604020202020204" pitchFamily="34" charset="0"/>
              </a:defRPr>
            </a:lvl4pPr>
            <a:lvl5pPr>
              <a:defRPr b="0" i="0">
                <a:latin typeface="Helvetica"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7" name="Bilde 6">
            <a:extLst>
              <a:ext uri="{FF2B5EF4-FFF2-40B4-BE49-F238E27FC236}">
                <a16:creationId xmlns:a16="http://schemas.microsoft.com/office/drawing/2014/main" id="{4EF237EB-F7F1-4DFE-9EE2-9BC0D638CA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2521" y="6430245"/>
            <a:ext cx="1825937" cy="319232"/>
          </a:xfrm>
          <a:prstGeom prst="rect">
            <a:avLst/>
          </a:prstGeom>
        </p:spPr>
      </p:pic>
      <p:sp>
        <p:nvSpPr>
          <p:cNvPr id="6" name="Plassholder for tekst 6">
            <a:extLst>
              <a:ext uri="{FF2B5EF4-FFF2-40B4-BE49-F238E27FC236}">
                <a16:creationId xmlns:a16="http://schemas.microsoft.com/office/drawing/2014/main" id="{E160C00A-EB2C-4AA7-ACD4-33F04EF66975}"/>
              </a:ext>
            </a:extLst>
          </p:cNvPr>
          <p:cNvSpPr>
            <a:spLocks noGrp="1"/>
          </p:cNvSpPr>
          <p:nvPr>
            <p:ph type="body" sz="quarter" idx="11" hasCustomPrompt="1"/>
          </p:nvPr>
        </p:nvSpPr>
        <p:spPr>
          <a:xfrm>
            <a:off x="4902200" y="6429314"/>
            <a:ext cx="5036779" cy="319232"/>
          </a:xfrm>
          <a:prstGeom prst="rect">
            <a:avLst/>
          </a:prstGeom>
        </p:spPr>
        <p:txBody>
          <a:bodyPr>
            <a:noAutofit/>
          </a:bodyPr>
          <a:lstStyle>
            <a:lvl1pPr marL="0" indent="0">
              <a:lnSpc>
                <a:spcPct val="100000"/>
              </a:lnSpc>
              <a:spcBef>
                <a:spcPts val="0"/>
              </a:spcBef>
              <a:buNone/>
              <a:defRPr sz="1000">
                <a:solidFill>
                  <a:srgbClr val="1B1B1B"/>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nb-NO"/>
              <a:t>Source</a:t>
            </a:r>
          </a:p>
        </p:txBody>
      </p:sp>
    </p:spTree>
    <p:extLst>
      <p:ext uri="{BB962C8B-B14F-4D97-AF65-F5344CB8AC3E}">
        <p14:creationId xmlns:p14="http://schemas.microsoft.com/office/powerpoint/2010/main" val="679170905"/>
      </p:ext>
    </p:extLst>
  </p:cSld>
  <p:clrMapOvr>
    <a:masterClrMapping/>
  </p:clrMapOvr>
  <p:transition spd="slow">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c">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7611677"/>
      </p:ext>
    </p:extLst>
  </p:cSld>
  <p:clrMapOvr>
    <a:masterClrMapping/>
  </p:clrMapOvr>
  <p:transition spd="slow">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Blanc with logo 1">
    <p:spTree>
      <p:nvGrpSpPr>
        <p:cNvPr id="1" name=""/>
        <p:cNvGrpSpPr/>
        <p:nvPr/>
      </p:nvGrpSpPr>
      <p:grpSpPr>
        <a:xfrm>
          <a:off x="0" y="0"/>
          <a:ext cx="0" cy="0"/>
          <a:chOff x="0" y="0"/>
          <a:chExt cx="0" cy="0"/>
        </a:xfrm>
      </p:grpSpPr>
      <p:sp>
        <p:nvSpPr>
          <p:cNvPr id="11" name="Plassholder for bilde 10">
            <a:extLst>
              <a:ext uri="{FF2B5EF4-FFF2-40B4-BE49-F238E27FC236}">
                <a16:creationId xmlns:a16="http://schemas.microsoft.com/office/drawing/2014/main" id="{59F8AE11-E06E-436F-96C7-F71AFAA57FFF}"/>
              </a:ext>
            </a:extLst>
          </p:cNvPr>
          <p:cNvSpPr>
            <a:spLocks noGrp="1"/>
          </p:cNvSpPr>
          <p:nvPr>
            <p:ph type="pic" sz="quarter" idx="10" hasCustomPrompt="1"/>
          </p:nvPr>
        </p:nvSpPr>
        <p:spPr>
          <a:xfrm>
            <a:off x="0" y="982755"/>
            <a:ext cx="6016212" cy="5219923"/>
          </a:xfrm>
          <a:prstGeom prst="rect">
            <a:avLst/>
          </a:prstGeom>
        </p:spPr>
        <p:txBody>
          <a:bodyPr/>
          <a:lstStyle>
            <a:lvl1pPr marL="0" indent="0">
              <a:buNone/>
              <a:defRPr/>
            </a:lvl1pPr>
          </a:lstStyle>
          <a:p>
            <a:r>
              <a:rPr lang="en-GB" noProof="0"/>
              <a:t>Picture</a:t>
            </a:r>
          </a:p>
        </p:txBody>
      </p:sp>
      <p:sp>
        <p:nvSpPr>
          <p:cNvPr id="9" name="!!Blue">
            <a:extLst>
              <a:ext uri="{FF2B5EF4-FFF2-40B4-BE49-F238E27FC236}">
                <a16:creationId xmlns:a16="http://schemas.microsoft.com/office/drawing/2014/main" id="{907138BB-FD71-4DDA-9F55-1FF4CDA5543D}"/>
              </a:ext>
            </a:extLst>
          </p:cNvPr>
          <p:cNvSpPr/>
          <p:nvPr userDrawn="1"/>
        </p:nvSpPr>
        <p:spPr>
          <a:xfrm>
            <a:off x="6016596" y="982416"/>
            <a:ext cx="182593" cy="52202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5" name="Rectangle 7">
            <a:extLst>
              <a:ext uri="{FF2B5EF4-FFF2-40B4-BE49-F238E27FC236}">
                <a16:creationId xmlns:a16="http://schemas.microsoft.com/office/drawing/2014/main" id="{6103F436-6829-4D28-B07F-F2B65F705AFE}"/>
              </a:ext>
            </a:extLst>
          </p:cNvPr>
          <p:cNvSpPr/>
          <p:nvPr userDrawn="1"/>
        </p:nvSpPr>
        <p:spPr>
          <a:xfrm>
            <a:off x="6199573" y="975656"/>
            <a:ext cx="5992427" cy="52270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13" name="Plassholder for tekst 12">
            <a:extLst>
              <a:ext uri="{FF2B5EF4-FFF2-40B4-BE49-F238E27FC236}">
                <a16:creationId xmlns:a16="http://schemas.microsoft.com/office/drawing/2014/main" id="{E457044F-02F3-455A-A33C-E43CB2EAE94C}"/>
              </a:ext>
            </a:extLst>
          </p:cNvPr>
          <p:cNvSpPr>
            <a:spLocks noGrp="1"/>
          </p:cNvSpPr>
          <p:nvPr>
            <p:ph type="body" sz="quarter" idx="11" hasCustomPrompt="1"/>
          </p:nvPr>
        </p:nvSpPr>
        <p:spPr>
          <a:xfrm>
            <a:off x="6812155" y="1644200"/>
            <a:ext cx="4767262" cy="120015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3600" b="0" i="0" cap="all" baseline="0">
                <a:solidFill>
                  <a:schemeClr val="accent1"/>
                </a:solidFill>
                <a:latin typeface="Helvetica" pitchFamily="2" charset="0"/>
              </a:defRPr>
            </a:lvl1pPr>
          </a:lstStyle>
          <a:p>
            <a:pPr lvl="0"/>
            <a:r>
              <a:rPr lang="en-GB" noProof="0"/>
              <a:t>PRESENTATION TITLE HERE</a:t>
            </a:r>
          </a:p>
          <a:p>
            <a:pPr lvl="0"/>
            <a:endParaRPr lang="en-GB" noProof="0"/>
          </a:p>
        </p:txBody>
      </p:sp>
      <p:sp>
        <p:nvSpPr>
          <p:cNvPr id="15" name="Plassholder for tekst 14">
            <a:extLst>
              <a:ext uri="{FF2B5EF4-FFF2-40B4-BE49-F238E27FC236}">
                <a16:creationId xmlns:a16="http://schemas.microsoft.com/office/drawing/2014/main" id="{650CC9D6-D32D-4E71-991D-CE88E440834D}"/>
              </a:ext>
            </a:extLst>
          </p:cNvPr>
          <p:cNvSpPr>
            <a:spLocks noGrp="1"/>
          </p:cNvSpPr>
          <p:nvPr>
            <p:ph type="body" sz="quarter" idx="12" hasCustomPrompt="1"/>
          </p:nvPr>
        </p:nvSpPr>
        <p:spPr>
          <a:xfrm>
            <a:off x="9346514" y="413067"/>
            <a:ext cx="2255838" cy="319087"/>
          </a:xfrm>
          <a:prstGeom prst="rect">
            <a:avLst/>
          </a:prstGeom>
        </p:spPr>
        <p:txBody>
          <a:bodyPr/>
          <a:lstStyle>
            <a:lvl1pPr marL="0" marR="0" indent="0" algn="r" defTabSz="914400" rtl="0" eaLnBrk="1" fontAlgn="auto" latinLnBrk="0" hangingPunct="1">
              <a:lnSpc>
                <a:spcPct val="100000"/>
              </a:lnSpc>
              <a:spcBef>
                <a:spcPts val="0"/>
              </a:spcBef>
              <a:spcAft>
                <a:spcPts val="0"/>
              </a:spcAft>
              <a:buClrTx/>
              <a:buSzTx/>
              <a:buFontTx/>
              <a:buNone/>
              <a:tabLst/>
              <a:defRPr sz="1050" spc="600" baseline="0"/>
            </a:lvl1pPr>
          </a:lstStyle>
          <a:p>
            <a:pPr lvl="0"/>
            <a:r>
              <a:rPr lang="en-GB" noProof="0"/>
              <a:t>PRESENTATION</a:t>
            </a:r>
          </a:p>
        </p:txBody>
      </p:sp>
      <p:sp>
        <p:nvSpPr>
          <p:cNvPr id="17" name="Plassholder for tekst 16">
            <a:extLst>
              <a:ext uri="{FF2B5EF4-FFF2-40B4-BE49-F238E27FC236}">
                <a16:creationId xmlns:a16="http://schemas.microsoft.com/office/drawing/2014/main" id="{15724569-D2C2-48A0-9B43-28E456B68EC9}"/>
              </a:ext>
            </a:extLst>
          </p:cNvPr>
          <p:cNvSpPr>
            <a:spLocks noGrp="1"/>
          </p:cNvSpPr>
          <p:nvPr>
            <p:ph type="body" sz="quarter" idx="13" hasCustomPrompt="1"/>
          </p:nvPr>
        </p:nvSpPr>
        <p:spPr>
          <a:xfrm>
            <a:off x="6812155" y="3589168"/>
            <a:ext cx="4767262" cy="40005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000" b="0" i="0">
                <a:latin typeface="Helvetica" pitchFamily="2" charset="0"/>
                <a:cs typeface="Arial" panose="020B0604020202020204" pitchFamily="34" charset="0"/>
              </a:defRPr>
            </a:lvl1pPr>
          </a:lstStyle>
          <a:p>
            <a:pPr lvl="0"/>
            <a:r>
              <a:rPr lang="en-GB" noProof="0" err="1"/>
              <a:t>Expertice</a:t>
            </a:r>
            <a:r>
              <a:rPr lang="en-GB" noProof="0"/>
              <a:t> you need. Service deserved!</a:t>
            </a:r>
          </a:p>
        </p:txBody>
      </p:sp>
      <p:pic>
        <p:nvPicPr>
          <p:cNvPr id="24" name="Bilde 23">
            <a:extLst>
              <a:ext uri="{FF2B5EF4-FFF2-40B4-BE49-F238E27FC236}">
                <a16:creationId xmlns:a16="http://schemas.microsoft.com/office/drawing/2014/main" id="{037B8367-F3A2-4AD3-83BE-6E150F39180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8749" y="412922"/>
            <a:ext cx="1825937" cy="319232"/>
          </a:xfrm>
          <a:prstGeom prst="rect">
            <a:avLst/>
          </a:prstGeom>
        </p:spPr>
      </p:pic>
      <p:sp>
        <p:nvSpPr>
          <p:cNvPr id="3" name="Plassholder for tekst 2">
            <a:extLst>
              <a:ext uri="{FF2B5EF4-FFF2-40B4-BE49-F238E27FC236}">
                <a16:creationId xmlns:a16="http://schemas.microsoft.com/office/drawing/2014/main" id="{41C4059B-2100-4BD2-8E98-9BBE48FD6F20}"/>
              </a:ext>
            </a:extLst>
          </p:cNvPr>
          <p:cNvSpPr>
            <a:spLocks noGrp="1"/>
          </p:cNvSpPr>
          <p:nvPr>
            <p:ph type="body" sz="quarter" idx="14" hasCustomPrompt="1"/>
          </p:nvPr>
        </p:nvSpPr>
        <p:spPr>
          <a:xfrm>
            <a:off x="6811963" y="4178300"/>
            <a:ext cx="4791075" cy="1774825"/>
          </a:xfrm>
          <a:prstGeom prst="rect">
            <a:avLst/>
          </a:prstGeom>
        </p:spPr>
        <p:txBody>
          <a:bodyPr/>
          <a:lstStyle>
            <a:lvl1pPr marL="0" indent="0">
              <a:buNone/>
              <a:defRPr sz="1400"/>
            </a:lvl1pPr>
          </a:lstStyle>
          <a:p>
            <a:pPr lvl="0"/>
            <a:r>
              <a:rPr lang="en-GB" noProof="0"/>
              <a:t>Lorem ipsum </a:t>
            </a:r>
            <a:r>
              <a:rPr lang="en-GB" noProof="0" err="1"/>
              <a:t>dolor</a:t>
            </a:r>
            <a:r>
              <a:rPr lang="en-GB" noProof="0"/>
              <a:t> sit </a:t>
            </a:r>
            <a:r>
              <a:rPr lang="en-GB" noProof="0" err="1"/>
              <a:t>amet</a:t>
            </a:r>
            <a:r>
              <a:rPr lang="en-GB" noProof="0"/>
              <a:t>, </a:t>
            </a:r>
            <a:r>
              <a:rPr lang="en-GB" noProof="0" err="1"/>
              <a:t>consectetur</a:t>
            </a:r>
            <a:r>
              <a:rPr lang="en-GB" noProof="0"/>
              <a:t> </a:t>
            </a:r>
            <a:r>
              <a:rPr lang="en-GB" noProof="0" err="1"/>
              <a:t>adipiscing</a:t>
            </a:r>
            <a:r>
              <a:rPr lang="en-GB" noProof="0"/>
              <a:t> </a:t>
            </a:r>
            <a:r>
              <a:rPr lang="en-GB" noProof="0" err="1"/>
              <a:t>elit</a:t>
            </a:r>
            <a:r>
              <a:rPr lang="en-GB" noProof="0"/>
              <a:t>. </a:t>
            </a:r>
            <a:r>
              <a:rPr lang="en-GB" noProof="0" err="1"/>
              <a:t>Pellentesque</a:t>
            </a:r>
            <a:r>
              <a:rPr lang="en-GB" noProof="0"/>
              <a:t> </a:t>
            </a:r>
            <a:r>
              <a:rPr lang="en-GB" noProof="0" err="1"/>
              <a:t>scelerisque</a:t>
            </a:r>
            <a:r>
              <a:rPr lang="en-GB" noProof="0"/>
              <a:t> </a:t>
            </a:r>
            <a:r>
              <a:rPr lang="en-GB" noProof="0" err="1"/>
              <a:t>malesuada</a:t>
            </a:r>
            <a:r>
              <a:rPr lang="en-GB" noProof="0"/>
              <a:t> libero a </a:t>
            </a:r>
            <a:r>
              <a:rPr lang="en-GB" noProof="0" err="1"/>
              <a:t>pellentesque</a:t>
            </a:r>
            <a:r>
              <a:rPr lang="en-GB" noProof="0"/>
              <a:t>. Morbi </a:t>
            </a:r>
            <a:r>
              <a:rPr lang="en-GB" noProof="0" err="1"/>
              <a:t>orci</a:t>
            </a:r>
            <a:r>
              <a:rPr lang="en-GB" noProof="0"/>
              <a:t> dui, fermentum </a:t>
            </a:r>
            <a:r>
              <a:rPr lang="en-GB" noProof="0" err="1"/>
              <a:t>eget</a:t>
            </a:r>
            <a:r>
              <a:rPr lang="en-GB" noProof="0"/>
              <a:t> </a:t>
            </a:r>
            <a:r>
              <a:rPr lang="en-GB" noProof="0" err="1"/>
              <a:t>lectus</a:t>
            </a:r>
            <a:r>
              <a:rPr lang="en-GB" noProof="0"/>
              <a:t> </a:t>
            </a:r>
            <a:r>
              <a:rPr lang="en-GB" noProof="0" err="1"/>
              <a:t>ornare</a:t>
            </a:r>
            <a:r>
              <a:rPr lang="en-GB" noProof="0"/>
              <a:t>, </a:t>
            </a:r>
            <a:r>
              <a:rPr lang="en-GB" noProof="0" err="1"/>
              <a:t>viverra</a:t>
            </a:r>
            <a:r>
              <a:rPr lang="en-GB" noProof="0"/>
              <a:t> </a:t>
            </a:r>
            <a:r>
              <a:rPr lang="en-GB" noProof="0" err="1"/>
              <a:t>dignissim</a:t>
            </a:r>
            <a:r>
              <a:rPr lang="en-GB" noProof="0"/>
              <a:t> </a:t>
            </a:r>
            <a:r>
              <a:rPr lang="en-GB" noProof="0" err="1"/>
              <a:t>risus</a:t>
            </a:r>
            <a:r>
              <a:rPr lang="en-GB" noProof="0"/>
              <a:t>. </a:t>
            </a:r>
            <a:r>
              <a:rPr lang="en-GB" noProof="0" err="1"/>
              <a:t>Donec</a:t>
            </a:r>
            <a:r>
              <a:rPr lang="en-GB" noProof="0"/>
              <a:t> lacinia </a:t>
            </a:r>
            <a:r>
              <a:rPr lang="en-GB" noProof="0" err="1"/>
              <a:t>neque</a:t>
            </a:r>
            <a:r>
              <a:rPr lang="en-GB" noProof="0"/>
              <a:t> non </a:t>
            </a:r>
            <a:r>
              <a:rPr lang="en-GB" noProof="0" err="1"/>
              <a:t>velit</a:t>
            </a:r>
            <a:r>
              <a:rPr lang="en-GB" noProof="0"/>
              <a:t> dictum </a:t>
            </a:r>
            <a:r>
              <a:rPr lang="en-GB" noProof="0" err="1"/>
              <a:t>tincidunt</a:t>
            </a:r>
            <a:r>
              <a:rPr lang="en-GB" noProof="0"/>
              <a:t>. </a:t>
            </a:r>
            <a:r>
              <a:rPr lang="en-GB" noProof="0" err="1"/>
              <a:t>Etiam</a:t>
            </a:r>
            <a:r>
              <a:rPr lang="en-GB" noProof="0"/>
              <a:t> </a:t>
            </a:r>
            <a:r>
              <a:rPr lang="en-GB" noProof="0" err="1"/>
              <a:t>lacus</a:t>
            </a:r>
            <a:r>
              <a:rPr lang="en-GB" noProof="0"/>
              <a:t> </a:t>
            </a:r>
            <a:r>
              <a:rPr lang="en-GB" noProof="0" err="1"/>
              <a:t>neque</a:t>
            </a:r>
            <a:r>
              <a:rPr lang="en-GB" noProof="0"/>
              <a:t>, </a:t>
            </a:r>
            <a:r>
              <a:rPr lang="en-GB" noProof="0" err="1"/>
              <a:t>mattis</a:t>
            </a:r>
            <a:r>
              <a:rPr lang="en-GB" noProof="0"/>
              <a:t> </a:t>
            </a:r>
            <a:r>
              <a:rPr lang="en-GB" noProof="0" err="1"/>
              <a:t>ut</a:t>
            </a:r>
            <a:r>
              <a:rPr lang="en-GB" noProof="0"/>
              <a:t> </a:t>
            </a:r>
            <a:r>
              <a:rPr lang="en-GB" noProof="0" err="1"/>
              <a:t>sem</a:t>
            </a:r>
            <a:r>
              <a:rPr lang="en-GB" noProof="0"/>
              <a:t> sit </a:t>
            </a:r>
            <a:r>
              <a:rPr lang="en-GB" noProof="0" err="1"/>
              <a:t>amet</a:t>
            </a:r>
            <a:r>
              <a:rPr lang="en-GB" noProof="0"/>
              <a:t>, </a:t>
            </a:r>
            <a:r>
              <a:rPr lang="en-GB" noProof="0" err="1"/>
              <a:t>accumsan</a:t>
            </a:r>
            <a:r>
              <a:rPr lang="en-GB" noProof="0"/>
              <a:t> </a:t>
            </a:r>
            <a:r>
              <a:rPr lang="en-GB" noProof="0" err="1"/>
              <a:t>egestas</a:t>
            </a:r>
            <a:r>
              <a:rPr lang="en-GB" noProof="0"/>
              <a:t> </a:t>
            </a:r>
            <a:r>
              <a:rPr lang="en-GB" noProof="0" err="1"/>
              <a:t>nulla</a:t>
            </a:r>
            <a:r>
              <a:rPr lang="en-GB" noProof="0"/>
              <a:t>. </a:t>
            </a:r>
            <a:r>
              <a:rPr lang="en-GB" noProof="0" err="1"/>
              <a:t>Nulla</a:t>
            </a:r>
            <a:r>
              <a:rPr lang="en-GB" noProof="0"/>
              <a:t> sit </a:t>
            </a:r>
            <a:r>
              <a:rPr lang="en-GB" noProof="0" err="1"/>
              <a:t>amet</a:t>
            </a:r>
            <a:r>
              <a:rPr lang="en-GB" noProof="0"/>
              <a:t> </a:t>
            </a:r>
            <a:r>
              <a:rPr lang="en-GB" noProof="0" err="1"/>
              <a:t>nulla</a:t>
            </a:r>
            <a:r>
              <a:rPr lang="en-GB" noProof="0"/>
              <a:t> </a:t>
            </a:r>
            <a:r>
              <a:rPr lang="en-GB" noProof="0" err="1"/>
              <a:t>commodo</a:t>
            </a:r>
            <a:r>
              <a:rPr lang="en-GB" noProof="0"/>
              <a:t>, </a:t>
            </a:r>
            <a:r>
              <a:rPr lang="en-GB" noProof="0" err="1"/>
              <a:t>elementum</a:t>
            </a:r>
            <a:r>
              <a:rPr lang="en-GB" noProof="0"/>
              <a:t> </a:t>
            </a:r>
            <a:r>
              <a:rPr lang="en-GB" noProof="0" err="1"/>
              <a:t>sapien</a:t>
            </a:r>
            <a:r>
              <a:rPr lang="en-GB" noProof="0"/>
              <a:t> </a:t>
            </a:r>
            <a:r>
              <a:rPr lang="en-GB" noProof="0" err="1"/>
              <a:t>eu</a:t>
            </a:r>
            <a:r>
              <a:rPr lang="en-GB" noProof="0"/>
              <a:t>, </a:t>
            </a:r>
            <a:r>
              <a:rPr lang="en-GB" noProof="0" err="1"/>
              <a:t>egestas</a:t>
            </a:r>
            <a:r>
              <a:rPr lang="en-GB" noProof="0"/>
              <a:t> </a:t>
            </a:r>
            <a:r>
              <a:rPr lang="en-GB" noProof="0" err="1"/>
              <a:t>purus</a:t>
            </a:r>
            <a:r>
              <a:rPr lang="en-GB" noProof="0"/>
              <a:t>. </a:t>
            </a:r>
          </a:p>
        </p:txBody>
      </p:sp>
      <p:sp>
        <p:nvSpPr>
          <p:cNvPr id="10" name="Plassholder for lysbildenummer 38">
            <a:extLst>
              <a:ext uri="{FF2B5EF4-FFF2-40B4-BE49-F238E27FC236}">
                <a16:creationId xmlns:a16="http://schemas.microsoft.com/office/drawing/2014/main" id="{1B2E24EA-81AF-4BBE-89E5-E75D304B9C80}"/>
              </a:ext>
            </a:extLst>
          </p:cNvPr>
          <p:cNvSpPr>
            <a:spLocks noGrp="1"/>
          </p:cNvSpPr>
          <p:nvPr>
            <p:ph type="sldNum" sz="quarter" idx="4"/>
          </p:nvPr>
        </p:nvSpPr>
        <p:spPr>
          <a:xfrm>
            <a:off x="0" y="6438839"/>
            <a:ext cx="838200" cy="319232"/>
          </a:xfrm>
          <a:prstGeom prst="rect">
            <a:avLst/>
          </a:prstGeom>
        </p:spPr>
        <p:txBody>
          <a:bodyPr vert="horz" lIns="91440" tIns="45720" rIns="91440" bIns="45720" rtlCol="0" anchor="t"/>
          <a:lstStyle>
            <a:lvl1pPr algn="ctr">
              <a:defRPr sz="1000">
                <a:solidFill>
                  <a:srgbClr val="1B1B1B"/>
                </a:solidFill>
              </a:defRPr>
            </a:lvl1pPr>
          </a:lstStyle>
          <a:p>
            <a:fld id="{EDFF9B70-FADC-4CC7-9FFB-4C4965B0F731}" type="slidenum">
              <a:rPr lang="en-GB" smtClean="0"/>
              <a:pPr/>
              <a:t>‹#›</a:t>
            </a:fld>
            <a:endParaRPr lang="en-GB"/>
          </a:p>
        </p:txBody>
      </p:sp>
    </p:spTree>
    <p:extLst>
      <p:ext uri="{BB962C8B-B14F-4D97-AF65-F5344CB8AC3E}">
        <p14:creationId xmlns:p14="http://schemas.microsoft.com/office/powerpoint/2010/main" val="880835601"/>
      </p:ext>
    </p:extLst>
  </p:cSld>
  <p:clrMapOvr>
    <a:masterClrMapping/>
  </p:clrMapOvr>
  <p:transition spd="slow">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51" name="Rectangle 10">
            <a:extLst>
              <a:ext uri="{FF2B5EF4-FFF2-40B4-BE49-F238E27FC236}">
                <a16:creationId xmlns:a16="http://schemas.microsoft.com/office/drawing/2014/main" id="{F55BAFD2-488E-4666-95BA-2E27E93B3D86}"/>
              </a:ext>
            </a:extLst>
          </p:cNvPr>
          <p:cNvSpPr/>
          <p:nvPr userDrawn="1"/>
        </p:nvSpPr>
        <p:spPr>
          <a:xfrm>
            <a:off x="7242052" y="1329796"/>
            <a:ext cx="3747559" cy="12989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53" name="!!Blue">
            <a:extLst>
              <a:ext uri="{FF2B5EF4-FFF2-40B4-BE49-F238E27FC236}">
                <a16:creationId xmlns:a16="http://schemas.microsoft.com/office/drawing/2014/main" id="{77930EB7-481C-44F0-97C3-9C5864AFA2D1}"/>
              </a:ext>
            </a:extLst>
          </p:cNvPr>
          <p:cNvSpPr/>
          <p:nvPr userDrawn="1"/>
        </p:nvSpPr>
        <p:spPr>
          <a:xfrm>
            <a:off x="7242052" y="2917580"/>
            <a:ext cx="3747559" cy="12989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55" name="Rectangle 17">
            <a:extLst>
              <a:ext uri="{FF2B5EF4-FFF2-40B4-BE49-F238E27FC236}">
                <a16:creationId xmlns:a16="http://schemas.microsoft.com/office/drawing/2014/main" id="{6A5350D8-C90C-4BAF-B507-455A8A5BA435}"/>
              </a:ext>
            </a:extLst>
          </p:cNvPr>
          <p:cNvSpPr/>
          <p:nvPr userDrawn="1"/>
        </p:nvSpPr>
        <p:spPr>
          <a:xfrm>
            <a:off x="7242052" y="4506306"/>
            <a:ext cx="3747559" cy="12989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5" name="Rectangle 36">
            <a:extLst>
              <a:ext uri="{FF2B5EF4-FFF2-40B4-BE49-F238E27FC236}">
                <a16:creationId xmlns:a16="http://schemas.microsoft.com/office/drawing/2014/main" id="{214895EF-8762-4104-8A7D-B5F36DC46B45}"/>
              </a:ext>
            </a:extLst>
          </p:cNvPr>
          <p:cNvSpPr/>
          <p:nvPr userDrawn="1"/>
        </p:nvSpPr>
        <p:spPr>
          <a:xfrm>
            <a:off x="0" y="0"/>
            <a:ext cx="65627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52" name="Rectangle 12">
            <a:extLst>
              <a:ext uri="{FF2B5EF4-FFF2-40B4-BE49-F238E27FC236}">
                <a16:creationId xmlns:a16="http://schemas.microsoft.com/office/drawing/2014/main" id="{DA564843-AAC1-4FC6-ABEB-604C5A4E480D}"/>
              </a:ext>
            </a:extLst>
          </p:cNvPr>
          <p:cNvSpPr/>
          <p:nvPr userDrawn="1"/>
        </p:nvSpPr>
        <p:spPr>
          <a:xfrm>
            <a:off x="10989611" y="1329796"/>
            <a:ext cx="553267" cy="1298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54" name="!!Yellow">
            <a:extLst>
              <a:ext uri="{FF2B5EF4-FFF2-40B4-BE49-F238E27FC236}">
                <a16:creationId xmlns:a16="http://schemas.microsoft.com/office/drawing/2014/main" id="{7A4FB1C8-3DBE-4D19-A16E-369BF81FC843}"/>
              </a:ext>
            </a:extLst>
          </p:cNvPr>
          <p:cNvSpPr/>
          <p:nvPr userDrawn="1"/>
        </p:nvSpPr>
        <p:spPr>
          <a:xfrm>
            <a:off x="10989611" y="2918522"/>
            <a:ext cx="553267" cy="1298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56" name="Rectangle 18">
            <a:extLst>
              <a:ext uri="{FF2B5EF4-FFF2-40B4-BE49-F238E27FC236}">
                <a16:creationId xmlns:a16="http://schemas.microsoft.com/office/drawing/2014/main" id="{B32874FD-6D8F-4529-B48B-1282B36E9FB2}"/>
              </a:ext>
            </a:extLst>
          </p:cNvPr>
          <p:cNvSpPr/>
          <p:nvPr userDrawn="1"/>
        </p:nvSpPr>
        <p:spPr>
          <a:xfrm>
            <a:off x="10989611" y="4506306"/>
            <a:ext cx="553267" cy="1298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76" name="TextBox 44">
            <a:extLst>
              <a:ext uri="{FF2B5EF4-FFF2-40B4-BE49-F238E27FC236}">
                <a16:creationId xmlns:a16="http://schemas.microsoft.com/office/drawing/2014/main" id="{8712E8F6-90EA-4E6F-AD0C-2B03837A1C96}"/>
              </a:ext>
            </a:extLst>
          </p:cNvPr>
          <p:cNvSpPr txBox="1"/>
          <p:nvPr userDrawn="1"/>
        </p:nvSpPr>
        <p:spPr>
          <a:xfrm>
            <a:off x="9499717" y="417954"/>
            <a:ext cx="2221638" cy="261610"/>
          </a:xfrm>
          <a:prstGeom prst="rect">
            <a:avLst/>
          </a:prstGeom>
          <a:noFill/>
        </p:spPr>
        <p:txBody>
          <a:bodyPr wrap="square" rtlCol="0">
            <a:spAutoFit/>
          </a:bodyPr>
          <a:lstStyle/>
          <a:p>
            <a:pPr algn="r"/>
            <a:r>
              <a:rPr lang="en-GB" sz="1050" b="0" i="0" spc="600" noProof="0">
                <a:solidFill>
                  <a:schemeClr val="tx1">
                    <a:lumMod val="75000"/>
                    <a:lumOff val="25000"/>
                  </a:schemeClr>
                </a:solidFill>
                <a:latin typeface="Helvetica" pitchFamily="2" charset="0"/>
                <a:ea typeface="Roboto Cn" panose="02000000000000000000" pitchFamily="2" charset="0"/>
                <a:cs typeface="Arial" panose="020B0604020202020204" pitchFamily="34" charset="0"/>
              </a:rPr>
              <a:t>PRESENTATION</a:t>
            </a:r>
          </a:p>
        </p:txBody>
      </p:sp>
      <p:sp>
        <p:nvSpPr>
          <p:cNvPr id="81" name="Plassholder for tekst 80">
            <a:extLst>
              <a:ext uri="{FF2B5EF4-FFF2-40B4-BE49-F238E27FC236}">
                <a16:creationId xmlns:a16="http://schemas.microsoft.com/office/drawing/2014/main" id="{31D0DABA-AC45-4C99-B3A1-7D91C6FF0D16}"/>
              </a:ext>
            </a:extLst>
          </p:cNvPr>
          <p:cNvSpPr>
            <a:spLocks noGrp="1"/>
          </p:cNvSpPr>
          <p:nvPr>
            <p:ph type="body" sz="quarter" idx="10" hasCustomPrompt="1"/>
          </p:nvPr>
        </p:nvSpPr>
        <p:spPr>
          <a:xfrm>
            <a:off x="8009848" y="1329439"/>
            <a:ext cx="2979738" cy="1298388"/>
          </a:xfrm>
          <a:prstGeom prst="rect">
            <a:avLst/>
          </a:prstGeom>
        </p:spPr>
        <p:txBody>
          <a:bodyPr anchor="ctr"/>
          <a:lstStyle>
            <a:lvl1pPr marL="0" indent="0" algn="l">
              <a:buNone/>
              <a:defRPr sz="1600" b="1" i="0" baseline="0">
                <a:solidFill>
                  <a:schemeClr val="bg1"/>
                </a:solidFill>
              </a:defRPr>
            </a:lvl1pPr>
          </a:lstStyle>
          <a:p>
            <a:pPr lvl="0"/>
            <a:r>
              <a:rPr lang="en-GB" noProof="0"/>
              <a:t>Example Text Placed In This Blue Box</a:t>
            </a:r>
          </a:p>
        </p:txBody>
      </p:sp>
      <p:sp>
        <p:nvSpPr>
          <p:cNvPr id="82" name="Plassholder for tekst 80">
            <a:extLst>
              <a:ext uri="{FF2B5EF4-FFF2-40B4-BE49-F238E27FC236}">
                <a16:creationId xmlns:a16="http://schemas.microsoft.com/office/drawing/2014/main" id="{AE79262F-1BB6-486C-82B4-750D6048736A}"/>
              </a:ext>
            </a:extLst>
          </p:cNvPr>
          <p:cNvSpPr>
            <a:spLocks noGrp="1"/>
          </p:cNvSpPr>
          <p:nvPr>
            <p:ph type="body" sz="quarter" idx="11" hasCustomPrompt="1"/>
          </p:nvPr>
        </p:nvSpPr>
        <p:spPr>
          <a:xfrm>
            <a:off x="8009848" y="2918164"/>
            <a:ext cx="2979738" cy="1298388"/>
          </a:xfrm>
          <a:prstGeom prst="rect">
            <a:avLst/>
          </a:prstGeom>
        </p:spPr>
        <p:txBody>
          <a:bodyPr anchor="ctr"/>
          <a:lstStyle>
            <a:lvl1pPr marL="0" indent="0" algn="l">
              <a:buNone/>
              <a:defRPr sz="1600" b="1" i="0" baseline="0">
                <a:solidFill>
                  <a:schemeClr val="bg1"/>
                </a:solidFill>
              </a:defRPr>
            </a:lvl1pPr>
          </a:lstStyle>
          <a:p>
            <a:pPr lvl="0"/>
            <a:r>
              <a:rPr lang="en-GB" noProof="0"/>
              <a:t>Example Text Placed In This Blue Box</a:t>
            </a:r>
          </a:p>
        </p:txBody>
      </p:sp>
      <p:sp>
        <p:nvSpPr>
          <p:cNvPr id="83" name="Plassholder for tekst 80">
            <a:extLst>
              <a:ext uri="{FF2B5EF4-FFF2-40B4-BE49-F238E27FC236}">
                <a16:creationId xmlns:a16="http://schemas.microsoft.com/office/drawing/2014/main" id="{405BE05B-D0C3-4A43-9832-D4376E5F50E4}"/>
              </a:ext>
            </a:extLst>
          </p:cNvPr>
          <p:cNvSpPr>
            <a:spLocks noGrp="1"/>
          </p:cNvSpPr>
          <p:nvPr>
            <p:ph type="body" sz="quarter" idx="12" hasCustomPrompt="1"/>
          </p:nvPr>
        </p:nvSpPr>
        <p:spPr>
          <a:xfrm>
            <a:off x="8009848" y="4516826"/>
            <a:ext cx="2979738" cy="1298388"/>
          </a:xfrm>
          <a:prstGeom prst="rect">
            <a:avLst/>
          </a:prstGeom>
        </p:spPr>
        <p:txBody>
          <a:bodyPr anchor="ctr"/>
          <a:lstStyle>
            <a:lvl1pPr marL="0" indent="0" algn="l">
              <a:buNone/>
              <a:defRPr sz="1600" b="1" i="0" baseline="0">
                <a:solidFill>
                  <a:schemeClr val="bg1"/>
                </a:solidFill>
              </a:defRPr>
            </a:lvl1pPr>
          </a:lstStyle>
          <a:p>
            <a:pPr lvl="0"/>
            <a:r>
              <a:rPr lang="en-GB" noProof="0"/>
              <a:t>Example Text Placed In This Blue Box</a:t>
            </a:r>
          </a:p>
        </p:txBody>
      </p:sp>
      <p:sp>
        <p:nvSpPr>
          <p:cNvPr id="91" name="Plassholder for tekst 90">
            <a:extLst>
              <a:ext uri="{FF2B5EF4-FFF2-40B4-BE49-F238E27FC236}">
                <a16:creationId xmlns:a16="http://schemas.microsoft.com/office/drawing/2014/main" id="{068EEC50-49CF-486C-8A3E-CB02713CB666}"/>
              </a:ext>
            </a:extLst>
          </p:cNvPr>
          <p:cNvSpPr>
            <a:spLocks noGrp="1"/>
          </p:cNvSpPr>
          <p:nvPr>
            <p:ph type="body" sz="quarter" idx="13" hasCustomPrompt="1"/>
          </p:nvPr>
        </p:nvSpPr>
        <p:spPr>
          <a:xfrm>
            <a:off x="1099739" y="1329439"/>
            <a:ext cx="4376736" cy="1176338"/>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3600" b="0" i="0" cap="all" baseline="0">
                <a:solidFill>
                  <a:schemeClr val="bg1"/>
                </a:solidFill>
                <a:latin typeface="Helvetica"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noFill/>
                </a:ln>
                <a:solidFill>
                  <a:prstClr val="white"/>
                </a:solidFill>
                <a:effectLst/>
                <a:uLnTx/>
                <a:uFillTx/>
                <a:latin typeface="Arial" panose="020B0604020202020204" pitchFamily="34" charset="0"/>
                <a:ea typeface="Roboto Cn" panose="02000000000000000000" pitchFamily="2" charset="0"/>
                <a:cs typeface="Arial" panose="020B0604020202020204" pitchFamily="34" charset="0"/>
              </a:rPr>
              <a:t>PRESENTATION TITLE HERE</a:t>
            </a:r>
          </a:p>
          <a:p>
            <a:pPr lvl="0"/>
            <a:endParaRPr lang="en-GB" noProof="0"/>
          </a:p>
        </p:txBody>
      </p:sp>
      <p:sp>
        <p:nvSpPr>
          <p:cNvPr id="93" name="Plassholder for tekst 92">
            <a:extLst>
              <a:ext uri="{FF2B5EF4-FFF2-40B4-BE49-F238E27FC236}">
                <a16:creationId xmlns:a16="http://schemas.microsoft.com/office/drawing/2014/main" id="{BCF18026-5F87-4FCB-AB7A-C2C61F8A2C3A}"/>
              </a:ext>
            </a:extLst>
          </p:cNvPr>
          <p:cNvSpPr>
            <a:spLocks noGrp="1"/>
          </p:cNvSpPr>
          <p:nvPr>
            <p:ph type="body" sz="quarter" idx="14" hasCustomPrompt="1"/>
          </p:nvPr>
        </p:nvSpPr>
        <p:spPr>
          <a:xfrm>
            <a:off x="1099738" y="2856555"/>
            <a:ext cx="4376737" cy="744537"/>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000" b="0" i="0" baseline="0">
                <a:solidFill>
                  <a:schemeClr val="accent2"/>
                </a:solidFill>
                <a:latin typeface="Helvetica"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B800"/>
                </a:solidFill>
                <a:effectLst/>
                <a:uLnTx/>
                <a:uFillTx/>
                <a:latin typeface="Arial" panose="020B0604020202020204" pitchFamily="34" charset="0"/>
                <a:ea typeface="Roboto Cn" panose="02000000000000000000" pitchFamily="2" charset="0"/>
                <a:cs typeface="Arial" panose="020B0604020202020204" pitchFamily="34" charset="0"/>
              </a:rPr>
              <a:t>Expertise You Need. Service You Deserve!</a:t>
            </a:r>
          </a:p>
          <a:p>
            <a:pPr lvl="0"/>
            <a:endParaRPr lang="en-GB" noProof="0"/>
          </a:p>
        </p:txBody>
      </p:sp>
      <p:sp>
        <p:nvSpPr>
          <p:cNvPr id="95" name="Plassholder for tekst 94">
            <a:extLst>
              <a:ext uri="{FF2B5EF4-FFF2-40B4-BE49-F238E27FC236}">
                <a16:creationId xmlns:a16="http://schemas.microsoft.com/office/drawing/2014/main" id="{4A7BCC36-BF2F-4D90-A16A-8532CBC4FD0B}"/>
              </a:ext>
            </a:extLst>
          </p:cNvPr>
          <p:cNvSpPr>
            <a:spLocks noGrp="1"/>
          </p:cNvSpPr>
          <p:nvPr>
            <p:ph type="body" sz="quarter" idx="15" hasCustomPrompt="1"/>
          </p:nvPr>
        </p:nvSpPr>
        <p:spPr>
          <a:xfrm>
            <a:off x="1099738" y="3951870"/>
            <a:ext cx="4376737" cy="1666875"/>
          </a:xfrm>
          <a:prstGeom prst="rect">
            <a:avLst/>
          </a:prstGeom>
        </p:spPr>
        <p:txBody>
          <a:bodyPr/>
          <a:lstStyle>
            <a:lvl1pPr marL="0" marR="0" indent="0" algn="l" defTabSz="914400" rtl="0" eaLnBrk="1" fontAlgn="auto" latinLnBrk="0" hangingPunct="1">
              <a:lnSpc>
                <a:spcPct val="150000"/>
              </a:lnSpc>
              <a:spcBef>
                <a:spcPts val="0"/>
              </a:spcBef>
              <a:spcAft>
                <a:spcPts val="0"/>
              </a:spcAft>
              <a:buClrTx/>
              <a:buSzTx/>
              <a:buFontTx/>
              <a:buNone/>
              <a:tabLst/>
              <a:defRPr sz="1400" b="0" i="0" baseline="0">
                <a:solidFill>
                  <a:schemeClr val="bg1"/>
                </a:solidFill>
                <a:latin typeface="Helvetica" pitchFamily="2" charset="0"/>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Lorem ipsum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dolor</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si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ame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consectetur</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adipiscing</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eli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Pellentes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sceleris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malesuada</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libero a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pellentes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Morbi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orci</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dui, fermentum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ege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lectus</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ornar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viverra</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dignissim</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risus</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Donec lacinia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ne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non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veli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dictum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tincidun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p>
          <a:p>
            <a:pPr lvl="0"/>
            <a:endParaRPr lang="en-GB" noProof="0"/>
          </a:p>
        </p:txBody>
      </p:sp>
      <p:sp>
        <p:nvSpPr>
          <p:cNvPr id="17" name="Plassholder for lysbildenummer 38">
            <a:extLst>
              <a:ext uri="{FF2B5EF4-FFF2-40B4-BE49-F238E27FC236}">
                <a16:creationId xmlns:a16="http://schemas.microsoft.com/office/drawing/2014/main" id="{A58B6DBB-22DF-403F-A194-0168D6B70A2A}"/>
              </a:ext>
            </a:extLst>
          </p:cNvPr>
          <p:cNvSpPr>
            <a:spLocks noGrp="1"/>
          </p:cNvSpPr>
          <p:nvPr>
            <p:ph type="sldNum" sz="quarter" idx="4"/>
          </p:nvPr>
        </p:nvSpPr>
        <p:spPr>
          <a:xfrm>
            <a:off x="0" y="6438839"/>
            <a:ext cx="838200" cy="319232"/>
          </a:xfrm>
          <a:prstGeom prst="rect">
            <a:avLst/>
          </a:prstGeom>
        </p:spPr>
        <p:txBody>
          <a:bodyPr vert="horz" lIns="91440" tIns="45720" rIns="91440" bIns="45720" rtlCol="0" anchor="t"/>
          <a:lstStyle>
            <a:lvl1pPr algn="ctr">
              <a:defRPr sz="1000">
                <a:solidFill>
                  <a:schemeClr val="bg1"/>
                </a:solidFill>
              </a:defRPr>
            </a:lvl1pPr>
          </a:lstStyle>
          <a:p>
            <a:fld id="{EDFF9B70-FADC-4CC7-9FFB-4C4965B0F731}" type="slidenum">
              <a:rPr lang="en-GB" smtClean="0"/>
              <a:pPr/>
              <a:t>‹#›</a:t>
            </a:fld>
            <a:endParaRPr lang="en-GB"/>
          </a:p>
        </p:txBody>
      </p:sp>
    </p:spTree>
    <p:extLst>
      <p:ext uri="{BB962C8B-B14F-4D97-AF65-F5344CB8AC3E}">
        <p14:creationId xmlns:p14="http://schemas.microsoft.com/office/powerpoint/2010/main" val="1384483061"/>
      </p:ext>
    </p:extLst>
  </p:cSld>
  <p:clrMapOvr>
    <a:masterClrMapping/>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57_Custom Layout">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727CFE4-BB94-62BB-5760-A8B1421E05C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CF619745-182C-DF4B-F195-0187CE408F41}"/>
              </a:ext>
            </a:extLst>
          </p:cNvPr>
          <p:cNvSpPr/>
          <p:nvPr userDrawn="1"/>
        </p:nvSpPr>
        <p:spPr>
          <a:xfrm>
            <a:off x="0" y="0"/>
            <a:ext cx="12192000" cy="6858000"/>
          </a:xfrm>
          <a:prstGeom prst="rect">
            <a:avLst/>
          </a:prstGeom>
          <a:solidFill>
            <a:schemeClr val="accent3">
              <a:lumMod val="75000"/>
              <a:alpha val="858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a:solidFill>
                <a:schemeClr val="bg1"/>
              </a:solidFill>
            </a:endParaRPr>
          </a:p>
        </p:txBody>
      </p:sp>
      <p:pic>
        <p:nvPicPr>
          <p:cNvPr id="11" name="Bilde 3">
            <a:extLst>
              <a:ext uri="{FF2B5EF4-FFF2-40B4-BE49-F238E27FC236}">
                <a16:creationId xmlns:a16="http://schemas.microsoft.com/office/drawing/2014/main" id="{40FA1915-9788-1617-FA70-2C66B40267B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98209" y="5506718"/>
            <a:ext cx="2395583" cy="418826"/>
          </a:xfrm>
          <a:prstGeom prst="rect">
            <a:avLst/>
          </a:prstGeom>
        </p:spPr>
      </p:pic>
      <p:sp>
        <p:nvSpPr>
          <p:cNvPr id="2" name="Title 1">
            <a:extLst>
              <a:ext uri="{FF2B5EF4-FFF2-40B4-BE49-F238E27FC236}">
                <a16:creationId xmlns:a16="http://schemas.microsoft.com/office/drawing/2014/main" id="{4F65D4AB-B803-4643-BCDF-D6393E1CDC9B}"/>
              </a:ext>
            </a:extLst>
          </p:cNvPr>
          <p:cNvSpPr>
            <a:spLocks noGrp="1"/>
          </p:cNvSpPr>
          <p:nvPr>
            <p:ph type="title"/>
          </p:nvPr>
        </p:nvSpPr>
        <p:spPr>
          <a:xfrm>
            <a:off x="1588770" y="1833762"/>
            <a:ext cx="9014460" cy="1595238"/>
          </a:xfrm>
          <a:prstGeom prst="rect">
            <a:avLst/>
          </a:prstGeom>
        </p:spPr>
        <p:txBody>
          <a:bodyPr/>
          <a:lstStyle>
            <a:lvl1pPr algn="ctr">
              <a:defRPr sz="5400" b="0" i="0">
                <a:solidFill>
                  <a:schemeClr val="accent2"/>
                </a:solidFill>
                <a:latin typeface="Helvetica Light" panose="020B0403020202020204" pitchFamily="34" charset="0"/>
              </a:defRPr>
            </a:lvl1pPr>
          </a:lstStyle>
          <a:p>
            <a:r>
              <a:rPr lang="en-GB"/>
              <a:t>Click to edit Master title style</a:t>
            </a:r>
            <a:endParaRPr lang="en-US"/>
          </a:p>
        </p:txBody>
      </p:sp>
      <p:sp>
        <p:nvSpPr>
          <p:cNvPr id="7" name="Text Placeholder 20">
            <a:extLst>
              <a:ext uri="{FF2B5EF4-FFF2-40B4-BE49-F238E27FC236}">
                <a16:creationId xmlns:a16="http://schemas.microsoft.com/office/drawing/2014/main" id="{1D537A84-0006-344B-B900-FF658484079B}"/>
              </a:ext>
            </a:extLst>
          </p:cNvPr>
          <p:cNvSpPr>
            <a:spLocks noGrp="1"/>
          </p:cNvSpPr>
          <p:nvPr>
            <p:ph type="body" sz="quarter" idx="25"/>
          </p:nvPr>
        </p:nvSpPr>
        <p:spPr>
          <a:xfrm>
            <a:off x="2351973" y="3707820"/>
            <a:ext cx="7488055" cy="1227888"/>
          </a:xfrm>
          <a:prstGeom prst="rect">
            <a:avLst/>
          </a:prstGeom>
        </p:spPr>
        <p:txBody>
          <a:bodyPr anchor="t">
            <a:noAutofit/>
          </a:bodyPr>
          <a:lstStyle>
            <a:lvl1pPr marL="0" indent="0" algn="ctr">
              <a:buNone/>
              <a:defRPr sz="20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Click to edit Master text styles</a:t>
            </a:r>
          </a:p>
        </p:txBody>
      </p:sp>
    </p:spTree>
    <p:extLst>
      <p:ext uri="{BB962C8B-B14F-4D97-AF65-F5344CB8AC3E}">
        <p14:creationId xmlns:p14="http://schemas.microsoft.com/office/powerpoint/2010/main" val="22094293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51" name="Rectangle 10">
            <a:extLst>
              <a:ext uri="{FF2B5EF4-FFF2-40B4-BE49-F238E27FC236}">
                <a16:creationId xmlns:a16="http://schemas.microsoft.com/office/drawing/2014/main" id="{F55BAFD2-488E-4666-95BA-2E27E93B3D86}"/>
              </a:ext>
            </a:extLst>
          </p:cNvPr>
          <p:cNvSpPr/>
          <p:nvPr userDrawn="1"/>
        </p:nvSpPr>
        <p:spPr>
          <a:xfrm>
            <a:off x="1099739" y="1329796"/>
            <a:ext cx="3747559" cy="576057"/>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52" name="Rectangle 12">
            <a:extLst>
              <a:ext uri="{FF2B5EF4-FFF2-40B4-BE49-F238E27FC236}">
                <a16:creationId xmlns:a16="http://schemas.microsoft.com/office/drawing/2014/main" id="{DA564843-AAC1-4FC6-ABEB-604C5A4E480D}"/>
              </a:ext>
            </a:extLst>
          </p:cNvPr>
          <p:cNvSpPr/>
          <p:nvPr userDrawn="1"/>
        </p:nvSpPr>
        <p:spPr>
          <a:xfrm>
            <a:off x="4847298" y="1329797"/>
            <a:ext cx="553267" cy="5751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81" name="Plassholder for tekst 80">
            <a:extLst>
              <a:ext uri="{FF2B5EF4-FFF2-40B4-BE49-F238E27FC236}">
                <a16:creationId xmlns:a16="http://schemas.microsoft.com/office/drawing/2014/main" id="{31D0DABA-AC45-4C99-B3A1-7D91C6FF0D16}"/>
              </a:ext>
            </a:extLst>
          </p:cNvPr>
          <p:cNvSpPr>
            <a:spLocks noGrp="1"/>
          </p:cNvSpPr>
          <p:nvPr>
            <p:ph type="body" sz="quarter" idx="10" hasCustomPrompt="1"/>
          </p:nvPr>
        </p:nvSpPr>
        <p:spPr>
          <a:xfrm>
            <a:off x="1867535" y="1336062"/>
            <a:ext cx="2979738" cy="562583"/>
          </a:xfrm>
          <a:prstGeom prst="rect">
            <a:avLst/>
          </a:prstGeom>
        </p:spPr>
        <p:txBody>
          <a:bodyPr anchor="ctr"/>
          <a:lstStyle>
            <a:lvl1pPr marL="0" indent="0" algn="l">
              <a:buNone/>
              <a:defRPr sz="1600" b="1" i="0" baseline="0">
                <a:solidFill>
                  <a:schemeClr val="bg1"/>
                </a:solidFill>
              </a:defRPr>
            </a:lvl1pPr>
          </a:lstStyle>
          <a:p>
            <a:pPr lvl="0"/>
            <a:r>
              <a:rPr lang="en-GB" noProof="0"/>
              <a:t>Agenda item 1</a:t>
            </a:r>
          </a:p>
        </p:txBody>
      </p:sp>
      <p:sp>
        <p:nvSpPr>
          <p:cNvPr id="19" name="Rectangle 10">
            <a:extLst>
              <a:ext uri="{FF2B5EF4-FFF2-40B4-BE49-F238E27FC236}">
                <a16:creationId xmlns:a16="http://schemas.microsoft.com/office/drawing/2014/main" id="{0C2ED992-9F9F-4F79-8738-22FC1A6C4D39}"/>
              </a:ext>
            </a:extLst>
          </p:cNvPr>
          <p:cNvSpPr/>
          <p:nvPr userDrawn="1"/>
        </p:nvSpPr>
        <p:spPr>
          <a:xfrm>
            <a:off x="1099739" y="2123330"/>
            <a:ext cx="3747559" cy="576057"/>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20" name="Rectangle 12">
            <a:extLst>
              <a:ext uri="{FF2B5EF4-FFF2-40B4-BE49-F238E27FC236}">
                <a16:creationId xmlns:a16="http://schemas.microsoft.com/office/drawing/2014/main" id="{D06BC750-C1DE-4CA8-93B1-7992D5E35B26}"/>
              </a:ext>
            </a:extLst>
          </p:cNvPr>
          <p:cNvSpPr/>
          <p:nvPr userDrawn="1"/>
        </p:nvSpPr>
        <p:spPr>
          <a:xfrm>
            <a:off x="4847298" y="2123331"/>
            <a:ext cx="553267" cy="5751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21" name="Plassholder for tekst 80">
            <a:extLst>
              <a:ext uri="{FF2B5EF4-FFF2-40B4-BE49-F238E27FC236}">
                <a16:creationId xmlns:a16="http://schemas.microsoft.com/office/drawing/2014/main" id="{8276E182-C3B0-4584-9313-D1219CA89F2B}"/>
              </a:ext>
            </a:extLst>
          </p:cNvPr>
          <p:cNvSpPr>
            <a:spLocks noGrp="1"/>
          </p:cNvSpPr>
          <p:nvPr>
            <p:ph type="body" sz="quarter" idx="16" hasCustomPrompt="1"/>
          </p:nvPr>
        </p:nvSpPr>
        <p:spPr>
          <a:xfrm>
            <a:off x="1867535" y="2129596"/>
            <a:ext cx="2979738" cy="562583"/>
          </a:xfrm>
          <a:prstGeom prst="rect">
            <a:avLst/>
          </a:prstGeom>
        </p:spPr>
        <p:txBody>
          <a:bodyPr anchor="ctr"/>
          <a:lstStyle>
            <a:lvl1pPr marL="0" indent="0" algn="l">
              <a:buNone/>
              <a:defRPr sz="1600" b="1" i="0" baseline="0">
                <a:solidFill>
                  <a:schemeClr val="bg1"/>
                </a:solidFill>
              </a:defRPr>
            </a:lvl1pPr>
          </a:lstStyle>
          <a:p>
            <a:pPr lvl="0"/>
            <a:r>
              <a:rPr lang="en-GB" noProof="0"/>
              <a:t>Agenda item 2</a:t>
            </a:r>
          </a:p>
        </p:txBody>
      </p:sp>
      <p:sp>
        <p:nvSpPr>
          <p:cNvPr id="22" name="Rectangle 10">
            <a:extLst>
              <a:ext uri="{FF2B5EF4-FFF2-40B4-BE49-F238E27FC236}">
                <a16:creationId xmlns:a16="http://schemas.microsoft.com/office/drawing/2014/main" id="{F9ED0895-9FE9-4ED2-99CD-896D3AE8FAE9}"/>
              </a:ext>
            </a:extLst>
          </p:cNvPr>
          <p:cNvSpPr/>
          <p:nvPr userDrawn="1"/>
        </p:nvSpPr>
        <p:spPr>
          <a:xfrm>
            <a:off x="1099739" y="2915923"/>
            <a:ext cx="3747559" cy="576057"/>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23" name="Rectangle 12">
            <a:extLst>
              <a:ext uri="{FF2B5EF4-FFF2-40B4-BE49-F238E27FC236}">
                <a16:creationId xmlns:a16="http://schemas.microsoft.com/office/drawing/2014/main" id="{4007E5DE-A7E9-4B1E-BE34-1CF1DB76E4A8}"/>
              </a:ext>
            </a:extLst>
          </p:cNvPr>
          <p:cNvSpPr/>
          <p:nvPr userDrawn="1"/>
        </p:nvSpPr>
        <p:spPr>
          <a:xfrm>
            <a:off x="4847298" y="2915924"/>
            <a:ext cx="553267" cy="5751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24" name="Plassholder for tekst 80">
            <a:extLst>
              <a:ext uri="{FF2B5EF4-FFF2-40B4-BE49-F238E27FC236}">
                <a16:creationId xmlns:a16="http://schemas.microsoft.com/office/drawing/2014/main" id="{DCF4E93D-22CE-4534-B55F-94572770C3A3}"/>
              </a:ext>
            </a:extLst>
          </p:cNvPr>
          <p:cNvSpPr>
            <a:spLocks noGrp="1"/>
          </p:cNvSpPr>
          <p:nvPr>
            <p:ph type="body" sz="quarter" idx="17" hasCustomPrompt="1"/>
          </p:nvPr>
        </p:nvSpPr>
        <p:spPr>
          <a:xfrm>
            <a:off x="1867535" y="2922189"/>
            <a:ext cx="2979738" cy="562583"/>
          </a:xfrm>
          <a:prstGeom prst="rect">
            <a:avLst/>
          </a:prstGeom>
        </p:spPr>
        <p:txBody>
          <a:bodyPr anchor="ctr"/>
          <a:lstStyle>
            <a:lvl1pPr marL="0" indent="0" algn="l">
              <a:buNone/>
              <a:defRPr sz="1600" b="1" i="0" baseline="0">
                <a:solidFill>
                  <a:schemeClr val="bg1"/>
                </a:solidFill>
              </a:defRPr>
            </a:lvl1pPr>
          </a:lstStyle>
          <a:p>
            <a:pPr lvl="0"/>
            <a:r>
              <a:rPr lang="en-GB" noProof="0"/>
              <a:t>Agenda item 3</a:t>
            </a:r>
          </a:p>
        </p:txBody>
      </p:sp>
      <p:sp>
        <p:nvSpPr>
          <p:cNvPr id="25" name="Rectangle 10">
            <a:extLst>
              <a:ext uri="{FF2B5EF4-FFF2-40B4-BE49-F238E27FC236}">
                <a16:creationId xmlns:a16="http://schemas.microsoft.com/office/drawing/2014/main" id="{402927B7-D3FC-4404-932F-778E0A5FB808}"/>
              </a:ext>
            </a:extLst>
          </p:cNvPr>
          <p:cNvSpPr/>
          <p:nvPr userDrawn="1"/>
        </p:nvSpPr>
        <p:spPr>
          <a:xfrm>
            <a:off x="1099739" y="3707575"/>
            <a:ext cx="3747559" cy="576057"/>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26" name="Rectangle 12">
            <a:extLst>
              <a:ext uri="{FF2B5EF4-FFF2-40B4-BE49-F238E27FC236}">
                <a16:creationId xmlns:a16="http://schemas.microsoft.com/office/drawing/2014/main" id="{E067643B-9141-49C7-A179-5CF11738817B}"/>
              </a:ext>
            </a:extLst>
          </p:cNvPr>
          <p:cNvSpPr/>
          <p:nvPr userDrawn="1"/>
        </p:nvSpPr>
        <p:spPr>
          <a:xfrm>
            <a:off x="4847298" y="3707576"/>
            <a:ext cx="553267" cy="5751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27" name="Plassholder for tekst 80">
            <a:extLst>
              <a:ext uri="{FF2B5EF4-FFF2-40B4-BE49-F238E27FC236}">
                <a16:creationId xmlns:a16="http://schemas.microsoft.com/office/drawing/2014/main" id="{E9608348-ED0D-478F-AF88-ADEC5B9476C9}"/>
              </a:ext>
            </a:extLst>
          </p:cNvPr>
          <p:cNvSpPr>
            <a:spLocks noGrp="1"/>
          </p:cNvSpPr>
          <p:nvPr>
            <p:ph type="body" sz="quarter" idx="18" hasCustomPrompt="1"/>
          </p:nvPr>
        </p:nvSpPr>
        <p:spPr>
          <a:xfrm>
            <a:off x="1867535" y="3713841"/>
            <a:ext cx="2979738" cy="562583"/>
          </a:xfrm>
          <a:prstGeom prst="rect">
            <a:avLst/>
          </a:prstGeom>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i="0" baseline="0">
                <a:solidFill>
                  <a:schemeClr val="bg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a:t>Agenda item 4</a:t>
            </a:r>
          </a:p>
        </p:txBody>
      </p:sp>
      <p:sp>
        <p:nvSpPr>
          <p:cNvPr id="28" name="Rectangle 10">
            <a:extLst>
              <a:ext uri="{FF2B5EF4-FFF2-40B4-BE49-F238E27FC236}">
                <a16:creationId xmlns:a16="http://schemas.microsoft.com/office/drawing/2014/main" id="{FCE392DA-2BF3-4337-A7D2-785BB490AC00}"/>
              </a:ext>
            </a:extLst>
          </p:cNvPr>
          <p:cNvSpPr/>
          <p:nvPr userDrawn="1"/>
        </p:nvSpPr>
        <p:spPr>
          <a:xfrm>
            <a:off x="1099739" y="4498286"/>
            <a:ext cx="3747559" cy="576057"/>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29" name="Rectangle 12">
            <a:extLst>
              <a:ext uri="{FF2B5EF4-FFF2-40B4-BE49-F238E27FC236}">
                <a16:creationId xmlns:a16="http://schemas.microsoft.com/office/drawing/2014/main" id="{C65961E9-6A91-4358-A1AD-EAB4842EEE33}"/>
              </a:ext>
            </a:extLst>
          </p:cNvPr>
          <p:cNvSpPr/>
          <p:nvPr userDrawn="1"/>
        </p:nvSpPr>
        <p:spPr>
          <a:xfrm>
            <a:off x="4847298" y="4498287"/>
            <a:ext cx="553267" cy="5751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30" name="Plassholder for tekst 80">
            <a:extLst>
              <a:ext uri="{FF2B5EF4-FFF2-40B4-BE49-F238E27FC236}">
                <a16:creationId xmlns:a16="http://schemas.microsoft.com/office/drawing/2014/main" id="{B52F3A97-E416-44BB-817A-3C1988B9C545}"/>
              </a:ext>
            </a:extLst>
          </p:cNvPr>
          <p:cNvSpPr>
            <a:spLocks noGrp="1"/>
          </p:cNvSpPr>
          <p:nvPr>
            <p:ph type="body" sz="quarter" idx="19" hasCustomPrompt="1"/>
          </p:nvPr>
        </p:nvSpPr>
        <p:spPr>
          <a:xfrm>
            <a:off x="1867535" y="4504552"/>
            <a:ext cx="2979738" cy="562583"/>
          </a:xfrm>
          <a:prstGeom prst="rect">
            <a:avLst/>
          </a:prstGeom>
        </p:spPr>
        <p:txBody>
          <a:bodyPr anchor="ctr"/>
          <a:lstStyle>
            <a:lvl1pPr marL="0" indent="0" algn="l">
              <a:buNone/>
              <a:defRPr sz="1600" b="1" i="0" baseline="0">
                <a:solidFill>
                  <a:schemeClr val="bg1"/>
                </a:solidFill>
              </a:defRPr>
            </a:lvl1pPr>
          </a:lstStyle>
          <a:p>
            <a:pPr lvl="0"/>
            <a:r>
              <a:rPr lang="en-GB" noProof="0"/>
              <a:t>Agenda item 5</a:t>
            </a:r>
          </a:p>
        </p:txBody>
      </p:sp>
      <p:sp>
        <p:nvSpPr>
          <p:cNvPr id="31" name="Rectangle 10">
            <a:extLst>
              <a:ext uri="{FF2B5EF4-FFF2-40B4-BE49-F238E27FC236}">
                <a16:creationId xmlns:a16="http://schemas.microsoft.com/office/drawing/2014/main" id="{89D32C79-CFA7-4C71-BF54-E26F683EE7EF}"/>
              </a:ext>
            </a:extLst>
          </p:cNvPr>
          <p:cNvSpPr/>
          <p:nvPr userDrawn="1"/>
        </p:nvSpPr>
        <p:spPr>
          <a:xfrm>
            <a:off x="1099739" y="5288056"/>
            <a:ext cx="3747559" cy="576057"/>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32" name="Rectangle 12">
            <a:extLst>
              <a:ext uri="{FF2B5EF4-FFF2-40B4-BE49-F238E27FC236}">
                <a16:creationId xmlns:a16="http://schemas.microsoft.com/office/drawing/2014/main" id="{E6025152-A8F7-4A53-AF92-0AEC78B412BB}"/>
              </a:ext>
            </a:extLst>
          </p:cNvPr>
          <p:cNvSpPr/>
          <p:nvPr userDrawn="1"/>
        </p:nvSpPr>
        <p:spPr>
          <a:xfrm>
            <a:off x="4847298" y="5288057"/>
            <a:ext cx="553267" cy="5751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33" name="Plassholder for tekst 80">
            <a:extLst>
              <a:ext uri="{FF2B5EF4-FFF2-40B4-BE49-F238E27FC236}">
                <a16:creationId xmlns:a16="http://schemas.microsoft.com/office/drawing/2014/main" id="{EB20D86C-A697-4A70-ACFD-F915F78A210A}"/>
              </a:ext>
            </a:extLst>
          </p:cNvPr>
          <p:cNvSpPr>
            <a:spLocks noGrp="1"/>
          </p:cNvSpPr>
          <p:nvPr>
            <p:ph type="body" sz="quarter" idx="20" hasCustomPrompt="1"/>
          </p:nvPr>
        </p:nvSpPr>
        <p:spPr>
          <a:xfrm>
            <a:off x="1867535" y="5294322"/>
            <a:ext cx="2979738" cy="562583"/>
          </a:xfrm>
          <a:prstGeom prst="rect">
            <a:avLst/>
          </a:prstGeom>
        </p:spPr>
        <p:txBody>
          <a:bodyPr anchor="ctr"/>
          <a:lstStyle>
            <a:lvl1pPr marL="0" indent="0" algn="l">
              <a:buNone/>
              <a:defRPr sz="1600" b="1" i="0" baseline="0">
                <a:solidFill>
                  <a:schemeClr val="bg1"/>
                </a:solidFill>
              </a:defRPr>
            </a:lvl1pPr>
          </a:lstStyle>
          <a:p>
            <a:pPr lvl="0"/>
            <a:r>
              <a:rPr lang="en-GB" noProof="0"/>
              <a:t>Agenda item 6</a:t>
            </a:r>
          </a:p>
        </p:txBody>
      </p:sp>
      <p:sp>
        <p:nvSpPr>
          <p:cNvPr id="38" name="Plassholder for bilde 2">
            <a:extLst>
              <a:ext uri="{FF2B5EF4-FFF2-40B4-BE49-F238E27FC236}">
                <a16:creationId xmlns:a16="http://schemas.microsoft.com/office/drawing/2014/main" id="{DAE420C2-8E42-40EE-8F9B-353544C3F177}"/>
              </a:ext>
            </a:extLst>
          </p:cNvPr>
          <p:cNvSpPr>
            <a:spLocks noGrp="1"/>
          </p:cNvSpPr>
          <p:nvPr>
            <p:ph type="pic" sz="quarter" idx="21" hasCustomPrompt="1"/>
          </p:nvPr>
        </p:nvSpPr>
        <p:spPr>
          <a:xfrm>
            <a:off x="5619750" y="0"/>
            <a:ext cx="6572250" cy="6858000"/>
          </a:xfrm>
          <a:prstGeom prst="rect">
            <a:avLst/>
          </a:prstGeom>
          <a:solidFill>
            <a:schemeClr val="tx2"/>
          </a:solidFill>
        </p:spPr>
        <p:txBody>
          <a:bodyPr/>
          <a:lstStyle>
            <a:lvl1pPr marL="0" indent="0">
              <a:buNone/>
              <a:defRPr>
                <a:solidFill>
                  <a:schemeClr val="bg1"/>
                </a:solidFill>
              </a:defRPr>
            </a:lvl1pPr>
          </a:lstStyle>
          <a:p>
            <a:r>
              <a:rPr lang="en-GB"/>
              <a:t>Add image</a:t>
            </a:r>
          </a:p>
        </p:txBody>
      </p:sp>
      <p:pic>
        <p:nvPicPr>
          <p:cNvPr id="35" name="Bilde 34">
            <a:extLst>
              <a:ext uri="{FF2B5EF4-FFF2-40B4-BE49-F238E27FC236}">
                <a16:creationId xmlns:a16="http://schemas.microsoft.com/office/drawing/2014/main" id="{548FEDDC-6F15-45FC-9A26-F7B0FCF7C5C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2521" y="6429313"/>
            <a:ext cx="1825937" cy="319232"/>
          </a:xfrm>
          <a:prstGeom prst="rect">
            <a:avLst/>
          </a:prstGeom>
        </p:spPr>
      </p:pic>
      <p:sp>
        <p:nvSpPr>
          <p:cNvPr id="39" name="Plassholder for lysbildenummer 38">
            <a:extLst>
              <a:ext uri="{FF2B5EF4-FFF2-40B4-BE49-F238E27FC236}">
                <a16:creationId xmlns:a16="http://schemas.microsoft.com/office/drawing/2014/main" id="{B61E537F-52D4-462E-B5BA-4C77C7BA3011}"/>
              </a:ext>
            </a:extLst>
          </p:cNvPr>
          <p:cNvSpPr>
            <a:spLocks noGrp="1"/>
          </p:cNvSpPr>
          <p:nvPr>
            <p:ph type="sldNum" sz="quarter" idx="4"/>
          </p:nvPr>
        </p:nvSpPr>
        <p:spPr>
          <a:xfrm>
            <a:off x="0" y="6438839"/>
            <a:ext cx="838200" cy="319232"/>
          </a:xfrm>
          <a:prstGeom prst="rect">
            <a:avLst/>
          </a:prstGeom>
        </p:spPr>
        <p:txBody>
          <a:bodyPr vert="horz" lIns="91440" tIns="45720" rIns="91440" bIns="45720" rtlCol="0" anchor="t"/>
          <a:lstStyle>
            <a:lvl1pPr algn="ctr">
              <a:defRPr sz="1000">
                <a:solidFill>
                  <a:srgbClr val="1B1B1B"/>
                </a:solidFill>
              </a:defRPr>
            </a:lvl1pPr>
          </a:lstStyle>
          <a:p>
            <a:fld id="{EDFF9B70-FADC-4CC7-9FFB-4C4965B0F731}" type="slidenum">
              <a:rPr lang="en-GB" smtClean="0"/>
              <a:pPr/>
              <a:t>‹#›</a:t>
            </a:fld>
            <a:endParaRPr lang="en-GB"/>
          </a:p>
        </p:txBody>
      </p:sp>
    </p:spTree>
    <p:extLst>
      <p:ext uri="{BB962C8B-B14F-4D97-AF65-F5344CB8AC3E}">
        <p14:creationId xmlns:p14="http://schemas.microsoft.com/office/powerpoint/2010/main" val="3275369931"/>
      </p:ext>
    </p:extLst>
  </p:cSld>
  <p:clrMapOvr>
    <a:masterClrMapping/>
  </p:clrMapOvr>
  <p:transition spd="slow">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ackground">
    <p:spTree>
      <p:nvGrpSpPr>
        <p:cNvPr id="1" name=""/>
        <p:cNvGrpSpPr/>
        <p:nvPr/>
      </p:nvGrpSpPr>
      <p:grpSpPr>
        <a:xfrm>
          <a:off x="0" y="0"/>
          <a:ext cx="0" cy="0"/>
          <a:chOff x="0" y="0"/>
          <a:chExt cx="0" cy="0"/>
        </a:xfrm>
      </p:grpSpPr>
      <p:pic>
        <p:nvPicPr>
          <p:cNvPr id="4" name="Bilde 3" descr="Et bilde som inneholder bygning, person, kvinne, ung&#10;&#10;Automatisk generert beskrivelse">
            <a:extLst>
              <a:ext uri="{FF2B5EF4-FFF2-40B4-BE49-F238E27FC236}">
                <a16:creationId xmlns:a16="http://schemas.microsoft.com/office/drawing/2014/main" id="{347B0E7C-4579-4576-AF68-7E36524526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100" y="0"/>
            <a:ext cx="12230100" cy="6858000"/>
          </a:xfrm>
          <a:prstGeom prst="rect">
            <a:avLst/>
          </a:prstGeom>
        </p:spPr>
      </p:pic>
      <p:pic>
        <p:nvPicPr>
          <p:cNvPr id="5" name="Bilde 4">
            <a:extLst>
              <a:ext uri="{FF2B5EF4-FFF2-40B4-BE49-F238E27FC236}">
                <a16:creationId xmlns:a16="http://schemas.microsoft.com/office/drawing/2014/main" id="{A558EB16-3382-4CE3-BB9E-79B883585A7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52521" y="6429313"/>
            <a:ext cx="1825937" cy="319232"/>
          </a:xfrm>
          <a:prstGeom prst="rect">
            <a:avLst/>
          </a:prstGeom>
        </p:spPr>
      </p:pic>
      <p:sp>
        <p:nvSpPr>
          <p:cNvPr id="6" name="Title 1">
            <a:extLst>
              <a:ext uri="{FF2B5EF4-FFF2-40B4-BE49-F238E27FC236}">
                <a16:creationId xmlns:a16="http://schemas.microsoft.com/office/drawing/2014/main" id="{850311F6-6889-4595-A4A8-04606161AADD}"/>
              </a:ext>
            </a:extLst>
          </p:cNvPr>
          <p:cNvSpPr>
            <a:spLocks noGrp="1"/>
          </p:cNvSpPr>
          <p:nvPr>
            <p:ph type="title" hasCustomPrompt="1"/>
          </p:nvPr>
        </p:nvSpPr>
        <p:spPr>
          <a:xfrm>
            <a:off x="-38100" y="2154630"/>
            <a:ext cx="12230100" cy="2120054"/>
          </a:xfrm>
          <a:prstGeom prst="rect">
            <a:avLst/>
          </a:prstGeom>
          <a:solidFill>
            <a:schemeClr val="bg1">
              <a:lumMod val="50000"/>
              <a:alpha val="63000"/>
            </a:schemeClr>
          </a:solidFill>
        </p:spPr>
        <p:txBody>
          <a:bodyPr anchor="ctr">
            <a:normAutofit/>
          </a:bodyPr>
          <a:lstStyle>
            <a:lvl1pPr algn="ctr">
              <a:defRPr sz="4400" b="0" i="0">
                <a:solidFill>
                  <a:schemeClr val="accent5"/>
                </a:solidFill>
                <a:latin typeface="Helvetica" pitchFamily="2" charset="0"/>
                <a:cs typeface="Arial" panose="020B0604020202020204" pitchFamily="34" charset="0"/>
              </a:defRPr>
            </a:lvl1pPr>
          </a:lstStyle>
          <a:p>
            <a:r>
              <a:rPr lang="en-GB" noProof="0"/>
              <a:t>Click to edit Master title style</a:t>
            </a:r>
          </a:p>
        </p:txBody>
      </p:sp>
    </p:spTree>
    <p:extLst>
      <p:ext uri="{BB962C8B-B14F-4D97-AF65-F5344CB8AC3E}">
        <p14:creationId xmlns:p14="http://schemas.microsoft.com/office/powerpoint/2010/main" val="3781138488"/>
      </p:ext>
    </p:extLst>
  </p:cSld>
  <p:clrMapOvr>
    <a:masterClrMapping/>
  </p:clrMapOvr>
  <p:transition spd="slow">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Background">
    <p:spTree>
      <p:nvGrpSpPr>
        <p:cNvPr id="1" name=""/>
        <p:cNvGrpSpPr/>
        <p:nvPr/>
      </p:nvGrpSpPr>
      <p:grpSpPr>
        <a:xfrm>
          <a:off x="0" y="0"/>
          <a:ext cx="0" cy="0"/>
          <a:chOff x="0" y="0"/>
          <a:chExt cx="0" cy="0"/>
        </a:xfrm>
      </p:grpSpPr>
      <p:pic>
        <p:nvPicPr>
          <p:cNvPr id="4" name="Bilde 3" descr="Et bilde som inneholder bygning, person, kvinne, ung&#10;&#10;Automatisk generert beskrivelse">
            <a:extLst>
              <a:ext uri="{FF2B5EF4-FFF2-40B4-BE49-F238E27FC236}">
                <a16:creationId xmlns:a16="http://schemas.microsoft.com/office/drawing/2014/main" id="{347B0E7C-4579-4576-AF68-7E36524526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100" y="0"/>
            <a:ext cx="12230100" cy="6858000"/>
          </a:xfrm>
          <a:prstGeom prst="rect">
            <a:avLst/>
          </a:prstGeom>
        </p:spPr>
      </p:pic>
      <p:pic>
        <p:nvPicPr>
          <p:cNvPr id="5" name="Bilde 4">
            <a:extLst>
              <a:ext uri="{FF2B5EF4-FFF2-40B4-BE49-F238E27FC236}">
                <a16:creationId xmlns:a16="http://schemas.microsoft.com/office/drawing/2014/main" id="{A558EB16-3382-4CE3-BB9E-79B883585A7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52521" y="6429313"/>
            <a:ext cx="1825937" cy="319232"/>
          </a:xfrm>
          <a:prstGeom prst="rect">
            <a:avLst/>
          </a:prstGeom>
        </p:spPr>
      </p:pic>
      <p:sp>
        <p:nvSpPr>
          <p:cNvPr id="6" name="Title 1">
            <a:extLst>
              <a:ext uri="{FF2B5EF4-FFF2-40B4-BE49-F238E27FC236}">
                <a16:creationId xmlns:a16="http://schemas.microsoft.com/office/drawing/2014/main" id="{850311F6-6889-4595-A4A8-04606161AADD}"/>
              </a:ext>
            </a:extLst>
          </p:cNvPr>
          <p:cNvSpPr>
            <a:spLocks noGrp="1"/>
          </p:cNvSpPr>
          <p:nvPr>
            <p:ph type="title" hasCustomPrompt="1"/>
          </p:nvPr>
        </p:nvSpPr>
        <p:spPr>
          <a:xfrm>
            <a:off x="-38100" y="2154630"/>
            <a:ext cx="12230100" cy="2120054"/>
          </a:xfrm>
          <a:prstGeom prst="rect">
            <a:avLst/>
          </a:prstGeom>
          <a:solidFill>
            <a:schemeClr val="bg1">
              <a:lumMod val="50000"/>
              <a:alpha val="63000"/>
            </a:schemeClr>
          </a:solidFill>
        </p:spPr>
        <p:txBody>
          <a:bodyPr anchor="ctr">
            <a:normAutofit/>
          </a:bodyPr>
          <a:lstStyle>
            <a:lvl1pPr algn="ctr">
              <a:defRPr sz="4400" b="0" i="0">
                <a:solidFill>
                  <a:schemeClr val="accent1"/>
                </a:solidFill>
                <a:latin typeface="Helvetica" pitchFamily="2" charset="0"/>
                <a:cs typeface="Arial" panose="020B0604020202020204" pitchFamily="34" charset="0"/>
              </a:defRPr>
            </a:lvl1pPr>
          </a:lstStyle>
          <a:p>
            <a:r>
              <a:rPr lang="en-GB" noProof="0"/>
              <a:t>Click to edit Master title style</a:t>
            </a:r>
          </a:p>
        </p:txBody>
      </p:sp>
    </p:spTree>
    <p:extLst>
      <p:ext uri="{BB962C8B-B14F-4D97-AF65-F5344CB8AC3E}">
        <p14:creationId xmlns:p14="http://schemas.microsoft.com/office/powerpoint/2010/main" val="3341218159"/>
      </p:ext>
    </p:extLst>
  </p:cSld>
  <p:clrMapOvr>
    <a:masterClrMapping/>
  </p:clrMapOvr>
  <p:transition spd="slow">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Start Page 4">
    <p:spTree>
      <p:nvGrpSpPr>
        <p:cNvPr id="1" name=""/>
        <p:cNvGrpSpPr/>
        <p:nvPr/>
      </p:nvGrpSpPr>
      <p:grpSpPr>
        <a:xfrm>
          <a:off x="0" y="0"/>
          <a:ext cx="0" cy="0"/>
          <a:chOff x="0" y="0"/>
          <a:chExt cx="0" cy="0"/>
        </a:xfrm>
      </p:grpSpPr>
      <p:pic>
        <p:nvPicPr>
          <p:cNvPr id="10" name="Background Picture" descr="Et bilde som inneholder person, mat, bygning, stående&#10;&#10;Automatisk generert beskrivelse">
            <a:extLst>
              <a:ext uri="{FF2B5EF4-FFF2-40B4-BE49-F238E27FC236}">
                <a16:creationId xmlns:a16="http://schemas.microsoft.com/office/drawing/2014/main" id="{CDBD00A1-FA82-4DFE-84DF-F8297B7A1FB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35000"/>
            <a:ext cx="12192000" cy="8128000"/>
          </a:xfrm>
          <a:prstGeom prst="rect">
            <a:avLst/>
          </a:prstGeom>
        </p:spPr>
      </p:pic>
      <p:sp>
        <p:nvSpPr>
          <p:cNvPr id="7" name="Title">
            <a:extLst>
              <a:ext uri="{FF2B5EF4-FFF2-40B4-BE49-F238E27FC236}">
                <a16:creationId xmlns:a16="http://schemas.microsoft.com/office/drawing/2014/main" id="{13294DAA-8C17-424F-8143-208C3FE914DC}"/>
              </a:ext>
            </a:extLst>
          </p:cNvPr>
          <p:cNvSpPr>
            <a:spLocks noGrp="1"/>
          </p:cNvSpPr>
          <p:nvPr>
            <p:ph type="body" sz="quarter" idx="10" hasCustomPrompt="1"/>
          </p:nvPr>
        </p:nvSpPr>
        <p:spPr>
          <a:xfrm>
            <a:off x="0" y="5715000"/>
            <a:ext cx="12192000" cy="1143000"/>
          </a:xfrm>
          <a:prstGeom prst="rect">
            <a:avLst/>
          </a:prstGeom>
        </p:spPr>
        <p:txBody>
          <a:bodyPr/>
          <a:lstStyle>
            <a:lvl1pPr marL="0" indent="0" algn="ctr">
              <a:buNone/>
              <a:defRPr sz="2800" b="0" i="0" cap="all" spc="600" baseline="0">
                <a:solidFill>
                  <a:schemeClr val="tx1"/>
                </a:solidFill>
                <a:latin typeface="Helvetica" pitchFamily="2" charset="0"/>
                <a:cs typeface="Arial" panose="020B0604020202020204" pitchFamily="34" charset="0"/>
              </a:defRPr>
            </a:lvl1pPr>
          </a:lstStyle>
          <a:p>
            <a:pPr lvl="0"/>
            <a:r>
              <a:rPr lang="en-GB" noProof="0"/>
              <a:t>Main Title here</a:t>
            </a:r>
          </a:p>
        </p:txBody>
      </p:sp>
      <p:sp>
        <p:nvSpPr>
          <p:cNvPr id="6" name="!!Yellow">
            <a:extLst>
              <a:ext uri="{FF2B5EF4-FFF2-40B4-BE49-F238E27FC236}">
                <a16:creationId xmlns:a16="http://schemas.microsoft.com/office/drawing/2014/main" id="{CCFBDB04-BE7C-451A-8C1F-F17167D5B954}"/>
              </a:ext>
            </a:extLst>
          </p:cNvPr>
          <p:cNvSpPr/>
          <p:nvPr userDrawn="1"/>
        </p:nvSpPr>
        <p:spPr>
          <a:xfrm rot="16200000">
            <a:off x="5493659" y="4587989"/>
            <a:ext cx="1661884" cy="15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17" name="!!Blue">
            <a:extLst>
              <a:ext uri="{FF2B5EF4-FFF2-40B4-BE49-F238E27FC236}">
                <a16:creationId xmlns:a16="http://schemas.microsoft.com/office/drawing/2014/main" id="{DD8018AE-B7C4-4C53-9CAC-C9195BAFD01B}"/>
              </a:ext>
            </a:extLst>
          </p:cNvPr>
          <p:cNvSpPr/>
          <p:nvPr userDrawn="1"/>
        </p:nvSpPr>
        <p:spPr>
          <a:xfrm>
            <a:off x="0" y="3833248"/>
            <a:ext cx="6248400" cy="1661884"/>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pic>
        <p:nvPicPr>
          <p:cNvPr id="9" name="Bilde 8">
            <a:extLst>
              <a:ext uri="{FF2B5EF4-FFF2-40B4-BE49-F238E27FC236}">
                <a16:creationId xmlns:a16="http://schemas.microsoft.com/office/drawing/2014/main" id="{96D94C91-9E30-47C8-A221-62DCC86B5E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1762" y="4224965"/>
            <a:ext cx="5084878" cy="888999"/>
          </a:xfrm>
          <a:prstGeom prst="rect">
            <a:avLst/>
          </a:prstGeom>
        </p:spPr>
      </p:pic>
    </p:spTree>
    <p:extLst>
      <p:ext uri="{BB962C8B-B14F-4D97-AF65-F5344CB8AC3E}">
        <p14:creationId xmlns:p14="http://schemas.microsoft.com/office/powerpoint/2010/main" val="2268560150"/>
      </p:ext>
    </p:extLst>
  </p:cSld>
  <p:clrMapOvr>
    <a:masterClrMapping/>
  </p:clrMapOvr>
  <p:transition spd="slow">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Headlin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838200" y="1187952"/>
            <a:ext cx="10515600"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Clr>
                <a:schemeClr val="accent1"/>
              </a:buClr>
              <a:buFont typeface="Arial" panose="020B0604020202020204" pitchFamily="34" charset="0"/>
              <a:buNone/>
              <a:defRPr sz="2400" b="0" i="0" kern="1200">
                <a:solidFill>
                  <a:schemeClr val="tx1"/>
                </a:solidFill>
                <a:latin typeface="Helvetica"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2000" b="0" i="0" kern="1200">
                <a:solidFill>
                  <a:schemeClr val="tx1"/>
                </a:solidFill>
                <a:latin typeface="Helvetica"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Arial" panose="020B0604020202020204" pitchFamily="34" charset="0"/>
              <a:buChar char="•"/>
              <a:defRPr sz="1800" b="0" i="0" kern="1200">
                <a:solidFill>
                  <a:schemeClr val="tx1"/>
                </a:solidFill>
                <a:latin typeface="Helvetica"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Arial" panose="020B0604020202020204" pitchFamily="34" charset="0"/>
              <a:buChar char="•"/>
              <a:defRPr sz="1600" b="0" i="0" kern="1200">
                <a:solidFill>
                  <a:schemeClr val="tx1"/>
                </a:solidFill>
                <a:latin typeface="Helvetica"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600" b="0" i="0" kern="1200">
                <a:solidFill>
                  <a:schemeClr val="tx1"/>
                </a:solidFill>
                <a:latin typeface="Helvetica"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5" name="Bilde 4">
            <a:extLst>
              <a:ext uri="{FF2B5EF4-FFF2-40B4-BE49-F238E27FC236}">
                <a16:creationId xmlns:a16="http://schemas.microsoft.com/office/drawing/2014/main" id="{0096DD13-1996-423A-AAFD-299278D609E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2521" y="6430245"/>
            <a:ext cx="1825937" cy="319232"/>
          </a:xfrm>
          <a:prstGeom prst="rect">
            <a:avLst/>
          </a:prstGeom>
        </p:spPr>
      </p:pic>
      <p:sp>
        <p:nvSpPr>
          <p:cNvPr id="6" name="Plassholder for tekst 6">
            <a:extLst>
              <a:ext uri="{FF2B5EF4-FFF2-40B4-BE49-F238E27FC236}">
                <a16:creationId xmlns:a16="http://schemas.microsoft.com/office/drawing/2014/main" id="{E93DB9A5-5CDA-478E-8CD6-2430FD121F8D}"/>
              </a:ext>
            </a:extLst>
          </p:cNvPr>
          <p:cNvSpPr>
            <a:spLocks noGrp="1"/>
          </p:cNvSpPr>
          <p:nvPr>
            <p:ph type="body" sz="quarter" idx="10" hasCustomPrompt="1"/>
          </p:nvPr>
        </p:nvSpPr>
        <p:spPr>
          <a:xfrm>
            <a:off x="838200" y="6429314"/>
            <a:ext cx="9100779" cy="319232"/>
          </a:xfrm>
          <a:prstGeom prst="rect">
            <a:avLst/>
          </a:prstGeom>
        </p:spPr>
        <p:txBody>
          <a:bodyPr>
            <a:noAutofit/>
          </a:bodyPr>
          <a:lstStyle>
            <a:lvl1pPr marL="0" indent="0">
              <a:lnSpc>
                <a:spcPct val="100000"/>
              </a:lnSpc>
              <a:spcBef>
                <a:spcPts val="0"/>
              </a:spcBef>
              <a:buNone/>
              <a:defRPr sz="1000">
                <a:solidFill>
                  <a:srgbClr val="1B1B1B"/>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nb-NO"/>
              <a:t>Source</a:t>
            </a:r>
          </a:p>
        </p:txBody>
      </p:sp>
      <p:sp>
        <p:nvSpPr>
          <p:cNvPr id="7" name="Title 1">
            <a:extLst>
              <a:ext uri="{FF2B5EF4-FFF2-40B4-BE49-F238E27FC236}">
                <a16:creationId xmlns:a16="http://schemas.microsoft.com/office/drawing/2014/main" id="{F2203563-AD02-4D3E-BF2A-794FBF6193BF}"/>
              </a:ext>
            </a:extLst>
          </p:cNvPr>
          <p:cNvSpPr>
            <a:spLocks noGrp="1"/>
          </p:cNvSpPr>
          <p:nvPr>
            <p:ph type="title" hasCustomPrompt="1"/>
          </p:nvPr>
        </p:nvSpPr>
        <p:spPr>
          <a:xfrm>
            <a:off x="838200" y="365125"/>
            <a:ext cx="10554548" cy="687890"/>
          </a:xfrm>
          <a:prstGeom prst="rect">
            <a:avLst/>
          </a:prstGeom>
        </p:spPr>
        <p:txBody>
          <a:bodyPr/>
          <a:lstStyle>
            <a:lvl1pPr>
              <a:defRPr lang="en-GB" sz="3200" b="0" i="0" noProof="0" dirty="0">
                <a:solidFill>
                  <a:srgbClr val="141E50"/>
                </a:solidFill>
                <a:latin typeface="Helvetica" pitchFamily="2" charset="0"/>
                <a:cs typeface="Arial" panose="020B0604020202020204" pitchFamily="34" charset="0"/>
              </a:defRPr>
            </a:lvl1pPr>
          </a:lstStyle>
          <a:p>
            <a:pPr marL="0" lvl="0"/>
            <a:r>
              <a:rPr lang="en-GB" noProof="0"/>
              <a:t>Click to edit Master title style</a:t>
            </a:r>
          </a:p>
        </p:txBody>
      </p:sp>
      <p:sp>
        <p:nvSpPr>
          <p:cNvPr id="8" name="Plassholder for lysbildenummer 38">
            <a:extLst>
              <a:ext uri="{FF2B5EF4-FFF2-40B4-BE49-F238E27FC236}">
                <a16:creationId xmlns:a16="http://schemas.microsoft.com/office/drawing/2014/main" id="{6BBBDF1B-0EAA-4518-9E17-8C818F1C7D78}"/>
              </a:ext>
            </a:extLst>
          </p:cNvPr>
          <p:cNvSpPr>
            <a:spLocks noGrp="1"/>
          </p:cNvSpPr>
          <p:nvPr>
            <p:ph type="sldNum" sz="quarter" idx="4"/>
          </p:nvPr>
        </p:nvSpPr>
        <p:spPr>
          <a:xfrm>
            <a:off x="0" y="6438839"/>
            <a:ext cx="838200" cy="319232"/>
          </a:xfrm>
          <a:prstGeom prst="rect">
            <a:avLst/>
          </a:prstGeom>
        </p:spPr>
        <p:txBody>
          <a:bodyPr vert="horz" lIns="91440" tIns="45720" rIns="91440" bIns="45720" rtlCol="0" anchor="t"/>
          <a:lstStyle>
            <a:lvl1pPr algn="ctr">
              <a:defRPr sz="1000">
                <a:solidFill>
                  <a:srgbClr val="1B1B1B"/>
                </a:solidFill>
              </a:defRPr>
            </a:lvl1pPr>
          </a:lstStyle>
          <a:p>
            <a:fld id="{EDFF9B70-FADC-4CC7-9FFB-4C4965B0F731}" type="slidenum">
              <a:rPr lang="en-GB" smtClean="0"/>
              <a:pPr/>
              <a:t>‹#›</a:t>
            </a:fld>
            <a:endParaRPr lang="en-GB"/>
          </a:p>
        </p:txBody>
      </p:sp>
    </p:spTree>
    <p:extLst>
      <p:ext uri="{BB962C8B-B14F-4D97-AF65-F5344CB8AC3E}">
        <p14:creationId xmlns:p14="http://schemas.microsoft.com/office/powerpoint/2010/main" val="611506621"/>
      </p:ext>
    </p:extLst>
  </p:cSld>
  <p:clrMapOvr>
    <a:masterClrMapping/>
  </p:clrMapOvr>
  <p:transition spd="slow">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Full picture, Title">
    <p:bg>
      <p:bgPr>
        <a:solidFill>
          <a:schemeClr val="bg1"/>
        </a:solidFill>
        <a:effectLst/>
      </p:bgPr>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158D014F-728F-437C-9904-BA1DBBEB82AA}"/>
              </a:ext>
            </a:extLst>
          </p:cNvPr>
          <p:cNvSpPr>
            <a:spLocks noGrp="1"/>
          </p:cNvSpPr>
          <p:nvPr>
            <p:ph type="pic" sz="quarter" idx="10" hasCustomPrompt="1"/>
          </p:nvPr>
        </p:nvSpPr>
        <p:spPr>
          <a:xfrm>
            <a:off x="0" y="-28707"/>
            <a:ext cx="12192000" cy="4661452"/>
          </a:xfrm>
          <a:prstGeom prst="rect">
            <a:avLst/>
          </a:prstGeom>
          <a:noFill/>
        </p:spPr>
        <p:txBody>
          <a:bodyPr/>
          <a:lstStyle>
            <a:lvl1pPr marL="0" indent="0">
              <a:buNone/>
              <a:defRPr sz="1800" b="0" i="0">
                <a:solidFill>
                  <a:schemeClr val="bg1">
                    <a:lumMod val="50000"/>
                  </a:schemeClr>
                </a:solidFill>
                <a:latin typeface="Helvetica" pitchFamily="2" charset="0"/>
                <a:ea typeface="Open Sans" panose="020B0606030504020204" pitchFamily="34" charset="0"/>
                <a:cs typeface="Open Sans" panose="020B0606030504020204" pitchFamily="34" charset="0"/>
              </a:defRPr>
            </a:lvl1pPr>
          </a:lstStyle>
          <a:p>
            <a:r>
              <a:rPr lang="en-GB" noProof="0"/>
              <a:t>Image Placeholder</a:t>
            </a:r>
          </a:p>
        </p:txBody>
      </p:sp>
      <p:sp>
        <p:nvSpPr>
          <p:cNvPr id="5" name="!!Blue">
            <a:extLst>
              <a:ext uri="{FF2B5EF4-FFF2-40B4-BE49-F238E27FC236}">
                <a16:creationId xmlns:a16="http://schemas.microsoft.com/office/drawing/2014/main" id="{5E24F489-E6BB-4384-B378-663B8C919357}"/>
              </a:ext>
            </a:extLst>
          </p:cNvPr>
          <p:cNvSpPr/>
          <p:nvPr userDrawn="1"/>
        </p:nvSpPr>
        <p:spPr>
          <a:xfrm>
            <a:off x="0" y="4616322"/>
            <a:ext cx="12192000" cy="2241678"/>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cxnSp>
        <p:nvCxnSpPr>
          <p:cNvPr id="7" name="!!Yellow">
            <a:extLst>
              <a:ext uri="{FF2B5EF4-FFF2-40B4-BE49-F238E27FC236}">
                <a16:creationId xmlns:a16="http://schemas.microsoft.com/office/drawing/2014/main" id="{DE98A62D-C220-4B5B-AD26-81FFF33E5164}"/>
              </a:ext>
            </a:extLst>
          </p:cNvPr>
          <p:cNvCxnSpPr>
            <a:cxnSpLocks/>
          </p:cNvCxnSpPr>
          <p:nvPr userDrawn="1"/>
        </p:nvCxnSpPr>
        <p:spPr>
          <a:xfrm>
            <a:off x="10152521" y="5348056"/>
            <a:ext cx="2039479" cy="0"/>
          </a:xfrm>
          <a:prstGeom prst="line">
            <a:avLst/>
          </a:prstGeom>
          <a:ln w="149225">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Plassholder for tekst 8">
            <a:extLst>
              <a:ext uri="{FF2B5EF4-FFF2-40B4-BE49-F238E27FC236}">
                <a16:creationId xmlns:a16="http://schemas.microsoft.com/office/drawing/2014/main" id="{38C7107A-0111-432E-8F72-D19B67E72E16}"/>
              </a:ext>
            </a:extLst>
          </p:cNvPr>
          <p:cNvSpPr>
            <a:spLocks noGrp="1"/>
          </p:cNvSpPr>
          <p:nvPr>
            <p:ph type="body" sz="quarter" idx="11" hasCustomPrompt="1"/>
          </p:nvPr>
        </p:nvSpPr>
        <p:spPr>
          <a:xfrm>
            <a:off x="1066800" y="4959624"/>
            <a:ext cx="8582025" cy="160020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3600" b="0" i="0" cap="all" baseline="0">
                <a:solidFill>
                  <a:schemeClr val="bg1"/>
                </a:solidFill>
                <a:latin typeface="Helvetica"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prstClr val="white"/>
                </a:solidFill>
                <a:effectLst/>
                <a:uLnTx/>
                <a:uFillTx/>
                <a:latin typeface="+mn-lt"/>
                <a:ea typeface="Roboto Cn" panose="02000000000000000000" pitchFamily="2" charset="0"/>
                <a:cs typeface="Arial" panose="020B0604020202020204" pitchFamily="34" charset="0"/>
              </a:rPr>
              <a:t>PRESENTATION TITLE</a:t>
            </a:r>
            <a:br>
              <a:rPr kumimoji="0" lang="en-GB" sz="4800" b="1" i="0" u="none" strike="noStrike" kern="1200" cap="none" spc="0" normalizeH="0" baseline="0" noProof="0">
                <a:ln>
                  <a:noFill/>
                </a:ln>
                <a:solidFill>
                  <a:prstClr val="white"/>
                </a:solidFill>
                <a:effectLst/>
                <a:uLnTx/>
                <a:uFillTx/>
                <a:latin typeface="+mn-lt"/>
                <a:ea typeface="Roboto Cn" panose="02000000000000000000" pitchFamily="2" charset="0"/>
                <a:cs typeface="Arial" panose="020B0604020202020204" pitchFamily="34" charset="0"/>
              </a:rPr>
            </a:br>
            <a:r>
              <a:rPr kumimoji="0" lang="en-GB" sz="4800" b="1" i="0" u="none" strike="noStrike" kern="1200" cap="none" spc="0" normalizeH="0" baseline="0" noProof="0">
                <a:ln>
                  <a:noFill/>
                </a:ln>
                <a:solidFill>
                  <a:prstClr val="white"/>
                </a:solidFill>
                <a:effectLst/>
                <a:uLnTx/>
                <a:uFillTx/>
                <a:latin typeface="+mn-lt"/>
                <a:ea typeface="Roboto Cn" panose="02000000000000000000" pitchFamily="2" charset="0"/>
                <a:cs typeface="Arial" panose="020B0604020202020204" pitchFamily="34" charset="0"/>
              </a:rPr>
              <a:t>HERE</a:t>
            </a:r>
          </a:p>
          <a:p>
            <a:pPr lvl="0"/>
            <a:endParaRPr lang="en-GB" noProof="0"/>
          </a:p>
        </p:txBody>
      </p:sp>
      <p:pic>
        <p:nvPicPr>
          <p:cNvPr id="6" name="Bilde 5">
            <a:extLst>
              <a:ext uri="{FF2B5EF4-FFF2-40B4-BE49-F238E27FC236}">
                <a16:creationId xmlns:a16="http://schemas.microsoft.com/office/drawing/2014/main" id="{9557D7E9-E6B7-4B1D-B3AF-11470461D40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2521" y="6429313"/>
            <a:ext cx="1825937" cy="319232"/>
          </a:xfrm>
          <a:prstGeom prst="rect">
            <a:avLst/>
          </a:prstGeom>
        </p:spPr>
      </p:pic>
    </p:spTree>
    <p:extLst>
      <p:ext uri="{BB962C8B-B14F-4D97-AF65-F5344CB8AC3E}">
        <p14:creationId xmlns:p14="http://schemas.microsoft.com/office/powerpoint/2010/main" val="2588090906"/>
      </p:ext>
    </p:extLst>
  </p:cSld>
  <p:clrMapOvr>
    <a:masterClrMapping/>
  </p:clrMapOvr>
  <p:transition spd="slow">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3_Blanc with logo 1">
    <p:spTree>
      <p:nvGrpSpPr>
        <p:cNvPr id="1" name=""/>
        <p:cNvGrpSpPr/>
        <p:nvPr/>
      </p:nvGrpSpPr>
      <p:grpSpPr>
        <a:xfrm>
          <a:off x="0" y="0"/>
          <a:ext cx="0" cy="0"/>
          <a:chOff x="0" y="0"/>
          <a:chExt cx="0" cy="0"/>
        </a:xfrm>
      </p:grpSpPr>
      <p:sp>
        <p:nvSpPr>
          <p:cNvPr id="11" name="Plassholder for bilde 10">
            <a:extLst>
              <a:ext uri="{FF2B5EF4-FFF2-40B4-BE49-F238E27FC236}">
                <a16:creationId xmlns:a16="http://schemas.microsoft.com/office/drawing/2014/main" id="{59F8AE11-E06E-436F-96C7-F71AFAA57FFF}"/>
              </a:ext>
            </a:extLst>
          </p:cNvPr>
          <p:cNvSpPr>
            <a:spLocks noGrp="1"/>
          </p:cNvSpPr>
          <p:nvPr>
            <p:ph type="pic" sz="quarter" idx="10" hasCustomPrompt="1"/>
          </p:nvPr>
        </p:nvSpPr>
        <p:spPr>
          <a:xfrm>
            <a:off x="0" y="982755"/>
            <a:ext cx="6016212" cy="5219923"/>
          </a:xfrm>
          <a:prstGeom prst="rect">
            <a:avLst/>
          </a:prstGeom>
        </p:spPr>
        <p:txBody>
          <a:bodyPr/>
          <a:lstStyle>
            <a:lvl1pPr marL="0" indent="0">
              <a:buNone/>
              <a:defRPr/>
            </a:lvl1pPr>
          </a:lstStyle>
          <a:p>
            <a:r>
              <a:rPr lang="en-GB" noProof="0"/>
              <a:t>Picture</a:t>
            </a:r>
          </a:p>
        </p:txBody>
      </p:sp>
      <p:sp>
        <p:nvSpPr>
          <p:cNvPr id="9" name="!!Blue">
            <a:extLst>
              <a:ext uri="{FF2B5EF4-FFF2-40B4-BE49-F238E27FC236}">
                <a16:creationId xmlns:a16="http://schemas.microsoft.com/office/drawing/2014/main" id="{907138BB-FD71-4DDA-9F55-1FF4CDA5543D}"/>
              </a:ext>
            </a:extLst>
          </p:cNvPr>
          <p:cNvSpPr/>
          <p:nvPr userDrawn="1"/>
        </p:nvSpPr>
        <p:spPr>
          <a:xfrm>
            <a:off x="6016596" y="982416"/>
            <a:ext cx="182593" cy="5220263"/>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5" name="Rectangle 7">
            <a:extLst>
              <a:ext uri="{FF2B5EF4-FFF2-40B4-BE49-F238E27FC236}">
                <a16:creationId xmlns:a16="http://schemas.microsoft.com/office/drawing/2014/main" id="{6103F436-6829-4D28-B07F-F2B65F705AFE}"/>
              </a:ext>
            </a:extLst>
          </p:cNvPr>
          <p:cNvSpPr/>
          <p:nvPr userDrawn="1"/>
        </p:nvSpPr>
        <p:spPr>
          <a:xfrm>
            <a:off x="6199573" y="975656"/>
            <a:ext cx="5992427" cy="52270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13" name="Plassholder for tekst 12">
            <a:extLst>
              <a:ext uri="{FF2B5EF4-FFF2-40B4-BE49-F238E27FC236}">
                <a16:creationId xmlns:a16="http://schemas.microsoft.com/office/drawing/2014/main" id="{E457044F-02F3-455A-A33C-E43CB2EAE94C}"/>
              </a:ext>
            </a:extLst>
          </p:cNvPr>
          <p:cNvSpPr>
            <a:spLocks noGrp="1"/>
          </p:cNvSpPr>
          <p:nvPr>
            <p:ph type="body" sz="quarter" idx="11" hasCustomPrompt="1"/>
          </p:nvPr>
        </p:nvSpPr>
        <p:spPr>
          <a:xfrm>
            <a:off x="6812155" y="1644200"/>
            <a:ext cx="4767262" cy="120015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3600" b="0" i="0" cap="all" baseline="0">
                <a:solidFill>
                  <a:schemeClr val="accent6"/>
                </a:solidFill>
                <a:latin typeface="Helvetica" pitchFamily="2" charset="0"/>
              </a:defRPr>
            </a:lvl1pPr>
          </a:lstStyle>
          <a:p>
            <a:pPr lvl="0"/>
            <a:r>
              <a:rPr lang="en-GB" noProof="0"/>
              <a:t>PRESENTATION TITLE HERE</a:t>
            </a:r>
          </a:p>
          <a:p>
            <a:pPr lvl="0"/>
            <a:endParaRPr lang="en-GB" noProof="0"/>
          </a:p>
        </p:txBody>
      </p:sp>
      <p:sp>
        <p:nvSpPr>
          <p:cNvPr id="15" name="Plassholder for tekst 14">
            <a:extLst>
              <a:ext uri="{FF2B5EF4-FFF2-40B4-BE49-F238E27FC236}">
                <a16:creationId xmlns:a16="http://schemas.microsoft.com/office/drawing/2014/main" id="{650CC9D6-D32D-4E71-991D-CE88E440834D}"/>
              </a:ext>
            </a:extLst>
          </p:cNvPr>
          <p:cNvSpPr>
            <a:spLocks noGrp="1"/>
          </p:cNvSpPr>
          <p:nvPr>
            <p:ph type="body" sz="quarter" idx="12" hasCustomPrompt="1"/>
          </p:nvPr>
        </p:nvSpPr>
        <p:spPr>
          <a:xfrm>
            <a:off x="9346514" y="413067"/>
            <a:ext cx="2255838" cy="319087"/>
          </a:xfrm>
          <a:prstGeom prst="rect">
            <a:avLst/>
          </a:prstGeom>
        </p:spPr>
        <p:txBody>
          <a:bodyPr/>
          <a:lstStyle>
            <a:lvl1pPr marL="0" marR="0" indent="0" algn="r" defTabSz="914400" rtl="0" eaLnBrk="1" fontAlgn="auto" latinLnBrk="0" hangingPunct="1">
              <a:lnSpc>
                <a:spcPct val="100000"/>
              </a:lnSpc>
              <a:spcBef>
                <a:spcPts val="0"/>
              </a:spcBef>
              <a:spcAft>
                <a:spcPts val="0"/>
              </a:spcAft>
              <a:buClrTx/>
              <a:buSzTx/>
              <a:buFontTx/>
              <a:buNone/>
              <a:tabLst/>
              <a:defRPr sz="1050" spc="600" baseline="0"/>
            </a:lvl1pPr>
          </a:lstStyle>
          <a:p>
            <a:pPr lvl="0"/>
            <a:r>
              <a:rPr lang="en-GB" noProof="0"/>
              <a:t>PRESENTATION</a:t>
            </a:r>
          </a:p>
        </p:txBody>
      </p:sp>
      <p:sp>
        <p:nvSpPr>
          <p:cNvPr id="17" name="Plassholder for tekst 16">
            <a:extLst>
              <a:ext uri="{FF2B5EF4-FFF2-40B4-BE49-F238E27FC236}">
                <a16:creationId xmlns:a16="http://schemas.microsoft.com/office/drawing/2014/main" id="{15724569-D2C2-48A0-9B43-28E456B68EC9}"/>
              </a:ext>
            </a:extLst>
          </p:cNvPr>
          <p:cNvSpPr>
            <a:spLocks noGrp="1"/>
          </p:cNvSpPr>
          <p:nvPr>
            <p:ph type="body" sz="quarter" idx="13" hasCustomPrompt="1"/>
          </p:nvPr>
        </p:nvSpPr>
        <p:spPr>
          <a:xfrm>
            <a:off x="6812155" y="3589168"/>
            <a:ext cx="4767262" cy="40005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000" b="0" i="0">
                <a:latin typeface="Helvetica" pitchFamily="2" charset="0"/>
                <a:cs typeface="Arial" panose="020B0604020202020204" pitchFamily="34" charset="0"/>
              </a:defRPr>
            </a:lvl1pPr>
          </a:lstStyle>
          <a:p>
            <a:pPr lvl="0"/>
            <a:r>
              <a:rPr lang="en-GB" noProof="0" err="1"/>
              <a:t>Expertice</a:t>
            </a:r>
            <a:r>
              <a:rPr lang="en-GB" noProof="0"/>
              <a:t> you need. Service deserved!</a:t>
            </a:r>
          </a:p>
        </p:txBody>
      </p:sp>
      <p:sp>
        <p:nvSpPr>
          <p:cNvPr id="19" name="Plassholder for tekst 18">
            <a:extLst>
              <a:ext uri="{FF2B5EF4-FFF2-40B4-BE49-F238E27FC236}">
                <a16:creationId xmlns:a16="http://schemas.microsoft.com/office/drawing/2014/main" id="{A63F2F89-E757-4731-93B3-6022E3E3100F}"/>
              </a:ext>
            </a:extLst>
          </p:cNvPr>
          <p:cNvSpPr>
            <a:spLocks noGrp="1"/>
          </p:cNvSpPr>
          <p:nvPr>
            <p:ph type="body" sz="quarter" idx="14" hasCustomPrompt="1"/>
          </p:nvPr>
        </p:nvSpPr>
        <p:spPr>
          <a:xfrm>
            <a:off x="6812155" y="4192531"/>
            <a:ext cx="4767262" cy="1319213"/>
          </a:xfrm>
          <a:prstGeom prst="rect">
            <a:avLst/>
          </a:prstGeom>
        </p:spPr>
        <p:txBody>
          <a:bodyPr/>
          <a:lstStyle>
            <a:lvl1pPr marL="0" marR="0" indent="0" algn="l" defTabSz="914400" rtl="0" eaLnBrk="1" fontAlgn="auto" latinLnBrk="0" hangingPunct="1">
              <a:lnSpc>
                <a:spcPct val="150000"/>
              </a:lnSpc>
              <a:spcBef>
                <a:spcPts val="0"/>
              </a:spcBef>
              <a:spcAft>
                <a:spcPts val="0"/>
              </a:spcAft>
              <a:buClrTx/>
              <a:buSzTx/>
              <a:buFontTx/>
              <a:buNone/>
              <a:tabLst/>
              <a:defRPr sz="1400" b="0" i="0" baseline="0">
                <a:solidFill>
                  <a:schemeClr val="tx1"/>
                </a:solidFill>
                <a:latin typeface="Helvetica" pitchFamily="2" charset="0"/>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noProof="0">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Lorem ipsum </a:t>
            </a:r>
            <a:r>
              <a:rPr lang="en-GB" sz="1400" noProof="0" err="1">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dolor</a:t>
            </a:r>
            <a:r>
              <a:rPr lang="en-GB" sz="1400" noProof="0">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 sit </a:t>
            </a:r>
            <a:r>
              <a:rPr lang="en-GB" sz="1400" noProof="0" err="1">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amet</a:t>
            </a:r>
            <a:r>
              <a:rPr lang="en-GB" sz="1400" noProof="0">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 </a:t>
            </a:r>
            <a:r>
              <a:rPr lang="en-GB" sz="1400" noProof="0" err="1">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consectetur</a:t>
            </a:r>
            <a:r>
              <a:rPr lang="en-GB" sz="1400" noProof="0">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 </a:t>
            </a:r>
            <a:r>
              <a:rPr lang="en-GB" sz="1400" noProof="0" err="1">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adipiscing</a:t>
            </a:r>
            <a:r>
              <a:rPr lang="en-GB" sz="1400" noProof="0">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 </a:t>
            </a:r>
            <a:r>
              <a:rPr lang="en-GB" sz="1400" noProof="0" err="1">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elit</a:t>
            </a:r>
            <a:r>
              <a:rPr lang="en-GB" sz="1400" noProof="0">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 </a:t>
            </a:r>
            <a:r>
              <a:rPr lang="en-GB" sz="1400" noProof="0" err="1">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Pellentesque</a:t>
            </a:r>
            <a:r>
              <a:rPr lang="en-GB" sz="1400" noProof="0">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 </a:t>
            </a:r>
            <a:r>
              <a:rPr lang="en-GB" sz="1400" noProof="0" err="1">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scelerisque</a:t>
            </a:r>
            <a:r>
              <a:rPr lang="en-GB" sz="1400" noProof="0">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 </a:t>
            </a:r>
            <a:r>
              <a:rPr lang="en-GB" sz="1400" noProof="0" err="1">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malesuada</a:t>
            </a:r>
            <a:r>
              <a:rPr lang="en-GB" sz="1400" noProof="0">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 libero a </a:t>
            </a:r>
            <a:r>
              <a:rPr lang="en-GB" sz="1400" noProof="0" err="1">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pellentesque</a:t>
            </a:r>
            <a:r>
              <a:rPr lang="en-GB" sz="1400" noProof="0">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 Morbi </a:t>
            </a:r>
            <a:r>
              <a:rPr lang="en-GB" sz="1400" noProof="0" err="1">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orci</a:t>
            </a:r>
            <a:r>
              <a:rPr lang="en-GB" sz="1400" noProof="0">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 dui, fermentum </a:t>
            </a:r>
            <a:r>
              <a:rPr lang="en-GB" sz="1400" noProof="0" err="1">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eget</a:t>
            </a:r>
            <a:r>
              <a:rPr lang="en-GB" sz="1400" noProof="0">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 </a:t>
            </a:r>
            <a:r>
              <a:rPr lang="en-GB" sz="1400" noProof="0" err="1">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lectus</a:t>
            </a:r>
            <a:r>
              <a:rPr lang="en-GB" sz="1400" noProof="0">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 </a:t>
            </a:r>
            <a:r>
              <a:rPr lang="en-GB" sz="1400" noProof="0" err="1">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ornare</a:t>
            </a:r>
            <a:r>
              <a:rPr lang="en-GB" sz="1400" noProof="0">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 </a:t>
            </a:r>
            <a:r>
              <a:rPr lang="en-GB" sz="1400" noProof="0" err="1">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viverra</a:t>
            </a:r>
            <a:r>
              <a:rPr lang="en-GB" sz="1400" noProof="0">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 </a:t>
            </a:r>
            <a:r>
              <a:rPr lang="en-GB" sz="1400" noProof="0" err="1">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dignissim</a:t>
            </a:r>
            <a:r>
              <a:rPr lang="en-GB" sz="1400" noProof="0">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 </a:t>
            </a:r>
            <a:r>
              <a:rPr lang="en-GB" sz="1400" noProof="0" err="1">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risus</a:t>
            </a:r>
            <a:r>
              <a:rPr lang="en-GB" sz="1400" noProof="0">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 </a:t>
            </a:r>
            <a:endParaRPr lang="en-GB" noProof="0"/>
          </a:p>
        </p:txBody>
      </p:sp>
      <p:pic>
        <p:nvPicPr>
          <p:cNvPr id="24" name="Bilde 23">
            <a:extLst>
              <a:ext uri="{FF2B5EF4-FFF2-40B4-BE49-F238E27FC236}">
                <a16:creationId xmlns:a16="http://schemas.microsoft.com/office/drawing/2014/main" id="{037B8367-F3A2-4AD3-83BE-6E150F39180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8749" y="412922"/>
            <a:ext cx="1825937" cy="319232"/>
          </a:xfrm>
          <a:prstGeom prst="rect">
            <a:avLst/>
          </a:prstGeom>
        </p:spPr>
      </p:pic>
      <p:sp>
        <p:nvSpPr>
          <p:cNvPr id="10" name="Plassholder for lysbildenummer 38">
            <a:extLst>
              <a:ext uri="{FF2B5EF4-FFF2-40B4-BE49-F238E27FC236}">
                <a16:creationId xmlns:a16="http://schemas.microsoft.com/office/drawing/2014/main" id="{659B2A16-3F20-4140-AD94-7EFFE3369EF7}"/>
              </a:ext>
            </a:extLst>
          </p:cNvPr>
          <p:cNvSpPr>
            <a:spLocks noGrp="1"/>
          </p:cNvSpPr>
          <p:nvPr>
            <p:ph type="sldNum" sz="quarter" idx="4"/>
          </p:nvPr>
        </p:nvSpPr>
        <p:spPr>
          <a:xfrm>
            <a:off x="0" y="6438839"/>
            <a:ext cx="838200" cy="319232"/>
          </a:xfrm>
          <a:prstGeom prst="rect">
            <a:avLst/>
          </a:prstGeom>
        </p:spPr>
        <p:txBody>
          <a:bodyPr vert="horz" lIns="91440" tIns="45720" rIns="91440" bIns="45720" rtlCol="0" anchor="t"/>
          <a:lstStyle>
            <a:lvl1pPr algn="ctr">
              <a:defRPr sz="1000">
                <a:solidFill>
                  <a:srgbClr val="1B1B1B"/>
                </a:solidFill>
              </a:defRPr>
            </a:lvl1pPr>
          </a:lstStyle>
          <a:p>
            <a:fld id="{EDFF9B70-FADC-4CC7-9FFB-4C4965B0F731}" type="slidenum">
              <a:rPr lang="en-GB" smtClean="0"/>
              <a:pPr/>
              <a:t>‹#›</a:t>
            </a:fld>
            <a:endParaRPr lang="en-GB"/>
          </a:p>
        </p:txBody>
      </p:sp>
    </p:spTree>
    <p:extLst>
      <p:ext uri="{BB962C8B-B14F-4D97-AF65-F5344CB8AC3E}">
        <p14:creationId xmlns:p14="http://schemas.microsoft.com/office/powerpoint/2010/main" val="4121071554"/>
      </p:ext>
    </p:extLst>
  </p:cSld>
  <p:clrMapOvr>
    <a:masterClrMapping/>
  </p:clrMapOvr>
  <p:transition spd="slow">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51" name="Rectangle 10">
            <a:extLst>
              <a:ext uri="{FF2B5EF4-FFF2-40B4-BE49-F238E27FC236}">
                <a16:creationId xmlns:a16="http://schemas.microsoft.com/office/drawing/2014/main" id="{F55BAFD2-488E-4666-95BA-2E27E93B3D86}"/>
              </a:ext>
            </a:extLst>
          </p:cNvPr>
          <p:cNvSpPr/>
          <p:nvPr userDrawn="1"/>
        </p:nvSpPr>
        <p:spPr>
          <a:xfrm>
            <a:off x="7242052" y="1329796"/>
            <a:ext cx="3747559" cy="1298972"/>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53" name="!!Blue">
            <a:extLst>
              <a:ext uri="{FF2B5EF4-FFF2-40B4-BE49-F238E27FC236}">
                <a16:creationId xmlns:a16="http://schemas.microsoft.com/office/drawing/2014/main" id="{77930EB7-481C-44F0-97C3-9C5864AFA2D1}"/>
              </a:ext>
            </a:extLst>
          </p:cNvPr>
          <p:cNvSpPr/>
          <p:nvPr userDrawn="1"/>
        </p:nvSpPr>
        <p:spPr>
          <a:xfrm>
            <a:off x="7242052" y="2917580"/>
            <a:ext cx="3747559" cy="1298972"/>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55" name="Rectangle 17">
            <a:extLst>
              <a:ext uri="{FF2B5EF4-FFF2-40B4-BE49-F238E27FC236}">
                <a16:creationId xmlns:a16="http://schemas.microsoft.com/office/drawing/2014/main" id="{6A5350D8-C90C-4BAF-B507-455A8A5BA435}"/>
              </a:ext>
            </a:extLst>
          </p:cNvPr>
          <p:cNvSpPr/>
          <p:nvPr userDrawn="1"/>
        </p:nvSpPr>
        <p:spPr>
          <a:xfrm>
            <a:off x="7242052" y="4506306"/>
            <a:ext cx="3747559" cy="1298972"/>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5" name="Rectangle 36">
            <a:extLst>
              <a:ext uri="{FF2B5EF4-FFF2-40B4-BE49-F238E27FC236}">
                <a16:creationId xmlns:a16="http://schemas.microsoft.com/office/drawing/2014/main" id="{214895EF-8762-4104-8A7D-B5F36DC46B45}"/>
              </a:ext>
            </a:extLst>
          </p:cNvPr>
          <p:cNvSpPr/>
          <p:nvPr userDrawn="1"/>
        </p:nvSpPr>
        <p:spPr>
          <a:xfrm>
            <a:off x="0" y="0"/>
            <a:ext cx="6562725" cy="6858000"/>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52" name="Rectangle 12">
            <a:extLst>
              <a:ext uri="{FF2B5EF4-FFF2-40B4-BE49-F238E27FC236}">
                <a16:creationId xmlns:a16="http://schemas.microsoft.com/office/drawing/2014/main" id="{DA564843-AAC1-4FC6-ABEB-604C5A4E480D}"/>
              </a:ext>
            </a:extLst>
          </p:cNvPr>
          <p:cNvSpPr/>
          <p:nvPr userDrawn="1"/>
        </p:nvSpPr>
        <p:spPr>
          <a:xfrm>
            <a:off x="10989611" y="1329796"/>
            <a:ext cx="553267" cy="1298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54" name="!!Yellow">
            <a:extLst>
              <a:ext uri="{FF2B5EF4-FFF2-40B4-BE49-F238E27FC236}">
                <a16:creationId xmlns:a16="http://schemas.microsoft.com/office/drawing/2014/main" id="{7A4FB1C8-3DBE-4D19-A16E-369BF81FC843}"/>
              </a:ext>
            </a:extLst>
          </p:cNvPr>
          <p:cNvSpPr/>
          <p:nvPr userDrawn="1"/>
        </p:nvSpPr>
        <p:spPr>
          <a:xfrm>
            <a:off x="10989611" y="2918522"/>
            <a:ext cx="553267" cy="1298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56" name="Rectangle 18">
            <a:extLst>
              <a:ext uri="{FF2B5EF4-FFF2-40B4-BE49-F238E27FC236}">
                <a16:creationId xmlns:a16="http://schemas.microsoft.com/office/drawing/2014/main" id="{B32874FD-6D8F-4529-B48B-1282B36E9FB2}"/>
              </a:ext>
            </a:extLst>
          </p:cNvPr>
          <p:cNvSpPr/>
          <p:nvPr userDrawn="1"/>
        </p:nvSpPr>
        <p:spPr>
          <a:xfrm>
            <a:off x="10989611" y="4506306"/>
            <a:ext cx="553267" cy="1298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76" name="TextBox 44">
            <a:extLst>
              <a:ext uri="{FF2B5EF4-FFF2-40B4-BE49-F238E27FC236}">
                <a16:creationId xmlns:a16="http://schemas.microsoft.com/office/drawing/2014/main" id="{8712E8F6-90EA-4E6F-AD0C-2B03837A1C96}"/>
              </a:ext>
            </a:extLst>
          </p:cNvPr>
          <p:cNvSpPr txBox="1"/>
          <p:nvPr userDrawn="1"/>
        </p:nvSpPr>
        <p:spPr>
          <a:xfrm>
            <a:off x="9499717" y="417954"/>
            <a:ext cx="2221638" cy="261610"/>
          </a:xfrm>
          <a:prstGeom prst="rect">
            <a:avLst/>
          </a:prstGeom>
          <a:noFill/>
        </p:spPr>
        <p:txBody>
          <a:bodyPr wrap="square" rtlCol="0">
            <a:spAutoFit/>
          </a:bodyPr>
          <a:lstStyle/>
          <a:p>
            <a:pPr algn="r"/>
            <a:r>
              <a:rPr lang="en-GB" sz="1050" b="0" i="0" spc="600" noProof="0">
                <a:solidFill>
                  <a:schemeClr val="tx1">
                    <a:lumMod val="75000"/>
                    <a:lumOff val="25000"/>
                  </a:schemeClr>
                </a:solidFill>
                <a:latin typeface="Helvetica" pitchFamily="2" charset="0"/>
                <a:ea typeface="Roboto Cn" panose="02000000000000000000" pitchFamily="2" charset="0"/>
                <a:cs typeface="Arial" panose="020B0604020202020204" pitchFamily="34" charset="0"/>
              </a:rPr>
              <a:t>PRESENTATION</a:t>
            </a:r>
          </a:p>
        </p:txBody>
      </p:sp>
      <p:sp>
        <p:nvSpPr>
          <p:cNvPr id="81" name="Plassholder for tekst 80">
            <a:extLst>
              <a:ext uri="{FF2B5EF4-FFF2-40B4-BE49-F238E27FC236}">
                <a16:creationId xmlns:a16="http://schemas.microsoft.com/office/drawing/2014/main" id="{31D0DABA-AC45-4C99-B3A1-7D91C6FF0D16}"/>
              </a:ext>
            </a:extLst>
          </p:cNvPr>
          <p:cNvSpPr>
            <a:spLocks noGrp="1"/>
          </p:cNvSpPr>
          <p:nvPr>
            <p:ph type="body" sz="quarter" idx="10" hasCustomPrompt="1"/>
          </p:nvPr>
        </p:nvSpPr>
        <p:spPr>
          <a:xfrm>
            <a:off x="8009848" y="1329439"/>
            <a:ext cx="2979738" cy="1298388"/>
          </a:xfrm>
          <a:prstGeom prst="rect">
            <a:avLst/>
          </a:prstGeom>
        </p:spPr>
        <p:txBody>
          <a:bodyPr anchor="ctr"/>
          <a:lstStyle>
            <a:lvl1pPr marL="0" indent="0" algn="l">
              <a:buNone/>
              <a:defRPr sz="1600" b="1" i="0" baseline="0">
                <a:solidFill>
                  <a:schemeClr val="bg1"/>
                </a:solidFill>
              </a:defRPr>
            </a:lvl1pPr>
          </a:lstStyle>
          <a:p>
            <a:pPr lvl="0"/>
            <a:r>
              <a:rPr lang="en-GB" noProof="0"/>
              <a:t>Example Text Placed In This Blue Box</a:t>
            </a:r>
          </a:p>
        </p:txBody>
      </p:sp>
      <p:sp>
        <p:nvSpPr>
          <p:cNvPr id="82" name="Plassholder for tekst 80">
            <a:extLst>
              <a:ext uri="{FF2B5EF4-FFF2-40B4-BE49-F238E27FC236}">
                <a16:creationId xmlns:a16="http://schemas.microsoft.com/office/drawing/2014/main" id="{AE79262F-1BB6-486C-82B4-750D6048736A}"/>
              </a:ext>
            </a:extLst>
          </p:cNvPr>
          <p:cNvSpPr>
            <a:spLocks noGrp="1"/>
          </p:cNvSpPr>
          <p:nvPr>
            <p:ph type="body" sz="quarter" idx="11" hasCustomPrompt="1"/>
          </p:nvPr>
        </p:nvSpPr>
        <p:spPr>
          <a:xfrm>
            <a:off x="8009848" y="2918164"/>
            <a:ext cx="2979738" cy="1298388"/>
          </a:xfrm>
          <a:prstGeom prst="rect">
            <a:avLst/>
          </a:prstGeom>
        </p:spPr>
        <p:txBody>
          <a:bodyPr anchor="ctr"/>
          <a:lstStyle>
            <a:lvl1pPr marL="0" indent="0" algn="l">
              <a:buNone/>
              <a:defRPr sz="1600" b="1" i="0" baseline="0">
                <a:solidFill>
                  <a:schemeClr val="bg1"/>
                </a:solidFill>
              </a:defRPr>
            </a:lvl1pPr>
          </a:lstStyle>
          <a:p>
            <a:pPr lvl="0"/>
            <a:r>
              <a:rPr lang="en-GB" noProof="0"/>
              <a:t>Example Text Placed In This Blue Box</a:t>
            </a:r>
          </a:p>
        </p:txBody>
      </p:sp>
      <p:sp>
        <p:nvSpPr>
          <p:cNvPr id="83" name="Plassholder for tekst 80">
            <a:extLst>
              <a:ext uri="{FF2B5EF4-FFF2-40B4-BE49-F238E27FC236}">
                <a16:creationId xmlns:a16="http://schemas.microsoft.com/office/drawing/2014/main" id="{405BE05B-D0C3-4A43-9832-D4376E5F50E4}"/>
              </a:ext>
            </a:extLst>
          </p:cNvPr>
          <p:cNvSpPr>
            <a:spLocks noGrp="1"/>
          </p:cNvSpPr>
          <p:nvPr>
            <p:ph type="body" sz="quarter" idx="12" hasCustomPrompt="1"/>
          </p:nvPr>
        </p:nvSpPr>
        <p:spPr>
          <a:xfrm>
            <a:off x="8009848" y="4516826"/>
            <a:ext cx="2979738" cy="1298388"/>
          </a:xfrm>
          <a:prstGeom prst="rect">
            <a:avLst/>
          </a:prstGeom>
        </p:spPr>
        <p:txBody>
          <a:bodyPr anchor="ctr"/>
          <a:lstStyle>
            <a:lvl1pPr marL="0" indent="0" algn="l">
              <a:buNone/>
              <a:defRPr sz="1600" b="1" i="0" baseline="0">
                <a:solidFill>
                  <a:schemeClr val="bg1"/>
                </a:solidFill>
              </a:defRPr>
            </a:lvl1pPr>
          </a:lstStyle>
          <a:p>
            <a:pPr lvl="0"/>
            <a:r>
              <a:rPr lang="en-GB" noProof="0"/>
              <a:t>Example Text Placed In This Blue Box</a:t>
            </a:r>
          </a:p>
        </p:txBody>
      </p:sp>
      <p:sp>
        <p:nvSpPr>
          <p:cNvPr id="91" name="Plassholder for tekst 90">
            <a:extLst>
              <a:ext uri="{FF2B5EF4-FFF2-40B4-BE49-F238E27FC236}">
                <a16:creationId xmlns:a16="http://schemas.microsoft.com/office/drawing/2014/main" id="{068EEC50-49CF-486C-8A3E-CB02713CB666}"/>
              </a:ext>
            </a:extLst>
          </p:cNvPr>
          <p:cNvSpPr>
            <a:spLocks noGrp="1"/>
          </p:cNvSpPr>
          <p:nvPr>
            <p:ph type="body" sz="quarter" idx="13" hasCustomPrompt="1"/>
          </p:nvPr>
        </p:nvSpPr>
        <p:spPr>
          <a:xfrm>
            <a:off x="1099739" y="1329439"/>
            <a:ext cx="4376736" cy="1176338"/>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3600" b="0" i="0" cap="all" baseline="0">
                <a:solidFill>
                  <a:schemeClr val="bg1"/>
                </a:solidFill>
                <a:latin typeface="Helvetica"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noFill/>
                </a:ln>
                <a:solidFill>
                  <a:prstClr val="white"/>
                </a:solidFill>
                <a:effectLst/>
                <a:uLnTx/>
                <a:uFillTx/>
                <a:latin typeface="Arial" panose="020B0604020202020204" pitchFamily="34" charset="0"/>
                <a:ea typeface="Roboto Cn" panose="02000000000000000000" pitchFamily="2" charset="0"/>
                <a:cs typeface="Arial" panose="020B0604020202020204" pitchFamily="34" charset="0"/>
              </a:rPr>
              <a:t>PRESENTATION TITLE HERE</a:t>
            </a:r>
          </a:p>
          <a:p>
            <a:pPr lvl="0"/>
            <a:endParaRPr lang="en-GB" noProof="0"/>
          </a:p>
        </p:txBody>
      </p:sp>
      <p:sp>
        <p:nvSpPr>
          <p:cNvPr id="93" name="Plassholder for tekst 92">
            <a:extLst>
              <a:ext uri="{FF2B5EF4-FFF2-40B4-BE49-F238E27FC236}">
                <a16:creationId xmlns:a16="http://schemas.microsoft.com/office/drawing/2014/main" id="{BCF18026-5F87-4FCB-AB7A-C2C61F8A2C3A}"/>
              </a:ext>
            </a:extLst>
          </p:cNvPr>
          <p:cNvSpPr>
            <a:spLocks noGrp="1"/>
          </p:cNvSpPr>
          <p:nvPr>
            <p:ph type="body" sz="quarter" idx="14" hasCustomPrompt="1"/>
          </p:nvPr>
        </p:nvSpPr>
        <p:spPr>
          <a:xfrm>
            <a:off x="1099738" y="2856555"/>
            <a:ext cx="4376737" cy="744537"/>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000" b="0" i="0" baseline="0">
                <a:solidFill>
                  <a:schemeClr val="accent2"/>
                </a:solidFill>
                <a:latin typeface="Helvetica"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B800"/>
                </a:solidFill>
                <a:effectLst/>
                <a:uLnTx/>
                <a:uFillTx/>
                <a:latin typeface="Arial" panose="020B0604020202020204" pitchFamily="34" charset="0"/>
                <a:ea typeface="Roboto Cn" panose="02000000000000000000" pitchFamily="2" charset="0"/>
                <a:cs typeface="Arial" panose="020B0604020202020204" pitchFamily="34" charset="0"/>
              </a:rPr>
              <a:t>Expertise You Need. Service You Deserve!</a:t>
            </a:r>
          </a:p>
          <a:p>
            <a:pPr lvl="0"/>
            <a:endParaRPr lang="en-GB" noProof="0"/>
          </a:p>
        </p:txBody>
      </p:sp>
      <p:sp>
        <p:nvSpPr>
          <p:cNvPr id="95" name="Plassholder for tekst 94">
            <a:extLst>
              <a:ext uri="{FF2B5EF4-FFF2-40B4-BE49-F238E27FC236}">
                <a16:creationId xmlns:a16="http://schemas.microsoft.com/office/drawing/2014/main" id="{4A7BCC36-BF2F-4D90-A16A-8532CBC4FD0B}"/>
              </a:ext>
            </a:extLst>
          </p:cNvPr>
          <p:cNvSpPr>
            <a:spLocks noGrp="1"/>
          </p:cNvSpPr>
          <p:nvPr>
            <p:ph type="body" sz="quarter" idx="15" hasCustomPrompt="1"/>
          </p:nvPr>
        </p:nvSpPr>
        <p:spPr>
          <a:xfrm>
            <a:off x="1099738" y="3951870"/>
            <a:ext cx="4376737" cy="1666875"/>
          </a:xfrm>
          <a:prstGeom prst="rect">
            <a:avLst/>
          </a:prstGeom>
        </p:spPr>
        <p:txBody>
          <a:bodyPr/>
          <a:lstStyle>
            <a:lvl1pPr marL="0" marR="0" indent="0" algn="l" defTabSz="914400" rtl="0" eaLnBrk="1" fontAlgn="auto" latinLnBrk="0" hangingPunct="1">
              <a:lnSpc>
                <a:spcPct val="150000"/>
              </a:lnSpc>
              <a:spcBef>
                <a:spcPts val="0"/>
              </a:spcBef>
              <a:spcAft>
                <a:spcPts val="0"/>
              </a:spcAft>
              <a:buClrTx/>
              <a:buSzTx/>
              <a:buFontTx/>
              <a:buNone/>
              <a:tabLst/>
              <a:defRPr sz="1400" b="0" i="0" baseline="0">
                <a:solidFill>
                  <a:schemeClr val="bg1"/>
                </a:solidFill>
                <a:latin typeface="Helvetica" pitchFamily="2" charset="0"/>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Lorem ipsum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dolor</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si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ame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consectetur</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adipiscing</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eli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Pellentes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sceleris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malesuada</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libero a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pellentes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Morbi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orci</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dui, fermentum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ege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lectus</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ornar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viverra</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dignissim</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risus</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Donec lacinia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ne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non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veli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dictum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tincidun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p>
          <a:p>
            <a:pPr lvl="0"/>
            <a:endParaRPr lang="en-GB" noProof="0"/>
          </a:p>
        </p:txBody>
      </p:sp>
      <p:pic>
        <p:nvPicPr>
          <p:cNvPr id="16" name="Bilde 15">
            <a:extLst>
              <a:ext uri="{FF2B5EF4-FFF2-40B4-BE49-F238E27FC236}">
                <a16:creationId xmlns:a16="http://schemas.microsoft.com/office/drawing/2014/main" id="{29D35E70-F39D-4934-9848-99D886FC2D5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5121" y="409575"/>
            <a:ext cx="1825937" cy="319232"/>
          </a:xfrm>
          <a:prstGeom prst="rect">
            <a:avLst/>
          </a:prstGeom>
        </p:spPr>
      </p:pic>
      <p:sp>
        <p:nvSpPr>
          <p:cNvPr id="17" name="Plassholder for lysbildenummer 38">
            <a:extLst>
              <a:ext uri="{FF2B5EF4-FFF2-40B4-BE49-F238E27FC236}">
                <a16:creationId xmlns:a16="http://schemas.microsoft.com/office/drawing/2014/main" id="{D4856D3A-B260-4FAC-9085-8367BED24672}"/>
              </a:ext>
            </a:extLst>
          </p:cNvPr>
          <p:cNvSpPr>
            <a:spLocks noGrp="1"/>
          </p:cNvSpPr>
          <p:nvPr>
            <p:ph type="sldNum" sz="quarter" idx="4"/>
          </p:nvPr>
        </p:nvSpPr>
        <p:spPr>
          <a:xfrm>
            <a:off x="0" y="6438839"/>
            <a:ext cx="838200" cy="319232"/>
          </a:xfrm>
          <a:prstGeom prst="rect">
            <a:avLst/>
          </a:prstGeom>
        </p:spPr>
        <p:txBody>
          <a:bodyPr vert="horz" lIns="91440" tIns="45720" rIns="91440" bIns="45720" rtlCol="0" anchor="t"/>
          <a:lstStyle>
            <a:lvl1pPr algn="ctr">
              <a:defRPr sz="1000">
                <a:solidFill>
                  <a:schemeClr val="bg1"/>
                </a:solidFill>
              </a:defRPr>
            </a:lvl1pPr>
          </a:lstStyle>
          <a:p>
            <a:fld id="{EDFF9B70-FADC-4CC7-9FFB-4C4965B0F731}" type="slidenum">
              <a:rPr lang="en-GB" smtClean="0"/>
              <a:pPr/>
              <a:t>‹#›</a:t>
            </a:fld>
            <a:endParaRPr lang="en-GB"/>
          </a:p>
        </p:txBody>
      </p:sp>
    </p:spTree>
    <p:extLst>
      <p:ext uri="{BB962C8B-B14F-4D97-AF65-F5344CB8AC3E}">
        <p14:creationId xmlns:p14="http://schemas.microsoft.com/office/powerpoint/2010/main" val="1129486817"/>
      </p:ext>
    </p:extLst>
  </p:cSld>
  <p:clrMapOvr>
    <a:masterClrMapping/>
  </p:clrMapOvr>
  <p:transition spd="slow">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ripple text blue, Picture right">
    <p:spTree>
      <p:nvGrpSpPr>
        <p:cNvPr id="1" name=""/>
        <p:cNvGrpSpPr/>
        <p:nvPr/>
      </p:nvGrpSpPr>
      <p:grpSpPr>
        <a:xfrm>
          <a:off x="0" y="0"/>
          <a:ext cx="0" cy="0"/>
          <a:chOff x="0" y="0"/>
          <a:chExt cx="0" cy="0"/>
        </a:xfrm>
      </p:grpSpPr>
      <p:sp>
        <p:nvSpPr>
          <p:cNvPr id="15" name="!!Yellow">
            <a:extLst>
              <a:ext uri="{FF2B5EF4-FFF2-40B4-BE49-F238E27FC236}">
                <a16:creationId xmlns:a16="http://schemas.microsoft.com/office/drawing/2014/main" id="{9DDBFCB6-9A16-4017-89D6-D0CD3ED819BF}"/>
              </a:ext>
            </a:extLst>
          </p:cNvPr>
          <p:cNvSpPr/>
          <p:nvPr userDrawn="1"/>
        </p:nvSpPr>
        <p:spPr>
          <a:xfrm>
            <a:off x="5768468" y="6106160"/>
            <a:ext cx="655064" cy="660400"/>
          </a:xfrm>
          <a:prstGeom prst="ellipse">
            <a:avLst/>
          </a:prstGeom>
          <a:solidFill>
            <a:srgbClr val="FF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2" name="!!Blue">
            <a:extLst>
              <a:ext uri="{FF2B5EF4-FFF2-40B4-BE49-F238E27FC236}">
                <a16:creationId xmlns:a16="http://schemas.microsoft.com/office/drawing/2014/main" id="{D80BBC2E-59FA-49D3-BCF1-FBBF6EC27095}"/>
              </a:ext>
            </a:extLst>
          </p:cNvPr>
          <p:cNvSpPr/>
          <p:nvPr userDrawn="1"/>
        </p:nvSpPr>
        <p:spPr>
          <a:xfrm>
            <a:off x="1478" y="1225116"/>
            <a:ext cx="6096000" cy="5205730"/>
          </a:xfrm>
          <a:prstGeom prst="rect">
            <a:avLst/>
          </a:prstGeom>
          <a:solidFill>
            <a:srgbClr val="141E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9" name="Header">
            <a:extLst>
              <a:ext uri="{FF2B5EF4-FFF2-40B4-BE49-F238E27FC236}">
                <a16:creationId xmlns:a16="http://schemas.microsoft.com/office/drawing/2014/main" id="{29346A2D-3E07-45A3-89FD-E887FEDCED6F}"/>
              </a:ext>
            </a:extLst>
          </p:cNvPr>
          <p:cNvSpPr>
            <a:spLocks noGrp="1"/>
          </p:cNvSpPr>
          <p:nvPr>
            <p:ph type="body" sz="quarter" idx="11" hasCustomPrompt="1"/>
          </p:nvPr>
        </p:nvSpPr>
        <p:spPr>
          <a:xfrm>
            <a:off x="765748" y="1876014"/>
            <a:ext cx="4776788" cy="1150938"/>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3600" b="0" i="0" cap="all" baseline="0">
                <a:solidFill>
                  <a:schemeClr val="bg1"/>
                </a:solidFill>
                <a:latin typeface="Helvetica"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noFill/>
                </a:ln>
                <a:solidFill>
                  <a:prstClr val="white"/>
                </a:solidFill>
                <a:effectLst/>
                <a:uLnTx/>
                <a:uFillTx/>
                <a:latin typeface="Arial" panose="020B0604020202020204" pitchFamily="34" charset="0"/>
                <a:ea typeface="Roboto Cn" panose="02000000000000000000" pitchFamily="2" charset="0"/>
                <a:cs typeface="Arial" panose="020B0604020202020204" pitchFamily="34" charset="0"/>
              </a:rPr>
              <a:t>PRESENTATION TITLE HERE</a:t>
            </a:r>
          </a:p>
          <a:p>
            <a:pPr lvl="0"/>
            <a:endParaRPr lang="en-GB" noProof="0"/>
          </a:p>
        </p:txBody>
      </p:sp>
      <p:sp>
        <p:nvSpPr>
          <p:cNvPr id="11" name="Title 2">
            <a:extLst>
              <a:ext uri="{FF2B5EF4-FFF2-40B4-BE49-F238E27FC236}">
                <a16:creationId xmlns:a16="http://schemas.microsoft.com/office/drawing/2014/main" id="{9DE104A3-8AD8-404F-B4D4-43984E57A19F}"/>
              </a:ext>
            </a:extLst>
          </p:cNvPr>
          <p:cNvSpPr>
            <a:spLocks noGrp="1"/>
          </p:cNvSpPr>
          <p:nvPr>
            <p:ph type="body" sz="quarter" idx="12" hasCustomPrompt="1"/>
          </p:nvPr>
        </p:nvSpPr>
        <p:spPr>
          <a:xfrm>
            <a:off x="765748" y="3720837"/>
            <a:ext cx="4776788" cy="398462"/>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000" b="0" i="0" baseline="0">
                <a:solidFill>
                  <a:schemeClr val="accent2"/>
                </a:solidFill>
                <a:latin typeface="Helvetica"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B800"/>
                </a:solidFill>
                <a:effectLst/>
                <a:uLnTx/>
                <a:uFillTx/>
                <a:latin typeface="Arial" panose="020B0604020202020204" pitchFamily="34" charset="0"/>
                <a:ea typeface="Roboto Cn" panose="02000000000000000000" pitchFamily="2" charset="0"/>
                <a:cs typeface="Arial" panose="020B0604020202020204" pitchFamily="34" charset="0"/>
              </a:rPr>
              <a:t>Expertise You Need. Service Deserve!</a:t>
            </a:r>
          </a:p>
          <a:p>
            <a:pPr lvl="0"/>
            <a:endParaRPr lang="en-GB" noProof="0"/>
          </a:p>
        </p:txBody>
      </p:sp>
      <p:sp>
        <p:nvSpPr>
          <p:cNvPr id="13" name="Areal">
            <a:extLst>
              <a:ext uri="{FF2B5EF4-FFF2-40B4-BE49-F238E27FC236}">
                <a16:creationId xmlns:a16="http://schemas.microsoft.com/office/drawing/2014/main" id="{C7F0813F-88A4-40AF-8C82-58B9C039A723}"/>
              </a:ext>
            </a:extLst>
          </p:cNvPr>
          <p:cNvSpPr>
            <a:spLocks noGrp="1"/>
          </p:cNvSpPr>
          <p:nvPr>
            <p:ph type="body" sz="quarter" idx="13" hasCustomPrompt="1"/>
          </p:nvPr>
        </p:nvSpPr>
        <p:spPr>
          <a:xfrm>
            <a:off x="754521" y="4246997"/>
            <a:ext cx="4788015" cy="1607750"/>
          </a:xfrm>
          <a:prstGeom prst="rect">
            <a:avLst/>
          </a:prstGeom>
        </p:spPr>
        <p:txBody>
          <a:bodyPr/>
          <a:lstStyle>
            <a:lvl1pPr marL="0" marR="0" indent="0" algn="l" defTabSz="914400" rtl="0" eaLnBrk="1" fontAlgn="auto" latinLnBrk="0" hangingPunct="1">
              <a:lnSpc>
                <a:spcPct val="150000"/>
              </a:lnSpc>
              <a:spcBef>
                <a:spcPts val="0"/>
              </a:spcBef>
              <a:spcAft>
                <a:spcPts val="0"/>
              </a:spcAft>
              <a:buClrTx/>
              <a:buSzTx/>
              <a:buFontTx/>
              <a:buNone/>
              <a:tabLst/>
              <a:defRPr sz="1400" b="0" i="0" baseline="0">
                <a:solidFill>
                  <a:schemeClr val="bg1"/>
                </a:solidFill>
                <a:latin typeface="Helvetica" pitchFamily="2" charset="0"/>
                <a:cs typeface="Arial" panose="020B0604020202020204" pitchFamily="34" charset="0"/>
              </a:defRPr>
            </a:lvl1pPr>
          </a:lstStyle>
          <a:p>
            <a:pPr lvl="0"/>
            <a:r>
              <a:rPr lang="en-GB" noProof="0"/>
              <a:t>Lorem ipsum </a:t>
            </a:r>
            <a:r>
              <a:rPr lang="en-GB" noProof="0" err="1"/>
              <a:t>dolor</a:t>
            </a:r>
            <a:r>
              <a:rPr lang="en-GB" noProof="0"/>
              <a:t> sit </a:t>
            </a:r>
            <a:r>
              <a:rPr lang="en-GB" noProof="0" err="1"/>
              <a:t>amet</a:t>
            </a:r>
            <a:r>
              <a:rPr lang="en-GB" noProof="0"/>
              <a:t>, </a:t>
            </a:r>
            <a:r>
              <a:rPr lang="en-GB" noProof="0" err="1"/>
              <a:t>consectetur</a:t>
            </a:r>
            <a:r>
              <a:rPr lang="en-GB" noProof="0"/>
              <a:t> </a:t>
            </a:r>
            <a:r>
              <a:rPr lang="en-GB" noProof="0" err="1"/>
              <a:t>adipiscing</a:t>
            </a:r>
            <a:r>
              <a:rPr lang="en-GB" noProof="0"/>
              <a:t> </a:t>
            </a:r>
            <a:r>
              <a:rPr lang="en-GB" noProof="0" err="1"/>
              <a:t>elit</a:t>
            </a:r>
            <a:r>
              <a:rPr lang="en-GB" noProof="0"/>
              <a:t>. </a:t>
            </a:r>
            <a:r>
              <a:rPr lang="en-GB" noProof="0" err="1"/>
              <a:t>Pellentesque</a:t>
            </a:r>
            <a:r>
              <a:rPr lang="en-GB" noProof="0"/>
              <a:t> </a:t>
            </a:r>
            <a:r>
              <a:rPr lang="en-GB" noProof="0" err="1"/>
              <a:t>scelerisque</a:t>
            </a:r>
            <a:r>
              <a:rPr lang="en-GB" noProof="0"/>
              <a:t> </a:t>
            </a:r>
            <a:r>
              <a:rPr lang="en-GB" noProof="0" err="1"/>
              <a:t>malesuada</a:t>
            </a:r>
            <a:r>
              <a:rPr lang="en-GB" noProof="0"/>
              <a:t> libero a </a:t>
            </a:r>
            <a:r>
              <a:rPr lang="en-GB" noProof="0" err="1"/>
              <a:t>pellentesque</a:t>
            </a:r>
            <a:r>
              <a:rPr lang="en-GB" noProof="0"/>
              <a:t>. Morbi </a:t>
            </a:r>
            <a:r>
              <a:rPr lang="en-GB" noProof="0" err="1"/>
              <a:t>orci</a:t>
            </a:r>
            <a:r>
              <a:rPr lang="en-GB" noProof="0"/>
              <a:t> dui, fermentum </a:t>
            </a:r>
            <a:r>
              <a:rPr lang="en-GB" noProof="0" err="1"/>
              <a:t>eget</a:t>
            </a:r>
            <a:r>
              <a:rPr lang="en-GB" noProof="0"/>
              <a:t> </a:t>
            </a:r>
            <a:r>
              <a:rPr lang="en-GB" noProof="0" err="1"/>
              <a:t>lectus</a:t>
            </a:r>
            <a:r>
              <a:rPr lang="en-GB" noProof="0"/>
              <a:t> </a:t>
            </a:r>
            <a:r>
              <a:rPr lang="en-GB" noProof="0" err="1"/>
              <a:t>ornare</a:t>
            </a:r>
            <a:r>
              <a:rPr lang="en-GB" noProof="0"/>
              <a:t>, </a:t>
            </a:r>
            <a:r>
              <a:rPr lang="en-GB" noProof="0" err="1"/>
              <a:t>viverra</a:t>
            </a:r>
            <a:r>
              <a:rPr lang="en-GB" noProof="0"/>
              <a:t> </a:t>
            </a:r>
            <a:r>
              <a:rPr lang="en-GB" noProof="0" err="1"/>
              <a:t>dignissim</a:t>
            </a:r>
            <a:r>
              <a:rPr lang="en-GB" noProof="0"/>
              <a:t> </a:t>
            </a:r>
            <a:r>
              <a:rPr lang="en-GB" noProof="0" err="1"/>
              <a:t>risus</a:t>
            </a:r>
            <a:r>
              <a:rPr lang="en-GB" noProof="0"/>
              <a:t>. Donec lacinia </a:t>
            </a:r>
            <a:r>
              <a:rPr lang="en-GB" noProof="0" err="1"/>
              <a:t>neque</a:t>
            </a:r>
            <a:r>
              <a:rPr lang="en-GB" noProof="0"/>
              <a:t> non </a:t>
            </a:r>
            <a:r>
              <a:rPr lang="en-GB" noProof="0" err="1"/>
              <a:t>velit</a:t>
            </a:r>
            <a:r>
              <a:rPr lang="en-GB" noProof="0"/>
              <a:t> dictum </a:t>
            </a:r>
            <a:r>
              <a:rPr lang="en-GB" noProof="0" err="1"/>
              <a:t>tincidunt</a:t>
            </a:r>
            <a:r>
              <a:rPr lang="en-GB" noProof="0"/>
              <a:t>. </a:t>
            </a:r>
          </a:p>
          <a:p>
            <a:pPr lvl="0"/>
            <a:endParaRPr lang="en-GB" noProof="0"/>
          </a:p>
        </p:txBody>
      </p:sp>
      <p:sp>
        <p:nvSpPr>
          <p:cNvPr id="4" name="Picture Placeholder 2">
            <a:extLst>
              <a:ext uri="{FF2B5EF4-FFF2-40B4-BE49-F238E27FC236}">
                <a16:creationId xmlns:a16="http://schemas.microsoft.com/office/drawing/2014/main" id="{E0485679-9E2E-4D7F-A94F-FF7E814EBFAF}"/>
              </a:ext>
            </a:extLst>
          </p:cNvPr>
          <p:cNvSpPr>
            <a:spLocks noGrp="1"/>
          </p:cNvSpPr>
          <p:nvPr>
            <p:ph type="pic" sz="quarter" idx="10" hasCustomPrompt="1"/>
          </p:nvPr>
        </p:nvSpPr>
        <p:spPr>
          <a:xfrm>
            <a:off x="6096000" y="1225550"/>
            <a:ext cx="6096000" cy="5205730"/>
          </a:xfrm>
          <a:prstGeom prst="rect">
            <a:avLst/>
          </a:prstGeom>
          <a:solidFill>
            <a:schemeClr val="bg1">
              <a:lumMod val="95000"/>
            </a:schemeClr>
          </a:solidFill>
        </p:spPr>
        <p:txBody>
          <a:bodyPr/>
          <a:lstStyle>
            <a:lvl1pPr marL="0" indent="0">
              <a:buNone/>
              <a:defRPr sz="1800" b="0" i="0">
                <a:solidFill>
                  <a:schemeClr val="bg1">
                    <a:lumMod val="50000"/>
                  </a:schemeClr>
                </a:solidFill>
                <a:latin typeface="Helvetica" pitchFamily="2" charset="0"/>
                <a:ea typeface="Open Sans" panose="020B0606030504020204" pitchFamily="34" charset="0"/>
                <a:cs typeface="Open Sans" panose="020B0606030504020204" pitchFamily="34" charset="0"/>
              </a:defRPr>
            </a:lvl1pPr>
          </a:lstStyle>
          <a:p>
            <a:r>
              <a:rPr lang="en-GB" noProof="0"/>
              <a:t>Image Placeholder</a:t>
            </a:r>
          </a:p>
        </p:txBody>
      </p:sp>
      <p:pic>
        <p:nvPicPr>
          <p:cNvPr id="10" name="Bilde 9">
            <a:extLst>
              <a:ext uri="{FF2B5EF4-FFF2-40B4-BE49-F238E27FC236}">
                <a16:creationId xmlns:a16="http://schemas.microsoft.com/office/drawing/2014/main" id="{0956E12F-149B-433C-91D9-787EB7C50C8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8749" y="409861"/>
            <a:ext cx="1825937" cy="319232"/>
          </a:xfrm>
          <a:prstGeom prst="rect">
            <a:avLst/>
          </a:prstGeom>
        </p:spPr>
      </p:pic>
      <p:sp>
        <p:nvSpPr>
          <p:cNvPr id="12" name="Plassholder for lysbildenummer 38">
            <a:extLst>
              <a:ext uri="{FF2B5EF4-FFF2-40B4-BE49-F238E27FC236}">
                <a16:creationId xmlns:a16="http://schemas.microsoft.com/office/drawing/2014/main" id="{F393B7BA-E1CA-4846-A2E9-9A22E7811EEC}"/>
              </a:ext>
            </a:extLst>
          </p:cNvPr>
          <p:cNvSpPr>
            <a:spLocks noGrp="1"/>
          </p:cNvSpPr>
          <p:nvPr>
            <p:ph type="sldNum" sz="quarter" idx="4"/>
          </p:nvPr>
        </p:nvSpPr>
        <p:spPr>
          <a:xfrm>
            <a:off x="0" y="6438839"/>
            <a:ext cx="838200" cy="319232"/>
          </a:xfrm>
          <a:prstGeom prst="rect">
            <a:avLst/>
          </a:prstGeom>
        </p:spPr>
        <p:txBody>
          <a:bodyPr vert="horz" lIns="91440" tIns="45720" rIns="91440" bIns="45720" rtlCol="0" anchor="t"/>
          <a:lstStyle>
            <a:lvl1pPr algn="ctr">
              <a:defRPr sz="1000">
                <a:solidFill>
                  <a:srgbClr val="1B1B1B"/>
                </a:solidFill>
              </a:defRPr>
            </a:lvl1pPr>
          </a:lstStyle>
          <a:p>
            <a:fld id="{EDFF9B70-FADC-4CC7-9FFB-4C4965B0F731}" type="slidenum">
              <a:rPr lang="en-GB" smtClean="0"/>
              <a:pPr/>
              <a:t>‹#›</a:t>
            </a:fld>
            <a:endParaRPr lang="en-GB"/>
          </a:p>
        </p:txBody>
      </p:sp>
    </p:spTree>
    <p:extLst>
      <p:ext uri="{BB962C8B-B14F-4D97-AF65-F5344CB8AC3E}">
        <p14:creationId xmlns:p14="http://schemas.microsoft.com/office/powerpoint/2010/main" val="1436727233"/>
      </p:ext>
    </p:extLst>
  </p:cSld>
  <p:clrMapOvr>
    <a:masterClrMapping/>
  </p:clrMapOvr>
  <p:transition spd="slow">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Egendefinert oppsett">
    <p:spTree>
      <p:nvGrpSpPr>
        <p:cNvPr id="1" name=""/>
        <p:cNvGrpSpPr/>
        <p:nvPr/>
      </p:nvGrpSpPr>
      <p:grpSpPr>
        <a:xfrm>
          <a:off x="0" y="0"/>
          <a:ext cx="0" cy="0"/>
          <a:chOff x="0" y="0"/>
          <a:chExt cx="0" cy="0"/>
        </a:xfrm>
      </p:grpSpPr>
      <p:sp>
        <p:nvSpPr>
          <p:cNvPr id="3" name="Rectangle 36">
            <a:extLst>
              <a:ext uri="{FF2B5EF4-FFF2-40B4-BE49-F238E27FC236}">
                <a16:creationId xmlns:a16="http://schemas.microsoft.com/office/drawing/2014/main" id="{0779484C-44B2-4F03-A7E1-5835EDEACAEB}"/>
              </a:ext>
            </a:extLst>
          </p:cNvPr>
          <p:cNvSpPr/>
          <p:nvPr userDrawn="1"/>
        </p:nvSpPr>
        <p:spPr>
          <a:xfrm>
            <a:off x="0" y="0"/>
            <a:ext cx="12192000" cy="6858000"/>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2" name="Tittel 1">
            <a:extLst>
              <a:ext uri="{FF2B5EF4-FFF2-40B4-BE49-F238E27FC236}">
                <a16:creationId xmlns:a16="http://schemas.microsoft.com/office/drawing/2014/main" id="{6822AA02-8C03-40CD-9EE0-7B885B81B0DB}"/>
              </a:ext>
            </a:extLst>
          </p:cNvPr>
          <p:cNvSpPr>
            <a:spLocks noGrp="1"/>
          </p:cNvSpPr>
          <p:nvPr>
            <p:ph type="title"/>
          </p:nvPr>
        </p:nvSpPr>
        <p:spPr>
          <a:xfrm>
            <a:off x="838200" y="365126"/>
            <a:ext cx="10515600" cy="687890"/>
          </a:xfrm>
        </p:spPr>
        <p:txBody>
          <a:bodyPr anchor="t"/>
          <a:lstStyle>
            <a:lvl1pPr>
              <a:defRPr b="0" i="0">
                <a:solidFill>
                  <a:schemeClr val="bg1"/>
                </a:solidFill>
              </a:defRPr>
            </a:lvl1pPr>
          </a:lstStyle>
          <a:p>
            <a:r>
              <a:rPr lang="nb-NO"/>
              <a:t>Klikk for å redigere tittelstil</a:t>
            </a:r>
            <a:endParaRPr lang="en-GB"/>
          </a:p>
        </p:txBody>
      </p:sp>
      <p:pic>
        <p:nvPicPr>
          <p:cNvPr id="4" name="Bilde 3">
            <a:extLst>
              <a:ext uri="{FF2B5EF4-FFF2-40B4-BE49-F238E27FC236}">
                <a16:creationId xmlns:a16="http://schemas.microsoft.com/office/drawing/2014/main" id="{E31B1763-1A1D-4D26-8058-CAFE7A91A60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2521" y="6429313"/>
            <a:ext cx="1825937" cy="319232"/>
          </a:xfrm>
          <a:prstGeom prst="rect">
            <a:avLst/>
          </a:prstGeom>
        </p:spPr>
      </p:pic>
      <p:sp>
        <p:nvSpPr>
          <p:cNvPr id="7" name="Plassholder for tekst 6">
            <a:extLst>
              <a:ext uri="{FF2B5EF4-FFF2-40B4-BE49-F238E27FC236}">
                <a16:creationId xmlns:a16="http://schemas.microsoft.com/office/drawing/2014/main" id="{E20D7C70-F624-45F4-9930-59C1FD488BED}"/>
              </a:ext>
            </a:extLst>
          </p:cNvPr>
          <p:cNvSpPr>
            <a:spLocks noGrp="1"/>
          </p:cNvSpPr>
          <p:nvPr>
            <p:ph type="body" sz="quarter" idx="10" hasCustomPrompt="1"/>
          </p:nvPr>
        </p:nvSpPr>
        <p:spPr>
          <a:xfrm>
            <a:off x="838200" y="6429314"/>
            <a:ext cx="9100779" cy="319232"/>
          </a:xfrm>
        </p:spPr>
        <p:txBody>
          <a:bodyPr>
            <a:noAutofit/>
          </a:bodyPr>
          <a:lstStyle>
            <a:lvl1pPr marL="0" indent="0">
              <a:lnSpc>
                <a:spcPct val="100000"/>
              </a:lnSpc>
              <a:spcBef>
                <a:spcPts val="0"/>
              </a:spcBef>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nb-NO"/>
              <a:t>Source</a:t>
            </a:r>
          </a:p>
        </p:txBody>
      </p:sp>
      <p:sp>
        <p:nvSpPr>
          <p:cNvPr id="8" name="Content Placeholder 2">
            <a:extLst>
              <a:ext uri="{FF2B5EF4-FFF2-40B4-BE49-F238E27FC236}">
                <a16:creationId xmlns:a16="http://schemas.microsoft.com/office/drawing/2014/main" id="{48A29F43-191D-4EFA-A55E-FD99DB4B1535}"/>
              </a:ext>
            </a:extLst>
          </p:cNvPr>
          <p:cNvSpPr>
            <a:spLocks noGrp="1"/>
          </p:cNvSpPr>
          <p:nvPr>
            <p:ph idx="1" hasCustomPrompt="1"/>
          </p:nvPr>
        </p:nvSpPr>
        <p:spPr>
          <a:xfrm>
            <a:off x="838200" y="1187952"/>
            <a:ext cx="10515600"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Clr>
                <a:schemeClr val="bg1"/>
              </a:buClr>
              <a:buFont typeface="Arial" panose="020B0604020202020204" pitchFamily="34" charset="0"/>
              <a:buNone/>
              <a:defRPr sz="2400" b="0" i="0" kern="1200">
                <a:solidFill>
                  <a:schemeClr val="bg1"/>
                </a:solidFill>
                <a:latin typeface="Helvetica"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buClr>
              <a:buFont typeface="Arial" panose="020B0604020202020204" pitchFamily="34" charset="0"/>
              <a:buChar char="•"/>
              <a:defRPr sz="2000" b="0" i="0" kern="1200">
                <a:solidFill>
                  <a:schemeClr val="bg1"/>
                </a:solidFill>
                <a:latin typeface="Helvetica"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buClr>
              <a:buFont typeface="Arial" panose="020B0604020202020204" pitchFamily="34" charset="0"/>
              <a:buChar char="•"/>
              <a:defRPr sz="1800" b="0" i="0" kern="1200">
                <a:solidFill>
                  <a:schemeClr val="bg1"/>
                </a:solidFill>
                <a:latin typeface="Helvetica"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buClr>
              <a:buFont typeface="Arial" panose="020B0604020202020204" pitchFamily="34" charset="0"/>
              <a:buChar char="•"/>
              <a:defRPr sz="1600" b="0" i="0" kern="1200">
                <a:solidFill>
                  <a:schemeClr val="bg1"/>
                </a:solidFill>
                <a:latin typeface="Helvetica"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buClr>
              <a:buFont typeface="Arial" panose="020B0604020202020204" pitchFamily="34" charset="0"/>
              <a:buChar char="•"/>
              <a:defRPr sz="1600" b="0" i="0" kern="1200">
                <a:solidFill>
                  <a:schemeClr val="bg1"/>
                </a:solidFill>
                <a:latin typeface="Helvetica"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Plassholder for lysbildenummer 38">
            <a:extLst>
              <a:ext uri="{FF2B5EF4-FFF2-40B4-BE49-F238E27FC236}">
                <a16:creationId xmlns:a16="http://schemas.microsoft.com/office/drawing/2014/main" id="{A26060F6-08DA-4BB4-A47D-A478D92341C8}"/>
              </a:ext>
            </a:extLst>
          </p:cNvPr>
          <p:cNvSpPr>
            <a:spLocks noGrp="1"/>
          </p:cNvSpPr>
          <p:nvPr>
            <p:ph type="sldNum" sz="quarter" idx="4"/>
          </p:nvPr>
        </p:nvSpPr>
        <p:spPr>
          <a:xfrm>
            <a:off x="0" y="6438839"/>
            <a:ext cx="838200" cy="319232"/>
          </a:xfrm>
          <a:prstGeom prst="rect">
            <a:avLst/>
          </a:prstGeom>
        </p:spPr>
        <p:txBody>
          <a:bodyPr vert="horz" lIns="91440" tIns="45720" rIns="91440" bIns="45720" rtlCol="0" anchor="t"/>
          <a:lstStyle>
            <a:lvl1pPr algn="ctr">
              <a:defRPr sz="1000">
                <a:solidFill>
                  <a:schemeClr val="bg1"/>
                </a:solidFill>
              </a:defRPr>
            </a:lvl1pPr>
          </a:lstStyle>
          <a:p>
            <a:fld id="{EDFF9B70-FADC-4CC7-9FFB-4C4965B0F731}" type="slidenum">
              <a:rPr lang="en-GB" smtClean="0"/>
              <a:pPr/>
              <a:t>‹#›</a:t>
            </a:fld>
            <a:endParaRPr lang="en-GB"/>
          </a:p>
        </p:txBody>
      </p:sp>
    </p:spTree>
    <p:extLst>
      <p:ext uri="{BB962C8B-B14F-4D97-AF65-F5344CB8AC3E}">
        <p14:creationId xmlns:p14="http://schemas.microsoft.com/office/powerpoint/2010/main" val="140907439"/>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grpSp>
        <p:nvGrpSpPr>
          <p:cNvPr id="25" name="Group 24">
            <a:extLst>
              <a:ext uri="{FF2B5EF4-FFF2-40B4-BE49-F238E27FC236}">
                <a16:creationId xmlns:a16="http://schemas.microsoft.com/office/drawing/2014/main" id="{6DEF82C5-480D-954F-B095-FD483D7FEEB4}"/>
              </a:ext>
            </a:extLst>
          </p:cNvPr>
          <p:cNvGrpSpPr/>
          <p:nvPr/>
        </p:nvGrpSpPr>
        <p:grpSpPr>
          <a:xfrm>
            <a:off x="731838" y="4085429"/>
            <a:ext cx="5202388" cy="1070771"/>
            <a:chOff x="558332" y="2312872"/>
            <a:chExt cx="5202388" cy="756000"/>
          </a:xfrm>
        </p:grpSpPr>
        <p:sp>
          <p:nvSpPr>
            <p:cNvPr id="26" name="Rectangle 25">
              <a:extLst>
                <a:ext uri="{FF2B5EF4-FFF2-40B4-BE49-F238E27FC236}">
                  <a16:creationId xmlns:a16="http://schemas.microsoft.com/office/drawing/2014/main" id="{7E68816F-8ED8-F14C-9463-BC5BE746F915}"/>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4813DECF-DB9F-1D41-BF9F-AB28D2D0FFA9}"/>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86060DA3-1C3F-574A-B441-7E66952FAF26}"/>
              </a:ext>
            </a:extLst>
          </p:cNvPr>
          <p:cNvGrpSpPr/>
          <p:nvPr/>
        </p:nvGrpSpPr>
        <p:grpSpPr>
          <a:xfrm>
            <a:off x="731838" y="2892118"/>
            <a:ext cx="5202388" cy="1070771"/>
            <a:chOff x="558332" y="2312872"/>
            <a:chExt cx="5202388" cy="756000"/>
          </a:xfrm>
        </p:grpSpPr>
        <p:sp>
          <p:nvSpPr>
            <p:cNvPr id="30" name="Rectangle 29">
              <a:extLst>
                <a:ext uri="{FF2B5EF4-FFF2-40B4-BE49-F238E27FC236}">
                  <a16:creationId xmlns:a16="http://schemas.microsoft.com/office/drawing/2014/main" id="{6B36066D-F13C-AE43-8952-9366B8A0D7AC}"/>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Straight Connector 30">
              <a:extLst>
                <a:ext uri="{FF2B5EF4-FFF2-40B4-BE49-F238E27FC236}">
                  <a16:creationId xmlns:a16="http://schemas.microsoft.com/office/drawing/2014/main" id="{BFC7F9BA-6C49-4740-A870-49B6EC480963}"/>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5" name="Text Placeholder 20">
            <a:extLst>
              <a:ext uri="{FF2B5EF4-FFF2-40B4-BE49-F238E27FC236}">
                <a16:creationId xmlns:a16="http://schemas.microsoft.com/office/drawing/2014/main" id="{8B979C09-D13C-7246-A315-CB1F91820224}"/>
              </a:ext>
            </a:extLst>
          </p:cNvPr>
          <p:cNvSpPr>
            <a:spLocks noGrp="1"/>
          </p:cNvSpPr>
          <p:nvPr>
            <p:ph type="body" sz="quarter" idx="14" hasCustomPrompt="1"/>
          </p:nvPr>
        </p:nvSpPr>
        <p:spPr>
          <a:xfrm>
            <a:off x="817639" y="4138343"/>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92CE0F41-7E9E-3148-9463-F5580DB7B873}"/>
              </a:ext>
            </a:extLst>
          </p:cNvPr>
          <p:cNvSpPr>
            <a:spLocks noGrp="1"/>
          </p:cNvSpPr>
          <p:nvPr>
            <p:ph type="body" sz="quarter" idx="15" hasCustomPrompt="1"/>
          </p:nvPr>
        </p:nvSpPr>
        <p:spPr>
          <a:xfrm>
            <a:off x="817639" y="2968372"/>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18" name="Bilde 3">
            <a:extLst>
              <a:ext uri="{FF2B5EF4-FFF2-40B4-BE49-F238E27FC236}">
                <a16:creationId xmlns:a16="http://schemas.microsoft.com/office/drawing/2014/main" id="{1BD9195B-80E5-6AC0-01C9-D82C02ED118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9" name="Date Placeholder 2">
            <a:extLst>
              <a:ext uri="{FF2B5EF4-FFF2-40B4-BE49-F238E27FC236}">
                <a16:creationId xmlns:a16="http://schemas.microsoft.com/office/drawing/2014/main" id="{6B7C66F6-643D-31ED-8414-0874C0375E13}"/>
              </a:ext>
            </a:extLst>
          </p:cNvPr>
          <p:cNvSpPr>
            <a:spLocks noGrp="1"/>
          </p:cNvSpPr>
          <p:nvPr>
            <p:ph type="dt" sz="half" idx="16"/>
          </p:nvPr>
        </p:nvSpPr>
        <p:spPr>
          <a:xfrm>
            <a:off x="2303627" y="6492875"/>
            <a:ext cx="528585" cy="365125"/>
          </a:xfrm>
        </p:spPr>
        <p:txBody>
          <a:bodyPr/>
          <a:lstStyle/>
          <a:p>
            <a:fld id="{FA332D74-47AF-B548-989D-FB3ED88504D1}" type="datetime1">
              <a:rPr lang="nb-NO" smtClean="0"/>
              <a:t>20.08.2024</a:t>
            </a:fld>
            <a:endParaRPr lang="en-US"/>
          </a:p>
        </p:txBody>
      </p:sp>
      <p:sp>
        <p:nvSpPr>
          <p:cNvPr id="20" name="Footer Placeholder 3">
            <a:extLst>
              <a:ext uri="{FF2B5EF4-FFF2-40B4-BE49-F238E27FC236}">
                <a16:creationId xmlns:a16="http://schemas.microsoft.com/office/drawing/2014/main" id="{39A2C9C4-B763-96E0-2166-3E5E140F1670}"/>
              </a:ext>
            </a:extLst>
          </p:cNvPr>
          <p:cNvSpPr>
            <a:spLocks noGrp="1"/>
          </p:cNvSpPr>
          <p:nvPr>
            <p:ph type="ftr" sz="quarter" idx="17"/>
          </p:nvPr>
        </p:nvSpPr>
        <p:spPr>
          <a:xfrm>
            <a:off x="175116" y="6492875"/>
            <a:ext cx="2107096" cy="365125"/>
          </a:xfrm>
        </p:spPr>
        <p:txBody>
          <a:bodyPr/>
          <a:lstStyle/>
          <a:p>
            <a:r>
              <a:rPr lang="en-US"/>
              <a:t>© StrongPoint 2022</a:t>
            </a:r>
          </a:p>
        </p:txBody>
      </p:sp>
      <p:sp>
        <p:nvSpPr>
          <p:cNvPr id="21" name="Slide Number Placeholder 4">
            <a:extLst>
              <a:ext uri="{FF2B5EF4-FFF2-40B4-BE49-F238E27FC236}">
                <a16:creationId xmlns:a16="http://schemas.microsoft.com/office/drawing/2014/main" id="{4B3ECF92-0715-0968-72F1-075744B6594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42680292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Egendefinert oppsett">
    <p:spTree>
      <p:nvGrpSpPr>
        <p:cNvPr id="1" name=""/>
        <p:cNvGrpSpPr/>
        <p:nvPr/>
      </p:nvGrpSpPr>
      <p:grpSpPr>
        <a:xfrm>
          <a:off x="0" y="0"/>
          <a:ext cx="0" cy="0"/>
          <a:chOff x="0" y="0"/>
          <a:chExt cx="0" cy="0"/>
        </a:xfrm>
      </p:grpSpPr>
      <p:sp>
        <p:nvSpPr>
          <p:cNvPr id="3" name="Rectangle 36">
            <a:extLst>
              <a:ext uri="{FF2B5EF4-FFF2-40B4-BE49-F238E27FC236}">
                <a16:creationId xmlns:a16="http://schemas.microsoft.com/office/drawing/2014/main" id="{0779484C-44B2-4F03-A7E1-5835EDEACAEB}"/>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2" name="Tittel 1">
            <a:extLst>
              <a:ext uri="{FF2B5EF4-FFF2-40B4-BE49-F238E27FC236}">
                <a16:creationId xmlns:a16="http://schemas.microsoft.com/office/drawing/2014/main" id="{6822AA02-8C03-40CD-9EE0-7B885B81B0DB}"/>
              </a:ext>
            </a:extLst>
          </p:cNvPr>
          <p:cNvSpPr>
            <a:spLocks noGrp="1"/>
          </p:cNvSpPr>
          <p:nvPr>
            <p:ph type="title"/>
          </p:nvPr>
        </p:nvSpPr>
        <p:spPr>
          <a:xfrm>
            <a:off x="838200" y="361699"/>
            <a:ext cx="10515600" cy="1325563"/>
          </a:xfrm>
        </p:spPr>
        <p:txBody>
          <a:bodyPr anchor="t"/>
          <a:lstStyle>
            <a:lvl1pPr>
              <a:defRPr b="0" i="0">
                <a:solidFill>
                  <a:schemeClr val="bg1"/>
                </a:solidFill>
              </a:defRPr>
            </a:lvl1pPr>
          </a:lstStyle>
          <a:p>
            <a:r>
              <a:rPr lang="nb-NO"/>
              <a:t>Klikk for å redigere tittelstil</a:t>
            </a:r>
            <a:endParaRPr lang="en-GB"/>
          </a:p>
        </p:txBody>
      </p:sp>
      <p:pic>
        <p:nvPicPr>
          <p:cNvPr id="4" name="Bilde 3">
            <a:extLst>
              <a:ext uri="{FF2B5EF4-FFF2-40B4-BE49-F238E27FC236}">
                <a16:creationId xmlns:a16="http://schemas.microsoft.com/office/drawing/2014/main" id="{E31B1763-1A1D-4D26-8058-CAFE7A91A60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2521" y="6429313"/>
            <a:ext cx="1825937" cy="319232"/>
          </a:xfrm>
          <a:prstGeom prst="rect">
            <a:avLst/>
          </a:prstGeom>
        </p:spPr>
      </p:pic>
      <p:sp>
        <p:nvSpPr>
          <p:cNvPr id="7" name="Plassholder for tekst 6">
            <a:extLst>
              <a:ext uri="{FF2B5EF4-FFF2-40B4-BE49-F238E27FC236}">
                <a16:creationId xmlns:a16="http://schemas.microsoft.com/office/drawing/2014/main" id="{E20D7C70-F624-45F4-9930-59C1FD488BED}"/>
              </a:ext>
            </a:extLst>
          </p:cNvPr>
          <p:cNvSpPr>
            <a:spLocks noGrp="1"/>
          </p:cNvSpPr>
          <p:nvPr>
            <p:ph type="body" sz="quarter" idx="10" hasCustomPrompt="1"/>
          </p:nvPr>
        </p:nvSpPr>
        <p:spPr>
          <a:xfrm>
            <a:off x="838200" y="6429314"/>
            <a:ext cx="9100779" cy="319232"/>
          </a:xfrm>
        </p:spPr>
        <p:txBody>
          <a:bodyPr>
            <a:noAutofit/>
          </a:bodyPr>
          <a:lstStyle>
            <a:lvl1pPr marL="0" indent="0">
              <a:lnSpc>
                <a:spcPct val="100000"/>
              </a:lnSpc>
              <a:spcBef>
                <a:spcPts val="0"/>
              </a:spcBef>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nb-NO"/>
              <a:t>Source</a:t>
            </a:r>
          </a:p>
        </p:txBody>
      </p:sp>
      <p:sp>
        <p:nvSpPr>
          <p:cNvPr id="8" name="Content Placeholder 2">
            <a:extLst>
              <a:ext uri="{FF2B5EF4-FFF2-40B4-BE49-F238E27FC236}">
                <a16:creationId xmlns:a16="http://schemas.microsoft.com/office/drawing/2014/main" id="{48A29F43-191D-4EFA-A55E-FD99DB4B1535}"/>
              </a:ext>
            </a:extLst>
          </p:cNvPr>
          <p:cNvSpPr>
            <a:spLocks noGrp="1"/>
          </p:cNvSpPr>
          <p:nvPr>
            <p:ph idx="1" hasCustomPrompt="1"/>
          </p:nvPr>
        </p:nvSpPr>
        <p:spPr>
          <a:xfrm>
            <a:off x="838200" y="1822198"/>
            <a:ext cx="10515600"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Clr>
                <a:schemeClr val="bg1"/>
              </a:buClr>
              <a:buFont typeface="Arial" panose="020B0604020202020204" pitchFamily="34" charset="0"/>
              <a:buNone/>
              <a:defRPr sz="2400" b="0" i="0" kern="1200">
                <a:solidFill>
                  <a:schemeClr val="bg1"/>
                </a:solidFill>
                <a:latin typeface="Helvetica"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buClr>
              <a:buFont typeface="Arial" panose="020B0604020202020204" pitchFamily="34" charset="0"/>
              <a:buChar char="•"/>
              <a:defRPr sz="2000" b="0" i="0" kern="1200">
                <a:solidFill>
                  <a:schemeClr val="bg1"/>
                </a:solidFill>
                <a:latin typeface="Helvetica"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buClr>
              <a:buFont typeface="Arial" panose="020B0604020202020204" pitchFamily="34" charset="0"/>
              <a:buChar char="•"/>
              <a:defRPr sz="1800" b="0" i="0" kern="1200">
                <a:solidFill>
                  <a:schemeClr val="bg1"/>
                </a:solidFill>
                <a:latin typeface="Helvetica"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buClr>
              <a:buFont typeface="Arial" panose="020B0604020202020204" pitchFamily="34" charset="0"/>
              <a:buChar char="•"/>
              <a:defRPr sz="1600" b="0" i="0" kern="1200">
                <a:solidFill>
                  <a:schemeClr val="bg1"/>
                </a:solidFill>
                <a:latin typeface="Helvetica"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buClr>
              <a:buFont typeface="Arial" panose="020B0604020202020204" pitchFamily="34" charset="0"/>
              <a:buChar char="•"/>
              <a:defRPr sz="1600" b="0" i="0" kern="1200">
                <a:solidFill>
                  <a:schemeClr val="bg1"/>
                </a:solidFill>
                <a:latin typeface="Helvetica"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Plassholder for lysbildenummer 38">
            <a:extLst>
              <a:ext uri="{FF2B5EF4-FFF2-40B4-BE49-F238E27FC236}">
                <a16:creationId xmlns:a16="http://schemas.microsoft.com/office/drawing/2014/main" id="{00241775-8225-4435-919E-C899F05A8272}"/>
              </a:ext>
            </a:extLst>
          </p:cNvPr>
          <p:cNvSpPr>
            <a:spLocks noGrp="1"/>
          </p:cNvSpPr>
          <p:nvPr>
            <p:ph type="sldNum" sz="quarter" idx="4"/>
          </p:nvPr>
        </p:nvSpPr>
        <p:spPr>
          <a:xfrm>
            <a:off x="0" y="6438839"/>
            <a:ext cx="838200" cy="319232"/>
          </a:xfrm>
          <a:prstGeom prst="rect">
            <a:avLst/>
          </a:prstGeom>
        </p:spPr>
        <p:txBody>
          <a:bodyPr vert="horz" lIns="91440" tIns="45720" rIns="91440" bIns="45720" rtlCol="0" anchor="t"/>
          <a:lstStyle>
            <a:lvl1pPr algn="ctr">
              <a:defRPr sz="1000">
                <a:solidFill>
                  <a:schemeClr val="bg1"/>
                </a:solidFill>
              </a:defRPr>
            </a:lvl1pPr>
          </a:lstStyle>
          <a:p>
            <a:fld id="{EDFF9B70-FADC-4CC7-9FFB-4C4965B0F731}" type="slidenum">
              <a:rPr lang="en-GB" smtClean="0"/>
              <a:pPr/>
              <a:t>‹#›</a:t>
            </a:fld>
            <a:endParaRPr lang="en-GB"/>
          </a:p>
        </p:txBody>
      </p:sp>
    </p:spTree>
    <p:extLst>
      <p:ext uri="{BB962C8B-B14F-4D97-AF65-F5344CB8AC3E}">
        <p14:creationId xmlns:p14="http://schemas.microsoft.com/office/powerpoint/2010/main" val="3465238646"/>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_Foto maža kairėj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8B1988B-C625-496A-A84F-B0ADE149954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4" name="Objekt 3" hidden="1">
                        <a:extLst>
                          <a:ext uri="{FF2B5EF4-FFF2-40B4-BE49-F238E27FC236}">
                            <a16:creationId xmlns:a16="http://schemas.microsoft.com/office/drawing/2014/main" id="{B8B1988B-C625-496A-A84F-B0ADE14995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EF6485C0-7FDD-4E5F-8EFC-42A466D8015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a:latin typeface="Helvetica" pitchFamily="2"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838200" y="540000"/>
            <a:ext cx="10554548" cy="857568"/>
          </a:xfrm>
        </p:spPr>
        <p:txBody>
          <a:bodyPr/>
          <a:lstStyle>
            <a:lvl1pPr>
              <a:defRPr b="0" i="0">
                <a:solidFill>
                  <a:srgbClr val="FFB800"/>
                </a:solidFill>
              </a:defRPr>
            </a:lvl1pPr>
          </a:lstStyle>
          <a:p>
            <a:r>
              <a:rPr lang="en-US"/>
              <a:t>Click to edit Master title style</a:t>
            </a:r>
            <a:endParaRPr lang="lt-LT"/>
          </a:p>
        </p:txBody>
      </p:sp>
      <p:sp>
        <p:nvSpPr>
          <p:cNvPr id="6" name="Content Placeholder 5"/>
          <p:cNvSpPr>
            <a:spLocks noGrp="1"/>
          </p:cNvSpPr>
          <p:nvPr>
            <p:ph sz="quarter" idx="11" hasCustomPrompt="1"/>
          </p:nvPr>
        </p:nvSpPr>
        <p:spPr>
          <a:xfrm>
            <a:off x="838200" y="1440000"/>
            <a:ext cx="4283075" cy="4335462"/>
          </a:xfrm>
          <a:noFill/>
        </p:spPr>
        <p:txBody>
          <a:bodyPr/>
          <a:lstStyle>
            <a:lvl1pPr>
              <a:defRPr i="1">
                <a:solidFill>
                  <a:srgbClr val="A8A8A8"/>
                </a:solidFill>
              </a:defRPr>
            </a:lvl1pPr>
          </a:lstStyle>
          <a:p>
            <a:pPr lvl="0"/>
            <a:r>
              <a:rPr lang="lt-LT"/>
              <a:t>Įterpti nuotrauką</a:t>
            </a:r>
          </a:p>
        </p:txBody>
      </p:sp>
      <p:sp>
        <p:nvSpPr>
          <p:cNvPr id="7" name="Text Placeholder 6"/>
          <p:cNvSpPr>
            <a:spLocks noGrp="1"/>
          </p:cNvSpPr>
          <p:nvPr>
            <p:ph type="body" sz="quarter" idx="12"/>
          </p:nvPr>
        </p:nvSpPr>
        <p:spPr>
          <a:xfrm>
            <a:off x="5416973" y="1440000"/>
            <a:ext cx="5975775" cy="4335462"/>
          </a:xfrm>
        </p:spPr>
        <p:txBody>
          <a:bodyPr/>
          <a:lstStyle>
            <a:lvl1pPr marL="342900" indent="-342900">
              <a:buClr>
                <a:schemeClr val="bg1"/>
              </a:buClr>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lt-LT"/>
          </a:p>
        </p:txBody>
      </p:sp>
    </p:spTree>
    <p:extLst>
      <p:ext uri="{BB962C8B-B14F-4D97-AF65-F5344CB8AC3E}">
        <p14:creationId xmlns:p14="http://schemas.microsoft.com/office/powerpoint/2010/main" val="2690520905"/>
      </p:ext>
    </p:extLst>
  </p:cSld>
  <p:clrMapOvr>
    <a:masterClrMapping/>
  </p:clrMapOvr>
  <p:transition spd="slow">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4_foto dešinėje">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7721600" y="1"/>
            <a:ext cx="4470400" cy="6858000"/>
          </a:xfrm>
          <a:solidFill>
            <a:schemeClr val="bg1">
              <a:lumMod val="85000"/>
            </a:schemeClr>
          </a:solidFill>
        </p:spPr>
        <p:txBody>
          <a:bodyPr anchor="b">
            <a:normAutofit/>
          </a:bodyPr>
          <a:lstStyle>
            <a:lvl1pPr algn="ctr">
              <a:defRPr sz="2000" i="1">
                <a:solidFill>
                  <a:srgbClr val="346D88"/>
                </a:solidFill>
              </a:defRPr>
            </a:lvl1pPr>
          </a:lstStyle>
          <a:p>
            <a:r>
              <a:rPr lang="lt-LT" err="1"/>
              <a:t>Click</a:t>
            </a:r>
            <a:r>
              <a:rPr lang="lt-LT"/>
              <a:t> </a:t>
            </a:r>
            <a:r>
              <a:rPr lang="lt-LT" err="1"/>
              <a:t>on</a:t>
            </a:r>
            <a:r>
              <a:rPr lang="lt-LT"/>
              <a:t> </a:t>
            </a:r>
            <a:r>
              <a:rPr lang="lt-LT" err="1"/>
              <a:t>icon</a:t>
            </a:r>
            <a:r>
              <a:rPr lang="lt-LT"/>
              <a:t> </a:t>
            </a:r>
            <a:r>
              <a:rPr lang="lt-LT" err="1"/>
              <a:t>and</a:t>
            </a:r>
            <a:r>
              <a:rPr lang="lt-LT"/>
              <a:t> </a:t>
            </a:r>
            <a:r>
              <a:rPr lang="lt-LT" err="1"/>
              <a:t>add</a:t>
            </a:r>
            <a:r>
              <a:rPr lang="lt-LT"/>
              <a:t> a </a:t>
            </a:r>
            <a:r>
              <a:rPr lang="lt-LT" err="1"/>
              <a:t>picture</a:t>
            </a:r>
            <a:endParaRPr lang="lt-LT"/>
          </a:p>
          <a:p>
            <a:endParaRPr lang="lt-LT"/>
          </a:p>
        </p:txBody>
      </p:sp>
      <p:sp>
        <p:nvSpPr>
          <p:cNvPr id="2" name="Title 1"/>
          <p:cNvSpPr>
            <a:spLocks noGrp="1"/>
          </p:cNvSpPr>
          <p:nvPr>
            <p:ph type="title"/>
          </p:nvPr>
        </p:nvSpPr>
        <p:spPr>
          <a:xfrm>
            <a:off x="838200" y="195446"/>
            <a:ext cx="6456680" cy="857568"/>
          </a:xfrm>
        </p:spPr>
        <p:txBody>
          <a:bodyPr/>
          <a:lstStyle>
            <a:lvl1pPr>
              <a:defRPr b="0" i="0"/>
            </a:lvl1pPr>
          </a:lstStyle>
          <a:p>
            <a:r>
              <a:rPr lang="en-US"/>
              <a:t>Click to edit Master title style</a:t>
            </a:r>
            <a:endParaRPr lang="lt-LT"/>
          </a:p>
        </p:txBody>
      </p:sp>
      <p:sp>
        <p:nvSpPr>
          <p:cNvPr id="3" name="Content Placeholder 2"/>
          <p:cNvSpPr>
            <a:spLocks noGrp="1"/>
          </p:cNvSpPr>
          <p:nvPr>
            <p:ph idx="1"/>
          </p:nvPr>
        </p:nvSpPr>
        <p:spPr>
          <a:xfrm>
            <a:off x="838200" y="1187951"/>
            <a:ext cx="6456680" cy="5050423"/>
          </a:xfrm>
        </p:spPr>
        <p:txBody>
          <a:bodyPr/>
          <a:lstStyle>
            <a:lvl1pPr marL="342900" indent="-342900">
              <a:buFont typeface="Arial" panose="020B0604020202020204" pitchFamily="34" charset="0"/>
              <a:buChar char="•"/>
              <a:defRPr b="0" i="0">
                <a:latin typeface="Helvetica" pitchFamily="2" charset="0"/>
              </a:defRPr>
            </a:lvl1pPr>
            <a:lvl2pPr>
              <a:defRPr b="0" i="0">
                <a:latin typeface="Helvetica" pitchFamily="2" charset="0"/>
              </a:defRPr>
            </a:lvl2pPr>
            <a:lvl3pPr>
              <a:defRPr b="0" i="0">
                <a:latin typeface="Helvetica" pitchFamily="2" charset="0"/>
              </a:defRPr>
            </a:lvl3pPr>
            <a:lvl4pPr>
              <a:defRPr b="0" i="0">
                <a:latin typeface="Helvetica" pitchFamily="2" charset="0"/>
              </a:defRPr>
            </a:lvl4pPr>
            <a:lvl5pPr>
              <a:defRPr b="0" i="0">
                <a:latin typeface="Helveti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lt-LT"/>
          </a:p>
        </p:txBody>
      </p:sp>
    </p:spTree>
    <p:extLst>
      <p:ext uri="{BB962C8B-B14F-4D97-AF65-F5344CB8AC3E}">
        <p14:creationId xmlns:p14="http://schemas.microsoft.com/office/powerpoint/2010/main" val="3164904648"/>
      </p:ext>
    </p:extLst>
  </p:cSld>
  <p:clrMapOvr>
    <a:masterClrMapping/>
  </p:clrMapOvr>
  <p:transition spd="slow">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userDrawn="1">
  <p:cSld name="63_Custom Layout">
    <p:bg>
      <p:bgPr>
        <a:solidFill>
          <a:srgbClr val="2832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5D4AB-B803-4643-BCDF-D6393E1CDC9B}"/>
              </a:ext>
            </a:extLst>
          </p:cNvPr>
          <p:cNvSpPr>
            <a:spLocks noGrp="1"/>
          </p:cNvSpPr>
          <p:nvPr>
            <p:ph type="title"/>
          </p:nvPr>
        </p:nvSpPr>
        <p:spPr>
          <a:xfrm>
            <a:off x="1218623" y="4203099"/>
            <a:ext cx="5514686" cy="1325563"/>
          </a:xfrm>
          <a:prstGeom prst="rect">
            <a:avLst/>
          </a:prstGeom>
        </p:spPr>
        <p:txBody>
          <a:bodyPr anchor="b"/>
          <a:lstStyle>
            <a:lvl1pPr>
              <a:defRPr sz="4000" b="0" i="0">
                <a:solidFill>
                  <a:schemeClr val="bg1"/>
                </a:solidFill>
                <a:latin typeface="Helvetica Light" panose="020B0403020202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21652173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Start page logo">
    <p:spTree>
      <p:nvGrpSpPr>
        <p:cNvPr id="1" name=""/>
        <p:cNvGrpSpPr/>
        <p:nvPr/>
      </p:nvGrpSpPr>
      <p:grpSpPr>
        <a:xfrm>
          <a:off x="0" y="0"/>
          <a:ext cx="0" cy="0"/>
          <a:chOff x="0" y="0"/>
          <a:chExt cx="0" cy="0"/>
        </a:xfrm>
      </p:grpSpPr>
      <p:sp>
        <p:nvSpPr>
          <p:cNvPr id="4" name="!!Blue">
            <a:extLst>
              <a:ext uri="{FF2B5EF4-FFF2-40B4-BE49-F238E27FC236}">
                <a16:creationId xmlns:a16="http://schemas.microsoft.com/office/drawing/2014/main" id="{76E7F38C-5641-4FDA-B434-AC413DE3A377}"/>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pic>
        <p:nvPicPr>
          <p:cNvPr id="3" name="Bilde 2">
            <a:extLst>
              <a:ext uri="{FF2B5EF4-FFF2-40B4-BE49-F238E27FC236}">
                <a16:creationId xmlns:a16="http://schemas.microsoft.com/office/drawing/2014/main" id="{02986883-6611-464E-A44F-2C88C009DE0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00718" y="1357984"/>
            <a:ext cx="6390564" cy="4142032"/>
          </a:xfrm>
          <a:prstGeom prst="rect">
            <a:avLst/>
          </a:prstGeom>
        </p:spPr>
      </p:pic>
    </p:spTree>
    <p:extLst>
      <p:ext uri="{BB962C8B-B14F-4D97-AF65-F5344CB8AC3E}">
        <p14:creationId xmlns:p14="http://schemas.microsoft.com/office/powerpoint/2010/main" val="2495893485"/>
      </p:ext>
    </p:extLst>
  </p:cSld>
  <p:clrMapOvr>
    <a:masterClrMapping/>
  </p:clrMapOvr>
  <p:transition spd="slow">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7_Start page 3">
    <p:spTree>
      <p:nvGrpSpPr>
        <p:cNvPr id="1" name=""/>
        <p:cNvGrpSpPr/>
        <p:nvPr/>
      </p:nvGrpSpPr>
      <p:grpSpPr>
        <a:xfrm>
          <a:off x="0" y="0"/>
          <a:ext cx="0" cy="0"/>
          <a:chOff x="0" y="0"/>
          <a:chExt cx="0" cy="0"/>
        </a:xfrm>
      </p:grpSpPr>
      <p:sp>
        <p:nvSpPr>
          <p:cNvPr id="3" name="!!Blue">
            <a:extLst>
              <a:ext uri="{FF2B5EF4-FFF2-40B4-BE49-F238E27FC236}">
                <a16:creationId xmlns:a16="http://schemas.microsoft.com/office/drawing/2014/main" id="{A9C13785-1488-437B-BE9E-873F1FAAF20D}"/>
              </a:ext>
            </a:extLst>
          </p:cNvPr>
          <p:cNvSpPr/>
          <p:nvPr userDrawn="1"/>
        </p:nvSpPr>
        <p:spPr>
          <a:xfrm>
            <a:off x="0" y="-32618"/>
            <a:ext cx="12192000" cy="68906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cap="all" baseline="0" noProof="0">
              <a:latin typeface="Helvetica" pitchFamily="2" charset="0"/>
              <a:cs typeface="Arial" panose="020B0604020202020204" pitchFamily="34" charset="0"/>
            </a:endParaRPr>
          </a:p>
        </p:txBody>
      </p:sp>
      <p:sp>
        <p:nvSpPr>
          <p:cNvPr id="7" name="Title">
            <a:extLst>
              <a:ext uri="{FF2B5EF4-FFF2-40B4-BE49-F238E27FC236}">
                <a16:creationId xmlns:a16="http://schemas.microsoft.com/office/drawing/2014/main" id="{13294DAA-8C17-424F-8143-208C3FE914DC}"/>
              </a:ext>
            </a:extLst>
          </p:cNvPr>
          <p:cNvSpPr>
            <a:spLocks noGrp="1"/>
          </p:cNvSpPr>
          <p:nvPr>
            <p:ph type="body" sz="quarter" idx="10" hasCustomPrompt="1"/>
          </p:nvPr>
        </p:nvSpPr>
        <p:spPr>
          <a:xfrm>
            <a:off x="0" y="4995863"/>
            <a:ext cx="12192000" cy="1143000"/>
          </a:xfrm>
          <a:prstGeom prst="rect">
            <a:avLst/>
          </a:prstGeom>
        </p:spPr>
        <p:txBody>
          <a:bodyPr/>
          <a:lstStyle>
            <a:lvl1pPr marL="0" indent="0" algn="ctr">
              <a:buNone/>
              <a:defRPr sz="2000" b="0" i="0" cap="all" spc="600" baseline="0">
                <a:solidFill>
                  <a:schemeClr val="bg1"/>
                </a:solidFill>
                <a:latin typeface="Helvetica" pitchFamily="2" charset="0"/>
                <a:cs typeface="Arial" panose="020B0604020202020204" pitchFamily="34" charset="0"/>
              </a:defRPr>
            </a:lvl1pPr>
          </a:lstStyle>
          <a:p>
            <a:pPr lvl="0"/>
            <a:r>
              <a:rPr lang="en-GB" noProof="0"/>
              <a:t>Main title here</a:t>
            </a:r>
          </a:p>
        </p:txBody>
      </p:sp>
      <p:pic>
        <p:nvPicPr>
          <p:cNvPr id="4" name="Bilde 3">
            <a:extLst>
              <a:ext uri="{FF2B5EF4-FFF2-40B4-BE49-F238E27FC236}">
                <a16:creationId xmlns:a16="http://schemas.microsoft.com/office/drawing/2014/main" id="{54C0EBEF-EDC7-498E-8550-F88AC37723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9708" y="2286000"/>
            <a:ext cx="7472584" cy="1306446"/>
          </a:xfrm>
          <a:prstGeom prst="rect">
            <a:avLst/>
          </a:prstGeom>
        </p:spPr>
      </p:pic>
    </p:spTree>
    <p:extLst>
      <p:ext uri="{BB962C8B-B14F-4D97-AF65-F5344CB8AC3E}">
        <p14:creationId xmlns:p14="http://schemas.microsoft.com/office/powerpoint/2010/main" val="2583067451"/>
      </p:ext>
    </p:extLst>
  </p:cSld>
  <p:clrMapOvr>
    <a:masterClrMapping/>
  </p:clrMapOvr>
  <p:transition spd="slow">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6_Start page 3">
    <p:spTree>
      <p:nvGrpSpPr>
        <p:cNvPr id="1" name=""/>
        <p:cNvGrpSpPr/>
        <p:nvPr/>
      </p:nvGrpSpPr>
      <p:grpSpPr>
        <a:xfrm>
          <a:off x="0" y="0"/>
          <a:ext cx="0" cy="0"/>
          <a:chOff x="0" y="0"/>
          <a:chExt cx="0" cy="0"/>
        </a:xfrm>
      </p:grpSpPr>
      <p:sp>
        <p:nvSpPr>
          <p:cNvPr id="3" name="!!Blue">
            <a:extLst>
              <a:ext uri="{FF2B5EF4-FFF2-40B4-BE49-F238E27FC236}">
                <a16:creationId xmlns:a16="http://schemas.microsoft.com/office/drawing/2014/main" id="{A9C13785-1488-437B-BE9E-873F1FAAF20D}"/>
              </a:ext>
            </a:extLst>
          </p:cNvPr>
          <p:cNvSpPr/>
          <p:nvPr userDrawn="1"/>
        </p:nvSpPr>
        <p:spPr>
          <a:xfrm>
            <a:off x="0" y="-32618"/>
            <a:ext cx="12192000" cy="6890618"/>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cap="all" baseline="0" noProof="0">
              <a:latin typeface="Helvetica" pitchFamily="2" charset="0"/>
              <a:cs typeface="Arial" panose="020B0604020202020204" pitchFamily="34" charset="0"/>
            </a:endParaRPr>
          </a:p>
        </p:txBody>
      </p:sp>
      <p:sp>
        <p:nvSpPr>
          <p:cNvPr id="7" name="Title">
            <a:extLst>
              <a:ext uri="{FF2B5EF4-FFF2-40B4-BE49-F238E27FC236}">
                <a16:creationId xmlns:a16="http://schemas.microsoft.com/office/drawing/2014/main" id="{13294DAA-8C17-424F-8143-208C3FE914DC}"/>
              </a:ext>
            </a:extLst>
          </p:cNvPr>
          <p:cNvSpPr>
            <a:spLocks noGrp="1"/>
          </p:cNvSpPr>
          <p:nvPr>
            <p:ph type="body" sz="quarter" idx="10" hasCustomPrompt="1"/>
          </p:nvPr>
        </p:nvSpPr>
        <p:spPr>
          <a:xfrm>
            <a:off x="0" y="2824882"/>
            <a:ext cx="12192000" cy="1143000"/>
          </a:xfrm>
          <a:prstGeom prst="rect">
            <a:avLst/>
          </a:prstGeom>
        </p:spPr>
        <p:txBody>
          <a:bodyPr anchor="ctr"/>
          <a:lstStyle>
            <a:lvl1pPr marL="0" indent="0" algn="ctr">
              <a:buNone/>
              <a:defRPr sz="2000" b="0" i="0" cap="all" spc="600" baseline="0">
                <a:solidFill>
                  <a:schemeClr val="bg1"/>
                </a:solidFill>
                <a:latin typeface="Helvetica" pitchFamily="2" charset="0"/>
                <a:cs typeface="Arial" panose="020B0604020202020204" pitchFamily="34" charset="0"/>
              </a:defRPr>
            </a:lvl1pPr>
          </a:lstStyle>
          <a:p>
            <a:pPr lvl="0"/>
            <a:r>
              <a:rPr lang="en-GB" noProof="0"/>
              <a:t>Main title here</a:t>
            </a:r>
          </a:p>
        </p:txBody>
      </p:sp>
      <p:pic>
        <p:nvPicPr>
          <p:cNvPr id="4" name="Bilde 3">
            <a:extLst>
              <a:ext uri="{FF2B5EF4-FFF2-40B4-BE49-F238E27FC236}">
                <a16:creationId xmlns:a16="http://schemas.microsoft.com/office/drawing/2014/main" id="{DB9A7EB4-0E3C-4A13-BD98-E851652E698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2521" y="6429313"/>
            <a:ext cx="1825937" cy="319232"/>
          </a:xfrm>
          <a:prstGeom prst="rect">
            <a:avLst/>
          </a:prstGeom>
        </p:spPr>
      </p:pic>
    </p:spTree>
    <p:extLst>
      <p:ext uri="{BB962C8B-B14F-4D97-AF65-F5344CB8AC3E}">
        <p14:creationId xmlns:p14="http://schemas.microsoft.com/office/powerpoint/2010/main" val="1282397384"/>
      </p:ext>
    </p:extLst>
  </p:cSld>
  <p:clrMapOvr>
    <a:masterClrMapping/>
  </p:clrMapOvr>
  <p:transition spd="slow">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Start page 1">
    <p:spTree>
      <p:nvGrpSpPr>
        <p:cNvPr id="1" name=""/>
        <p:cNvGrpSpPr/>
        <p:nvPr/>
      </p:nvGrpSpPr>
      <p:grpSpPr>
        <a:xfrm>
          <a:off x="0" y="0"/>
          <a:ext cx="0" cy="0"/>
          <a:chOff x="0" y="0"/>
          <a:chExt cx="0" cy="0"/>
        </a:xfrm>
      </p:grpSpPr>
      <p:sp>
        <p:nvSpPr>
          <p:cNvPr id="4" name="!!Blue">
            <a:extLst>
              <a:ext uri="{FF2B5EF4-FFF2-40B4-BE49-F238E27FC236}">
                <a16:creationId xmlns:a16="http://schemas.microsoft.com/office/drawing/2014/main" id="{7DC3AE6F-449B-4868-9641-CCAC18F98E26}"/>
              </a:ext>
            </a:extLst>
          </p:cNvPr>
          <p:cNvSpPr/>
          <p:nvPr userDrawn="1"/>
        </p:nvSpPr>
        <p:spPr>
          <a:xfrm>
            <a:off x="0" y="0"/>
            <a:ext cx="12192000" cy="6858000"/>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pic>
        <p:nvPicPr>
          <p:cNvPr id="5" name="Bilde 4">
            <a:extLst>
              <a:ext uri="{FF2B5EF4-FFF2-40B4-BE49-F238E27FC236}">
                <a16:creationId xmlns:a16="http://schemas.microsoft.com/office/drawing/2014/main" id="{F0852DDD-536D-48EE-85B1-4AD1A6653E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00718" y="1357984"/>
            <a:ext cx="6390564" cy="4142032"/>
          </a:xfrm>
          <a:prstGeom prst="rect">
            <a:avLst/>
          </a:prstGeom>
        </p:spPr>
      </p:pic>
    </p:spTree>
    <p:extLst>
      <p:ext uri="{BB962C8B-B14F-4D97-AF65-F5344CB8AC3E}">
        <p14:creationId xmlns:p14="http://schemas.microsoft.com/office/powerpoint/2010/main" val="1956655010"/>
      </p:ext>
    </p:extLst>
  </p:cSld>
  <p:clrMapOvr>
    <a:masterClrMapping/>
  </p:clrMapOvr>
  <p:transition spd="slow">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5_Start page 3">
    <p:spTree>
      <p:nvGrpSpPr>
        <p:cNvPr id="1" name=""/>
        <p:cNvGrpSpPr/>
        <p:nvPr/>
      </p:nvGrpSpPr>
      <p:grpSpPr>
        <a:xfrm>
          <a:off x="0" y="0"/>
          <a:ext cx="0" cy="0"/>
          <a:chOff x="0" y="0"/>
          <a:chExt cx="0" cy="0"/>
        </a:xfrm>
      </p:grpSpPr>
      <p:sp>
        <p:nvSpPr>
          <p:cNvPr id="3" name="!!Blue">
            <a:extLst>
              <a:ext uri="{FF2B5EF4-FFF2-40B4-BE49-F238E27FC236}">
                <a16:creationId xmlns:a16="http://schemas.microsoft.com/office/drawing/2014/main" id="{A9C13785-1488-437B-BE9E-873F1FAAF20D}"/>
              </a:ext>
            </a:extLst>
          </p:cNvPr>
          <p:cNvSpPr/>
          <p:nvPr userDrawn="1"/>
        </p:nvSpPr>
        <p:spPr>
          <a:xfrm>
            <a:off x="0" y="-32618"/>
            <a:ext cx="12192000" cy="6890618"/>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cap="all" baseline="0" noProof="0">
              <a:latin typeface="Helvetica" pitchFamily="2" charset="0"/>
              <a:cs typeface="Arial" panose="020B0604020202020204" pitchFamily="34" charset="0"/>
            </a:endParaRPr>
          </a:p>
        </p:txBody>
      </p:sp>
      <p:sp>
        <p:nvSpPr>
          <p:cNvPr id="7" name="Title">
            <a:extLst>
              <a:ext uri="{FF2B5EF4-FFF2-40B4-BE49-F238E27FC236}">
                <a16:creationId xmlns:a16="http://schemas.microsoft.com/office/drawing/2014/main" id="{13294DAA-8C17-424F-8143-208C3FE914DC}"/>
              </a:ext>
            </a:extLst>
          </p:cNvPr>
          <p:cNvSpPr>
            <a:spLocks noGrp="1"/>
          </p:cNvSpPr>
          <p:nvPr>
            <p:ph type="body" sz="quarter" idx="10" hasCustomPrompt="1"/>
          </p:nvPr>
        </p:nvSpPr>
        <p:spPr>
          <a:xfrm>
            <a:off x="0" y="4995863"/>
            <a:ext cx="12192000" cy="1143000"/>
          </a:xfrm>
          <a:prstGeom prst="rect">
            <a:avLst/>
          </a:prstGeom>
        </p:spPr>
        <p:txBody>
          <a:bodyPr/>
          <a:lstStyle>
            <a:lvl1pPr marL="0" indent="0" algn="ctr">
              <a:buNone/>
              <a:defRPr sz="2000" b="0" i="0" cap="all" spc="600" baseline="0">
                <a:solidFill>
                  <a:schemeClr val="bg1"/>
                </a:solidFill>
                <a:latin typeface="Helvetica" pitchFamily="2" charset="0"/>
                <a:cs typeface="Arial" panose="020B0604020202020204" pitchFamily="34" charset="0"/>
              </a:defRPr>
            </a:lvl1pPr>
          </a:lstStyle>
          <a:p>
            <a:pPr lvl="0"/>
            <a:r>
              <a:rPr lang="en-GB" noProof="0"/>
              <a:t>Main title here</a:t>
            </a:r>
          </a:p>
        </p:txBody>
      </p:sp>
      <p:pic>
        <p:nvPicPr>
          <p:cNvPr id="4" name="Bilde 3">
            <a:extLst>
              <a:ext uri="{FF2B5EF4-FFF2-40B4-BE49-F238E27FC236}">
                <a16:creationId xmlns:a16="http://schemas.microsoft.com/office/drawing/2014/main" id="{54C0EBEF-EDC7-498E-8550-F88AC37723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9708" y="2286000"/>
            <a:ext cx="7472584" cy="1306446"/>
          </a:xfrm>
          <a:prstGeom prst="rect">
            <a:avLst/>
          </a:prstGeom>
        </p:spPr>
      </p:pic>
    </p:spTree>
    <p:extLst>
      <p:ext uri="{BB962C8B-B14F-4D97-AF65-F5344CB8AC3E}">
        <p14:creationId xmlns:p14="http://schemas.microsoft.com/office/powerpoint/2010/main" val="730192308"/>
      </p:ext>
    </p:extLst>
  </p:cSld>
  <p:clrMapOvr>
    <a:masterClrMapping/>
  </p:clrMapOvr>
  <p:transition spd="slow">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4_Start page 3">
    <p:spTree>
      <p:nvGrpSpPr>
        <p:cNvPr id="1" name=""/>
        <p:cNvGrpSpPr/>
        <p:nvPr/>
      </p:nvGrpSpPr>
      <p:grpSpPr>
        <a:xfrm>
          <a:off x="0" y="0"/>
          <a:ext cx="0" cy="0"/>
          <a:chOff x="0" y="0"/>
          <a:chExt cx="0" cy="0"/>
        </a:xfrm>
      </p:grpSpPr>
      <p:sp>
        <p:nvSpPr>
          <p:cNvPr id="3" name="!!Blue">
            <a:extLst>
              <a:ext uri="{FF2B5EF4-FFF2-40B4-BE49-F238E27FC236}">
                <a16:creationId xmlns:a16="http://schemas.microsoft.com/office/drawing/2014/main" id="{A9C13785-1488-437B-BE9E-873F1FAAF20D}"/>
              </a:ext>
            </a:extLst>
          </p:cNvPr>
          <p:cNvSpPr/>
          <p:nvPr userDrawn="1"/>
        </p:nvSpPr>
        <p:spPr>
          <a:xfrm>
            <a:off x="0" y="-32618"/>
            <a:ext cx="12192000" cy="6890618"/>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cap="all" baseline="0" noProof="0">
              <a:latin typeface="Helvetica" pitchFamily="2" charset="0"/>
              <a:cs typeface="Arial" panose="020B0604020202020204" pitchFamily="34" charset="0"/>
            </a:endParaRPr>
          </a:p>
        </p:txBody>
      </p:sp>
      <p:sp>
        <p:nvSpPr>
          <p:cNvPr id="7" name="Title">
            <a:extLst>
              <a:ext uri="{FF2B5EF4-FFF2-40B4-BE49-F238E27FC236}">
                <a16:creationId xmlns:a16="http://schemas.microsoft.com/office/drawing/2014/main" id="{13294DAA-8C17-424F-8143-208C3FE914DC}"/>
              </a:ext>
            </a:extLst>
          </p:cNvPr>
          <p:cNvSpPr>
            <a:spLocks noGrp="1"/>
          </p:cNvSpPr>
          <p:nvPr>
            <p:ph type="body" sz="quarter" idx="10" hasCustomPrompt="1"/>
          </p:nvPr>
        </p:nvSpPr>
        <p:spPr>
          <a:xfrm>
            <a:off x="0" y="2824882"/>
            <a:ext cx="12192000" cy="1143000"/>
          </a:xfrm>
          <a:prstGeom prst="rect">
            <a:avLst/>
          </a:prstGeom>
        </p:spPr>
        <p:txBody>
          <a:bodyPr anchor="ctr"/>
          <a:lstStyle>
            <a:lvl1pPr marL="0" indent="0" algn="ctr">
              <a:buNone/>
              <a:defRPr sz="2000" b="0" i="0" cap="all" spc="600" baseline="0">
                <a:solidFill>
                  <a:schemeClr val="bg1"/>
                </a:solidFill>
                <a:latin typeface="Helvetica" pitchFamily="2" charset="0"/>
                <a:cs typeface="Arial" panose="020B0604020202020204" pitchFamily="34" charset="0"/>
              </a:defRPr>
            </a:lvl1pPr>
          </a:lstStyle>
          <a:p>
            <a:pPr lvl="0"/>
            <a:r>
              <a:rPr lang="en-GB" noProof="0"/>
              <a:t>Main title here</a:t>
            </a:r>
          </a:p>
        </p:txBody>
      </p:sp>
      <p:pic>
        <p:nvPicPr>
          <p:cNvPr id="5" name="Bilde 4">
            <a:extLst>
              <a:ext uri="{FF2B5EF4-FFF2-40B4-BE49-F238E27FC236}">
                <a16:creationId xmlns:a16="http://schemas.microsoft.com/office/drawing/2014/main" id="{E47329FA-AE28-469A-87AC-F23577C4FB9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2521" y="6429313"/>
            <a:ext cx="1825937" cy="319232"/>
          </a:xfrm>
          <a:prstGeom prst="rect">
            <a:avLst/>
          </a:prstGeom>
        </p:spPr>
      </p:pic>
    </p:spTree>
    <p:extLst>
      <p:ext uri="{BB962C8B-B14F-4D97-AF65-F5344CB8AC3E}">
        <p14:creationId xmlns:p14="http://schemas.microsoft.com/office/powerpoint/2010/main" val="4172515619"/>
      </p:ext>
    </p:extLst>
  </p:cSld>
  <p:clrMapOvr>
    <a:masterClrMapping/>
  </p:clrMapOvr>
  <p:transition spd="slow">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sp>
        <p:nvSpPr>
          <p:cNvPr id="26" name="Rectangle 25">
            <a:extLst>
              <a:ext uri="{FF2B5EF4-FFF2-40B4-BE49-F238E27FC236}">
                <a16:creationId xmlns:a16="http://schemas.microsoft.com/office/drawing/2014/main" id="{7E68816F-8ED8-F14C-9463-BC5BE746F915}"/>
              </a:ext>
            </a:extLst>
          </p:cNvPr>
          <p:cNvSpPr/>
          <p:nvPr/>
        </p:nvSpPr>
        <p:spPr>
          <a:xfrm>
            <a:off x="731838" y="4085429"/>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4813DECF-DB9F-1D41-BF9F-AB28D2D0FFA9}"/>
              </a:ext>
            </a:extLst>
          </p:cNvPr>
          <p:cNvCxnSpPr>
            <a:cxnSpLocks/>
          </p:cNvCxnSpPr>
          <p:nvPr/>
        </p:nvCxnSpPr>
        <p:spPr>
          <a:xfrm>
            <a:off x="808013" y="4085429"/>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B36066D-F13C-AE43-8952-9366B8A0D7AC}"/>
              </a:ext>
            </a:extLst>
          </p:cNvPr>
          <p:cNvSpPr/>
          <p:nvPr/>
        </p:nvSpPr>
        <p:spPr>
          <a:xfrm>
            <a:off x="731838" y="2892118"/>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Straight Connector 30">
            <a:extLst>
              <a:ext uri="{FF2B5EF4-FFF2-40B4-BE49-F238E27FC236}">
                <a16:creationId xmlns:a16="http://schemas.microsoft.com/office/drawing/2014/main" id="{BFC7F9BA-6C49-4740-A870-49B6EC480963}"/>
              </a:ext>
            </a:extLst>
          </p:cNvPr>
          <p:cNvCxnSpPr>
            <a:cxnSpLocks/>
          </p:cNvCxnSpPr>
          <p:nvPr/>
        </p:nvCxnSpPr>
        <p:spPr>
          <a:xfrm>
            <a:off x="808013" y="2892118"/>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5" name="Text Placeholder 20">
            <a:extLst>
              <a:ext uri="{FF2B5EF4-FFF2-40B4-BE49-F238E27FC236}">
                <a16:creationId xmlns:a16="http://schemas.microsoft.com/office/drawing/2014/main" id="{8B979C09-D13C-7246-A315-CB1F91820224}"/>
              </a:ext>
            </a:extLst>
          </p:cNvPr>
          <p:cNvSpPr>
            <a:spLocks noGrp="1"/>
          </p:cNvSpPr>
          <p:nvPr>
            <p:ph type="body" sz="quarter" idx="14" hasCustomPrompt="1"/>
          </p:nvPr>
        </p:nvSpPr>
        <p:spPr>
          <a:xfrm>
            <a:off x="1088020" y="4138343"/>
            <a:ext cx="4710674"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92CE0F41-7E9E-3148-9463-F5580DB7B873}"/>
              </a:ext>
            </a:extLst>
          </p:cNvPr>
          <p:cNvSpPr>
            <a:spLocks noGrp="1"/>
          </p:cNvSpPr>
          <p:nvPr>
            <p:ph type="body" sz="quarter" idx="15" hasCustomPrompt="1"/>
          </p:nvPr>
        </p:nvSpPr>
        <p:spPr>
          <a:xfrm>
            <a:off x="1088020" y="2968372"/>
            <a:ext cx="4710674"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18" name="Bilde 3">
            <a:extLst>
              <a:ext uri="{FF2B5EF4-FFF2-40B4-BE49-F238E27FC236}">
                <a16:creationId xmlns:a16="http://schemas.microsoft.com/office/drawing/2014/main" id="{1BD9195B-80E5-6AC0-01C9-D82C02ED118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9" name="Date Placeholder 2">
            <a:extLst>
              <a:ext uri="{FF2B5EF4-FFF2-40B4-BE49-F238E27FC236}">
                <a16:creationId xmlns:a16="http://schemas.microsoft.com/office/drawing/2014/main" id="{6B7C66F6-643D-31ED-8414-0874C0375E13}"/>
              </a:ext>
            </a:extLst>
          </p:cNvPr>
          <p:cNvSpPr>
            <a:spLocks noGrp="1"/>
          </p:cNvSpPr>
          <p:nvPr>
            <p:ph type="dt" sz="half" idx="16"/>
          </p:nvPr>
        </p:nvSpPr>
        <p:spPr>
          <a:xfrm>
            <a:off x="2303627" y="6492875"/>
            <a:ext cx="528585" cy="365125"/>
          </a:xfrm>
        </p:spPr>
        <p:txBody>
          <a:bodyPr/>
          <a:lstStyle/>
          <a:p>
            <a:fld id="{8B84D6C1-348F-8644-9212-421785A8BCDA}" type="datetime1">
              <a:rPr lang="nb-NO" smtClean="0"/>
              <a:t>20.08.2024</a:t>
            </a:fld>
            <a:endParaRPr lang="en-US"/>
          </a:p>
        </p:txBody>
      </p:sp>
      <p:sp>
        <p:nvSpPr>
          <p:cNvPr id="20" name="Footer Placeholder 3">
            <a:extLst>
              <a:ext uri="{FF2B5EF4-FFF2-40B4-BE49-F238E27FC236}">
                <a16:creationId xmlns:a16="http://schemas.microsoft.com/office/drawing/2014/main" id="{39A2C9C4-B763-96E0-2166-3E5E140F1670}"/>
              </a:ext>
            </a:extLst>
          </p:cNvPr>
          <p:cNvSpPr>
            <a:spLocks noGrp="1"/>
          </p:cNvSpPr>
          <p:nvPr>
            <p:ph type="ftr" sz="quarter" idx="17"/>
          </p:nvPr>
        </p:nvSpPr>
        <p:spPr>
          <a:xfrm>
            <a:off x="175116" y="6492875"/>
            <a:ext cx="2107096" cy="365125"/>
          </a:xfrm>
        </p:spPr>
        <p:txBody>
          <a:bodyPr/>
          <a:lstStyle/>
          <a:p>
            <a:r>
              <a:rPr lang="en-US"/>
              <a:t>© StrongPoint 2022</a:t>
            </a:r>
          </a:p>
        </p:txBody>
      </p:sp>
      <p:sp>
        <p:nvSpPr>
          <p:cNvPr id="21" name="Slide Number Placeholder 4">
            <a:extLst>
              <a:ext uri="{FF2B5EF4-FFF2-40B4-BE49-F238E27FC236}">
                <a16:creationId xmlns:a16="http://schemas.microsoft.com/office/drawing/2014/main" id="{4B3ECF92-0715-0968-72F1-075744B6594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2951262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3_Start Page 4">
    <p:spTree>
      <p:nvGrpSpPr>
        <p:cNvPr id="1" name=""/>
        <p:cNvGrpSpPr/>
        <p:nvPr/>
      </p:nvGrpSpPr>
      <p:grpSpPr>
        <a:xfrm>
          <a:off x="0" y="0"/>
          <a:ext cx="0" cy="0"/>
          <a:chOff x="0" y="0"/>
          <a:chExt cx="0" cy="0"/>
        </a:xfrm>
      </p:grpSpPr>
      <p:pic>
        <p:nvPicPr>
          <p:cNvPr id="10" name="Background Picture" descr="Et bilde som inneholder person, mat, bygning, stående&#10;&#10;Automatisk generert beskrivelse">
            <a:extLst>
              <a:ext uri="{FF2B5EF4-FFF2-40B4-BE49-F238E27FC236}">
                <a16:creationId xmlns:a16="http://schemas.microsoft.com/office/drawing/2014/main" id="{CDBD00A1-FA82-4DFE-84DF-F8297B7A1FB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35000"/>
            <a:ext cx="12192000" cy="8128000"/>
          </a:xfrm>
          <a:prstGeom prst="rect">
            <a:avLst/>
          </a:prstGeom>
        </p:spPr>
      </p:pic>
      <p:sp>
        <p:nvSpPr>
          <p:cNvPr id="7" name="Title">
            <a:extLst>
              <a:ext uri="{FF2B5EF4-FFF2-40B4-BE49-F238E27FC236}">
                <a16:creationId xmlns:a16="http://schemas.microsoft.com/office/drawing/2014/main" id="{13294DAA-8C17-424F-8143-208C3FE914DC}"/>
              </a:ext>
            </a:extLst>
          </p:cNvPr>
          <p:cNvSpPr>
            <a:spLocks noGrp="1"/>
          </p:cNvSpPr>
          <p:nvPr>
            <p:ph type="body" sz="quarter" idx="10" hasCustomPrompt="1"/>
          </p:nvPr>
        </p:nvSpPr>
        <p:spPr>
          <a:xfrm>
            <a:off x="0" y="5715000"/>
            <a:ext cx="12192000" cy="1143000"/>
          </a:xfrm>
          <a:prstGeom prst="rect">
            <a:avLst/>
          </a:prstGeom>
        </p:spPr>
        <p:txBody>
          <a:bodyPr/>
          <a:lstStyle>
            <a:lvl1pPr marL="0" indent="0" algn="ctr">
              <a:buNone/>
              <a:defRPr sz="2800" b="0" i="0" cap="all" spc="600" baseline="0">
                <a:solidFill>
                  <a:schemeClr val="tx1"/>
                </a:solidFill>
                <a:latin typeface="Helvetica" pitchFamily="2" charset="0"/>
                <a:cs typeface="Arial" panose="020B0604020202020204" pitchFamily="34" charset="0"/>
              </a:defRPr>
            </a:lvl1pPr>
          </a:lstStyle>
          <a:p>
            <a:pPr lvl="0"/>
            <a:r>
              <a:rPr lang="en-GB" noProof="0"/>
              <a:t>Main Title here</a:t>
            </a:r>
          </a:p>
        </p:txBody>
      </p:sp>
      <p:sp>
        <p:nvSpPr>
          <p:cNvPr id="6" name="!!Yellow">
            <a:extLst>
              <a:ext uri="{FF2B5EF4-FFF2-40B4-BE49-F238E27FC236}">
                <a16:creationId xmlns:a16="http://schemas.microsoft.com/office/drawing/2014/main" id="{CCFBDB04-BE7C-451A-8C1F-F17167D5B954}"/>
              </a:ext>
            </a:extLst>
          </p:cNvPr>
          <p:cNvSpPr/>
          <p:nvPr userDrawn="1"/>
        </p:nvSpPr>
        <p:spPr>
          <a:xfrm rot="16200000">
            <a:off x="5493659" y="4587989"/>
            <a:ext cx="1661884" cy="15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17" name="!!Blue">
            <a:extLst>
              <a:ext uri="{FF2B5EF4-FFF2-40B4-BE49-F238E27FC236}">
                <a16:creationId xmlns:a16="http://schemas.microsoft.com/office/drawing/2014/main" id="{DD8018AE-B7C4-4C53-9CAC-C9195BAFD01B}"/>
              </a:ext>
            </a:extLst>
          </p:cNvPr>
          <p:cNvSpPr/>
          <p:nvPr userDrawn="1"/>
        </p:nvSpPr>
        <p:spPr>
          <a:xfrm>
            <a:off x="0" y="3833248"/>
            <a:ext cx="6248400" cy="16618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pic>
        <p:nvPicPr>
          <p:cNvPr id="9" name="Bilde 8">
            <a:extLst>
              <a:ext uri="{FF2B5EF4-FFF2-40B4-BE49-F238E27FC236}">
                <a16:creationId xmlns:a16="http://schemas.microsoft.com/office/drawing/2014/main" id="{96D94C91-9E30-47C8-A221-62DCC86B5E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1762" y="4224965"/>
            <a:ext cx="5084878" cy="888999"/>
          </a:xfrm>
          <a:prstGeom prst="rect">
            <a:avLst/>
          </a:prstGeom>
        </p:spPr>
      </p:pic>
    </p:spTree>
    <p:extLst>
      <p:ext uri="{BB962C8B-B14F-4D97-AF65-F5344CB8AC3E}">
        <p14:creationId xmlns:p14="http://schemas.microsoft.com/office/powerpoint/2010/main" val="1808708173"/>
      </p:ext>
    </p:extLst>
  </p:cSld>
  <p:clrMapOvr>
    <a:masterClrMapping/>
  </p:clrMapOvr>
  <p:transition spd="slow">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_Full picture, Title">
    <p:bg>
      <p:bgPr>
        <a:solidFill>
          <a:schemeClr val="bg1"/>
        </a:solidFill>
        <a:effectLst/>
      </p:bgPr>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158D014F-728F-437C-9904-BA1DBBEB82AA}"/>
              </a:ext>
            </a:extLst>
          </p:cNvPr>
          <p:cNvSpPr>
            <a:spLocks noGrp="1"/>
          </p:cNvSpPr>
          <p:nvPr>
            <p:ph type="pic" sz="quarter" idx="10" hasCustomPrompt="1"/>
          </p:nvPr>
        </p:nvSpPr>
        <p:spPr>
          <a:xfrm>
            <a:off x="0" y="-1"/>
            <a:ext cx="12192000" cy="4661444"/>
          </a:xfrm>
          <a:prstGeom prst="rect">
            <a:avLst/>
          </a:prstGeom>
          <a:noFill/>
        </p:spPr>
        <p:txBody>
          <a:bodyPr/>
          <a:lstStyle>
            <a:lvl1pPr marL="0" indent="0">
              <a:buNone/>
              <a:defRPr sz="1800" b="0" i="0">
                <a:solidFill>
                  <a:schemeClr val="bg1">
                    <a:lumMod val="50000"/>
                  </a:schemeClr>
                </a:solidFill>
                <a:latin typeface="Helvetica" pitchFamily="2" charset="0"/>
                <a:ea typeface="Open Sans" panose="020B0606030504020204" pitchFamily="34" charset="0"/>
                <a:cs typeface="Open Sans" panose="020B0606030504020204" pitchFamily="34" charset="0"/>
              </a:defRPr>
            </a:lvl1pPr>
          </a:lstStyle>
          <a:p>
            <a:r>
              <a:rPr lang="en-GB" noProof="0"/>
              <a:t>Image Placeholder</a:t>
            </a:r>
          </a:p>
        </p:txBody>
      </p:sp>
      <p:sp>
        <p:nvSpPr>
          <p:cNvPr id="5" name="!!Blue">
            <a:extLst>
              <a:ext uri="{FF2B5EF4-FFF2-40B4-BE49-F238E27FC236}">
                <a16:creationId xmlns:a16="http://schemas.microsoft.com/office/drawing/2014/main" id="{5E24F489-E6BB-4384-B378-663B8C919357}"/>
              </a:ext>
            </a:extLst>
          </p:cNvPr>
          <p:cNvSpPr/>
          <p:nvPr userDrawn="1"/>
        </p:nvSpPr>
        <p:spPr>
          <a:xfrm>
            <a:off x="0" y="4616322"/>
            <a:ext cx="12192000" cy="22416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cxnSp>
        <p:nvCxnSpPr>
          <p:cNvPr id="7" name="!!Yellow">
            <a:extLst>
              <a:ext uri="{FF2B5EF4-FFF2-40B4-BE49-F238E27FC236}">
                <a16:creationId xmlns:a16="http://schemas.microsoft.com/office/drawing/2014/main" id="{DE98A62D-C220-4B5B-AD26-81FFF33E5164}"/>
              </a:ext>
            </a:extLst>
          </p:cNvPr>
          <p:cNvCxnSpPr>
            <a:cxnSpLocks/>
          </p:cNvCxnSpPr>
          <p:nvPr userDrawn="1"/>
        </p:nvCxnSpPr>
        <p:spPr>
          <a:xfrm>
            <a:off x="10477500" y="5348056"/>
            <a:ext cx="1714500" cy="0"/>
          </a:xfrm>
          <a:prstGeom prst="line">
            <a:avLst/>
          </a:prstGeom>
          <a:ln w="149225">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Plassholder for tekst 8">
            <a:extLst>
              <a:ext uri="{FF2B5EF4-FFF2-40B4-BE49-F238E27FC236}">
                <a16:creationId xmlns:a16="http://schemas.microsoft.com/office/drawing/2014/main" id="{38C7107A-0111-432E-8F72-D19B67E72E16}"/>
              </a:ext>
            </a:extLst>
          </p:cNvPr>
          <p:cNvSpPr>
            <a:spLocks noGrp="1"/>
          </p:cNvSpPr>
          <p:nvPr>
            <p:ph type="body" sz="quarter" idx="11" hasCustomPrompt="1"/>
          </p:nvPr>
        </p:nvSpPr>
        <p:spPr>
          <a:xfrm>
            <a:off x="1066800" y="4959624"/>
            <a:ext cx="9410700" cy="160020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3600" b="0" i="0" cap="all" baseline="0">
                <a:solidFill>
                  <a:schemeClr val="bg1"/>
                </a:solidFill>
                <a:latin typeface="Helvetica"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prstClr val="white"/>
                </a:solidFill>
                <a:effectLst/>
                <a:uLnTx/>
                <a:uFillTx/>
                <a:latin typeface="+mn-lt"/>
                <a:ea typeface="Roboto Cn" panose="02000000000000000000" pitchFamily="2" charset="0"/>
                <a:cs typeface="Arial" panose="020B0604020202020204" pitchFamily="34" charset="0"/>
              </a:rPr>
              <a:t>PRESENTATION TITLE</a:t>
            </a:r>
            <a:br>
              <a:rPr kumimoji="0" lang="en-GB" sz="4800" b="1" i="0" u="none" strike="noStrike" kern="1200" cap="none" spc="0" normalizeH="0" baseline="0" noProof="0">
                <a:ln>
                  <a:noFill/>
                </a:ln>
                <a:solidFill>
                  <a:prstClr val="white"/>
                </a:solidFill>
                <a:effectLst/>
                <a:uLnTx/>
                <a:uFillTx/>
                <a:latin typeface="+mn-lt"/>
                <a:ea typeface="Roboto Cn" panose="02000000000000000000" pitchFamily="2" charset="0"/>
                <a:cs typeface="Arial" panose="020B0604020202020204" pitchFamily="34" charset="0"/>
              </a:rPr>
            </a:br>
            <a:r>
              <a:rPr kumimoji="0" lang="en-GB" sz="4800" b="1" i="0" u="none" strike="noStrike" kern="1200" cap="none" spc="0" normalizeH="0" baseline="0" noProof="0">
                <a:ln>
                  <a:noFill/>
                </a:ln>
                <a:solidFill>
                  <a:prstClr val="white"/>
                </a:solidFill>
                <a:effectLst/>
                <a:uLnTx/>
                <a:uFillTx/>
                <a:latin typeface="+mn-lt"/>
                <a:ea typeface="Roboto Cn" panose="02000000000000000000" pitchFamily="2" charset="0"/>
                <a:cs typeface="Arial" panose="020B0604020202020204" pitchFamily="34" charset="0"/>
              </a:rPr>
              <a:t>HERE</a:t>
            </a:r>
          </a:p>
          <a:p>
            <a:pPr lvl="0"/>
            <a:endParaRPr lang="en-GB" noProof="0"/>
          </a:p>
        </p:txBody>
      </p:sp>
    </p:spTree>
    <p:extLst>
      <p:ext uri="{BB962C8B-B14F-4D97-AF65-F5344CB8AC3E}">
        <p14:creationId xmlns:p14="http://schemas.microsoft.com/office/powerpoint/2010/main" val="82474553"/>
      </p:ext>
    </p:extLst>
  </p:cSld>
  <p:clrMapOvr>
    <a:masterClrMapping/>
  </p:clrMapOvr>
  <p:transition spd="slow">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4_Headlin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838200" y="1187952"/>
            <a:ext cx="10515600"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Clr>
                <a:schemeClr val="accent1"/>
              </a:buClr>
              <a:buFont typeface="Arial" panose="020B0604020202020204" pitchFamily="34" charset="0"/>
              <a:buNone/>
              <a:defRPr sz="2400" b="0" i="0" kern="1200">
                <a:solidFill>
                  <a:schemeClr val="tx1"/>
                </a:solidFill>
                <a:latin typeface="Helvetica"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1"/>
              </a:buClr>
              <a:buFont typeface="Arial" panose="020B0604020202020204" pitchFamily="34" charset="0"/>
              <a:buChar char="•"/>
              <a:defRPr sz="2000" b="0" i="0" kern="1200">
                <a:solidFill>
                  <a:schemeClr val="tx1"/>
                </a:solidFill>
                <a:latin typeface="Helvetica"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1"/>
              </a:buClr>
              <a:buFont typeface="Arial" panose="020B0604020202020204" pitchFamily="34" charset="0"/>
              <a:buChar char="•"/>
              <a:defRPr sz="1800" b="0" i="0" kern="1200">
                <a:solidFill>
                  <a:schemeClr val="tx1"/>
                </a:solidFill>
                <a:latin typeface="Helvetica"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1"/>
              </a:buClr>
              <a:buFont typeface="Arial" panose="020B0604020202020204" pitchFamily="34" charset="0"/>
              <a:buChar char="•"/>
              <a:defRPr sz="1600" b="0" i="0" kern="1200">
                <a:solidFill>
                  <a:schemeClr val="tx1"/>
                </a:solidFill>
                <a:latin typeface="Helvetica"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1"/>
              </a:buClr>
              <a:buFont typeface="Arial" panose="020B0604020202020204" pitchFamily="34" charset="0"/>
              <a:buChar char="•"/>
              <a:defRPr sz="1600" b="0" i="0" kern="1200">
                <a:solidFill>
                  <a:schemeClr val="tx1"/>
                </a:solidFill>
                <a:latin typeface="Helvetica"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5" name="Bilde 4">
            <a:extLst>
              <a:ext uri="{FF2B5EF4-FFF2-40B4-BE49-F238E27FC236}">
                <a16:creationId xmlns:a16="http://schemas.microsoft.com/office/drawing/2014/main" id="{0096DD13-1996-423A-AAFD-299278D609E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2521" y="6430245"/>
            <a:ext cx="1825937" cy="319232"/>
          </a:xfrm>
          <a:prstGeom prst="rect">
            <a:avLst/>
          </a:prstGeom>
        </p:spPr>
      </p:pic>
      <p:sp>
        <p:nvSpPr>
          <p:cNvPr id="6" name="Title 1">
            <a:extLst>
              <a:ext uri="{FF2B5EF4-FFF2-40B4-BE49-F238E27FC236}">
                <a16:creationId xmlns:a16="http://schemas.microsoft.com/office/drawing/2014/main" id="{471A3A61-62E0-4A2E-96BC-1D215FE56024}"/>
              </a:ext>
            </a:extLst>
          </p:cNvPr>
          <p:cNvSpPr>
            <a:spLocks noGrp="1"/>
          </p:cNvSpPr>
          <p:nvPr>
            <p:ph type="title" hasCustomPrompt="1"/>
          </p:nvPr>
        </p:nvSpPr>
        <p:spPr>
          <a:xfrm>
            <a:off x="838200" y="365125"/>
            <a:ext cx="10554548" cy="687890"/>
          </a:xfrm>
          <a:prstGeom prst="rect">
            <a:avLst/>
          </a:prstGeom>
        </p:spPr>
        <p:txBody>
          <a:bodyPr/>
          <a:lstStyle>
            <a:lvl1pPr>
              <a:defRPr lang="en-GB" sz="3200" b="0" i="0" noProof="0" dirty="0">
                <a:solidFill>
                  <a:srgbClr val="141E50"/>
                </a:solidFill>
                <a:latin typeface="Helvetica" pitchFamily="2" charset="0"/>
                <a:cs typeface="Arial" panose="020B0604020202020204" pitchFamily="34" charset="0"/>
              </a:defRPr>
            </a:lvl1pPr>
          </a:lstStyle>
          <a:p>
            <a:pPr marL="0" lvl="0"/>
            <a:r>
              <a:rPr lang="en-GB" noProof="0"/>
              <a:t>Click to edit Master title style</a:t>
            </a:r>
          </a:p>
        </p:txBody>
      </p:sp>
      <p:sp>
        <p:nvSpPr>
          <p:cNvPr id="7" name="Plassholder for tekst 6">
            <a:extLst>
              <a:ext uri="{FF2B5EF4-FFF2-40B4-BE49-F238E27FC236}">
                <a16:creationId xmlns:a16="http://schemas.microsoft.com/office/drawing/2014/main" id="{46F34127-2458-47B6-B42F-2ED78425D5FE}"/>
              </a:ext>
            </a:extLst>
          </p:cNvPr>
          <p:cNvSpPr>
            <a:spLocks noGrp="1"/>
          </p:cNvSpPr>
          <p:nvPr>
            <p:ph type="body" sz="quarter" idx="10" hasCustomPrompt="1"/>
          </p:nvPr>
        </p:nvSpPr>
        <p:spPr>
          <a:xfrm>
            <a:off x="838200" y="6429314"/>
            <a:ext cx="9100779" cy="319232"/>
          </a:xfrm>
          <a:prstGeom prst="rect">
            <a:avLst/>
          </a:prstGeom>
        </p:spPr>
        <p:txBody>
          <a:bodyPr>
            <a:noAutofit/>
          </a:bodyPr>
          <a:lstStyle>
            <a:lvl1pPr marL="0" indent="0">
              <a:lnSpc>
                <a:spcPct val="100000"/>
              </a:lnSpc>
              <a:spcBef>
                <a:spcPts val="0"/>
              </a:spcBef>
              <a:buNone/>
              <a:defRPr sz="1000">
                <a:solidFill>
                  <a:srgbClr val="1B1B1B"/>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nb-NO"/>
              <a:t>Source</a:t>
            </a:r>
          </a:p>
        </p:txBody>
      </p:sp>
    </p:spTree>
    <p:extLst>
      <p:ext uri="{BB962C8B-B14F-4D97-AF65-F5344CB8AC3E}">
        <p14:creationId xmlns:p14="http://schemas.microsoft.com/office/powerpoint/2010/main" val="3070307348"/>
      </p:ext>
    </p:extLst>
  </p:cSld>
  <p:clrMapOvr>
    <a:masterClrMapping/>
  </p:clrMapOvr>
  <p:transition spd="slow">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Small image on the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54548" cy="687890"/>
          </a:xfrm>
          <a:prstGeom prst="rect">
            <a:avLst/>
          </a:prstGeom>
        </p:spPr>
        <p:txBody>
          <a:bodyPr/>
          <a:lstStyle>
            <a:lvl1pPr>
              <a:defRPr lang="en-GB" sz="3200" b="0" i="0" noProof="0" dirty="0">
                <a:solidFill>
                  <a:srgbClr val="141E50"/>
                </a:solidFill>
                <a:latin typeface="Helvetica" pitchFamily="2" charset="0"/>
                <a:cs typeface="Arial" panose="020B0604020202020204" pitchFamily="34" charset="0"/>
              </a:defRPr>
            </a:lvl1pPr>
          </a:lstStyle>
          <a:p>
            <a:pPr marL="0" lvl="0"/>
            <a:r>
              <a:rPr lang="en-GB" noProof="0"/>
              <a:t>Click to edit Master title style</a:t>
            </a:r>
          </a:p>
        </p:txBody>
      </p:sp>
      <p:sp>
        <p:nvSpPr>
          <p:cNvPr id="7" name="Text Placeholder 6"/>
          <p:cNvSpPr>
            <a:spLocks noGrp="1"/>
          </p:cNvSpPr>
          <p:nvPr>
            <p:ph type="body" sz="quarter" idx="12" hasCustomPrompt="1"/>
          </p:nvPr>
        </p:nvSpPr>
        <p:spPr>
          <a:xfrm>
            <a:off x="5416973" y="1326065"/>
            <a:ext cx="5975775" cy="4335462"/>
          </a:xfrm>
          <a:prstGeom prst="rect">
            <a:avLst/>
          </a:prstGeom>
        </p:spPr>
        <p:txBody>
          <a:bodyPr/>
          <a:lstStyle>
            <a:lvl1pPr marL="0" indent="0">
              <a:buFont typeface="Arial" panose="020B0604020202020204" pitchFamily="34" charset="0"/>
              <a:buNone/>
              <a:defRPr b="0" i="0">
                <a:latin typeface="Helvetica" pitchFamily="2" charset="0"/>
                <a:cs typeface="Arial" panose="020B0604020202020204" pitchFamily="34" charset="0"/>
              </a:defRPr>
            </a:lvl1pPr>
            <a:lvl2pPr>
              <a:defRPr b="0" i="0">
                <a:latin typeface="Helvetica" pitchFamily="2" charset="0"/>
                <a:cs typeface="Arial" panose="020B0604020202020204" pitchFamily="34" charset="0"/>
              </a:defRPr>
            </a:lvl2pPr>
            <a:lvl3pPr>
              <a:defRPr b="0" i="0">
                <a:latin typeface="Helvetica" pitchFamily="2" charset="0"/>
                <a:cs typeface="Arial" panose="020B0604020202020204" pitchFamily="34" charset="0"/>
              </a:defRPr>
            </a:lvl3pPr>
            <a:lvl4pPr>
              <a:defRPr b="0" i="0">
                <a:latin typeface="Helvetica" pitchFamily="2" charset="0"/>
                <a:cs typeface="Arial" panose="020B0604020202020204" pitchFamily="34" charset="0"/>
              </a:defRPr>
            </a:lvl4pPr>
            <a:lvl5pPr>
              <a:defRPr b="0" i="0">
                <a:latin typeface="Helvetica"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Plassholder for innhold 3">
            <a:extLst>
              <a:ext uri="{FF2B5EF4-FFF2-40B4-BE49-F238E27FC236}">
                <a16:creationId xmlns:a16="http://schemas.microsoft.com/office/drawing/2014/main" id="{D8BFF52B-4A46-4B41-9139-AB573461E882}"/>
              </a:ext>
            </a:extLst>
          </p:cNvPr>
          <p:cNvSpPr>
            <a:spLocks noGrp="1"/>
          </p:cNvSpPr>
          <p:nvPr>
            <p:ph sz="quarter" idx="13"/>
          </p:nvPr>
        </p:nvSpPr>
        <p:spPr>
          <a:xfrm>
            <a:off x="838200" y="1326065"/>
            <a:ext cx="4283075" cy="4335462"/>
          </a:xfrm>
          <a:prstGeom prst="rect">
            <a:avLst/>
          </a:prstGeom>
        </p:spPr>
        <p:txBody>
          <a:bodyPr/>
          <a:lstStyle>
            <a:lvl1pPr marL="0" indent="0">
              <a:buNone/>
              <a:defRPr/>
            </a:lvl1pPr>
          </a:lstStyle>
          <a:p>
            <a:pPr lvl="0"/>
            <a:r>
              <a:rPr lang="nb-NO" noProof="0"/>
              <a:t>Klikk for å redigere tekststiler i malen</a:t>
            </a:r>
          </a:p>
        </p:txBody>
      </p:sp>
      <p:pic>
        <p:nvPicPr>
          <p:cNvPr id="6" name="Bilde 5">
            <a:extLst>
              <a:ext uri="{FF2B5EF4-FFF2-40B4-BE49-F238E27FC236}">
                <a16:creationId xmlns:a16="http://schemas.microsoft.com/office/drawing/2014/main" id="{E4BCB4C8-350B-4C4A-850B-2928E30780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2521" y="6430245"/>
            <a:ext cx="1825937" cy="319232"/>
          </a:xfrm>
          <a:prstGeom prst="rect">
            <a:avLst/>
          </a:prstGeom>
        </p:spPr>
      </p:pic>
      <p:sp>
        <p:nvSpPr>
          <p:cNvPr id="8" name="Plassholder for tekst 6">
            <a:extLst>
              <a:ext uri="{FF2B5EF4-FFF2-40B4-BE49-F238E27FC236}">
                <a16:creationId xmlns:a16="http://schemas.microsoft.com/office/drawing/2014/main" id="{7918BADC-6B7A-426B-BB7E-035CF176468B}"/>
              </a:ext>
            </a:extLst>
          </p:cNvPr>
          <p:cNvSpPr>
            <a:spLocks noGrp="1"/>
          </p:cNvSpPr>
          <p:nvPr>
            <p:ph type="body" sz="quarter" idx="10" hasCustomPrompt="1"/>
          </p:nvPr>
        </p:nvSpPr>
        <p:spPr>
          <a:xfrm>
            <a:off x="838200" y="6429314"/>
            <a:ext cx="9100779" cy="319232"/>
          </a:xfrm>
          <a:prstGeom prst="rect">
            <a:avLst/>
          </a:prstGeom>
        </p:spPr>
        <p:txBody>
          <a:bodyPr>
            <a:noAutofit/>
          </a:bodyPr>
          <a:lstStyle>
            <a:lvl1pPr marL="0" indent="0">
              <a:lnSpc>
                <a:spcPct val="100000"/>
              </a:lnSpc>
              <a:spcBef>
                <a:spcPts val="0"/>
              </a:spcBef>
              <a:buNone/>
              <a:defRPr sz="1000">
                <a:solidFill>
                  <a:srgbClr val="1B1B1B"/>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nb-NO"/>
              <a:t>Source</a:t>
            </a:r>
          </a:p>
        </p:txBody>
      </p:sp>
      <p:sp>
        <p:nvSpPr>
          <p:cNvPr id="11" name="Plassholder for lysbildenummer 38">
            <a:extLst>
              <a:ext uri="{FF2B5EF4-FFF2-40B4-BE49-F238E27FC236}">
                <a16:creationId xmlns:a16="http://schemas.microsoft.com/office/drawing/2014/main" id="{6F150E28-C8C6-4F45-AB71-A22A392F7BD8}"/>
              </a:ext>
            </a:extLst>
          </p:cNvPr>
          <p:cNvSpPr>
            <a:spLocks noGrp="1"/>
          </p:cNvSpPr>
          <p:nvPr>
            <p:ph type="sldNum" sz="quarter" idx="4"/>
          </p:nvPr>
        </p:nvSpPr>
        <p:spPr>
          <a:xfrm>
            <a:off x="0" y="6438839"/>
            <a:ext cx="838200" cy="319232"/>
          </a:xfrm>
          <a:prstGeom prst="rect">
            <a:avLst/>
          </a:prstGeom>
        </p:spPr>
        <p:txBody>
          <a:bodyPr vert="horz" lIns="91440" tIns="45720" rIns="91440" bIns="45720" rtlCol="0" anchor="t"/>
          <a:lstStyle>
            <a:lvl1pPr algn="ctr">
              <a:defRPr sz="1000">
                <a:solidFill>
                  <a:srgbClr val="1B1B1B"/>
                </a:solidFill>
              </a:defRPr>
            </a:lvl1pPr>
          </a:lstStyle>
          <a:p>
            <a:fld id="{EDFF9B70-FADC-4CC7-9FFB-4C4965B0F731}" type="slidenum">
              <a:rPr lang="en-GB" smtClean="0"/>
              <a:pPr/>
              <a:t>‹#›</a:t>
            </a:fld>
            <a:endParaRPr lang="en-GB"/>
          </a:p>
        </p:txBody>
      </p:sp>
    </p:spTree>
    <p:extLst>
      <p:ext uri="{BB962C8B-B14F-4D97-AF65-F5344CB8AC3E}">
        <p14:creationId xmlns:p14="http://schemas.microsoft.com/office/powerpoint/2010/main" val="3609346204"/>
      </p:ext>
    </p:extLst>
  </p:cSld>
  <p:clrMapOvr>
    <a:masterClrMapping/>
  </p:clrMapOvr>
  <p:transition spd="slow">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_Only hea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AFE559D-504A-4E75-89C9-0313E00C5F7E}"/>
              </a:ext>
            </a:extLst>
          </p:cNvPr>
          <p:cNvSpPr>
            <a:spLocks noGrp="1"/>
          </p:cNvSpPr>
          <p:nvPr>
            <p:ph type="title" hasCustomPrompt="1"/>
          </p:nvPr>
        </p:nvSpPr>
        <p:spPr>
          <a:xfrm>
            <a:off x="838200" y="365125"/>
            <a:ext cx="10515600" cy="1325563"/>
          </a:xfrm>
          <a:prstGeom prst="rect">
            <a:avLst/>
          </a:prstGeom>
        </p:spPr>
        <p:txBody>
          <a:bodyPr/>
          <a:lstStyle>
            <a:lvl1pPr>
              <a:defRPr sz="3200" b="0" i="0">
                <a:solidFill>
                  <a:srgbClr val="141E50"/>
                </a:solidFill>
                <a:latin typeface="Helvetica" pitchFamily="2" charset="0"/>
                <a:cs typeface="Arial" panose="020B0604020202020204" pitchFamily="34" charset="0"/>
              </a:defRPr>
            </a:lvl1pPr>
          </a:lstStyle>
          <a:p>
            <a:r>
              <a:rPr lang="en-GB" noProof="0"/>
              <a:t>Click to edit Master title style</a:t>
            </a:r>
          </a:p>
        </p:txBody>
      </p:sp>
      <p:pic>
        <p:nvPicPr>
          <p:cNvPr id="4" name="Bilde 3">
            <a:extLst>
              <a:ext uri="{FF2B5EF4-FFF2-40B4-BE49-F238E27FC236}">
                <a16:creationId xmlns:a16="http://schemas.microsoft.com/office/drawing/2014/main" id="{346DB335-1FBA-47A6-A198-403FA75B3D2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2521" y="6430245"/>
            <a:ext cx="1825937" cy="319232"/>
          </a:xfrm>
          <a:prstGeom prst="rect">
            <a:avLst/>
          </a:prstGeom>
        </p:spPr>
      </p:pic>
      <p:sp>
        <p:nvSpPr>
          <p:cNvPr id="5" name="Plassholder for tekst 6">
            <a:extLst>
              <a:ext uri="{FF2B5EF4-FFF2-40B4-BE49-F238E27FC236}">
                <a16:creationId xmlns:a16="http://schemas.microsoft.com/office/drawing/2014/main" id="{A675FF1B-0A90-4A8D-81C7-7CD1B7B6BA7A}"/>
              </a:ext>
            </a:extLst>
          </p:cNvPr>
          <p:cNvSpPr>
            <a:spLocks noGrp="1"/>
          </p:cNvSpPr>
          <p:nvPr>
            <p:ph type="body" sz="quarter" idx="10" hasCustomPrompt="1"/>
          </p:nvPr>
        </p:nvSpPr>
        <p:spPr>
          <a:xfrm>
            <a:off x="838200" y="6429314"/>
            <a:ext cx="9100779" cy="319232"/>
          </a:xfrm>
          <a:prstGeom prst="rect">
            <a:avLst/>
          </a:prstGeom>
        </p:spPr>
        <p:txBody>
          <a:bodyPr>
            <a:noAutofit/>
          </a:bodyPr>
          <a:lstStyle>
            <a:lvl1pPr marL="0" indent="0">
              <a:lnSpc>
                <a:spcPct val="100000"/>
              </a:lnSpc>
              <a:spcBef>
                <a:spcPts val="0"/>
              </a:spcBef>
              <a:buNone/>
              <a:defRPr sz="1000">
                <a:solidFill>
                  <a:srgbClr val="1B1B1B"/>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nb-NO"/>
              <a:t>Source</a:t>
            </a:r>
          </a:p>
        </p:txBody>
      </p:sp>
      <p:sp>
        <p:nvSpPr>
          <p:cNvPr id="6" name="Plassholder for lysbildenummer 38">
            <a:extLst>
              <a:ext uri="{FF2B5EF4-FFF2-40B4-BE49-F238E27FC236}">
                <a16:creationId xmlns:a16="http://schemas.microsoft.com/office/drawing/2014/main" id="{175A73ED-0227-4CED-9131-EAB9B72DB756}"/>
              </a:ext>
            </a:extLst>
          </p:cNvPr>
          <p:cNvSpPr>
            <a:spLocks noGrp="1"/>
          </p:cNvSpPr>
          <p:nvPr>
            <p:ph type="sldNum" sz="quarter" idx="4"/>
          </p:nvPr>
        </p:nvSpPr>
        <p:spPr>
          <a:xfrm>
            <a:off x="0" y="6438839"/>
            <a:ext cx="838200" cy="319232"/>
          </a:xfrm>
          <a:prstGeom prst="rect">
            <a:avLst/>
          </a:prstGeom>
        </p:spPr>
        <p:txBody>
          <a:bodyPr vert="horz" lIns="91440" tIns="45720" rIns="91440" bIns="45720" rtlCol="0" anchor="t"/>
          <a:lstStyle>
            <a:lvl1pPr algn="ctr">
              <a:defRPr sz="1000">
                <a:solidFill>
                  <a:srgbClr val="1B1B1B"/>
                </a:solidFill>
              </a:defRPr>
            </a:lvl1pPr>
          </a:lstStyle>
          <a:p>
            <a:fld id="{EDFF9B70-FADC-4CC7-9FFB-4C4965B0F731}" type="slidenum">
              <a:rPr lang="en-GB" smtClean="0"/>
              <a:pPr/>
              <a:t>‹#›</a:t>
            </a:fld>
            <a:endParaRPr lang="en-GB"/>
          </a:p>
        </p:txBody>
      </p:sp>
    </p:spTree>
    <p:extLst>
      <p:ext uri="{BB962C8B-B14F-4D97-AF65-F5344CB8AC3E}">
        <p14:creationId xmlns:p14="http://schemas.microsoft.com/office/powerpoint/2010/main" val="650319962"/>
      </p:ext>
    </p:extLst>
  </p:cSld>
  <p:clrMapOvr>
    <a:masterClrMapping/>
  </p:clrMapOvr>
  <p:transition spd="slow">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Only header">
    <p:spTree>
      <p:nvGrpSpPr>
        <p:cNvPr id="1" name=""/>
        <p:cNvGrpSpPr/>
        <p:nvPr/>
      </p:nvGrpSpPr>
      <p:grpSpPr>
        <a:xfrm>
          <a:off x="0" y="0"/>
          <a:ext cx="0" cy="0"/>
          <a:chOff x="0" y="0"/>
          <a:chExt cx="0" cy="0"/>
        </a:xfrm>
      </p:grpSpPr>
      <p:sp>
        <p:nvSpPr>
          <p:cNvPr id="8" name="Rectangle 36">
            <a:extLst>
              <a:ext uri="{FF2B5EF4-FFF2-40B4-BE49-F238E27FC236}">
                <a16:creationId xmlns:a16="http://schemas.microsoft.com/office/drawing/2014/main" id="{184BABCB-3443-4B62-AD28-EFE820BADE8B}"/>
              </a:ext>
            </a:extLst>
          </p:cNvPr>
          <p:cNvSpPr/>
          <p:nvPr userDrawn="1"/>
        </p:nvSpPr>
        <p:spPr>
          <a:xfrm>
            <a:off x="0" y="6319858"/>
            <a:ext cx="12192000" cy="538142"/>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cs typeface="Arial" panose="020B0604020202020204" pitchFamily="34" charset="0"/>
            </a:endParaRPr>
          </a:p>
        </p:txBody>
      </p:sp>
      <p:sp>
        <p:nvSpPr>
          <p:cNvPr id="2" name="Tittel 1">
            <a:extLst>
              <a:ext uri="{FF2B5EF4-FFF2-40B4-BE49-F238E27FC236}">
                <a16:creationId xmlns:a16="http://schemas.microsoft.com/office/drawing/2014/main" id="{FAFE559D-504A-4E75-89C9-0313E00C5F7E}"/>
              </a:ext>
            </a:extLst>
          </p:cNvPr>
          <p:cNvSpPr>
            <a:spLocks noGrp="1"/>
          </p:cNvSpPr>
          <p:nvPr>
            <p:ph type="title" hasCustomPrompt="1"/>
          </p:nvPr>
        </p:nvSpPr>
        <p:spPr>
          <a:xfrm>
            <a:off x="838200" y="365125"/>
            <a:ext cx="10515600" cy="1325563"/>
          </a:xfrm>
          <a:prstGeom prst="rect">
            <a:avLst/>
          </a:prstGeom>
        </p:spPr>
        <p:txBody>
          <a:bodyPr/>
          <a:lstStyle>
            <a:lvl1pPr>
              <a:defRPr sz="3200" b="0" i="0">
                <a:solidFill>
                  <a:srgbClr val="141E50"/>
                </a:solidFill>
                <a:latin typeface="Helvetica" pitchFamily="2" charset="0"/>
                <a:cs typeface="Arial" panose="020B0604020202020204" pitchFamily="34" charset="0"/>
              </a:defRPr>
            </a:lvl1pPr>
          </a:lstStyle>
          <a:p>
            <a:r>
              <a:rPr lang="en-GB" noProof="0"/>
              <a:t>Click to edit Master title style</a:t>
            </a:r>
          </a:p>
        </p:txBody>
      </p:sp>
      <p:pic>
        <p:nvPicPr>
          <p:cNvPr id="7" name="Bilde 6">
            <a:extLst>
              <a:ext uri="{FF2B5EF4-FFF2-40B4-BE49-F238E27FC236}">
                <a16:creationId xmlns:a16="http://schemas.microsoft.com/office/drawing/2014/main" id="{F85C6D54-BB5E-4DD9-831B-232CE4FD03E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2521" y="6429313"/>
            <a:ext cx="1825937" cy="319232"/>
          </a:xfrm>
          <a:prstGeom prst="rect">
            <a:avLst/>
          </a:prstGeom>
        </p:spPr>
      </p:pic>
      <p:sp>
        <p:nvSpPr>
          <p:cNvPr id="10" name="Plassholder for lysbildenummer 38">
            <a:extLst>
              <a:ext uri="{FF2B5EF4-FFF2-40B4-BE49-F238E27FC236}">
                <a16:creationId xmlns:a16="http://schemas.microsoft.com/office/drawing/2014/main" id="{504EEE38-9E7F-48D0-BC21-679C28261D08}"/>
              </a:ext>
            </a:extLst>
          </p:cNvPr>
          <p:cNvSpPr>
            <a:spLocks noGrp="1"/>
          </p:cNvSpPr>
          <p:nvPr>
            <p:ph type="sldNum" sz="quarter" idx="4"/>
          </p:nvPr>
        </p:nvSpPr>
        <p:spPr>
          <a:xfrm>
            <a:off x="0" y="6438839"/>
            <a:ext cx="838200" cy="319232"/>
          </a:xfrm>
          <a:prstGeom prst="rect">
            <a:avLst/>
          </a:prstGeom>
        </p:spPr>
        <p:txBody>
          <a:bodyPr vert="horz" lIns="91440" tIns="45720" rIns="91440" bIns="45720" rtlCol="0" anchor="t"/>
          <a:lstStyle>
            <a:lvl1pPr algn="ctr">
              <a:defRPr sz="1000">
                <a:solidFill>
                  <a:schemeClr val="bg1"/>
                </a:solidFill>
              </a:defRPr>
            </a:lvl1pPr>
          </a:lstStyle>
          <a:p>
            <a:fld id="{EDFF9B70-FADC-4CC7-9FFB-4C4965B0F731}" type="slidenum">
              <a:rPr lang="en-GB" smtClean="0"/>
              <a:pPr/>
              <a:t>‹#›</a:t>
            </a:fld>
            <a:endParaRPr lang="en-GB"/>
          </a:p>
        </p:txBody>
      </p:sp>
    </p:spTree>
    <p:extLst>
      <p:ext uri="{BB962C8B-B14F-4D97-AF65-F5344CB8AC3E}">
        <p14:creationId xmlns:p14="http://schemas.microsoft.com/office/powerpoint/2010/main" val="2039708334"/>
      </p:ext>
    </p:extLst>
  </p:cSld>
  <p:clrMapOvr>
    <a:masterClrMapping/>
  </p:clrMapOvr>
  <p:transition spd="slow">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Blanc with logo 1">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8A7F36D4-7537-4D46-B416-5E096FF07DF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8749" y="409861"/>
            <a:ext cx="1825937" cy="319232"/>
          </a:xfrm>
          <a:prstGeom prst="rect">
            <a:avLst/>
          </a:prstGeom>
        </p:spPr>
      </p:pic>
      <p:sp>
        <p:nvSpPr>
          <p:cNvPr id="3" name="Plassholder for lysbildenummer 38">
            <a:extLst>
              <a:ext uri="{FF2B5EF4-FFF2-40B4-BE49-F238E27FC236}">
                <a16:creationId xmlns:a16="http://schemas.microsoft.com/office/drawing/2014/main" id="{FEFA7774-31E9-4845-A02E-5FE1C03BA0E9}"/>
              </a:ext>
            </a:extLst>
          </p:cNvPr>
          <p:cNvSpPr>
            <a:spLocks noGrp="1"/>
          </p:cNvSpPr>
          <p:nvPr>
            <p:ph type="sldNum" sz="quarter" idx="4"/>
          </p:nvPr>
        </p:nvSpPr>
        <p:spPr>
          <a:xfrm>
            <a:off x="0" y="6438839"/>
            <a:ext cx="838200" cy="319232"/>
          </a:xfrm>
          <a:prstGeom prst="rect">
            <a:avLst/>
          </a:prstGeom>
        </p:spPr>
        <p:txBody>
          <a:bodyPr vert="horz" lIns="91440" tIns="45720" rIns="91440" bIns="45720" rtlCol="0" anchor="t"/>
          <a:lstStyle>
            <a:lvl1pPr algn="ctr">
              <a:defRPr sz="1000">
                <a:solidFill>
                  <a:srgbClr val="1B1B1B"/>
                </a:solidFill>
              </a:defRPr>
            </a:lvl1pPr>
          </a:lstStyle>
          <a:p>
            <a:fld id="{EDFF9B70-FADC-4CC7-9FFB-4C4965B0F731}" type="slidenum">
              <a:rPr lang="en-GB" smtClean="0"/>
              <a:pPr/>
              <a:t>‹#›</a:t>
            </a:fld>
            <a:endParaRPr lang="en-GB"/>
          </a:p>
        </p:txBody>
      </p:sp>
    </p:spTree>
    <p:extLst>
      <p:ext uri="{BB962C8B-B14F-4D97-AF65-F5344CB8AC3E}">
        <p14:creationId xmlns:p14="http://schemas.microsoft.com/office/powerpoint/2010/main" val="259578889"/>
      </p:ext>
    </p:extLst>
  </p:cSld>
  <p:clrMapOvr>
    <a:masterClrMapping/>
  </p:clrMapOvr>
  <p:transition spd="slow">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Text without headlin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300163" y="602470"/>
            <a:ext cx="9658350" cy="4409440"/>
          </a:xfrm>
          <a:prstGeom prst="rect">
            <a:avLst/>
          </a:prstGeom>
        </p:spPr>
        <p:txBody>
          <a:bodyPr anchor="ctr">
            <a:normAutofit/>
          </a:bodyPr>
          <a:lstStyle>
            <a:lvl1pPr marL="0" indent="0" algn="ctr">
              <a:buNone/>
              <a:defRPr sz="4400" b="0" i="0">
                <a:solidFill>
                  <a:srgbClr val="2832DC"/>
                </a:solidFill>
                <a:latin typeface="Helvetica" pitchFamily="2" charset="0"/>
                <a:cs typeface="Arial" panose="020B0604020202020204" pitchFamily="34" charset="0"/>
              </a:defRPr>
            </a:lvl1pPr>
            <a:lvl2pPr algn="ctr">
              <a:defRPr sz="2400"/>
            </a:lvl2pPr>
            <a:lvl3pPr algn="ctr">
              <a:defRPr sz="2000"/>
            </a:lvl3pPr>
            <a:lvl4pPr algn="ctr">
              <a:defRPr sz="1800"/>
            </a:lvl4pPr>
            <a:lvl5pPr algn="ctr">
              <a:defRPr sz="1800"/>
            </a:lvl5pPr>
          </a:lstStyle>
          <a:p>
            <a:pPr lvl="0"/>
            <a:r>
              <a:rPr lang="en-GB" noProof="0"/>
              <a:t>Click to edit Master text styles</a:t>
            </a:r>
          </a:p>
        </p:txBody>
      </p:sp>
      <p:pic>
        <p:nvPicPr>
          <p:cNvPr id="5" name="Bilde 4">
            <a:extLst>
              <a:ext uri="{FF2B5EF4-FFF2-40B4-BE49-F238E27FC236}">
                <a16:creationId xmlns:a16="http://schemas.microsoft.com/office/drawing/2014/main" id="{BD3625BD-0F11-4BE2-9CED-1CFE1DB8234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2521" y="6430245"/>
            <a:ext cx="1825937" cy="319232"/>
          </a:xfrm>
          <a:prstGeom prst="rect">
            <a:avLst/>
          </a:prstGeom>
        </p:spPr>
      </p:pic>
      <p:sp>
        <p:nvSpPr>
          <p:cNvPr id="6" name="Plassholder for lysbildenummer 38">
            <a:extLst>
              <a:ext uri="{FF2B5EF4-FFF2-40B4-BE49-F238E27FC236}">
                <a16:creationId xmlns:a16="http://schemas.microsoft.com/office/drawing/2014/main" id="{11404CA9-0097-42AE-A22E-B05E5C2BC5DE}"/>
              </a:ext>
            </a:extLst>
          </p:cNvPr>
          <p:cNvSpPr>
            <a:spLocks noGrp="1"/>
          </p:cNvSpPr>
          <p:nvPr>
            <p:ph type="sldNum" sz="quarter" idx="4"/>
          </p:nvPr>
        </p:nvSpPr>
        <p:spPr>
          <a:xfrm>
            <a:off x="0" y="6438839"/>
            <a:ext cx="838200" cy="319232"/>
          </a:xfrm>
          <a:prstGeom prst="rect">
            <a:avLst/>
          </a:prstGeom>
        </p:spPr>
        <p:txBody>
          <a:bodyPr vert="horz" lIns="91440" tIns="45720" rIns="91440" bIns="45720" rtlCol="0" anchor="t"/>
          <a:lstStyle>
            <a:lvl1pPr algn="ctr">
              <a:defRPr sz="1000">
                <a:solidFill>
                  <a:srgbClr val="1B1B1B"/>
                </a:solidFill>
              </a:defRPr>
            </a:lvl1pPr>
          </a:lstStyle>
          <a:p>
            <a:fld id="{EDFF9B70-FADC-4CC7-9FFB-4C4965B0F731}" type="slidenum">
              <a:rPr lang="en-GB" smtClean="0"/>
              <a:pPr/>
              <a:t>‹#›</a:t>
            </a:fld>
            <a:endParaRPr lang="en-GB"/>
          </a:p>
        </p:txBody>
      </p:sp>
    </p:spTree>
    <p:extLst>
      <p:ext uri="{BB962C8B-B14F-4D97-AF65-F5344CB8AC3E}">
        <p14:creationId xmlns:p14="http://schemas.microsoft.com/office/powerpoint/2010/main" val="1010256873"/>
      </p:ext>
    </p:extLst>
  </p:cSld>
  <p:clrMapOvr>
    <a:masterClrMapping/>
  </p:clrMapOvr>
  <p:transition spd="slow">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Image on the right">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7721600" y="1"/>
            <a:ext cx="4470400" cy="6858000"/>
          </a:xfrm>
          <a:prstGeom prst="rect">
            <a:avLst/>
          </a:prstGeom>
          <a:solidFill>
            <a:schemeClr val="bg1">
              <a:lumMod val="85000"/>
            </a:schemeClr>
          </a:solidFill>
        </p:spPr>
        <p:txBody>
          <a:bodyPr anchor="b">
            <a:normAutofit/>
          </a:bodyPr>
          <a:lstStyle>
            <a:lvl1pPr algn="ctr">
              <a:defRPr sz="2000" b="0" i="0">
                <a:solidFill>
                  <a:schemeClr val="accent5"/>
                </a:solidFill>
                <a:latin typeface="Helvetica" pitchFamily="2" charset="0"/>
                <a:cs typeface="Arial" panose="020B0604020202020204" pitchFamily="34" charset="0"/>
              </a:defRPr>
            </a:lvl1pPr>
          </a:lstStyle>
          <a:p>
            <a:r>
              <a:rPr lang="en-GB" noProof="0"/>
              <a:t>Click on icon and add a picture</a:t>
            </a:r>
          </a:p>
          <a:p>
            <a:endParaRPr lang="en-GB" noProof="0"/>
          </a:p>
        </p:txBody>
      </p:sp>
      <p:sp>
        <p:nvSpPr>
          <p:cNvPr id="2" name="Title 1"/>
          <p:cNvSpPr>
            <a:spLocks noGrp="1"/>
          </p:cNvSpPr>
          <p:nvPr>
            <p:ph type="title" hasCustomPrompt="1"/>
          </p:nvPr>
        </p:nvSpPr>
        <p:spPr>
          <a:xfrm>
            <a:off x="838200" y="195446"/>
            <a:ext cx="6456680" cy="857568"/>
          </a:xfrm>
          <a:prstGeom prst="rect">
            <a:avLst/>
          </a:prstGeom>
        </p:spPr>
        <p:txBody>
          <a:bodyPr/>
          <a:lstStyle>
            <a:lvl1pPr>
              <a:defRPr sz="3200" b="0" i="0">
                <a:solidFill>
                  <a:srgbClr val="141E50"/>
                </a:solidFill>
                <a:latin typeface="Helvetica" pitchFamily="2" charset="0"/>
                <a:cs typeface="Arial" panose="020B0604020202020204" pitchFamily="34" charset="0"/>
              </a:defRPr>
            </a:lvl1pPr>
          </a:lstStyle>
          <a:p>
            <a:r>
              <a:rPr lang="en-GB" noProof="0"/>
              <a:t>Click to edit title style</a:t>
            </a:r>
          </a:p>
        </p:txBody>
      </p:sp>
      <p:sp>
        <p:nvSpPr>
          <p:cNvPr id="3" name="Content Placeholder 2"/>
          <p:cNvSpPr>
            <a:spLocks noGrp="1"/>
          </p:cNvSpPr>
          <p:nvPr>
            <p:ph idx="1" hasCustomPrompt="1"/>
          </p:nvPr>
        </p:nvSpPr>
        <p:spPr>
          <a:xfrm>
            <a:off x="838200" y="1187951"/>
            <a:ext cx="6456680" cy="5050423"/>
          </a:xfrm>
          <a:prstGeom prst="rect">
            <a:avLst/>
          </a:prstGeom>
        </p:spPr>
        <p:txBody>
          <a:bodyPr/>
          <a:lstStyle>
            <a:lvl1pPr marL="0" indent="0">
              <a:buFont typeface="Arial" panose="020B0604020202020204" pitchFamily="34" charset="0"/>
              <a:buNone/>
              <a:defRPr b="0" i="0">
                <a:latin typeface="Helvetica" pitchFamily="2" charset="0"/>
                <a:cs typeface="Arial" panose="020B0604020202020204" pitchFamily="34" charset="0"/>
              </a:defRPr>
            </a:lvl1pPr>
            <a:lvl2pPr>
              <a:defRPr b="0" i="0">
                <a:latin typeface="Helvetica" pitchFamily="2" charset="0"/>
                <a:cs typeface="Arial" panose="020B0604020202020204" pitchFamily="34" charset="0"/>
              </a:defRPr>
            </a:lvl2pPr>
            <a:lvl3pPr>
              <a:defRPr b="0" i="0">
                <a:latin typeface="Helvetica" pitchFamily="2" charset="0"/>
                <a:cs typeface="Arial" panose="020B0604020202020204" pitchFamily="34" charset="0"/>
              </a:defRPr>
            </a:lvl3pPr>
            <a:lvl4pPr>
              <a:defRPr b="0" i="0">
                <a:latin typeface="Helvetica" pitchFamily="2" charset="0"/>
                <a:cs typeface="Arial" panose="020B0604020202020204" pitchFamily="34" charset="0"/>
              </a:defRPr>
            </a:lvl4pPr>
            <a:lvl5pPr>
              <a:defRPr b="0" i="0">
                <a:latin typeface="Helvetica"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lassholder for tekst 6">
            <a:extLst>
              <a:ext uri="{FF2B5EF4-FFF2-40B4-BE49-F238E27FC236}">
                <a16:creationId xmlns:a16="http://schemas.microsoft.com/office/drawing/2014/main" id="{94F98F37-022D-442A-AD51-96FC9CBBAA64}"/>
              </a:ext>
            </a:extLst>
          </p:cNvPr>
          <p:cNvSpPr>
            <a:spLocks noGrp="1"/>
          </p:cNvSpPr>
          <p:nvPr>
            <p:ph type="body" sz="quarter" idx="11" hasCustomPrompt="1"/>
          </p:nvPr>
        </p:nvSpPr>
        <p:spPr>
          <a:xfrm>
            <a:off x="838201" y="6429314"/>
            <a:ext cx="6456680" cy="319232"/>
          </a:xfrm>
          <a:prstGeom prst="rect">
            <a:avLst/>
          </a:prstGeom>
        </p:spPr>
        <p:txBody>
          <a:bodyPr>
            <a:noAutofit/>
          </a:bodyPr>
          <a:lstStyle>
            <a:lvl1pPr marL="0" indent="0">
              <a:lnSpc>
                <a:spcPct val="100000"/>
              </a:lnSpc>
              <a:spcBef>
                <a:spcPts val="0"/>
              </a:spcBef>
              <a:buNone/>
              <a:defRPr sz="1000">
                <a:solidFill>
                  <a:srgbClr val="1B1B1B"/>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nb-NO"/>
              <a:t>Source</a:t>
            </a:r>
          </a:p>
        </p:txBody>
      </p:sp>
      <p:sp>
        <p:nvSpPr>
          <p:cNvPr id="7" name="Plassholder for lysbildenummer 38">
            <a:extLst>
              <a:ext uri="{FF2B5EF4-FFF2-40B4-BE49-F238E27FC236}">
                <a16:creationId xmlns:a16="http://schemas.microsoft.com/office/drawing/2014/main" id="{ED7AC3E7-0CC9-4FC7-BFA0-5A2281382CF1}"/>
              </a:ext>
            </a:extLst>
          </p:cNvPr>
          <p:cNvSpPr>
            <a:spLocks noGrp="1"/>
          </p:cNvSpPr>
          <p:nvPr>
            <p:ph type="sldNum" sz="quarter" idx="4"/>
          </p:nvPr>
        </p:nvSpPr>
        <p:spPr>
          <a:xfrm>
            <a:off x="0" y="6438839"/>
            <a:ext cx="838200" cy="319232"/>
          </a:xfrm>
          <a:prstGeom prst="rect">
            <a:avLst/>
          </a:prstGeom>
        </p:spPr>
        <p:txBody>
          <a:bodyPr vert="horz" lIns="91440" tIns="45720" rIns="91440" bIns="45720" rtlCol="0" anchor="t"/>
          <a:lstStyle>
            <a:lvl1pPr algn="ctr">
              <a:defRPr sz="1000">
                <a:solidFill>
                  <a:srgbClr val="1B1B1B"/>
                </a:solidFill>
              </a:defRPr>
            </a:lvl1pPr>
          </a:lstStyle>
          <a:p>
            <a:fld id="{EDFF9B70-FADC-4CC7-9FFB-4C4965B0F731}" type="slidenum">
              <a:rPr lang="en-GB" smtClean="0"/>
              <a:pPr/>
              <a:t>‹#›</a:t>
            </a:fld>
            <a:endParaRPr lang="en-GB"/>
          </a:p>
        </p:txBody>
      </p:sp>
    </p:spTree>
    <p:extLst>
      <p:ext uri="{BB962C8B-B14F-4D97-AF65-F5344CB8AC3E}">
        <p14:creationId xmlns:p14="http://schemas.microsoft.com/office/powerpoint/2010/main" val="2113077807"/>
      </p:ext>
    </p:extLst>
  </p:cSld>
  <p:clrMapOvr>
    <a:masterClrMapping/>
  </p:clrMapOvr>
  <p:transition spd="slow">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Image on the left">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1"/>
            <a:ext cx="4470400" cy="6858000"/>
          </a:xfrm>
          <a:prstGeom prst="rect">
            <a:avLst/>
          </a:prstGeom>
          <a:solidFill>
            <a:schemeClr val="bg1">
              <a:lumMod val="85000"/>
            </a:schemeClr>
          </a:solidFill>
        </p:spPr>
        <p:txBody>
          <a:bodyPr anchor="b">
            <a:normAutofit/>
          </a:bodyPr>
          <a:lstStyle>
            <a:lvl1pPr algn="ctr">
              <a:defRPr sz="2000" b="0" i="0">
                <a:solidFill>
                  <a:srgbClr val="141E50"/>
                </a:solidFill>
                <a:latin typeface="Helvetica" pitchFamily="2" charset="0"/>
                <a:cs typeface="Arial" panose="020B0604020202020204" pitchFamily="34" charset="0"/>
              </a:defRPr>
            </a:lvl1pPr>
          </a:lstStyle>
          <a:p>
            <a:r>
              <a:rPr lang="en-GB" noProof="0"/>
              <a:t>Click on icon and add a picture</a:t>
            </a:r>
          </a:p>
          <a:p>
            <a:endParaRPr lang="en-GB" noProof="0"/>
          </a:p>
        </p:txBody>
      </p:sp>
      <p:sp>
        <p:nvSpPr>
          <p:cNvPr id="2" name="Title 1"/>
          <p:cNvSpPr>
            <a:spLocks noGrp="1"/>
          </p:cNvSpPr>
          <p:nvPr>
            <p:ph type="title" hasCustomPrompt="1"/>
          </p:nvPr>
        </p:nvSpPr>
        <p:spPr>
          <a:xfrm>
            <a:off x="4902200" y="195447"/>
            <a:ext cx="6456680" cy="857568"/>
          </a:xfrm>
          <a:prstGeom prst="rect">
            <a:avLst/>
          </a:prstGeom>
        </p:spPr>
        <p:txBody>
          <a:bodyPr/>
          <a:lstStyle>
            <a:lvl1pPr>
              <a:defRPr sz="3200" b="0" i="0">
                <a:solidFill>
                  <a:srgbClr val="141E50"/>
                </a:solidFill>
                <a:latin typeface="Helvetica" pitchFamily="2" charset="0"/>
                <a:cs typeface="Arial" panose="020B0604020202020204" pitchFamily="34" charset="0"/>
              </a:defRPr>
            </a:lvl1pPr>
          </a:lstStyle>
          <a:p>
            <a:r>
              <a:rPr lang="en-GB" noProof="0"/>
              <a:t>Click to edit Master title style</a:t>
            </a:r>
          </a:p>
        </p:txBody>
      </p:sp>
      <p:sp>
        <p:nvSpPr>
          <p:cNvPr id="3" name="Content Placeholder 2"/>
          <p:cNvSpPr>
            <a:spLocks noGrp="1"/>
          </p:cNvSpPr>
          <p:nvPr>
            <p:ph idx="1" hasCustomPrompt="1"/>
          </p:nvPr>
        </p:nvSpPr>
        <p:spPr>
          <a:xfrm>
            <a:off x="4902200" y="1187952"/>
            <a:ext cx="6456680" cy="5104564"/>
          </a:xfrm>
          <a:prstGeom prst="rect">
            <a:avLst/>
          </a:prstGeom>
        </p:spPr>
        <p:txBody>
          <a:bodyPr/>
          <a:lstStyle>
            <a:lvl1pPr marL="342900" indent="-342900">
              <a:buFont typeface="Arial" panose="020B0604020202020204" pitchFamily="34" charset="0"/>
              <a:buChar char="•"/>
              <a:defRPr b="0" i="0">
                <a:latin typeface="Helvetica" pitchFamily="2" charset="0"/>
                <a:cs typeface="Arial" panose="020B0604020202020204" pitchFamily="34" charset="0"/>
              </a:defRPr>
            </a:lvl1pPr>
            <a:lvl2pPr>
              <a:defRPr b="0" i="0">
                <a:latin typeface="Helvetica" pitchFamily="2" charset="0"/>
                <a:cs typeface="Arial" panose="020B0604020202020204" pitchFamily="34" charset="0"/>
              </a:defRPr>
            </a:lvl2pPr>
            <a:lvl3pPr>
              <a:defRPr b="0" i="0">
                <a:latin typeface="Helvetica" pitchFamily="2" charset="0"/>
                <a:cs typeface="Arial" panose="020B0604020202020204" pitchFamily="34" charset="0"/>
              </a:defRPr>
            </a:lvl3pPr>
            <a:lvl4pPr>
              <a:defRPr b="0" i="0">
                <a:latin typeface="Helvetica" pitchFamily="2" charset="0"/>
                <a:cs typeface="Arial" panose="020B0604020202020204" pitchFamily="34" charset="0"/>
              </a:defRPr>
            </a:lvl4pPr>
            <a:lvl5pPr>
              <a:defRPr b="0" i="0">
                <a:latin typeface="Helvetica"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7" name="Bilde 6">
            <a:extLst>
              <a:ext uri="{FF2B5EF4-FFF2-40B4-BE49-F238E27FC236}">
                <a16:creationId xmlns:a16="http://schemas.microsoft.com/office/drawing/2014/main" id="{4EF237EB-F7F1-4DFE-9EE2-9BC0D638CA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2521" y="6430245"/>
            <a:ext cx="1825937" cy="319232"/>
          </a:xfrm>
          <a:prstGeom prst="rect">
            <a:avLst/>
          </a:prstGeom>
        </p:spPr>
      </p:pic>
      <p:sp>
        <p:nvSpPr>
          <p:cNvPr id="6" name="Plassholder for tekst 6">
            <a:extLst>
              <a:ext uri="{FF2B5EF4-FFF2-40B4-BE49-F238E27FC236}">
                <a16:creationId xmlns:a16="http://schemas.microsoft.com/office/drawing/2014/main" id="{E160C00A-EB2C-4AA7-ACD4-33F04EF66975}"/>
              </a:ext>
            </a:extLst>
          </p:cNvPr>
          <p:cNvSpPr>
            <a:spLocks noGrp="1"/>
          </p:cNvSpPr>
          <p:nvPr>
            <p:ph type="body" sz="quarter" idx="11" hasCustomPrompt="1"/>
          </p:nvPr>
        </p:nvSpPr>
        <p:spPr>
          <a:xfrm>
            <a:off x="4902200" y="6429314"/>
            <a:ext cx="5036779" cy="319232"/>
          </a:xfrm>
          <a:prstGeom prst="rect">
            <a:avLst/>
          </a:prstGeom>
        </p:spPr>
        <p:txBody>
          <a:bodyPr>
            <a:noAutofit/>
          </a:bodyPr>
          <a:lstStyle>
            <a:lvl1pPr marL="0" indent="0">
              <a:lnSpc>
                <a:spcPct val="100000"/>
              </a:lnSpc>
              <a:spcBef>
                <a:spcPts val="0"/>
              </a:spcBef>
              <a:buNone/>
              <a:defRPr sz="1000">
                <a:solidFill>
                  <a:srgbClr val="1B1B1B"/>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nb-NO"/>
              <a:t>Source</a:t>
            </a:r>
          </a:p>
        </p:txBody>
      </p:sp>
    </p:spTree>
    <p:extLst>
      <p:ext uri="{BB962C8B-B14F-4D97-AF65-F5344CB8AC3E}">
        <p14:creationId xmlns:p14="http://schemas.microsoft.com/office/powerpoint/2010/main" val="2947129908"/>
      </p:ext>
    </p:extLst>
  </p:cSld>
  <p:clrMapOvr>
    <a:masterClrMapping/>
  </p:clrMapOvr>
  <p:transition spd="slow">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6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grpSp>
        <p:nvGrpSpPr>
          <p:cNvPr id="15" name="Group 14">
            <a:extLst>
              <a:ext uri="{FF2B5EF4-FFF2-40B4-BE49-F238E27FC236}">
                <a16:creationId xmlns:a16="http://schemas.microsoft.com/office/drawing/2014/main" id="{695E2979-A264-70BD-555D-9C31C89B99C2}"/>
              </a:ext>
            </a:extLst>
          </p:cNvPr>
          <p:cNvGrpSpPr/>
          <p:nvPr userDrawn="1"/>
        </p:nvGrpSpPr>
        <p:grpSpPr>
          <a:xfrm>
            <a:off x="731838" y="4768603"/>
            <a:ext cx="5202388" cy="1070771"/>
            <a:chOff x="558332" y="2312872"/>
            <a:chExt cx="5202388" cy="756000"/>
          </a:xfrm>
        </p:grpSpPr>
        <p:sp>
          <p:nvSpPr>
            <p:cNvPr id="16" name="Rectangle 15">
              <a:extLst>
                <a:ext uri="{FF2B5EF4-FFF2-40B4-BE49-F238E27FC236}">
                  <a16:creationId xmlns:a16="http://schemas.microsoft.com/office/drawing/2014/main" id="{5A95CCCA-102E-EF68-04F2-04CF2EC0D71D}"/>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3EE749C5-12C4-D619-3255-42F84C1B0073}"/>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8" name="Text Placeholder 20">
            <a:extLst>
              <a:ext uri="{FF2B5EF4-FFF2-40B4-BE49-F238E27FC236}">
                <a16:creationId xmlns:a16="http://schemas.microsoft.com/office/drawing/2014/main" id="{2D990C2F-6E86-3D57-71A9-0EC247EF1E73}"/>
              </a:ext>
            </a:extLst>
          </p:cNvPr>
          <p:cNvSpPr>
            <a:spLocks noGrp="1"/>
          </p:cNvSpPr>
          <p:nvPr>
            <p:ph type="body" sz="quarter" idx="13" hasCustomPrompt="1"/>
          </p:nvPr>
        </p:nvSpPr>
        <p:spPr>
          <a:xfrm>
            <a:off x="817639" y="4832982"/>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19" name="Group 18">
            <a:extLst>
              <a:ext uri="{FF2B5EF4-FFF2-40B4-BE49-F238E27FC236}">
                <a16:creationId xmlns:a16="http://schemas.microsoft.com/office/drawing/2014/main" id="{650D11A3-D263-14DD-3733-CD4D2938DB81}"/>
              </a:ext>
            </a:extLst>
          </p:cNvPr>
          <p:cNvGrpSpPr/>
          <p:nvPr userDrawn="1"/>
        </p:nvGrpSpPr>
        <p:grpSpPr>
          <a:xfrm>
            <a:off x="731838" y="3575292"/>
            <a:ext cx="5202388" cy="1070771"/>
            <a:chOff x="558332" y="2312872"/>
            <a:chExt cx="5202388" cy="756000"/>
          </a:xfrm>
        </p:grpSpPr>
        <p:sp>
          <p:nvSpPr>
            <p:cNvPr id="20" name="Rectangle 19">
              <a:extLst>
                <a:ext uri="{FF2B5EF4-FFF2-40B4-BE49-F238E27FC236}">
                  <a16:creationId xmlns:a16="http://schemas.microsoft.com/office/drawing/2014/main" id="{9D1217C1-C2C0-3651-3A4C-AD62443C809C}"/>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E77A3BA5-0BF4-57C8-4CDA-B3213523080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23C11601-452E-0C34-0222-E299865A8A59}"/>
              </a:ext>
            </a:extLst>
          </p:cNvPr>
          <p:cNvGrpSpPr/>
          <p:nvPr userDrawn="1"/>
        </p:nvGrpSpPr>
        <p:grpSpPr>
          <a:xfrm>
            <a:off x="731838" y="2381981"/>
            <a:ext cx="5202388" cy="1070771"/>
            <a:chOff x="558332" y="2312872"/>
            <a:chExt cx="5202388" cy="756000"/>
          </a:xfrm>
        </p:grpSpPr>
        <p:sp>
          <p:nvSpPr>
            <p:cNvPr id="33" name="Rectangle 32">
              <a:extLst>
                <a:ext uri="{FF2B5EF4-FFF2-40B4-BE49-F238E27FC236}">
                  <a16:creationId xmlns:a16="http://schemas.microsoft.com/office/drawing/2014/main" id="{3A29BEAE-EEB8-A485-0568-1CCF8FA3E2BC}"/>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BF79195B-E970-3457-F0DB-6DE3AB238E3E}"/>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5" name="Text Placeholder 20">
            <a:extLst>
              <a:ext uri="{FF2B5EF4-FFF2-40B4-BE49-F238E27FC236}">
                <a16:creationId xmlns:a16="http://schemas.microsoft.com/office/drawing/2014/main" id="{46450FDC-9A98-3624-3A28-C4C680E51476}"/>
              </a:ext>
            </a:extLst>
          </p:cNvPr>
          <p:cNvSpPr>
            <a:spLocks noGrp="1"/>
          </p:cNvSpPr>
          <p:nvPr>
            <p:ph type="body" sz="quarter" idx="14" hasCustomPrompt="1"/>
          </p:nvPr>
        </p:nvSpPr>
        <p:spPr>
          <a:xfrm>
            <a:off x="817639" y="3628206"/>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6" name="Text Placeholder 20">
            <a:extLst>
              <a:ext uri="{FF2B5EF4-FFF2-40B4-BE49-F238E27FC236}">
                <a16:creationId xmlns:a16="http://schemas.microsoft.com/office/drawing/2014/main" id="{49CBE21D-FBDF-140E-6D35-005ADF870536}"/>
              </a:ext>
            </a:extLst>
          </p:cNvPr>
          <p:cNvSpPr>
            <a:spLocks noGrp="1"/>
          </p:cNvSpPr>
          <p:nvPr>
            <p:ph type="body" sz="quarter" idx="15" hasCustomPrompt="1"/>
          </p:nvPr>
        </p:nvSpPr>
        <p:spPr>
          <a:xfrm>
            <a:off x="817639" y="2458235"/>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25" name="Bilde 3">
            <a:extLst>
              <a:ext uri="{FF2B5EF4-FFF2-40B4-BE49-F238E27FC236}">
                <a16:creationId xmlns:a16="http://schemas.microsoft.com/office/drawing/2014/main" id="{424BDAF4-D422-3AC5-47B1-4F05D60BB9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70BDCB77-5919-9FD6-02AD-705B6BAD4FF3}"/>
              </a:ext>
            </a:extLst>
          </p:cNvPr>
          <p:cNvSpPr>
            <a:spLocks noGrp="1"/>
          </p:cNvSpPr>
          <p:nvPr>
            <p:ph type="dt" sz="half" idx="16"/>
          </p:nvPr>
        </p:nvSpPr>
        <p:spPr>
          <a:xfrm>
            <a:off x="2303627" y="6492875"/>
            <a:ext cx="528585" cy="365125"/>
          </a:xfrm>
        </p:spPr>
        <p:txBody>
          <a:bodyPr/>
          <a:lstStyle/>
          <a:p>
            <a:fld id="{61374ABC-F14C-6C42-B8AD-47B44996CE83}" type="datetime1">
              <a:rPr lang="nb-NO" smtClean="0"/>
              <a:t>20.08.2024</a:t>
            </a:fld>
            <a:endParaRPr lang="en-US"/>
          </a:p>
        </p:txBody>
      </p:sp>
      <p:sp>
        <p:nvSpPr>
          <p:cNvPr id="26" name="Footer Placeholder 3">
            <a:extLst>
              <a:ext uri="{FF2B5EF4-FFF2-40B4-BE49-F238E27FC236}">
                <a16:creationId xmlns:a16="http://schemas.microsoft.com/office/drawing/2014/main" id="{3BE94EF0-077E-7A72-B08A-C1C403280FDF}"/>
              </a:ext>
            </a:extLst>
          </p:cNvPr>
          <p:cNvSpPr>
            <a:spLocks noGrp="1"/>
          </p:cNvSpPr>
          <p:nvPr>
            <p:ph type="ftr" sz="quarter" idx="17"/>
          </p:nvPr>
        </p:nvSpPr>
        <p:spPr>
          <a:xfrm>
            <a:off x="175116" y="6492875"/>
            <a:ext cx="2107096" cy="365125"/>
          </a:xfrm>
        </p:spPr>
        <p:txBody>
          <a:bodyPr/>
          <a:lstStyle/>
          <a:p>
            <a:r>
              <a:rPr lang="en-US"/>
              <a:t>© StrongPoint 2022</a:t>
            </a:r>
          </a:p>
        </p:txBody>
      </p:sp>
      <p:sp>
        <p:nvSpPr>
          <p:cNvPr id="27" name="Slide Number Placeholder 4">
            <a:extLst>
              <a:ext uri="{FF2B5EF4-FFF2-40B4-BE49-F238E27FC236}">
                <a16:creationId xmlns:a16="http://schemas.microsoft.com/office/drawing/2014/main" id="{30D922FC-A49B-FD69-6391-505A8FE74E59}"/>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36601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userDrawn="1">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Blanc">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4185189"/>
      </p:ext>
    </p:extLst>
  </p:cSld>
  <p:clrMapOvr>
    <a:masterClrMapping/>
  </p:clrMapOvr>
  <p:transition spd="slow">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2_Headlin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95447"/>
            <a:ext cx="10515600" cy="85756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0" kern="1200">
                <a:solidFill>
                  <a:schemeClr val="accent6"/>
                </a:solidFill>
                <a:latin typeface="Arial" panose="020B0604020202020204" pitchFamily="34" charset="0"/>
                <a:ea typeface="+mj-ea"/>
                <a:cs typeface="Arial" panose="020B0604020202020204" pitchFamily="34" charset="0"/>
              </a:defRPr>
            </a:lvl1pPr>
          </a:lstStyle>
          <a:p>
            <a:r>
              <a:rPr lang="en-GB" noProof="0"/>
              <a:t>Click to edit Master title style</a:t>
            </a:r>
          </a:p>
        </p:txBody>
      </p:sp>
      <p:sp>
        <p:nvSpPr>
          <p:cNvPr id="3" name="Content Placeholder 2"/>
          <p:cNvSpPr>
            <a:spLocks noGrp="1"/>
          </p:cNvSpPr>
          <p:nvPr>
            <p:ph idx="1" hasCustomPrompt="1"/>
          </p:nvPr>
        </p:nvSpPr>
        <p:spPr>
          <a:xfrm>
            <a:off x="838200" y="1187952"/>
            <a:ext cx="10515600" cy="4351338"/>
          </a:xfrm>
          <a:prstGeom prst="rect">
            <a:avLst/>
          </a:prstGeom>
        </p:spPr>
        <p:txBody>
          <a:bodyPr vert="horz" lIns="91440" tIns="45720" rIns="91440" bIns="45720" rtlCol="0">
            <a:normAutofit/>
          </a:bodyPr>
          <a:lstStyle>
            <a:lvl1pPr marL="342900" indent="-342900" algn="l" defTabSz="914400" rtl="0" eaLnBrk="1" latinLnBrk="0" hangingPunct="1">
              <a:lnSpc>
                <a:spcPct val="90000"/>
              </a:lnSpc>
              <a:spcBef>
                <a:spcPts val="1000"/>
              </a:spcBef>
              <a:buClr>
                <a:schemeClr val="tx1"/>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1"/>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5" name="Bilde 4">
            <a:extLst>
              <a:ext uri="{FF2B5EF4-FFF2-40B4-BE49-F238E27FC236}">
                <a16:creationId xmlns:a16="http://schemas.microsoft.com/office/drawing/2014/main" id="{0096DD13-1996-423A-AAFD-299278D609E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152521" y="6430245"/>
            <a:ext cx="1825937" cy="319232"/>
          </a:xfrm>
          <a:prstGeom prst="rect">
            <a:avLst/>
          </a:prstGeom>
        </p:spPr>
      </p:pic>
    </p:spTree>
    <p:extLst>
      <p:ext uri="{BB962C8B-B14F-4D97-AF65-F5344CB8AC3E}">
        <p14:creationId xmlns:p14="http://schemas.microsoft.com/office/powerpoint/2010/main" val="29958452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62_Custom Layout">
    <p:bg>
      <p:bgPr>
        <a:solidFill>
          <a:srgbClr val="2832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5D4AB-B803-4643-BCDF-D6393E1CDC9B}"/>
              </a:ext>
            </a:extLst>
          </p:cNvPr>
          <p:cNvSpPr>
            <a:spLocks noGrp="1"/>
          </p:cNvSpPr>
          <p:nvPr>
            <p:ph type="title"/>
          </p:nvPr>
        </p:nvSpPr>
        <p:spPr>
          <a:xfrm>
            <a:off x="1218623" y="4203099"/>
            <a:ext cx="5514686" cy="1325563"/>
          </a:xfrm>
          <a:prstGeom prst="rect">
            <a:avLst/>
          </a:prstGeom>
        </p:spPr>
        <p:txBody>
          <a:bodyPr anchor="b"/>
          <a:lstStyle>
            <a:lvl1pPr>
              <a:defRPr sz="4000" b="0" i="0">
                <a:solidFill>
                  <a:schemeClr val="bg1"/>
                </a:solidFill>
                <a:latin typeface="Helvetica Light" panose="020B0403020202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31401447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44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8" name="Title 1">
            <a:extLst>
              <a:ext uri="{FF2B5EF4-FFF2-40B4-BE49-F238E27FC236}">
                <a16:creationId xmlns:a16="http://schemas.microsoft.com/office/drawing/2014/main" id="{24C98934-0BC0-6144-9BC0-31616D8C2519}"/>
              </a:ext>
            </a:extLst>
          </p:cNvPr>
          <p:cNvSpPr>
            <a:spLocks noGrp="1"/>
          </p:cNvSpPr>
          <p:nvPr>
            <p:ph type="title" hasCustomPrompt="1"/>
          </p:nvPr>
        </p:nvSpPr>
        <p:spPr>
          <a:xfrm>
            <a:off x="741777" y="365126"/>
            <a:ext cx="10671895" cy="1036620"/>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0" name="Bilde 3">
            <a:extLst>
              <a:ext uri="{FF2B5EF4-FFF2-40B4-BE49-F238E27FC236}">
                <a16:creationId xmlns:a16="http://schemas.microsoft.com/office/drawing/2014/main" id="{8F41D518-6784-585C-BEDA-150EF2A499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1" name="Text Placeholder 20">
            <a:extLst>
              <a:ext uri="{FF2B5EF4-FFF2-40B4-BE49-F238E27FC236}">
                <a16:creationId xmlns:a16="http://schemas.microsoft.com/office/drawing/2014/main" id="{0D31FB67-27C8-9D49-44F1-EDEDC8A9FD23}"/>
              </a:ext>
            </a:extLst>
          </p:cNvPr>
          <p:cNvSpPr>
            <a:spLocks noGrp="1"/>
          </p:cNvSpPr>
          <p:nvPr>
            <p:ph type="body" sz="quarter" idx="22" hasCustomPrompt="1"/>
          </p:nvPr>
        </p:nvSpPr>
        <p:spPr>
          <a:xfrm>
            <a:off x="731837" y="1555199"/>
            <a:ext cx="10559013" cy="314610"/>
          </a:xfrm>
          <a:prstGeom prst="rect">
            <a:avLst/>
          </a:prstGeom>
        </p:spPr>
        <p:txBody>
          <a:bodyPr anchor="t">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2" name="Text Placeholder 20">
            <a:extLst>
              <a:ext uri="{FF2B5EF4-FFF2-40B4-BE49-F238E27FC236}">
                <a16:creationId xmlns:a16="http://schemas.microsoft.com/office/drawing/2014/main" id="{69679182-FAE3-13C5-B33C-B5EB0EE5763E}"/>
              </a:ext>
            </a:extLst>
          </p:cNvPr>
          <p:cNvSpPr>
            <a:spLocks noGrp="1"/>
          </p:cNvSpPr>
          <p:nvPr>
            <p:ph type="body" sz="quarter" idx="15" hasCustomPrompt="1"/>
          </p:nvPr>
        </p:nvSpPr>
        <p:spPr>
          <a:xfrm>
            <a:off x="741776" y="2017226"/>
            <a:ext cx="10549075" cy="4035704"/>
          </a:xfrm>
          <a:prstGeom prst="rect">
            <a:avLst/>
          </a:prstGeom>
        </p:spPr>
        <p:txBody>
          <a:bodyPr anchor="t">
            <a:noAutofit/>
          </a:bodyPr>
          <a:lstStyle>
            <a:lvl1pPr marL="0" indent="0">
              <a:buNone/>
              <a:defRPr sz="12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3" name="Date Placeholder 2">
            <a:extLst>
              <a:ext uri="{FF2B5EF4-FFF2-40B4-BE49-F238E27FC236}">
                <a16:creationId xmlns:a16="http://schemas.microsoft.com/office/drawing/2014/main" id="{DD2C5759-92AC-9F4E-F31D-6058BE479403}"/>
              </a:ext>
            </a:extLst>
          </p:cNvPr>
          <p:cNvSpPr>
            <a:spLocks noGrp="1"/>
          </p:cNvSpPr>
          <p:nvPr>
            <p:ph type="dt" sz="half" idx="16"/>
          </p:nvPr>
        </p:nvSpPr>
        <p:spPr>
          <a:xfrm>
            <a:off x="2303627" y="6492875"/>
            <a:ext cx="528585" cy="365125"/>
          </a:xfrm>
        </p:spPr>
        <p:txBody>
          <a:bodyPr/>
          <a:lstStyle/>
          <a:p>
            <a:endParaRPr lang="en-US"/>
          </a:p>
        </p:txBody>
      </p:sp>
      <p:sp>
        <p:nvSpPr>
          <p:cNvPr id="14" name="Footer Placeholder 3">
            <a:extLst>
              <a:ext uri="{FF2B5EF4-FFF2-40B4-BE49-F238E27FC236}">
                <a16:creationId xmlns:a16="http://schemas.microsoft.com/office/drawing/2014/main" id="{B9BAD17B-B40E-C4E1-1CDA-75F73720EFCA}"/>
              </a:ext>
            </a:extLst>
          </p:cNvPr>
          <p:cNvSpPr>
            <a:spLocks noGrp="1"/>
          </p:cNvSpPr>
          <p:nvPr>
            <p:ph type="ftr" sz="quarter" idx="17"/>
          </p:nvPr>
        </p:nvSpPr>
        <p:spPr>
          <a:xfrm>
            <a:off x="175116" y="6492875"/>
            <a:ext cx="2107096" cy="365125"/>
          </a:xfrm>
        </p:spPr>
        <p:txBody>
          <a:bodyPr/>
          <a:lstStyle/>
          <a:p>
            <a:endParaRPr lang="en-US"/>
          </a:p>
        </p:txBody>
      </p:sp>
      <p:sp>
        <p:nvSpPr>
          <p:cNvPr id="15" name="Slide Number Placeholder 4">
            <a:extLst>
              <a:ext uri="{FF2B5EF4-FFF2-40B4-BE49-F238E27FC236}">
                <a16:creationId xmlns:a16="http://schemas.microsoft.com/office/drawing/2014/main" id="{4FE82372-A133-AD73-D04A-C2CFD2C25714}"/>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3163846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guide id="2" pos="6607">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53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6" name="Title 1">
            <a:extLst>
              <a:ext uri="{FF2B5EF4-FFF2-40B4-BE49-F238E27FC236}">
                <a16:creationId xmlns:a16="http://schemas.microsoft.com/office/drawing/2014/main" id="{B4A3ECC9-8F4D-E101-59A0-077077FE57B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8" name="Bilde 3">
            <a:extLst>
              <a:ext uri="{FF2B5EF4-FFF2-40B4-BE49-F238E27FC236}">
                <a16:creationId xmlns:a16="http://schemas.microsoft.com/office/drawing/2014/main" id="{3420C06F-BD3E-F705-FE57-5A3BA80667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9" name="Date Placeholder 2">
            <a:extLst>
              <a:ext uri="{FF2B5EF4-FFF2-40B4-BE49-F238E27FC236}">
                <a16:creationId xmlns:a16="http://schemas.microsoft.com/office/drawing/2014/main" id="{3715DC52-4B33-BE62-CDE3-71452BD46731}"/>
              </a:ext>
            </a:extLst>
          </p:cNvPr>
          <p:cNvSpPr>
            <a:spLocks noGrp="1"/>
          </p:cNvSpPr>
          <p:nvPr>
            <p:ph type="dt" sz="half" idx="16"/>
          </p:nvPr>
        </p:nvSpPr>
        <p:spPr>
          <a:xfrm>
            <a:off x="2303627" y="6492875"/>
            <a:ext cx="528585" cy="365125"/>
          </a:xfrm>
        </p:spPr>
        <p:txBody>
          <a:bodyPr/>
          <a:lstStyle/>
          <a:p>
            <a:fld id="{BFBA4834-A04D-3746-9956-FB85C35CCB93}" type="datetime1">
              <a:rPr lang="nb-NO" smtClean="0"/>
              <a:t>20.08.2024</a:t>
            </a:fld>
            <a:endParaRPr lang="en-US"/>
          </a:p>
        </p:txBody>
      </p:sp>
      <p:sp>
        <p:nvSpPr>
          <p:cNvPr id="10" name="Footer Placeholder 3">
            <a:extLst>
              <a:ext uri="{FF2B5EF4-FFF2-40B4-BE49-F238E27FC236}">
                <a16:creationId xmlns:a16="http://schemas.microsoft.com/office/drawing/2014/main" id="{1C77C9C1-3D73-870B-D81D-B51E5E3A470C}"/>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11" name="Slide Number Placeholder 4">
            <a:extLst>
              <a:ext uri="{FF2B5EF4-FFF2-40B4-BE49-F238E27FC236}">
                <a16:creationId xmlns:a16="http://schemas.microsoft.com/office/drawing/2014/main" id="{67F64C78-F787-DDB6-45BD-07EC8DE8E7D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469861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guide id="2" pos="6607">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54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6" name="Title 1">
            <a:extLst>
              <a:ext uri="{FF2B5EF4-FFF2-40B4-BE49-F238E27FC236}">
                <a16:creationId xmlns:a16="http://schemas.microsoft.com/office/drawing/2014/main" id="{B4A3ECC9-8F4D-E101-59A0-077077FE57B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8" name="Bilde 3">
            <a:extLst>
              <a:ext uri="{FF2B5EF4-FFF2-40B4-BE49-F238E27FC236}">
                <a16:creationId xmlns:a16="http://schemas.microsoft.com/office/drawing/2014/main" id="{3420C06F-BD3E-F705-FE57-5A3BA80667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9" name="Date Placeholder 2">
            <a:extLst>
              <a:ext uri="{FF2B5EF4-FFF2-40B4-BE49-F238E27FC236}">
                <a16:creationId xmlns:a16="http://schemas.microsoft.com/office/drawing/2014/main" id="{3715DC52-4B33-BE62-CDE3-71452BD46731}"/>
              </a:ext>
            </a:extLst>
          </p:cNvPr>
          <p:cNvSpPr>
            <a:spLocks noGrp="1"/>
          </p:cNvSpPr>
          <p:nvPr>
            <p:ph type="dt" sz="half" idx="16"/>
          </p:nvPr>
        </p:nvSpPr>
        <p:spPr>
          <a:xfrm>
            <a:off x="2303627" y="6492875"/>
            <a:ext cx="528585" cy="365125"/>
          </a:xfrm>
        </p:spPr>
        <p:txBody>
          <a:bodyPr/>
          <a:lstStyle/>
          <a:p>
            <a:fld id="{BFBA4834-A04D-3746-9956-FB85C35CCB93}" type="datetime1">
              <a:rPr lang="nb-NO" smtClean="0"/>
              <a:t>20.08.2024</a:t>
            </a:fld>
            <a:endParaRPr lang="en-US"/>
          </a:p>
        </p:txBody>
      </p:sp>
      <p:sp>
        <p:nvSpPr>
          <p:cNvPr id="10" name="Footer Placeholder 3">
            <a:extLst>
              <a:ext uri="{FF2B5EF4-FFF2-40B4-BE49-F238E27FC236}">
                <a16:creationId xmlns:a16="http://schemas.microsoft.com/office/drawing/2014/main" id="{1C77C9C1-3D73-870B-D81D-B51E5E3A470C}"/>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11" name="Slide Number Placeholder 4">
            <a:extLst>
              <a:ext uri="{FF2B5EF4-FFF2-40B4-BE49-F238E27FC236}">
                <a16:creationId xmlns:a16="http://schemas.microsoft.com/office/drawing/2014/main" id="{67F64C78-F787-DDB6-45BD-07EC8DE8E7D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2260540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55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6" name="Title 1">
            <a:extLst>
              <a:ext uri="{FF2B5EF4-FFF2-40B4-BE49-F238E27FC236}">
                <a16:creationId xmlns:a16="http://schemas.microsoft.com/office/drawing/2014/main" id="{B4A3ECC9-8F4D-E101-59A0-077077FE57B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8" name="Bilde 3">
            <a:extLst>
              <a:ext uri="{FF2B5EF4-FFF2-40B4-BE49-F238E27FC236}">
                <a16:creationId xmlns:a16="http://schemas.microsoft.com/office/drawing/2014/main" id="{3420C06F-BD3E-F705-FE57-5A3BA80667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9" name="Date Placeholder 2">
            <a:extLst>
              <a:ext uri="{FF2B5EF4-FFF2-40B4-BE49-F238E27FC236}">
                <a16:creationId xmlns:a16="http://schemas.microsoft.com/office/drawing/2014/main" id="{3715DC52-4B33-BE62-CDE3-71452BD46731}"/>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10" name="Footer Placeholder 3">
            <a:extLst>
              <a:ext uri="{FF2B5EF4-FFF2-40B4-BE49-F238E27FC236}">
                <a16:creationId xmlns:a16="http://schemas.microsoft.com/office/drawing/2014/main" id="{1C77C9C1-3D73-870B-D81D-B51E5E3A470C}"/>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11" name="Slide Number Placeholder 4">
            <a:extLst>
              <a:ext uri="{FF2B5EF4-FFF2-40B4-BE49-F238E27FC236}">
                <a16:creationId xmlns:a16="http://schemas.microsoft.com/office/drawing/2014/main" id="{67F64C78-F787-DDB6-45BD-07EC8DE8E7D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1039963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guide id="2" pos="6607">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tart page logo">
    <p:bg>
      <p:bgPr>
        <a:solidFill>
          <a:schemeClr val="accent1"/>
        </a:solidFill>
        <a:effectLst/>
      </p:bgPr>
    </p:bg>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02986883-6611-464E-A44F-2C88C009DE0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00718" y="1357984"/>
            <a:ext cx="6390564" cy="4142032"/>
          </a:xfrm>
          <a:prstGeom prst="rect">
            <a:avLst/>
          </a:prstGeom>
        </p:spPr>
      </p:pic>
    </p:spTree>
    <p:extLst>
      <p:ext uri="{BB962C8B-B14F-4D97-AF65-F5344CB8AC3E}">
        <p14:creationId xmlns:p14="http://schemas.microsoft.com/office/powerpoint/2010/main" val="1290666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tart page 3">
    <p:spTree>
      <p:nvGrpSpPr>
        <p:cNvPr id="1" name=""/>
        <p:cNvGrpSpPr/>
        <p:nvPr/>
      </p:nvGrpSpPr>
      <p:grpSpPr>
        <a:xfrm>
          <a:off x="0" y="0"/>
          <a:ext cx="0" cy="0"/>
          <a:chOff x="0" y="0"/>
          <a:chExt cx="0" cy="0"/>
        </a:xfrm>
      </p:grpSpPr>
      <p:sp>
        <p:nvSpPr>
          <p:cNvPr id="3" name="!!Blue">
            <a:extLst>
              <a:ext uri="{FF2B5EF4-FFF2-40B4-BE49-F238E27FC236}">
                <a16:creationId xmlns:a16="http://schemas.microsoft.com/office/drawing/2014/main" id="{A9C13785-1488-437B-BE9E-873F1FAAF20D}"/>
              </a:ext>
            </a:extLst>
          </p:cNvPr>
          <p:cNvSpPr/>
          <p:nvPr userDrawn="1"/>
        </p:nvSpPr>
        <p:spPr>
          <a:xfrm>
            <a:off x="0" y="-32618"/>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cap="all" baseline="0" noProof="0">
              <a:latin typeface="Arial" panose="020B0604020202020204" pitchFamily="34" charset="0"/>
              <a:cs typeface="Arial" panose="020B0604020202020204" pitchFamily="34" charset="0"/>
            </a:endParaRPr>
          </a:p>
        </p:txBody>
      </p:sp>
      <p:sp>
        <p:nvSpPr>
          <p:cNvPr id="7" name="Title">
            <a:extLst>
              <a:ext uri="{FF2B5EF4-FFF2-40B4-BE49-F238E27FC236}">
                <a16:creationId xmlns:a16="http://schemas.microsoft.com/office/drawing/2014/main" id="{13294DAA-8C17-424F-8143-208C3FE914DC}"/>
              </a:ext>
            </a:extLst>
          </p:cNvPr>
          <p:cNvSpPr>
            <a:spLocks noGrp="1"/>
          </p:cNvSpPr>
          <p:nvPr>
            <p:ph type="body" sz="quarter" idx="10" hasCustomPrompt="1"/>
          </p:nvPr>
        </p:nvSpPr>
        <p:spPr>
          <a:xfrm>
            <a:off x="0" y="4995863"/>
            <a:ext cx="12192000" cy="1143000"/>
          </a:xfrm>
          <a:prstGeom prst="rect">
            <a:avLst/>
          </a:prstGeom>
        </p:spPr>
        <p:txBody>
          <a:bodyPr/>
          <a:lstStyle>
            <a:lvl1pPr marL="0" indent="0" algn="ctr">
              <a:buNone/>
              <a:defRPr sz="2000" cap="all" spc="600" baseline="0">
                <a:solidFill>
                  <a:schemeClr val="bg1"/>
                </a:solidFill>
                <a:latin typeface="Arial" panose="020B0604020202020204" pitchFamily="34" charset="0"/>
                <a:cs typeface="Arial" panose="020B0604020202020204" pitchFamily="34" charset="0"/>
              </a:defRPr>
            </a:lvl1pPr>
          </a:lstStyle>
          <a:p>
            <a:pPr lvl="0"/>
            <a:r>
              <a:rPr lang="en-GB" noProof="0"/>
              <a:t>Main title here</a:t>
            </a:r>
          </a:p>
        </p:txBody>
      </p:sp>
      <p:pic>
        <p:nvPicPr>
          <p:cNvPr id="4" name="Bilde 3">
            <a:extLst>
              <a:ext uri="{FF2B5EF4-FFF2-40B4-BE49-F238E27FC236}">
                <a16:creationId xmlns:a16="http://schemas.microsoft.com/office/drawing/2014/main" id="{54C0EBEF-EDC7-498E-8550-F88AC37723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9708" y="2286000"/>
            <a:ext cx="7472584" cy="1306446"/>
          </a:xfrm>
          <a:prstGeom prst="rect">
            <a:avLst/>
          </a:prstGeom>
        </p:spPr>
      </p:pic>
    </p:spTree>
    <p:extLst>
      <p:ext uri="{BB962C8B-B14F-4D97-AF65-F5344CB8AC3E}">
        <p14:creationId xmlns:p14="http://schemas.microsoft.com/office/powerpoint/2010/main" val="5282271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tart Page 4">
    <p:spTree>
      <p:nvGrpSpPr>
        <p:cNvPr id="1" name=""/>
        <p:cNvGrpSpPr/>
        <p:nvPr/>
      </p:nvGrpSpPr>
      <p:grpSpPr>
        <a:xfrm>
          <a:off x="0" y="0"/>
          <a:ext cx="0" cy="0"/>
          <a:chOff x="0" y="0"/>
          <a:chExt cx="0" cy="0"/>
        </a:xfrm>
      </p:grpSpPr>
      <p:pic>
        <p:nvPicPr>
          <p:cNvPr id="10" name="Background Picture" descr="Et bilde som inneholder person, mat, bygning, stående&#10;&#10;Automatisk generert beskrivelse">
            <a:extLst>
              <a:ext uri="{FF2B5EF4-FFF2-40B4-BE49-F238E27FC236}">
                <a16:creationId xmlns:a16="http://schemas.microsoft.com/office/drawing/2014/main" id="{CDBD00A1-FA82-4DFE-84DF-F8297B7A1FB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35000"/>
            <a:ext cx="12192000" cy="8128000"/>
          </a:xfrm>
          <a:prstGeom prst="rect">
            <a:avLst/>
          </a:prstGeom>
        </p:spPr>
      </p:pic>
      <p:sp>
        <p:nvSpPr>
          <p:cNvPr id="7" name="Title">
            <a:extLst>
              <a:ext uri="{FF2B5EF4-FFF2-40B4-BE49-F238E27FC236}">
                <a16:creationId xmlns:a16="http://schemas.microsoft.com/office/drawing/2014/main" id="{13294DAA-8C17-424F-8143-208C3FE914DC}"/>
              </a:ext>
            </a:extLst>
          </p:cNvPr>
          <p:cNvSpPr>
            <a:spLocks noGrp="1"/>
          </p:cNvSpPr>
          <p:nvPr>
            <p:ph type="body" sz="quarter" idx="10" hasCustomPrompt="1"/>
          </p:nvPr>
        </p:nvSpPr>
        <p:spPr>
          <a:xfrm>
            <a:off x="0" y="5715000"/>
            <a:ext cx="12192000" cy="1143000"/>
          </a:xfrm>
          <a:prstGeom prst="rect">
            <a:avLst/>
          </a:prstGeom>
        </p:spPr>
        <p:txBody>
          <a:bodyPr/>
          <a:lstStyle>
            <a:lvl1pPr marL="0" indent="0" algn="ctr">
              <a:buNone/>
              <a:defRPr sz="2800" b="1" i="0" cap="all" spc="600" baseline="0">
                <a:solidFill>
                  <a:schemeClr val="tx1"/>
                </a:solidFill>
                <a:latin typeface="Helvetica" pitchFamily="2" charset="0"/>
                <a:cs typeface="Arial" panose="020B0604020202020204" pitchFamily="34" charset="0"/>
              </a:defRPr>
            </a:lvl1pPr>
          </a:lstStyle>
          <a:p>
            <a:pPr lvl="0"/>
            <a:r>
              <a:rPr lang="en-GB" noProof="0"/>
              <a:t>Main Title here</a:t>
            </a:r>
          </a:p>
        </p:txBody>
      </p:sp>
      <p:sp>
        <p:nvSpPr>
          <p:cNvPr id="6" name="!!Yellow">
            <a:extLst>
              <a:ext uri="{FF2B5EF4-FFF2-40B4-BE49-F238E27FC236}">
                <a16:creationId xmlns:a16="http://schemas.microsoft.com/office/drawing/2014/main" id="{CCFBDB04-BE7C-451A-8C1F-F17167D5B954}"/>
              </a:ext>
            </a:extLst>
          </p:cNvPr>
          <p:cNvSpPr/>
          <p:nvPr userDrawn="1"/>
        </p:nvSpPr>
        <p:spPr>
          <a:xfrm rot="16200000">
            <a:off x="5493659" y="4587989"/>
            <a:ext cx="1661884" cy="15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17" name="!!Blue">
            <a:extLst>
              <a:ext uri="{FF2B5EF4-FFF2-40B4-BE49-F238E27FC236}">
                <a16:creationId xmlns:a16="http://schemas.microsoft.com/office/drawing/2014/main" id="{DD8018AE-B7C4-4C53-9CAC-C9195BAFD01B}"/>
              </a:ext>
            </a:extLst>
          </p:cNvPr>
          <p:cNvSpPr/>
          <p:nvPr userDrawn="1"/>
        </p:nvSpPr>
        <p:spPr>
          <a:xfrm>
            <a:off x="0" y="3833248"/>
            <a:ext cx="6248400" cy="16618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pic>
        <p:nvPicPr>
          <p:cNvPr id="9" name="Bilde 8">
            <a:extLst>
              <a:ext uri="{FF2B5EF4-FFF2-40B4-BE49-F238E27FC236}">
                <a16:creationId xmlns:a16="http://schemas.microsoft.com/office/drawing/2014/main" id="{96D94C91-9E30-47C8-A221-62DCC86B5E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1762" y="4224965"/>
            <a:ext cx="5084878" cy="888999"/>
          </a:xfrm>
          <a:prstGeom prst="rect">
            <a:avLst/>
          </a:prstGeom>
        </p:spPr>
      </p:pic>
    </p:spTree>
    <p:extLst>
      <p:ext uri="{BB962C8B-B14F-4D97-AF65-F5344CB8AC3E}">
        <p14:creationId xmlns:p14="http://schemas.microsoft.com/office/powerpoint/2010/main" val="17642488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rt page 3">
    <p:spTree>
      <p:nvGrpSpPr>
        <p:cNvPr id="1" name=""/>
        <p:cNvGrpSpPr/>
        <p:nvPr/>
      </p:nvGrpSpPr>
      <p:grpSpPr>
        <a:xfrm>
          <a:off x="0" y="0"/>
          <a:ext cx="0" cy="0"/>
          <a:chOff x="0" y="0"/>
          <a:chExt cx="0" cy="0"/>
        </a:xfrm>
      </p:grpSpPr>
      <p:sp>
        <p:nvSpPr>
          <p:cNvPr id="3" name="!!Blue">
            <a:extLst>
              <a:ext uri="{FF2B5EF4-FFF2-40B4-BE49-F238E27FC236}">
                <a16:creationId xmlns:a16="http://schemas.microsoft.com/office/drawing/2014/main" id="{A9C13785-1488-437B-BE9E-873F1FAAF20D}"/>
              </a:ext>
            </a:extLst>
          </p:cNvPr>
          <p:cNvSpPr/>
          <p:nvPr userDrawn="1"/>
        </p:nvSpPr>
        <p:spPr>
          <a:xfrm>
            <a:off x="0" y="-32618"/>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cap="all" baseline="0" noProof="0">
              <a:latin typeface="Arial" panose="020B0604020202020204" pitchFamily="34" charset="0"/>
              <a:cs typeface="Arial" panose="020B0604020202020204" pitchFamily="34" charset="0"/>
            </a:endParaRPr>
          </a:p>
        </p:txBody>
      </p:sp>
      <p:sp>
        <p:nvSpPr>
          <p:cNvPr id="7" name="Title">
            <a:extLst>
              <a:ext uri="{FF2B5EF4-FFF2-40B4-BE49-F238E27FC236}">
                <a16:creationId xmlns:a16="http://schemas.microsoft.com/office/drawing/2014/main" id="{13294DAA-8C17-424F-8143-208C3FE914DC}"/>
              </a:ext>
            </a:extLst>
          </p:cNvPr>
          <p:cNvSpPr>
            <a:spLocks noGrp="1"/>
          </p:cNvSpPr>
          <p:nvPr>
            <p:ph type="body" sz="quarter" idx="10" hasCustomPrompt="1"/>
          </p:nvPr>
        </p:nvSpPr>
        <p:spPr>
          <a:xfrm>
            <a:off x="0" y="4995863"/>
            <a:ext cx="12192000" cy="1143000"/>
          </a:xfrm>
          <a:prstGeom prst="rect">
            <a:avLst/>
          </a:prstGeom>
        </p:spPr>
        <p:txBody>
          <a:bodyPr/>
          <a:lstStyle>
            <a:lvl1pPr marL="0" indent="0" algn="ctr">
              <a:buNone/>
              <a:defRPr sz="2000" cap="all" spc="600" baseline="0">
                <a:solidFill>
                  <a:schemeClr val="bg1"/>
                </a:solidFill>
                <a:latin typeface="Arial" panose="020B0604020202020204" pitchFamily="34" charset="0"/>
                <a:cs typeface="Arial" panose="020B0604020202020204" pitchFamily="34" charset="0"/>
              </a:defRPr>
            </a:lvl1pPr>
          </a:lstStyle>
          <a:p>
            <a:pPr lvl="0"/>
            <a:r>
              <a:rPr lang="en-GB" noProof="0"/>
              <a:t>Main title here</a:t>
            </a:r>
          </a:p>
        </p:txBody>
      </p:sp>
      <p:pic>
        <p:nvPicPr>
          <p:cNvPr id="4" name="Bilde 3">
            <a:extLst>
              <a:ext uri="{FF2B5EF4-FFF2-40B4-BE49-F238E27FC236}">
                <a16:creationId xmlns:a16="http://schemas.microsoft.com/office/drawing/2014/main" id="{54C0EBEF-EDC7-498E-8550-F88AC37723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9708" y="2286000"/>
            <a:ext cx="7472584" cy="1306446"/>
          </a:xfrm>
          <a:prstGeom prst="rect">
            <a:avLst/>
          </a:prstGeom>
        </p:spPr>
      </p:pic>
    </p:spTree>
    <p:extLst>
      <p:ext uri="{BB962C8B-B14F-4D97-AF65-F5344CB8AC3E}">
        <p14:creationId xmlns:p14="http://schemas.microsoft.com/office/powerpoint/2010/main" val="37711037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9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sp>
        <p:nvSpPr>
          <p:cNvPr id="16" name="Rectangle 15">
            <a:extLst>
              <a:ext uri="{FF2B5EF4-FFF2-40B4-BE49-F238E27FC236}">
                <a16:creationId xmlns:a16="http://schemas.microsoft.com/office/drawing/2014/main" id="{5A95CCCA-102E-EF68-04F2-04CF2EC0D71D}"/>
              </a:ext>
            </a:extLst>
          </p:cNvPr>
          <p:cNvSpPr/>
          <p:nvPr/>
        </p:nvSpPr>
        <p:spPr>
          <a:xfrm>
            <a:off x="731838" y="4768603"/>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3EE749C5-12C4-D619-3255-42F84C1B0073}"/>
              </a:ext>
            </a:extLst>
          </p:cNvPr>
          <p:cNvCxnSpPr>
            <a:cxnSpLocks/>
          </p:cNvCxnSpPr>
          <p:nvPr/>
        </p:nvCxnSpPr>
        <p:spPr>
          <a:xfrm>
            <a:off x="817639" y="4768603"/>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Text Placeholder 20">
            <a:extLst>
              <a:ext uri="{FF2B5EF4-FFF2-40B4-BE49-F238E27FC236}">
                <a16:creationId xmlns:a16="http://schemas.microsoft.com/office/drawing/2014/main" id="{2D990C2F-6E86-3D57-71A9-0EC247EF1E73}"/>
              </a:ext>
            </a:extLst>
          </p:cNvPr>
          <p:cNvSpPr>
            <a:spLocks noGrp="1"/>
          </p:cNvSpPr>
          <p:nvPr userDrawn="1">
            <p:ph type="body" sz="quarter" idx="13" hasCustomPrompt="1"/>
          </p:nvPr>
        </p:nvSpPr>
        <p:spPr>
          <a:xfrm>
            <a:off x="1033669" y="4832982"/>
            <a:ext cx="4765025"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20" name="Rectangle 19">
            <a:extLst>
              <a:ext uri="{FF2B5EF4-FFF2-40B4-BE49-F238E27FC236}">
                <a16:creationId xmlns:a16="http://schemas.microsoft.com/office/drawing/2014/main" id="{9D1217C1-C2C0-3651-3A4C-AD62443C809C}"/>
              </a:ext>
            </a:extLst>
          </p:cNvPr>
          <p:cNvSpPr/>
          <p:nvPr/>
        </p:nvSpPr>
        <p:spPr>
          <a:xfrm>
            <a:off x="731838" y="3575292"/>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E77A3BA5-0BF4-57C8-4CDA-B3213523080F}"/>
              </a:ext>
            </a:extLst>
          </p:cNvPr>
          <p:cNvCxnSpPr>
            <a:cxnSpLocks/>
          </p:cNvCxnSpPr>
          <p:nvPr/>
        </p:nvCxnSpPr>
        <p:spPr>
          <a:xfrm>
            <a:off x="817639" y="3575292"/>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3A29BEAE-EEB8-A485-0568-1CCF8FA3E2BC}"/>
              </a:ext>
            </a:extLst>
          </p:cNvPr>
          <p:cNvSpPr/>
          <p:nvPr/>
        </p:nvSpPr>
        <p:spPr>
          <a:xfrm>
            <a:off x="731838" y="2381981"/>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BF79195B-E970-3457-F0DB-6DE3AB238E3E}"/>
              </a:ext>
            </a:extLst>
          </p:cNvPr>
          <p:cNvCxnSpPr>
            <a:cxnSpLocks/>
          </p:cNvCxnSpPr>
          <p:nvPr/>
        </p:nvCxnSpPr>
        <p:spPr>
          <a:xfrm>
            <a:off x="817639" y="2381981"/>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46450FDC-9A98-3624-3A28-C4C680E51476}"/>
              </a:ext>
            </a:extLst>
          </p:cNvPr>
          <p:cNvSpPr>
            <a:spLocks noGrp="1"/>
          </p:cNvSpPr>
          <p:nvPr userDrawn="1">
            <p:ph type="body" sz="quarter" idx="14" hasCustomPrompt="1"/>
          </p:nvPr>
        </p:nvSpPr>
        <p:spPr>
          <a:xfrm>
            <a:off x="1033669" y="3628206"/>
            <a:ext cx="4765025"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6" name="Text Placeholder 20">
            <a:extLst>
              <a:ext uri="{FF2B5EF4-FFF2-40B4-BE49-F238E27FC236}">
                <a16:creationId xmlns:a16="http://schemas.microsoft.com/office/drawing/2014/main" id="{49CBE21D-FBDF-140E-6D35-005ADF870536}"/>
              </a:ext>
            </a:extLst>
          </p:cNvPr>
          <p:cNvSpPr>
            <a:spLocks noGrp="1"/>
          </p:cNvSpPr>
          <p:nvPr userDrawn="1">
            <p:ph type="body" sz="quarter" idx="15" hasCustomPrompt="1"/>
          </p:nvPr>
        </p:nvSpPr>
        <p:spPr>
          <a:xfrm>
            <a:off x="1033669" y="2458235"/>
            <a:ext cx="4765025"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25" name="Bilde 3">
            <a:extLst>
              <a:ext uri="{FF2B5EF4-FFF2-40B4-BE49-F238E27FC236}">
                <a16:creationId xmlns:a16="http://schemas.microsoft.com/office/drawing/2014/main" id="{424BDAF4-D422-3AC5-47B1-4F05D60BB9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70BDCB77-5919-9FD6-02AD-705B6BAD4FF3}"/>
              </a:ext>
            </a:extLst>
          </p:cNvPr>
          <p:cNvSpPr>
            <a:spLocks noGrp="1"/>
          </p:cNvSpPr>
          <p:nvPr userDrawn="1">
            <p:ph type="dt" sz="half" idx="16"/>
          </p:nvPr>
        </p:nvSpPr>
        <p:spPr>
          <a:xfrm>
            <a:off x="2303627" y="6492875"/>
            <a:ext cx="528585" cy="365125"/>
          </a:xfrm>
        </p:spPr>
        <p:txBody>
          <a:bodyPr/>
          <a:lstStyle/>
          <a:p>
            <a:fld id="{A1E6A5B7-591E-9944-88D2-0BB588C31C3B}" type="datetime1">
              <a:rPr lang="nb-NO" smtClean="0"/>
              <a:t>20.08.2024</a:t>
            </a:fld>
            <a:endParaRPr lang="en-US"/>
          </a:p>
        </p:txBody>
      </p:sp>
      <p:sp>
        <p:nvSpPr>
          <p:cNvPr id="26" name="Footer Placeholder 3">
            <a:extLst>
              <a:ext uri="{FF2B5EF4-FFF2-40B4-BE49-F238E27FC236}">
                <a16:creationId xmlns:a16="http://schemas.microsoft.com/office/drawing/2014/main" id="{3BE94EF0-077E-7A72-B08A-C1C403280FDF}"/>
              </a:ext>
            </a:extLst>
          </p:cNvPr>
          <p:cNvSpPr>
            <a:spLocks noGrp="1"/>
          </p:cNvSpPr>
          <p:nvPr userDrawn="1">
            <p:ph type="ftr" sz="quarter" idx="17"/>
          </p:nvPr>
        </p:nvSpPr>
        <p:spPr>
          <a:xfrm>
            <a:off x="175116" y="6492875"/>
            <a:ext cx="2107096" cy="365125"/>
          </a:xfrm>
        </p:spPr>
        <p:txBody>
          <a:bodyPr/>
          <a:lstStyle/>
          <a:p>
            <a:r>
              <a:rPr lang="en-US"/>
              <a:t>© StrongPoint 2022</a:t>
            </a:r>
          </a:p>
        </p:txBody>
      </p:sp>
      <p:sp>
        <p:nvSpPr>
          <p:cNvPr id="27" name="Slide Number Placeholder 4">
            <a:extLst>
              <a:ext uri="{FF2B5EF4-FFF2-40B4-BE49-F238E27FC236}">
                <a16:creationId xmlns:a16="http://schemas.microsoft.com/office/drawing/2014/main" id="{30D922FC-A49B-FD69-6391-505A8FE74E59}"/>
              </a:ext>
            </a:extLst>
          </p:cNvPr>
          <p:cNvSpPr>
            <a:spLocks noGrp="1"/>
          </p:cNvSpPr>
          <p:nvPr userDrawn="1">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5460836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userDrawn="1">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ull picture, Title">
    <p:bg>
      <p:bgPr>
        <a:solidFill>
          <a:schemeClr val="bg1"/>
        </a:solidFill>
        <a:effectLst/>
      </p:bgPr>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158D014F-728F-437C-9904-BA1DBBEB82AA}"/>
              </a:ext>
            </a:extLst>
          </p:cNvPr>
          <p:cNvSpPr>
            <a:spLocks noGrp="1"/>
          </p:cNvSpPr>
          <p:nvPr>
            <p:ph type="pic" sz="quarter" idx="10" hasCustomPrompt="1"/>
          </p:nvPr>
        </p:nvSpPr>
        <p:spPr>
          <a:xfrm>
            <a:off x="0" y="-28707"/>
            <a:ext cx="12192000" cy="4661452"/>
          </a:xfrm>
          <a:prstGeom prst="rect">
            <a:avLst/>
          </a:prstGeom>
          <a:no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GB" noProof="0"/>
              <a:t>Image Placeholder</a:t>
            </a:r>
          </a:p>
        </p:txBody>
      </p:sp>
      <p:sp>
        <p:nvSpPr>
          <p:cNvPr id="5" name="!!Blue">
            <a:extLst>
              <a:ext uri="{FF2B5EF4-FFF2-40B4-BE49-F238E27FC236}">
                <a16:creationId xmlns:a16="http://schemas.microsoft.com/office/drawing/2014/main" id="{5E24F489-E6BB-4384-B378-663B8C919357}"/>
              </a:ext>
            </a:extLst>
          </p:cNvPr>
          <p:cNvSpPr/>
          <p:nvPr userDrawn="1"/>
        </p:nvSpPr>
        <p:spPr>
          <a:xfrm>
            <a:off x="0" y="4616322"/>
            <a:ext cx="12192000" cy="21965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cxnSp>
        <p:nvCxnSpPr>
          <p:cNvPr id="7" name="!!Yellow">
            <a:extLst>
              <a:ext uri="{FF2B5EF4-FFF2-40B4-BE49-F238E27FC236}">
                <a16:creationId xmlns:a16="http://schemas.microsoft.com/office/drawing/2014/main" id="{DE98A62D-C220-4B5B-AD26-81FFF33E5164}"/>
              </a:ext>
            </a:extLst>
          </p:cNvPr>
          <p:cNvCxnSpPr>
            <a:cxnSpLocks/>
          </p:cNvCxnSpPr>
          <p:nvPr userDrawn="1"/>
        </p:nvCxnSpPr>
        <p:spPr>
          <a:xfrm>
            <a:off x="10477500" y="5348056"/>
            <a:ext cx="1714500" cy="0"/>
          </a:xfrm>
          <a:prstGeom prst="line">
            <a:avLst/>
          </a:prstGeom>
          <a:ln w="149225">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Plassholder for tekst 8">
            <a:extLst>
              <a:ext uri="{FF2B5EF4-FFF2-40B4-BE49-F238E27FC236}">
                <a16:creationId xmlns:a16="http://schemas.microsoft.com/office/drawing/2014/main" id="{38C7107A-0111-432E-8F72-D19B67E72E16}"/>
              </a:ext>
            </a:extLst>
          </p:cNvPr>
          <p:cNvSpPr>
            <a:spLocks noGrp="1"/>
          </p:cNvSpPr>
          <p:nvPr>
            <p:ph type="body" sz="quarter" idx="11" hasCustomPrompt="1"/>
          </p:nvPr>
        </p:nvSpPr>
        <p:spPr>
          <a:xfrm>
            <a:off x="1066800" y="4959624"/>
            <a:ext cx="9410700" cy="160020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3600" cap="all" baseline="0">
                <a:solidFill>
                  <a:schemeClr val="bg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prstClr val="white"/>
                </a:solidFill>
                <a:effectLst/>
                <a:uLnTx/>
                <a:uFillTx/>
                <a:latin typeface="+mn-lt"/>
                <a:ea typeface="Roboto Condensed" panose="02000000000000000000" pitchFamily="2" charset="0"/>
                <a:cs typeface="Arial" panose="020B0604020202020204" pitchFamily="34" charset="0"/>
              </a:rPr>
              <a:t>PRESENTATION TITLE</a:t>
            </a:r>
            <a:br>
              <a:rPr kumimoji="0" lang="en-GB" sz="4800" b="1" i="0" u="none" strike="noStrike" kern="1200" cap="none" spc="0" normalizeH="0" baseline="0" noProof="0">
                <a:ln>
                  <a:noFill/>
                </a:ln>
                <a:solidFill>
                  <a:prstClr val="white"/>
                </a:solidFill>
                <a:effectLst/>
                <a:uLnTx/>
                <a:uFillTx/>
                <a:latin typeface="+mn-lt"/>
                <a:ea typeface="Roboto Condensed" panose="02000000000000000000" pitchFamily="2" charset="0"/>
                <a:cs typeface="Arial" panose="020B0604020202020204" pitchFamily="34" charset="0"/>
              </a:rPr>
            </a:br>
            <a:r>
              <a:rPr kumimoji="0" lang="en-GB" sz="4800" b="1" i="0" u="none" strike="noStrike" kern="1200" cap="none" spc="0" normalizeH="0" baseline="0" noProof="0">
                <a:ln>
                  <a:noFill/>
                </a:ln>
                <a:solidFill>
                  <a:prstClr val="white"/>
                </a:solidFill>
                <a:effectLst/>
                <a:uLnTx/>
                <a:uFillTx/>
                <a:latin typeface="+mn-lt"/>
                <a:ea typeface="Roboto Condensed" panose="02000000000000000000" pitchFamily="2" charset="0"/>
                <a:cs typeface="Arial" panose="020B0604020202020204" pitchFamily="34" charset="0"/>
              </a:rPr>
              <a:t>HERE</a:t>
            </a:r>
          </a:p>
          <a:p>
            <a:pPr lvl="0"/>
            <a:endParaRPr lang="en-GB" noProof="0"/>
          </a:p>
        </p:txBody>
      </p:sp>
    </p:spTree>
    <p:extLst>
      <p:ext uri="{BB962C8B-B14F-4D97-AF65-F5344CB8AC3E}">
        <p14:creationId xmlns:p14="http://schemas.microsoft.com/office/powerpoint/2010/main" val="37744161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Only hea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AFE559D-504A-4E75-89C9-0313E00C5F7E}"/>
              </a:ext>
            </a:extLst>
          </p:cNvPr>
          <p:cNvSpPr>
            <a:spLocks noGrp="1"/>
          </p:cNvSpPr>
          <p:nvPr>
            <p:ph type="title" hasCustomPrompt="1"/>
          </p:nvPr>
        </p:nvSpPr>
        <p:spPr>
          <a:xfrm>
            <a:off x="838200" y="365125"/>
            <a:ext cx="10515600" cy="1325563"/>
          </a:xfrm>
          <a:prstGeom prst="rect">
            <a:avLst/>
          </a:prstGeom>
        </p:spPr>
        <p:txBody>
          <a:bodyPr/>
          <a:lstStyle>
            <a:lvl1pPr>
              <a:defRPr sz="3200" b="0" i="0">
                <a:solidFill>
                  <a:schemeClr val="accent5"/>
                </a:solidFill>
                <a:latin typeface="Helvetica Light" panose="020B0403020202020204" pitchFamily="34" charset="0"/>
                <a:cs typeface="Arial" panose="020B0604020202020204" pitchFamily="34" charset="0"/>
              </a:defRPr>
            </a:lvl1pPr>
          </a:lstStyle>
          <a:p>
            <a:r>
              <a:rPr lang="en-GB" noProof="0"/>
              <a:t>Click to edit Master title style</a:t>
            </a:r>
          </a:p>
        </p:txBody>
      </p:sp>
      <p:pic>
        <p:nvPicPr>
          <p:cNvPr id="4" name="Bilde 3">
            <a:extLst>
              <a:ext uri="{FF2B5EF4-FFF2-40B4-BE49-F238E27FC236}">
                <a16:creationId xmlns:a16="http://schemas.microsoft.com/office/drawing/2014/main" id="{346DB335-1FBA-47A6-A198-403FA75B3D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52521" y="6430245"/>
            <a:ext cx="1825937" cy="319232"/>
          </a:xfrm>
          <a:prstGeom prst="rect">
            <a:avLst/>
          </a:prstGeom>
        </p:spPr>
      </p:pic>
    </p:spTree>
    <p:extLst>
      <p:ext uri="{BB962C8B-B14F-4D97-AF65-F5344CB8AC3E}">
        <p14:creationId xmlns:p14="http://schemas.microsoft.com/office/powerpoint/2010/main" val="27943547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c with logo 1">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8A7F36D4-7537-4D46-B416-5E096FF07DF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749" y="409861"/>
            <a:ext cx="1825937" cy="319232"/>
          </a:xfrm>
          <a:prstGeom prst="rect">
            <a:avLst/>
          </a:prstGeom>
        </p:spPr>
      </p:pic>
    </p:spTree>
    <p:extLst>
      <p:ext uri="{BB962C8B-B14F-4D97-AF65-F5344CB8AC3E}">
        <p14:creationId xmlns:p14="http://schemas.microsoft.com/office/powerpoint/2010/main" val="20308395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xt without headlin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300163" y="602470"/>
            <a:ext cx="9658350" cy="4409440"/>
          </a:xfrm>
          <a:prstGeom prst="rect">
            <a:avLst/>
          </a:prstGeom>
        </p:spPr>
        <p:txBody>
          <a:bodyPr anchor="ctr">
            <a:normAutofit/>
          </a:bodyPr>
          <a:lstStyle>
            <a:lvl1pPr marL="0" indent="0" algn="ctr">
              <a:buNone/>
              <a:defRPr sz="4400" b="0" i="0">
                <a:solidFill>
                  <a:schemeClr val="accent5"/>
                </a:solidFill>
                <a:latin typeface="Helvetica Light" panose="020B0403020202020204" pitchFamily="34" charset="0"/>
                <a:cs typeface="Arial" panose="020B0604020202020204" pitchFamily="34" charset="0"/>
              </a:defRPr>
            </a:lvl1pPr>
            <a:lvl2pPr algn="ctr">
              <a:defRPr sz="2400"/>
            </a:lvl2pPr>
            <a:lvl3pPr algn="ctr">
              <a:defRPr sz="2000"/>
            </a:lvl3pPr>
            <a:lvl4pPr algn="ctr">
              <a:defRPr sz="1800"/>
            </a:lvl4pPr>
            <a:lvl5pPr algn="ctr">
              <a:defRPr sz="1800"/>
            </a:lvl5pPr>
          </a:lstStyle>
          <a:p>
            <a:pPr lvl="0"/>
            <a:r>
              <a:rPr lang="en-GB" noProof="0"/>
              <a:t>Click to edit Master text styles</a:t>
            </a:r>
          </a:p>
        </p:txBody>
      </p:sp>
      <p:pic>
        <p:nvPicPr>
          <p:cNvPr id="5" name="Bilde 4">
            <a:extLst>
              <a:ext uri="{FF2B5EF4-FFF2-40B4-BE49-F238E27FC236}">
                <a16:creationId xmlns:a16="http://schemas.microsoft.com/office/drawing/2014/main" id="{BD3625BD-0F11-4BE2-9CED-1CFE1DB823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52521" y="6430245"/>
            <a:ext cx="1825937" cy="319232"/>
          </a:xfrm>
          <a:prstGeom prst="rect">
            <a:avLst/>
          </a:prstGeom>
        </p:spPr>
      </p:pic>
    </p:spTree>
    <p:extLst>
      <p:ext uri="{BB962C8B-B14F-4D97-AF65-F5344CB8AC3E}">
        <p14:creationId xmlns:p14="http://schemas.microsoft.com/office/powerpoint/2010/main" val="15883371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c">
    <p:spTree>
      <p:nvGrpSpPr>
        <p:cNvPr id="1" name=""/>
        <p:cNvGrpSpPr/>
        <p:nvPr/>
      </p:nvGrpSpPr>
      <p:grpSpPr>
        <a:xfrm>
          <a:off x="0" y="0"/>
          <a:ext cx="0" cy="0"/>
          <a:chOff x="0" y="0"/>
          <a:chExt cx="0" cy="0"/>
        </a:xfrm>
      </p:grpSpPr>
    </p:spTree>
    <p:extLst>
      <p:ext uri="{BB962C8B-B14F-4D97-AF65-F5344CB8AC3E}">
        <p14:creationId xmlns:p14="http://schemas.microsoft.com/office/powerpoint/2010/main" val="4552234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_Blanc with logo 1">
    <p:spTree>
      <p:nvGrpSpPr>
        <p:cNvPr id="1" name=""/>
        <p:cNvGrpSpPr/>
        <p:nvPr/>
      </p:nvGrpSpPr>
      <p:grpSpPr>
        <a:xfrm>
          <a:off x="0" y="0"/>
          <a:ext cx="0" cy="0"/>
          <a:chOff x="0" y="0"/>
          <a:chExt cx="0" cy="0"/>
        </a:xfrm>
      </p:grpSpPr>
      <p:sp>
        <p:nvSpPr>
          <p:cNvPr id="11" name="Plassholder for bilde 10">
            <a:extLst>
              <a:ext uri="{FF2B5EF4-FFF2-40B4-BE49-F238E27FC236}">
                <a16:creationId xmlns:a16="http://schemas.microsoft.com/office/drawing/2014/main" id="{59F8AE11-E06E-436F-96C7-F71AFAA57FFF}"/>
              </a:ext>
            </a:extLst>
          </p:cNvPr>
          <p:cNvSpPr>
            <a:spLocks noGrp="1"/>
          </p:cNvSpPr>
          <p:nvPr>
            <p:ph type="pic" sz="quarter" idx="10" hasCustomPrompt="1"/>
          </p:nvPr>
        </p:nvSpPr>
        <p:spPr>
          <a:xfrm>
            <a:off x="0" y="982755"/>
            <a:ext cx="6016212" cy="5219923"/>
          </a:xfrm>
          <a:prstGeom prst="rect">
            <a:avLst/>
          </a:prstGeom>
        </p:spPr>
        <p:txBody>
          <a:bodyPr anchor="ctr"/>
          <a:lstStyle>
            <a:lvl1pPr marL="0" indent="0" algn="ctr">
              <a:buNone/>
              <a:defRPr b="0" i="0">
                <a:latin typeface="Helvetica" pitchFamily="2" charset="0"/>
              </a:defRPr>
            </a:lvl1pPr>
          </a:lstStyle>
          <a:p>
            <a:r>
              <a:rPr lang="en-GB" noProof="0"/>
              <a:t>Picture</a:t>
            </a:r>
          </a:p>
        </p:txBody>
      </p:sp>
      <p:sp>
        <p:nvSpPr>
          <p:cNvPr id="9" name="!!Blue">
            <a:extLst>
              <a:ext uri="{FF2B5EF4-FFF2-40B4-BE49-F238E27FC236}">
                <a16:creationId xmlns:a16="http://schemas.microsoft.com/office/drawing/2014/main" id="{907138BB-FD71-4DDA-9F55-1FF4CDA5543D}"/>
              </a:ext>
            </a:extLst>
          </p:cNvPr>
          <p:cNvSpPr/>
          <p:nvPr userDrawn="1"/>
        </p:nvSpPr>
        <p:spPr>
          <a:xfrm>
            <a:off x="6016596" y="982416"/>
            <a:ext cx="182593" cy="52202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 name="Rectangle 7">
            <a:extLst>
              <a:ext uri="{FF2B5EF4-FFF2-40B4-BE49-F238E27FC236}">
                <a16:creationId xmlns:a16="http://schemas.microsoft.com/office/drawing/2014/main" id="{6103F436-6829-4D28-B07F-F2B65F705AFE}"/>
              </a:ext>
            </a:extLst>
          </p:cNvPr>
          <p:cNvSpPr/>
          <p:nvPr userDrawn="1"/>
        </p:nvSpPr>
        <p:spPr>
          <a:xfrm>
            <a:off x="6199573" y="975656"/>
            <a:ext cx="5992427" cy="52270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13" name="Plassholder for tekst 12">
            <a:extLst>
              <a:ext uri="{FF2B5EF4-FFF2-40B4-BE49-F238E27FC236}">
                <a16:creationId xmlns:a16="http://schemas.microsoft.com/office/drawing/2014/main" id="{E457044F-02F3-455A-A33C-E43CB2EAE94C}"/>
              </a:ext>
            </a:extLst>
          </p:cNvPr>
          <p:cNvSpPr>
            <a:spLocks noGrp="1"/>
          </p:cNvSpPr>
          <p:nvPr>
            <p:ph type="body" sz="quarter" idx="11" hasCustomPrompt="1"/>
          </p:nvPr>
        </p:nvSpPr>
        <p:spPr>
          <a:xfrm>
            <a:off x="6812155" y="1644200"/>
            <a:ext cx="4767262" cy="120015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3600" b="1" i="0" cap="all" baseline="0">
                <a:solidFill>
                  <a:schemeClr val="accent1"/>
                </a:solidFill>
                <a:latin typeface="Helvetica" pitchFamily="2" charset="0"/>
              </a:defRPr>
            </a:lvl1pPr>
          </a:lstStyle>
          <a:p>
            <a:pPr lvl="0"/>
            <a:r>
              <a:rPr lang="en-GB" noProof="0"/>
              <a:t>PRESENTATION TITLE HERE</a:t>
            </a:r>
          </a:p>
          <a:p>
            <a:pPr lvl="0"/>
            <a:endParaRPr lang="en-GB" noProof="0"/>
          </a:p>
        </p:txBody>
      </p:sp>
      <p:sp>
        <p:nvSpPr>
          <p:cNvPr id="17" name="Plassholder for tekst 16">
            <a:extLst>
              <a:ext uri="{FF2B5EF4-FFF2-40B4-BE49-F238E27FC236}">
                <a16:creationId xmlns:a16="http://schemas.microsoft.com/office/drawing/2014/main" id="{15724569-D2C2-48A0-9B43-28E456B68EC9}"/>
              </a:ext>
            </a:extLst>
          </p:cNvPr>
          <p:cNvSpPr>
            <a:spLocks noGrp="1"/>
          </p:cNvSpPr>
          <p:nvPr>
            <p:ph type="body" sz="quarter" idx="13" hasCustomPrompt="1"/>
          </p:nvPr>
        </p:nvSpPr>
        <p:spPr>
          <a:xfrm>
            <a:off x="6812155" y="3589168"/>
            <a:ext cx="4767262" cy="40005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000" b="0" i="0">
                <a:latin typeface="Helvetica Light" panose="020B0403020202020204" pitchFamily="34" charset="0"/>
                <a:cs typeface="Arial" panose="020B0604020202020204" pitchFamily="34" charset="0"/>
              </a:defRPr>
            </a:lvl1pPr>
          </a:lstStyle>
          <a:p>
            <a:pPr lvl="0"/>
            <a:r>
              <a:rPr lang="en-GB" noProof="0" err="1"/>
              <a:t>Expertice</a:t>
            </a:r>
            <a:r>
              <a:rPr lang="en-GB" noProof="0"/>
              <a:t> you need. Service deserved!</a:t>
            </a:r>
          </a:p>
        </p:txBody>
      </p:sp>
      <p:pic>
        <p:nvPicPr>
          <p:cNvPr id="24" name="Bilde 23">
            <a:extLst>
              <a:ext uri="{FF2B5EF4-FFF2-40B4-BE49-F238E27FC236}">
                <a16:creationId xmlns:a16="http://schemas.microsoft.com/office/drawing/2014/main" id="{037B8367-F3A2-4AD3-83BE-6E150F3918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749" y="412922"/>
            <a:ext cx="1825937" cy="319232"/>
          </a:xfrm>
          <a:prstGeom prst="rect">
            <a:avLst/>
          </a:prstGeom>
        </p:spPr>
      </p:pic>
      <p:sp>
        <p:nvSpPr>
          <p:cNvPr id="3" name="Plassholder for tekst 2">
            <a:extLst>
              <a:ext uri="{FF2B5EF4-FFF2-40B4-BE49-F238E27FC236}">
                <a16:creationId xmlns:a16="http://schemas.microsoft.com/office/drawing/2014/main" id="{41C4059B-2100-4BD2-8E98-9BBE48FD6F20}"/>
              </a:ext>
            </a:extLst>
          </p:cNvPr>
          <p:cNvSpPr>
            <a:spLocks noGrp="1"/>
          </p:cNvSpPr>
          <p:nvPr>
            <p:ph type="body" sz="quarter" idx="14" hasCustomPrompt="1"/>
          </p:nvPr>
        </p:nvSpPr>
        <p:spPr>
          <a:xfrm>
            <a:off x="6811963" y="4178300"/>
            <a:ext cx="4791075" cy="1774825"/>
          </a:xfrm>
          <a:prstGeom prst="rect">
            <a:avLst/>
          </a:prstGeom>
        </p:spPr>
        <p:txBody>
          <a:bodyPr/>
          <a:lstStyle>
            <a:lvl1pPr marL="0" indent="0">
              <a:buNone/>
              <a:defRPr sz="1400" b="0" i="0">
                <a:latin typeface="Helvetica Light" panose="020B0403020202020204" pitchFamily="34" charset="0"/>
              </a:defRPr>
            </a:lvl1pPr>
          </a:lstStyle>
          <a:p>
            <a:pPr lvl="0"/>
            <a:r>
              <a:rPr lang="en-GB" noProof="0"/>
              <a:t>Lorem ipsum </a:t>
            </a:r>
            <a:r>
              <a:rPr lang="en-GB" noProof="0" err="1"/>
              <a:t>dolor</a:t>
            </a:r>
            <a:r>
              <a:rPr lang="en-GB" noProof="0"/>
              <a:t> sit </a:t>
            </a:r>
            <a:r>
              <a:rPr lang="en-GB" noProof="0" err="1"/>
              <a:t>amet</a:t>
            </a:r>
            <a:r>
              <a:rPr lang="en-GB" noProof="0"/>
              <a:t>, </a:t>
            </a:r>
            <a:r>
              <a:rPr lang="en-GB" noProof="0" err="1"/>
              <a:t>consectetur</a:t>
            </a:r>
            <a:r>
              <a:rPr lang="en-GB" noProof="0"/>
              <a:t> </a:t>
            </a:r>
            <a:r>
              <a:rPr lang="en-GB" noProof="0" err="1"/>
              <a:t>adipiscing</a:t>
            </a:r>
            <a:r>
              <a:rPr lang="en-GB" noProof="0"/>
              <a:t> </a:t>
            </a:r>
            <a:r>
              <a:rPr lang="en-GB" noProof="0" err="1"/>
              <a:t>elit</a:t>
            </a:r>
            <a:r>
              <a:rPr lang="en-GB" noProof="0"/>
              <a:t>. </a:t>
            </a:r>
            <a:r>
              <a:rPr lang="en-GB" noProof="0" err="1"/>
              <a:t>Pellentesque</a:t>
            </a:r>
            <a:r>
              <a:rPr lang="en-GB" noProof="0"/>
              <a:t> </a:t>
            </a:r>
            <a:r>
              <a:rPr lang="en-GB" noProof="0" err="1"/>
              <a:t>scelerisque</a:t>
            </a:r>
            <a:r>
              <a:rPr lang="en-GB" noProof="0"/>
              <a:t> </a:t>
            </a:r>
            <a:r>
              <a:rPr lang="en-GB" noProof="0" err="1"/>
              <a:t>malesuada</a:t>
            </a:r>
            <a:r>
              <a:rPr lang="en-GB" noProof="0"/>
              <a:t> libero a </a:t>
            </a:r>
            <a:r>
              <a:rPr lang="en-GB" noProof="0" err="1"/>
              <a:t>pellentesque</a:t>
            </a:r>
            <a:r>
              <a:rPr lang="en-GB" noProof="0"/>
              <a:t>. Morbi </a:t>
            </a:r>
            <a:r>
              <a:rPr lang="en-GB" noProof="0" err="1"/>
              <a:t>orci</a:t>
            </a:r>
            <a:r>
              <a:rPr lang="en-GB" noProof="0"/>
              <a:t> dui, fermentum </a:t>
            </a:r>
            <a:r>
              <a:rPr lang="en-GB" noProof="0" err="1"/>
              <a:t>eget</a:t>
            </a:r>
            <a:r>
              <a:rPr lang="en-GB" noProof="0"/>
              <a:t> </a:t>
            </a:r>
            <a:r>
              <a:rPr lang="en-GB" noProof="0" err="1"/>
              <a:t>lectus</a:t>
            </a:r>
            <a:r>
              <a:rPr lang="en-GB" noProof="0"/>
              <a:t> </a:t>
            </a:r>
            <a:r>
              <a:rPr lang="en-GB" noProof="0" err="1"/>
              <a:t>ornare</a:t>
            </a:r>
            <a:r>
              <a:rPr lang="en-GB" noProof="0"/>
              <a:t>, </a:t>
            </a:r>
            <a:r>
              <a:rPr lang="en-GB" noProof="0" err="1"/>
              <a:t>viverra</a:t>
            </a:r>
            <a:r>
              <a:rPr lang="en-GB" noProof="0"/>
              <a:t> </a:t>
            </a:r>
            <a:r>
              <a:rPr lang="en-GB" noProof="0" err="1"/>
              <a:t>dignissim</a:t>
            </a:r>
            <a:r>
              <a:rPr lang="en-GB" noProof="0"/>
              <a:t> </a:t>
            </a:r>
            <a:r>
              <a:rPr lang="en-GB" noProof="0" err="1"/>
              <a:t>risus</a:t>
            </a:r>
            <a:r>
              <a:rPr lang="en-GB" noProof="0"/>
              <a:t>. </a:t>
            </a:r>
            <a:r>
              <a:rPr lang="en-GB" noProof="0" err="1"/>
              <a:t>Donec</a:t>
            </a:r>
            <a:r>
              <a:rPr lang="en-GB" noProof="0"/>
              <a:t> lacinia </a:t>
            </a:r>
            <a:r>
              <a:rPr lang="en-GB" noProof="0" err="1"/>
              <a:t>neque</a:t>
            </a:r>
            <a:r>
              <a:rPr lang="en-GB" noProof="0"/>
              <a:t> non </a:t>
            </a:r>
            <a:r>
              <a:rPr lang="en-GB" noProof="0" err="1"/>
              <a:t>velit</a:t>
            </a:r>
            <a:r>
              <a:rPr lang="en-GB" noProof="0"/>
              <a:t> dictum </a:t>
            </a:r>
            <a:r>
              <a:rPr lang="en-GB" noProof="0" err="1"/>
              <a:t>tincidunt</a:t>
            </a:r>
            <a:r>
              <a:rPr lang="en-GB" noProof="0"/>
              <a:t>. </a:t>
            </a:r>
            <a:r>
              <a:rPr lang="en-GB" noProof="0" err="1"/>
              <a:t>Etiam</a:t>
            </a:r>
            <a:r>
              <a:rPr lang="en-GB" noProof="0"/>
              <a:t> </a:t>
            </a:r>
            <a:r>
              <a:rPr lang="en-GB" noProof="0" err="1"/>
              <a:t>lacus</a:t>
            </a:r>
            <a:r>
              <a:rPr lang="en-GB" noProof="0"/>
              <a:t> </a:t>
            </a:r>
            <a:r>
              <a:rPr lang="en-GB" noProof="0" err="1"/>
              <a:t>neque</a:t>
            </a:r>
            <a:r>
              <a:rPr lang="en-GB" noProof="0"/>
              <a:t>, </a:t>
            </a:r>
            <a:r>
              <a:rPr lang="en-GB" noProof="0" err="1"/>
              <a:t>mattis</a:t>
            </a:r>
            <a:r>
              <a:rPr lang="en-GB" noProof="0"/>
              <a:t> </a:t>
            </a:r>
            <a:r>
              <a:rPr lang="en-GB" noProof="0" err="1"/>
              <a:t>ut</a:t>
            </a:r>
            <a:r>
              <a:rPr lang="en-GB" noProof="0"/>
              <a:t> </a:t>
            </a:r>
            <a:r>
              <a:rPr lang="en-GB" noProof="0" err="1"/>
              <a:t>sem</a:t>
            </a:r>
            <a:r>
              <a:rPr lang="en-GB" noProof="0"/>
              <a:t> sit </a:t>
            </a:r>
            <a:r>
              <a:rPr lang="en-GB" noProof="0" err="1"/>
              <a:t>amet</a:t>
            </a:r>
            <a:r>
              <a:rPr lang="en-GB" noProof="0"/>
              <a:t>, </a:t>
            </a:r>
            <a:r>
              <a:rPr lang="en-GB" noProof="0" err="1"/>
              <a:t>accumsan</a:t>
            </a:r>
            <a:r>
              <a:rPr lang="en-GB" noProof="0"/>
              <a:t> </a:t>
            </a:r>
            <a:r>
              <a:rPr lang="en-GB" noProof="0" err="1"/>
              <a:t>egestas</a:t>
            </a:r>
            <a:r>
              <a:rPr lang="en-GB" noProof="0"/>
              <a:t> </a:t>
            </a:r>
            <a:r>
              <a:rPr lang="en-GB" noProof="0" err="1"/>
              <a:t>nulla</a:t>
            </a:r>
            <a:r>
              <a:rPr lang="en-GB" noProof="0"/>
              <a:t>. </a:t>
            </a:r>
            <a:r>
              <a:rPr lang="en-GB" noProof="0" err="1"/>
              <a:t>Nulla</a:t>
            </a:r>
            <a:r>
              <a:rPr lang="en-GB" noProof="0"/>
              <a:t> sit </a:t>
            </a:r>
            <a:r>
              <a:rPr lang="en-GB" noProof="0" err="1"/>
              <a:t>amet</a:t>
            </a:r>
            <a:r>
              <a:rPr lang="en-GB" noProof="0"/>
              <a:t> </a:t>
            </a:r>
            <a:r>
              <a:rPr lang="en-GB" noProof="0" err="1"/>
              <a:t>nulla</a:t>
            </a:r>
            <a:r>
              <a:rPr lang="en-GB" noProof="0"/>
              <a:t> </a:t>
            </a:r>
            <a:r>
              <a:rPr lang="en-GB" noProof="0" err="1"/>
              <a:t>commodo</a:t>
            </a:r>
            <a:r>
              <a:rPr lang="en-GB" noProof="0"/>
              <a:t>, </a:t>
            </a:r>
            <a:r>
              <a:rPr lang="en-GB" noProof="0" err="1"/>
              <a:t>elementum</a:t>
            </a:r>
            <a:r>
              <a:rPr lang="en-GB" noProof="0"/>
              <a:t> </a:t>
            </a:r>
            <a:r>
              <a:rPr lang="en-GB" noProof="0" err="1"/>
              <a:t>sapien</a:t>
            </a:r>
            <a:r>
              <a:rPr lang="en-GB" noProof="0"/>
              <a:t> </a:t>
            </a:r>
            <a:r>
              <a:rPr lang="en-GB" noProof="0" err="1"/>
              <a:t>eu</a:t>
            </a:r>
            <a:r>
              <a:rPr lang="en-GB" noProof="0"/>
              <a:t>, </a:t>
            </a:r>
            <a:r>
              <a:rPr lang="en-GB" noProof="0" err="1"/>
              <a:t>egestas</a:t>
            </a:r>
            <a:r>
              <a:rPr lang="en-GB" noProof="0"/>
              <a:t> </a:t>
            </a:r>
            <a:r>
              <a:rPr lang="en-GB" noProof="0" err="1"/>
              <a:t>purus</a:t>
            </a:r>
            <a:r>
              <a:rPr lang="en-GB" noProof="0"/>
              <a:t>. </a:t>
            </a:r>
          </a:p>
        </p:txBody>
      </p:sp>
    </p:spTree>
    <p:extLst>
      <p:ext uri="{BB962C8B-B14F-4D97-AF65-F5344CB8AC3E}">
        <p14:creationId xmlns:p14="http://schemas.microsoft.com/office/powerpoint/2010/main" val="33011295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51" name="Rectangle 10">
            <a:extLst>
              <a:ext uri="{FF2B5EF4-FFF2-40B4-BE49-F238E27FC236}">
                <a16:creationId xmlns:a16="http://schemas.microsoft.com/office/drawing/2014/main" id="{F55BAFD2-488E-4666-95BA-2E27E93B3D86}"/>
              </a:ext>
            </a:extLst>
          </p:cNvPr>
          <p:cNvSpPr/>
          <p:nvPr userDrawn="1"/>
        </p:nvSpPr>
        <p:spPr>
          <a:xfrm>
            <a:off x="7242052" y="1329796"/>
            <a:ext cx="3747559" cy="12989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i="0" noProof="0">
              <a:latin typeface="Helvetica" pitchFamily="2" charset="0"/>
              <a:cs typeface="Arial" panose="020B0604020202020204" pitchFamily="34" charset="0"/>
            </a:endParaRPr>
          </a:p>
        </p:txBody>
      </p:sp>
      <p:sp>
        <p:nvSpPr>
          <p:cNvPr id="53" name="!!Blue">
            <a:extLst>
              <a:ext uri="{FF2B5EF4-FFF2-40B4-BE49-F238E27FC236}">
                <a16:creationId xmlns:a16="http://schemas.microsoft.com/office/drawing/2014/main" id="{77930EB7-481C-44F0-97C3-9C5864AFA2D1}"/>
              </a:ext>
            </a:extLst>
          </p:cNvPr>
          <p:cNvSpPr/>
          <p:nvPr userDrawn="1"/>
        </p:nvSpPr>
        <p:spPr>
          <a:xfrm>
            <a:off x="7242052" y="2917580"/>
            <a:ext cx="3747559" cy="12989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5" name="Rectangle 17">
            <a:extLst>
              <a:ext uri="{FF2B5EF4-FFF2-40B4-BE49-F238E27FC236}">
                <a16:creationId xmlns:a16="http://schemas.microsoft.com/office/drawing/2014/main" id="{6A5350D8-C90C-4BAF-B507-455A8A5BA435}"/>
              </a:ext>
            </a:extLst>
          </p:cNvPr>
          <p:cNvSpPr/>
          <p:nvPr userDrawn="1"/>
        </p:nvSpPr>
        <p:spPr>
          <a:xfrm>
            <a:off x="7242052" y="4506306"/>
            <a:ext cx="3747559" cy="12989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 name="Rectangle 36">
            <a:extLst>
              <a:ext uri="{FF2B5EF4-FFF2-40B4-BE49-F238E27FC236}">
                <a16:creationId xmlns:a16="http://schemas.microsoft.com/office/drawing/2014/main" id="{214895EF-8762-4104-8A7D-B5F36DC46B45}"/>
              </a:ext>
            </a:extLst>
          </p:cNvPr>
          <p:cNvSpPr/>
          <p:nvPr userDrawn="1"/>
        </p:nvSpPr>
        <p:spPr>
          <a:xfrm>
            <a:off x="0" y="0"/>
            <a:ext cx="65627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2" name="Rectangle 12">
            <a:extLst>
              <a:ext uri="{FF2B5EF4-FFF2-40B4-BE49-F238E27FC236}">
                <a16:creationId xmlns:a16="http://schemas.microsoft.com/office/drawing/2014/main" id="{DA564843-AAC1-4FC6-ABEB-604C5A4E480D}"/>
              </a:ext>
            </a:extLst>
          </p:cNvPr>
          <p:cNvSpPr/>
          <p:nvPr userDrawn="1"/>
        </p:nvSpPr>
        <p:spPr>
          <a:xfrm>
            <a:off x="10989611" y="1329796"/>
            <a:ext cx="553267" cy="1298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4" name="!!Yellow">
            <a:extLst>
              <a:ext uri="{FF2B5EF4-FFF2-40B4-BE49-F238E27FC236}">
                <a16:creationId xmlns:a16="http://schemas.microsoft.com/office/drawing/2014/main" id="{7A4FB1C8-3DBE-4D19-A16E-369BF81FC843}"/>
              </a:ext>
            </a:extLst>
          </p:cNvPr>
          <p:cNvSpPr/>
          <p:nvPr userDrawn="1"/>
        </p:nvSpPr>
        <p:spPr>
          <a:xfrm>
            <a:off x="10989611" y="2918522"/>
            <a:ext cx="553267" cy="1298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6" name="Rectangle 18">
            <a:extLst>
              <a:ext uri="{FF2B5EF4-FFF2-40B4-BE49-F238E27FC236}">
                <a16:creationId xmlns:a16="http://schemas.microsoft.com/office/drawing/2014/main" id="{B32874FD-6D8F-4529-B48B-1282B36E9FB2}"/>
              </a:ext>
            </a:extLst>
          </p:cNvPr>
          <p:cNvSpPr/>
          <p:nvPr userDrawn="1"/>
        </p:nvSpPr>
        <p:spPr>
          <a:xfrm>
            <a:off x="10989611" y="4506306"/>
            <a:ext cx="553267" cy="1298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81" name="Plassholder for tekst 80">
            <a:extLst>
              <a:ext uri="{FF2B5EF4-FFF2-40B4-BE49-F238E27FC236}">
                <a16:creationId xmlns:a16="http://schemas.microsoft.com/office/drawing/2014/main" id="{31D0DABA-AC45-4C99-B3A1-7D91C6FF0D16}"/>
              </a:ext>
            </a:extLst>
          </p:cNvPr>
          <p:cNvSpPr>
            <a:spLocks noGrp="1"/>
          </p:cNvSpPr>
          <p:nvPr>
            <p:ph type="body" sz="quarter" idx="10" hasCustomPrompt="1"/>
          </p:nvPr>
        </p:nvSpPr>
        <p:spPr>
          <a:xfrm>
            <a:off x="8009848" y="1329439"/>
            <a:ext cx="2979738" cy="1298388"/>
          </a:xfrm>
          <a:prstGeom prst="rect">
            <a:avLst/>
          </a:prstGeom>
        </p:spPr>
        <p:txBody>
          <a:bodyPr anchor="ctr"/>
          <a:lstStyle>
            <a:lvl1pPr marL="0" indent="0" algn="l">
              <a:buNone/>
              <a:defRPr sz="1600" b="1" i="0" baseline="0">
                <a:solidFill>
                  <a:schemeClr val="bg1"/>
                </a:solidFill>
                <a:latin typeface="Helvetica" pitchFamily="2" charset="0"/>
              </a:defRPr>
            </a:lvl1pPr>
          </a:lstStyle>
          <a:p>
            <a:pPr lvl="0"/>
            <a:r>
              <a:rPr lang="en-GB" noProof="0"/>
              <a:t>Example Text Placed In This Blue Box</a:t>
            </a:r>
          </a:p>
        </p:txBody>
      </p:sp>
      <p:sp>
        <p:nvSpPr>
          <p:cNvPr id="82" name="Plassholder for tekst 80">
            <a:extLst>
              <a:ext uri="{FF2B5EF4-FFF2-40B4-BE49-F238E27FC236}">
                <a16:creationId xmlns:a16="http://schemas.microsoft.com/office/drawing/2014/main" id="{AE79262F-1BB6-486C-82B4-750D6048736A}"/>
              </a:ext>
            </a:extLst>
          </p:cNvPr>
          <p:cNvSpPr>
            <a:spLocks noGrp="1"/>
          </p:cNvSpPr>
          <p:nvPr>
            <p:ph type="body" sz="quarter" idx="11" hasCustomPrompt="1"/>
          </p:nvPr>
        </p:nvSpPr>
        <p:spPr>
          <a:xfrm>
            <a:off x="8009848" y="2918164"/>
            <a:ext cx="2979738" cy="1298388"/>
          </a:xfrm>
          <a:prstGeom prst="rect">
            <a:avLst/>
          </a:prstGeom>
        </p:spPr>
        <p:txBody>
          <a:bodyPr anchor="ctr"/>
          <a:lstStyle>
            <a:lvl1pPr marL="0" indent="0" algn="l">
              <a:buNone/>
              <a:defRPr sz="1600" b="1" i="0" baseline="0">
                <a:solidFill>
                  <a:schemeClr val="bg1"/>
                </a:solidFill>
                <a:latin typeface="Helvetica" pitchFamily="2" charset="0"/>
              </a:defRPr>
            </a:lvl1pPr>
          </a:lstStyle>
          <a:p>
            <a:pPr lvl="0"/>
            <a:r>
              <a:rPr lang="en-GB" noProof="0"/>
              <a:t>Example Text Placed In This Blue Box</a:t>
            </a:r>
          </a:p>
        </p:txBody>
      </p:sp>
      <p:sp>
        <p:nvSpPr>
          <p:cNvPr id="83" name="Plassholder for tekst 80">
            <a:extLst>
              <a:ext uri="{FF2B5EF4-FFF2-40B4-BE49-F238E27FC236}">
                <a16:creationId xmlns:a16="http://schemas.microsoft.com/office/drawing/2014/main" id="{405BE05B-D0C3-4A43-9832-D4376E5F50E4}"/>
              </a:ext>
            </a:extLst>
          </p:cNvPr>
          <p:cNvSpPr>
            <a:spLocks noGrp="1"/>
          </p:cNvSpPr>
          <p:nvPr>
            <p:ph type="body" sz="quarter" idx="12" hasCustomPrompt="1"/>
          </p:nvPr>
        </p:nvSpPr>
        <p:spPr>
          <a:xfrm>
            <a:off x="8009848" y="4516826"/>
            <a:ext cx="2979738" cy="1298388"/>
          </a:xfrm>
          <a:prstGeom prst="rect">
            <a:avLst/>
          </a:prstGeom>
        </p:spPr>
        <p:txBody>
          <a:bodyPr anchor="ctr"/>
          <a:lstStyle>
            <a:lvl1pPr marL="0" indent="0" algn="l">
              <a:buNone/>
              <a:defRPr sz="1600" b="1" i="0" baseline="0">
                <a:solidFill>
                  <a:schemeClr val="bg1"/>
                </a:solidFill>
                <a:latin typeface="Helvetica" pitchFamily="2" charset="0"/>
              </a:defRPr>
            </a:lvl1pPr>
          </a:lstStyle>
          <a:p>
            <a:pPr lvl="0"/>
            <a:r>
              <a:rPr lang="en-GB" noProof="0"/>
              <a:t>Example Text Placed In This Blue Box</a:t>
            </a:r>
          </a:p>
        </p:txBody>
      </p:sp>
      <p:sp>
        <p:nvSpPr>
          <p:cNvPr id="91" name="Plassholder for tekst 90">
            <a:extLst>
              <a:ext uri="{FF2B5EF4-FFF2-40B4-BE49-F238E27FC236}">
                <a16:creationId xmlns:a16="http://schemas.microsoft.com/office/drawing/2014/main" id="{068EEC50-49CF-486C-8A3E-CB02713CB666}"/>
              </a:ext>
            </a:extLst>
          </p:cNvPr>
          <p:cNvSpPr>
            <a:spLocks noGrp="1"/>
          </p:cNvSpPr>
          <p:nvPr>
            <p:ph type="body" sz="quarter" idx="13" hasCustomPrompt="1"/>
          </p:nvPr>
        </p:nvSpPr>
        <p:spPr>
          <a:xfrm>
            <a:off x="1099739" y="1329439"/>
            <a:ext cx="4376736" cy="1176338"/>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3600" b="1" i="0" cap="all" baseline="0">
                <a:solidFill>
                  <a:schemeClr val="bg1"/>
                </a:solidFill>
                <a:latin typeface="Helvetica"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noFill/>
                </a:ln>
                <a:solidFill>
                  <a:prstClr val="white"/>
                </a:solidFill>
                <a:effectLst/>
                <a:uLnTx/>
                <a:uFillTx/>
                <a:latin typeface="Arial" panose="020B0604020202020204" pitchFamily="34" charset="0"/>
                <a:ea typeface="Roboto Condensed" panose="02000000000000000000" pitchFamily="2" charset="0"/>
                <a:cs typeface="Arial" panose="020B0604020202020204" pitchFamily="34" charset="0"/>
              </a:rPr>
              <a:t>PRESENTATION TITLE HERE</a:t>
            </a:r>
          </a:p>
          <a:p>
            <a:pPr lvl="0"/>
            <a:endParaRPr lang="en-GB" noProof="0"/>
          </a:p>
        </p:txBody>
      </p:sp>
      <p:sp>
        <p:nvSpPr>
          <p:cNvPr id="93" name="Plassholder for tekst 92">
            <a:extLst>
              <a:ext uri="{FF2B5EF4-FFF2-40B4-BE49-F238E27FC236}">
                <a16:creationId xmlns:a16="http://schemas.microsoft.com/office/drawing/2014/main" id="{BCF18026-5F87-4FCB-AB7A-C2C61F8A2C3A}"/>
              </a:ext>
            </a:extLst>
          </p:cNvPr>
          <p:cNvSpPr>
            <a:spLocks noGrp="1"/>
          </p:cNvSpPr>
          <p:nvPr>
            <p:ph type="body" sz="quarter" idx="14" hasCustomPrompt="1"/>
          </p:nvPr>
        </p:nvSpPr>
        <p:spPr>
          <a:xfrm>
            <a:off x="1099738" y="2856555"/>
            <a:ext cx="4376737" cy="744537"/>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000" b="1" i="0" baseline="0">
                <a:solidFill>
                  <a:schemeClr val="accent2"/>
                </a:solidFill>
                <a:latin typeface="Helvetica"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B800"/>
                </a:solidFill>
                <a:effectLst/>
                <a:uLnTx/>
                <a:uFillTx/>
                <a:latin typeface="Arial" panose="020B0604020202020204" pitchFamily="34" charset="0"/>
                <a:ea typeface="Roboto Condensed" panose="02000000000000000000" pitchFamily="2" charset="0"/>
                <a:cs typeface="Arial" panose="020B0604020202020204" pitchFamily="34" charset="0"/>
              </a:rPr>
              <a:t>Expertise You Need. Service You Deserve!</a:t>
            </a:r>
          </a:p>
          <a:p>
            <a:pPr lvl="0"/>
            <a:endParaRPr lang="en-GB" noProof="0"/>
          </a:p>
        </p:txBody>
      </p:sp>
      <p:sp>
        <p:nvSpPr>
          <p:cNvPr id="95" name="Plassholder for tekst 94">
            <a:extLst>
              <a:ext uri="{FF2B5EF4-FFF2-40B4-BE49-F238E27FC236}">
                <a16:creationId xmlns:a16="http://schemas.microsoft.com/office/drawing/2014/main" id="{4A7BCC36-BF2F-4D90-A16A-8532CBC4FD0B}"/>
              </a:ext>
            </a:extLst>
          </p:cNvPr>
          <p:cNvSpPr>
            <a:spLocks noGrp="1"/>
          </p:cNvSpPr>
          <p:nvPr>
            <p:ph type="body" sz="quarter" idx="15" hasCustomPrompt="1"/>
          </p:nvPr>
        </p:nvSpPr>
        <p:spPr>
          <a:xfrm>
            <a:off x="1099738" y="3951870"/>
            <a:ext cx="4376737" cy="1666875"/>
          </a:xfrm>
          <a:prstGeom prst="rect">
            <a:avLst/>
          </a:prstGeom>
        </p:spPr>
        <p:txBody>
          <a:bodyPr/>
          <a:lstStyle>
            <a:lvl1pPr marL="0" marR="0" indent="0" algn="l" defTabSz="914400" rtl="0" eaLnBrk="1" fontAlgn="auto" latinLnBrk="0" hangingPunct="1">
              <a:lnSpc>
                <a:spcPct val="150000"/>
              </a:lnSpc>
              <a:spcBef>
                <a:spcPts val="0"/>
              </a:spcBef>
              <a:spcAft>
                <a:spcPts val="0"/>
              </a:spcAft>
              <a:buClrTx/>
              <a:buSzTx/>
              <a:buFontTx/>
              <a:buNone/>
              <a:tabLst/>
              <a:defRPr sz="1400" b="0" i="0" baseline="0">
                <a:solidFill>
                  <a:schemeClr val="bg1"/>
                </a:solidFill>
                <a:latin typeface="Helvetica Light" panose="020B0403020202020204" pitchFamily="34" charset="0"/>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Lorem ipsum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dolor</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si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ame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consectetur</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adipiscing</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eli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Pellentes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sceleris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malesuada</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libero a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pellentes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Morbi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orci</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dui, fermentum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ege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lectus</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ornar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viverra</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dignissim</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risus</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Donec lacinia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ne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non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veli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dictum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tincidun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p>
          <a:p>
            <a:pPr lvl="0"/>
            <a:endParaRPr lang="en-GB" noProof="0"/>
          </a:p>
        </p:txBody>
      </p:sp>
    </p:spTree>
    <p:extLst>
      <p:ext uri="{BB962C8B-B14F-4D97-AF65-F5344CB8AC3E}">
        <p14:creationId xmlns:p14="http://schemas.microsoft.com/office/powerpoint/2010/main" val="15549294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ackground">
    <p:spTree>
      <p:nvGrpSpPr>
        <p:cNvPr id="1" name=""/>
        <p:cNvGrpSpPr/>
        <p:nvPr/>
      </p:nvGrpSpPr>
      <p:grpSpPr>
        <a:xfrm>
          <a:off x="0" y="0"/>
          <a:ext cx="0" cy="0"/>
          <a:chOff x="0" y="0"/>
          <a:chExt cx="0" cy="0"/>
        </a:xfrm>
      </p:grpSpPr>
      <p:pic>
        <p:nvPicPr>
          <p:cNvPr id="4" name="Bilde 3" descr="Et bilde som inneholder bygning, person, kvinne, ung&#10;&#10;Automatisk generert beskrivelse">
            <a:extLst>
              <a:ext uri="{FF2B5EF4-FFF2-40B4-BE49-F238E27FC236}">
                <a16:creationId xmlns:a16="http://schemas.microsoft.com/office/drawing/2014/main" id="{347B0E7C-4579-4576-AF68-7E36524526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100" y="0"/>
            <a:ext cx="12230100" cy="6858000"/>
          </a:xfrm>
          <a:prstGeom prst="rect">
            <a:avLst/>
          </a:prstGeom>
        </p:spPr>
      </p:pic>
      <p:pic>
        <p:nvPicPr>
          <p:cNvPr id="5" name="Bilde 4">
            <a:extLst>
              <a:ext uri="{FF2B5EF4-FFF2-40B4-BE49-F238E27FC236}">
                <a16:creationId xmlns:a16="http://schemas.microsoft.com/office/drawing/2014/main" id="{A558EB16-3382-4CE3-BB9E-79B883585A7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52521" y="6429313"/>
            <a:ext cx="1825937" cy="319232"/>
          </a:xfrm>
          <a:prstGeom prst="rect">
            <a:avLst/>
          </a:prstGeom>
        </p:spPr>
      </p:pic>
      <p:sp>
        <p:nvSpPr>
          <p:cNvPr id="6" name="Title 1">
            <a:extLst>
              <a:ext uri="{FF2B5EF4-FFF2-40B4-BE49-F238E27FC236}">
                <a16:creationId xmlns:a16="http://schemas.microsoft.com/office/drawing/2014/main" id="{850311F6-6889-4595-A4A8-04606161AADD}"/>
              </a:ext>
            </a:extLst>
          </p:cNvPr>
          <p:cNvSpPr>
            <a:spLocks noGrp="1"/>
          </p:cNvSpPr>
          <p:nvPr>
            <p:ph type="title" hasCustomPrompt="1"/>
          </p:nvPr>
        </p:nvSpPr>
        <p:spPr>
          <a:xfrm>
            <a:off x="-38100" y="2154630"/>
            <a:ext cx="12230100" cy="2120054"/>
          </a:xfrm>
          <a:prstGeom prst="rect">
            <a:avLst/>
          </a:prstGeom>
          <a:solidFill>
            <a:schemeClr val="bg1">
              <a:lumMod val="50000"/>
              <a:alpha val="63000"/>
            </a:schemeClr>
          </a:solidFill>
        </p:spPr>
        <p:txBody>
          <a:bodyPr>
            <a:normAutofit/>
          </a:bodyPr>
          <a:lstStyle>
            <a:lvl1pPr algn="ctr">
              <a:defRPr sz="4400" b="1" i="0">
                <a:solidFill>
                  <a:schemeClr val="accent1"/>
                </a:solidFill>
                <a:latin typeface="Helvetica" pitchFamily="2" charset="0"/>
                <a:cs typeface="Arial" panose="020B0604020202020204" pitchFamily="34" charset="0"/>
              </a:defRPr>
            </a:lvl1pPr>
          </a:lstStyle>
          <a:p>
            <a:r>
              <a:rPr lang="en-GB" noProof="0"/>
              <a:t>Click to edit Master title style</a:t>
            </a:r>
          </a:p>
        </p:txBody>
      </p:sp>
    </p:spTree>
    <p:extLst>
      <p:ext uri="{BB962C8B-B14F-4D97-AF65-F5344CB8AC3E}">
        <p14:creationId xmlns:p14="http://schemas.microsoft.com/office/powerpoint/2010/main" val="12334436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ue Texture">
    <p:bg>
      <p:bgPr>
        <a:blipFill>
          <a:blip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11500"/>
                    </a14:imgEffect>
                    <a14:imgEffect>
                      <a14:saturation sat="330000"/>
                    </a14:imgEffect>
                  </a14:imgLayer>
                </a14:imgProps>
              </a:ext>
            </a:extLst>
          </a:blip>
          <a:tile tx="0" ty="0" sx="100000" sy="100000" flip="none" algn="tl"/>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5642505" y="1771920"/>
            <a:ext cx="4978082" cy="1964372"/>
          </a:xfrm>
          <a:prstGeom prst="rect">
            <a:avLst/>
          </a:prstGeom>
        </p:spPr>
        <p:txBody>
          <a:bodyPr anchor="b">
            <a:normAutofit/>
          </a:bodyPr>
          <a:lstStyle>
            <a:lvl1pPr marL="0" indent="0">
              <a:buNone/>
              <a:defRPr sz="4000" b="0" i="0">
                <a:solidFill>
                  <a:schemeClr val="accent2"/>
                </a:solidFill>
                <a:latin typeface="Helvetica Light" panose="020B0403020202020204" pitchFamily="34" charset="0"/>
                <a:cs typeface="Arial" panose="020B0604020202020204" pitchFamily="34" charset="0"/>
              </a:defRPr>
            </a:lvl1pPr>
            <a:lvl2pPr>
              <a:defRPr b="1">
                <a:solidFill>
                  <a:schemeClr val="bg1"/>
                </a:solidFill>
                <a:latin typeface="Franklin Gothic Medium" panose="020B0603020102020204" pitchFamily="34" charset="0"/>
              </a:defRPr>
            </a:lvl2pPr>
            <a:lvl3pPr>
              <a:defRPr b="1">
                <a:solidFill>
                  <a:schemeClr val="bg1"/>
                </a:solidFill>
                <a:latin typeface="Franklin Gothic Medium" panose="020B0603020102020204" pitchFamily="34" charset="0"/>
              </a:defRPr>
            </a:lvl3pPr>
            <a:lvl4pPr>
              <a:defRPr b="1">
                <a:solidFill>
                  <a:schemeClr val="bg1"/>
                </a:solidFill>
                <a:latin typeface="Franklin Gothic Medium" panose="020B0603020102020204" pitchFamily="34" charset="0"/>
              </a:defRPr>
            </a:lvl4pPr>
            <a:lvl5pPr>
              <a:defRPr b="1">
                <a:solidFill>
                  <a:schemeClr val="bg1"/>
                </a:solidFill>
                <a:latin typeface="Franklin Gothic Medium" panose="020B0603020102020204" pitchFamily="34" charset="0"/>
              </a:defRPr>
            </a:lvl5pPr>
          </a:lstStyle>
          <a:p>
            <a:pPr lvl="0"/>
            <a:r>
              <a:rPr lang="en-GB" noProof="0"/>
              <a:t>Edit Master text styles</a:t>
            </a:r>
          </a:p>
        </p:txBody>
      </p:sp>
      <p:sp>
        <p:nvSpPr>
          <p:cNvPr id="9" name="Text Placeholder 8"/>
          <p:cNvSpPr>
            <a:spLocks noGrp="1"/>
          </p:cNvSpPr>
          <p:nvPr>
            <p:ph type="body" sz="quarter" idx="11" hasCustomPrompt="1"/>
          </p:nvPr>
        </p:nvSpPr>
        <p:spPr>
          <a:xfrm>
            <a:off x="5642610" y="3843970"/>
            <a:ext cx="5018088" cy="1404937"/>
          </a:xfrm>
          <a:prstGeom prst="rect">
            <a:avLst/>
          </a:prstGeom>
        </p:spPr>
        <p:txBody>
          <a:bodyPr>
            <a:normAutofit/>
          </a:bodyPr>
          <a:lstStyle>
            <a:lvl1pPr marL="0" indent="0">
              <a:buNone/>
              <a:defRPr sz="2400" b="0" i="0">
                <a:solidFill>
                  <a:schemeClr val="bg1"/>
                </a:solidFill>
                <a:latin typeface="Helvetica Light" panose="020B0403020202020204" pitchFamily="34" charset="0"/>
                <a:cs typeface="Arial" panose="020B0604020202020204" pitchFamily="34" charset="0"/>
              </a:defRPr>
            </a:lvl1pPr>
            <a:lvl2pPr>
              <a:defRPr>
                <a:solidFill>
                  <a:schemeClr val="bg1"/>
                </a:solidFill>
                <a:latin typeface="Franklin Gothic Medium" panose="020B0603020102020204" pitchFamily="34" charset="0"/>
              </a:defRPr>
            </a:lvl2pPr>
            <a:lvl3pPr>
              <a:defRPr>
                <a:solidFill>
                  <a:schemeClr val="bg1"/>
                </a:solidFill>
                <a:latin typeface="Franklin Gothic Medium" panose="020B0603020102020204" pitchFamily="34" charset="0"/>
              </a:defRPr>
            </a:lvl3pPr>
            <a:lvl4pPr>
              <a:defRPr>
                <a:solidFill>
                  <a:schemeClr val="bg1"/>
                </a:solidFill>
                <a:latin typeface="Franklin Gothic Medium" panose="020B0603020102020204" pitchFamily="34" charset="0"/>
              </a:defRPr>
            </a:lvl4pPr>
            <a:lvl5pPr>
              <a:defRPr>
                <a:solidFill>
                  <a:schemeClr val="bg1"/>
                </a:solidFill>
                <a:latin typeface="Franklin Gothic Medium" panose="020B0603020102020204" pitchFamily="34" charset="0"/>
              </a:defRPr>
            </a:lvl5pPr>
          </a:lstStyle>
          <a:p>
            <a:pPr lvl="0"/>
            <a:r>
              <a:rPr lang="en-GB" noProof="0"/>
              <a:t>Edit Master text styles</a:t>
            </a:r>
          </a:p>
        </p:txBody>
      </p:sp>
      <p:pic>
        <p:nvPicPr>
          <p:cNvPr id="5" name="Bilde 4">
            <a:extLst>
              <a:ext uri="{FF2B5EF4-FFF2-40B4-BE49-F238E27FC236}">
                <a16:creationId xmlns:a16="http://schemas.microsoft.com/office/drawing/2014/main" id="{3A07580A-3D59-446E-AF02-EE9B1C03A1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74077" y="1771920"/>
            <a:ext cx="3923340" cy="2542905"/>
          </a:xfrm>
          <a:prstGeom prst="rect">
            <a:avLst/>
          </a:prstGeom>
        </p:spPr>
      </p:pic>
    </p:spTree>
    <p:extLst>
      <p:ext uri="{BB962C8B-B14F-4D97-AF65-F5344CB8AC3E}">
        <p14:creationId xmlns:p14="http://schemas.microsoft.com/office/powerpoint/2010/main" val="38784860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43_Custom Layou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5D4AB-B803-4643-BCDF-D6393E1CDC9B}"/>
              </a:ext>
            </a:extLst>
          </p:cNvPr>
          <p:cNvSpPr>
            <a:spLocks noGrp="1"/>
          </p:cNvSpPr>
          <p:nvPr>
            <p:ph type="title"/>
          </p:nvPr>
        </p:nvSpPr>
        <p:spPr>
          <a:xfrm>
            <a:off x="1218623" y="913943"/>
            <a:ext cx="8567928" cy="1325563"/>
          </a:xfrm>
          <a:prstGeom prst="rect">
            <a:avLst/>
          </a:prstGeom>
        </p:spPr>
        <p:txBody>
          <a:bodyPr/>
          <a:lstStyle>
            <a:lvl1pPr>
              <a:defRPr b="0" i="0">
                <a:solidFill>
                  <a:schemeClr val="bg1"/>
                </a:solidFill>
                <a:latin typeface="Helvetica Light" panose="020B0403020202020204" pitchFamily="34" charset="0"/>
              </a:defRPr>
            </a:lvl1pPr>
          </a:lstStyle>
          <a:p>
            <a:r>
              <a:rPr lang="en-GB"/>
              <a:t>Click to edit Master title style</a:t>
            </a:r>
            <a:endParaRPr lang="en-US"/>
          </a:p>
        </p:txBody>
      </p:sp>
      <p:pic>
        <p:nvPicPr>
          <p:cNvPr id="5" name="Bilde 5">
            <a:extLst>
              <a:ext uri="{FF2B5EF4-FFF2-40B4-BE49-F238E27FC236}">
                <a16:creationId xmlns:a16="http://schemas.microsoft.com/office/drawing/2014/main" id="{826408B4-1F28-DA4C-9BD1-39058BB264B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218623" y="5599967"/>
            <a:ext cx="2822031" cy="493381"/>
          </a:xfrm>
          <a:prstGeom prst="rect">
            <a:avLst/>
          </a:prstGeom>
        </p:spPr>
      </p:pic>
      <p:cxnSp>
        <p:nvCxnSpPr>
          <p:cNvPr id="6" name="Straight Connector 5">
            <a:extLst>
              <a:ext uri="{FF2B5EF4-FFF2-40B4-BE49-F238E27FC236}">
                <a16:creationId xmlns:a16="http://schemas.microsoft.com/office/drawing/2014/main" id="{2982B310-7E67-7C47-9E67-4430CA714644}"/>
              </a:ext>
            </a:extLst>
          </p:cNvPr>
          <p:cNvCxnSpPr>
            <a:cxnSpLocks/>
          </p:cNvCxnSpPr>
          <p:nvPr userDrawn="1"/>
        </p:nvCxnSpPr>
        <p:spPr>
          <a:xfrm>
            <a:off x="1315186" y="4964483"/>
            <a:ext cx="92835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20">
            <a:extLst>
              <a:ext uri="{FF2B5EF4-FFF2-40B4-BE49-F238E27FC236}">
                <a16:creationId xmlns:a16="http://schemas.microsoft.com/office/drawing/2014/main" id="{1D537A84-0006-344B-B900-FF658484079B}"/>
              </a:ext>
            </a:extLst>
          </p:cNvPr>
          <p:cNvSpPr>
            <a:spLocks noGrp="1"/>
          </p:cNvSpPr>
          <p:nvPr>
            <p:ph type="body" sz="quarter" idx="25"/>
          </p:nvPr>
        </p:nvSpPr>
        <p:spPr>
          <a:xfrm>
            <a:off x="1218623" y="3529464"/>
            <a:ext cx="5145898" cy="1227888"/>
          </a:xfrm>
          <a:prstGeom prst="rect">
            <a:avLst/>
          </a:prstGeom>
        </p:spPr>
        <p:txBody>
          <a:bodyPr anchor="t">
            <a:noAutofit/>
          </a:bodyPr>
          <a:lstStyle>
            <a:lvl1pPr marL="0" indent="0">
              <a:buNone/>
              <a:defRPr sz="14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Click to edit Master text styles</a:t>
            </a:r>
          </a:p>
        </p:txBody>
      </p:sp>
    </p:spTree>
    <p:extLst>
      <p:ext uri="{BB962C8B-B14F-4D97-AF65-F5344CB8AC3E}">
        <p14:creationId xmlns:p14="http://schemas.microsoft.com/office/powerpoint/2010/main" val="33415467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7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grpSp>
        <p:nvGrpSpPr>
          <p:cNvPr id="25" name="Group 24">
            <a:extLst>
              <a:ext uri="{FF2B5EF4-FFF2-40B4-BE49-F238E27FC236}">
                <a16:creationId xmlns:a16="http://schemas.microsoft.com/office/drawing/2014/main" id="{37A582FD-82EE-E788-AF1A-D5B8F27F4843}"/>
              </a:ext>
            </a:extLst>
          </p:cNvPr>
          <p:cNvGrpSpPr/>
          <p:nvPr userDrawn="1"/>
        </p:nvGrpSpPr>
        <p:grpSpPr>
          <a:xfrm>
            <a:off x="731838" y="2360372"/>
            <a:ext cx="5202388" cy="756000"/>
            <a:chOff x="558332" y="2312872"/>
            <a:chExt cx="5202388" cy="756000"/>
          </a:xfrm>
        </p:grpSpPr>
        <p:sp>
          <p:nvSpPr>
            <p:cNvPr id="26" name="Rectangle 25">
              <a:extLst>
                <a:ext uri="{FF2B5EF4-FFF2-40B4-BE49-F238E27FC236}">
                  <a16:creationId xmlns:a16="http://schemas.microsoft.com/office/drawing/2014/main" id="{E366F876-8570-297F-035B-0DE6C6600DEB}"/>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E1B9C562-3D2C-2F2B-9171-1A792DDF93D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9" name="Text Placeholder 20">
            <a:extLst>
              <a:ext uri="{FF2B5EF4-FFF2-40B4-BE49-F238E27FC236}">
                <a16:creationId xmlns:a16="http://schemas.microsoft.com/office/drawing/2014/main" id="{E449B1A2-F732-EF88-13A4-8EDA8436E445}"/>
              </a:ext>
            </a:extLst>
          </p:cNvPr>
          <p:cNvSpPr>
            <a:spLocks noGrp="1"/>
          </p:cNvSpPr>
          <p:nvPr>
            <p:ph type="body" sz="quarter" idx="10" hasCustomPrompt="1"/>
          </p:nvPr>
        </p:nvSpPr>
        <p:spPr>
          <a:xfrm>
            <a:off x="817639" y="2449447"/>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30" name="Group 29">
            <a:extLst>
              <a:ext uri="{FF2B5EF4-FFF2-40B4-BE49-F238E27FC236}">
                <a16:creationId xmlns:a16="http://schemas.microsoft.com/office/drawing/2014/main" id="{D6FCE257-7D18-875A-CD9E-90F3822B1E6E}"/>
              </a:ext>
            </a:extLst>
          </p:cNvPr>
          <p:cNvGrpSpPr/>
          <p:nvPr userDrawn="1"/>
        </p:nvGrpSpPr>
        <p:grpSpPr>
          <a:xfrm>
            <a:off x="731838" y="3246651"/>
            <a:ext cx="5202388" cy="756000"/>
            <a:chOff x="558332" y="2312872"/>
            <a:chExt cx="5202388" cy="756000"/>
          </a:xfrm>
        </p:grpSpPr>
        <p:sp>
          <p:nvSpPr>
            <p:cNvPr id="31" name="Rectangle 30">
              <a:extLst>
                <a:ext uri="{FF2B5EF4-FFF2-40B4-BE49-F238E27FC236}">
                  <a16:creationId xmlns:a16="http://schemas.microsoft.com/office/drawing/2014/main" id="{4F0F38EE-E67F-FBED-A126-C22FC09800EC}"/>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7F21480C-2573-EE0E-911E-11FF4E962E2D}"/>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2C4533ED-65E2-0C4A-E8A3-20EAC0CFC98F}"/>
              </a:ext>
            </a:extLst>
          </p:cNvPr>
          <p:cNvGrpSpPr/>
          <p:nvPr userDrawn="1"/>
        </p:nvGrpSpPr>
        <p:grpSpPr>
          <a:xfrm>
            <a:off x="731838" y="4132930"/>
            <a:ext cx="5202388" cy="756000"/>
            <a:chOff x="558332" y="2312872"/>
            <a:chExt cx="5202388" cy="756000"/>
          </a:xfrm>
        </p:grpSpPr>
        <p:sp>
          <p:nvSpPr>
            <p:cNvPr id="39" name="Rectangle 38">
              <a:extLst>
                <a:ext uri="{FF2B5EF4-FFF2-40B4-BE49-F238E27FC236}">
                  <a16:creationId xmlns:a16="http://schemas.microsoft.com/office/drawing/2014/main" id="{118BC62C-526B-BBEF-8DEC-5FD2D9E478AB}"/>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668DEA18-A608-B503-491A-179887B02603}"/>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C4291E4D-E220-C66B-2873-894507738DCE}"/>
              </a:ext>
            </a:extLst>
          </p:cNvPr>
          <p:cNvGrpSpPr/>
          <p:nvPr userDrawn="1"/>
        </p:nvGrpSpPr>
        <p:grpSpPr>
          <a:xfrm>
            <a:off x="731838" y="5019208"/>
            <a:ext cx="5202388" cy="756000"/>
            <a:chOff x="558332" y="2312872"/>
            <a:chExt cx="5202388" cy="756000"/>
          </a:xfrm>
        </p:grpSpPr>
        <p:sp>
          <p:nvSpPr>
            <p:cNvPr id="42" name="Rectangle 41">
              <a:extLst>
                <a:ext uri="{FF2B5EF4-FFF2-40B4-BE49-F238E27FC236}">
                  <a16:creationId xmlns:a16="http://schemas.microsoft.com/office/drawing/2014/main" id="{0D17DF68-02BE-0BBD-A1D3-2F8300DF1C12}"/>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3" name="Straight Connector 42">
              <a:extLst>
                <a:ext uri="{FF2B5EF4-FFF2-40B4-BE49-F238E27FC236}">
                  <a16:creationId xmlns:a16="http://schemas.microsoft.com/office/drawing/2014/main" id="{9CD4D8F9-14BF-CA58-F7A4-FC3AC4163018}"/>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4" name="Text Placeholder 20">
            <a:extLst>
              <a:ext uri="{FF2B5EF4-FFF2-40B4-BE49-F238E27FC236}">
                <a16:creationId xmlns:a16="http://schemas.microsoft.com/office/drawing/2014/main" id="{5E08B787-23FB-55C5-00E1-BC2440525D70}"/>
              </a:ext>
            </a:extLst>
          </p:cNvPr>
          <p:cNvSpPr>
            <a:spLocks noGrp="1"/>
          </p:cNvSpPr>
          <p:nvPr>
            <p:ph type="body" sz="quarter" idx="12" hasCustomPrompt="1"/>
          </p:nvPr>
        </p:nvSpPr>
        <p:spPr>
          <a:xfrm>
            <a:off x="817639" y="3329886"/>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5" name="Text Placeholder 20">
            <a:extLst>
              <a:ext uri="{FF2B5EF4-FFF2-40B4-BE49-F238E27FC236}">
                <a16:creationId xmlns:a16="http://schemas.microsoft.com/office/drawing/2014/main" id="{CCF4088B-D715-137F-2F33-CC96578BAC53}"/>
              </a:ext>
            </a:extLst>
          </p:cNvPr>
          <p:cNvSpPr>
            <a:spLocks noGrp="1"/>
          </p:cNvSpPr>
          <p:nvPr>
            <p:ph type="body" sz="quarter" idx="13" hasCustomPrompt="1"/>
          </p:nvPr>
        </p:nvSpPr>
        <p:spPr>
          <a:xfrm>
            <a:off x="817639" y="4210325"/>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758A94F3-F9EE-52AA-4B7B-B799FEE37001}"/>
              </a:ext>
            </a:extLst>
          </p:cNvPr>
          <p:cNvSpPr>
            <a:spLocks noGrp="1"/>
          </p:cNvSpPr>
          <p:nvPr>
            <p:ph type="body" sz="quarter" idx="14" hasCustomPrompt="1"/>
          </p:nvPr>
        </p:nvSpPr>
        <p:spPr>
          <a:xfrm>
            <a:off x="817639" y="5090765"/>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32" name="Bilde 3">
            <a:extLst>
              <a:ext uri="{FF2B5EF4-FFF2-40B4-BE49-F238E27FC236}">
                <a16:creationId xmlns:a16="http://schemas.microsoft.com/office/drawing/2014/main" id="{98EEFC5F-05DB-267E-00D0-0824C7B567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3" name="Date Placeholder 2">
            <a:extLst>
              <a:ext uri="{FF2B5EF4-FFF2-40B4-BE49-F238E27FC236}">
                <a16:creationId xmlns:a16="http://schemas.microsoft.com/office/drawing/2014/main" id="{EAB28A51-C4C2-D978-4B27-3F1ABED430BF}"/>
              </a:ext>
            </a:extLst>
          </p:cNvPr>
          <p:cNvSpPr>
            <a:spLocks noGrp="1"/>
          </p:cNvSpPr>
          <p:nvPr>
            <p:ph type="dt" sz="half" idx="16"/>
          </p:nvPr>
        </p:nvSpPr>
        <p:spPr>
          <a:xfrm>
            <a:off x="2303627" y="6492875"/>
            <a:ext cx="528585" cy="365125"/>
          </a:xfrm>
        </p:spPr>
        <p:txBody>
          <a:bodyPr/>
          <a:lstStyle/>
          <a:p>
            <a:fld id="{76B17ECE-A997-384A-A5F6-C817C26AD419}" type="datetime1">
              <a:rPr lang="nb-NO" smtClean="0"/>
              <a:t>20.08.2024</a:t>
            </a:fld>
            <a:endParaRPr lang="en-US"/>
          </a:p>
        </p:txBody>
      </p:sp>
      <p:sp>
        <p:nvSpPr>
          <p:cNvPr id="34" name="Footer Placeholder 3">
            <a:extLst>
              <a:ext uri="{FF2B5EF4-FFF2-40B4-BE49-F238E27FC236}">
                <a16:creationId xmlns:a16="http://schemas.microsoft.com/office/drawing/2014/main" id="{FD8A2425-82AA-A745-317B-1D51C4065284}"/>
              </a:ext>
            </a:extLst>
          </p:cNvPr>
          <p:cNvSpPr>
            <a:spLocks noGrp="1"/>
          </p:cNvSpPr>
          <p:nvPr>
            <p:ph type="ftr" sz="quarter" idx="17"/>
          </p:nvPr>
        </p:nvSpPr>
        <p:spPr>
          <a:xfrm>
            <a:off x="175116" y="6492875"/>
            <a:ext cx="2107096" cy="365125"/>
          </a:xfrm>
        </p:spPr>
        <p:txBody>
          <a:bodyPr/>
          <a:lstStyle/>
          <a:p>
            <a:r>
              <a:rPr lang="en-US"/>
              <a:t>© StrongPoint 2022</a:t>
            </a:r>
          </a:p>
        </p:txBody>
      </p:sp>
      <p:sp>
        <p:nvSpPr>
          <p:cNvPr id="35" name="Slide Number Placeholder 4">
            <a:extLst>
              <a:ext uri="{FF2B5EF4-FFF2-40B4-BE49-F238E27FC236}">
                <a16:creationId xmlns:a16="http://schemas.microsoft.com/office/drawing/2014/main" id="{19C9AE7C-9103-2E0C-B1C2-2F7C060BB04C}"/>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2609993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userDrawn="1">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45_Custom Layout">
    <p:bg>
      <p:bgPr>
        <a:solidFill>
          <a:schemeClr val="accent1"/>
        </a:solidFill>
        <a:effectLst/>
      </p:bgPr>
    </p:bg>
    <p:spTree>
      <p:nvGrpSpPr>
        <p:cNvPr id="1" name=""/>
        <p:cNvGrpSpPr/>
        <p:nvPr/>
      </p:nvGrpSpPr>
      <p:grpSpPr>
        <a:xfrm>
          <a:off x="0" y="0"/>
          <a:ext cx="0" cy="0"/>
          <a:chOff x="0" y="0"/>
          <a:chExt cx="0" cy="0"/>
        </a:xfrm>
      </p:grpSpPr>
      <p:pic>
        <p:nvPicPr>
          <p:cNvPr id="8" name="object 4">
            <a:extLst>
              <a:ext uri="{FF2B5EF4-FFF2-40B4-BE49-F238E27FC236}">
                <a16:creationId xmlns:a16="http://schemas.microsoft.com/office/drawing/2014/main" id="{266DE70F-23E3-3D7B-545C-3A919B538BC9}"/>
              </a:ext>
            </a:extLst>
          </p:cNvPr>
          <p:cNvPicPr/>
          <p:nvPr userDrawn="1"/>
        </p:nvPicPr>
        <p:blipFill rotWithShape="1">
          <a:blip r:embed="rId2" cstate="print">
            <a:alphaModFix amt="19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F65D4AB-B803-4643-BCDF-D6393E1CDC9B}"/>
              </a:ext>
            </a:extLst>
          </p:cNvPr>
          <p:cNvSpPr>
            <a:spLocks noGrp="1"/>
          </p:cNvSpPr>
          <p:nvPr>
            <p:ph type="title"/>
          </p:nvPr>
        </p:nvSpPr>
        <p:spPr>
          <a:xfrm>
            <a:off x="1218623" y="2778070"/>
            <a:ext cx="8567928" cy="1325563"/>
          </a:xfrm>
          <a:prstGeom prst="rect">
            <a:avLst/>
          </a:prstGeom>
        </p:spPr>
        <p:txBody>
          <a:bodyPr/>
          <a:lstStyle>
            <a:lvl1pPr>
              <a:defRPr sz="4800" b="1" i="0">
                <a:solidFill>
                  <a:schemeClr val="bg1"/>
                </a:solidFill>
                <a:latin typeface="Helvetica" pitchFamily="2" charset="0"/>
              </a:defRPr>
            </a:lvl1pPr>
          </a:lstStyle>
          <a:p>
            <a:r>
              <a:rPr lang="en-GB"/>
              <a:t>Click to edit Master title style</a:t>
            </a:r>
            <a:endParaRPr lang="en-US"/>
          </a:p>
        </p:txBody>
      </p:sp>
      <p:pic>
        <p:nvPicPr>
          <p:cNvPr id="5" name="Bilde 5">
            <a:extLst>
              <a:ext uri="{FF2B5EF4-FFF2-40B4-BE49-F238E27FC236}">
                <a16:creationId xmlns:a16="http://schemas.microsoft.com/office/drawing/2014/main" id="{826408B4-1F28-DA4C-9BD1-39058BB264B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8623" y="1564372"/>
            <a:ext cx="2822031" cy="493381"/>
          </a:xfrm>
          <a:prstGeom prst="rect">
            <a:avLst/>
          </a:prstGeom>
        </p:spPr>
      </p:pic>
      <p:sp>
        <p:nvSpPr>
          <p:cNvPr id="7" name="Text Placeholder 20">
            <a:extLst>
              <a:ext uri="{FF2B5EF4-FFF2-40B4-BE49-F238E27FC236}">
                <a16:creationId xmlns:a16="http://schemas.microsoft.com/office/drawing/2014/main" id="{1D537A84-0006-344B-B900-FF658484079B}"/>
              </a:ext>
            </a:extLst>
          </p:cNvPr>
          <p:cNvSpPr>
            <a:spLocks noGrp="1"/>
          </p:cNvSpPr>
          <p:nvPr>
            <p:ph type="body" sz="quarter" idx="25"/>
          </p:nvPr>
        </p:nvSpPr>
        <p:spPr>
          <a:xfrm>
            <a:off x="1218623" y="4679684"/>
            <a:ext cx="5145898" cy="1227888"/>
          </a:xfrm>
          <a:prstGeom prst="rect">
            <a:avLst/>
          </a:prstGeom>
        </p:spPr>
        <p:txBody>
          <a:bodyPr anchor="t">
            <a:noAutofit/>
          </a:bodyPr>
          <a:lstStyle>
            <a:lvl1pPr marL="0" indent="0">
              <a:buNone/>
              <a:defRPr sz="20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Click to edit Master text styles</a:t>
            </a:r>
          </a:p>
        </p:txBody>
      </p:sp>
    </p:spTree>
    <p:extLst>
      <p:ext uri="{BB962C8B-B14F-4D97-AF65-F5344CB8AC3E}">
        <p14:creationId xmlns:p14="http://schemas.microsoft.com/office/powerpoint/2010/main" val="6641352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58_Custom Layout">
    <p:bg>
      <p:bgPr>
        <a:solidFill>
          <a:schemeClr val="accent1"/>
        </a:solidFill>
        <a:effectLst/>
      </p:bgPr>
    </p:bg>
    <p:spTree>
      <p:nvGrpSpPr>
        <p:cNvPr id="1" name=""/>
        <p:cNvGrpSpPr/>
        <p:nvPr/>
      </p:nvGrpSpPr>
      <p:grpSpPr>
        <a:xfrm>
          <a:off x="0" y="0"/>
          <a:ext cx="0" cy="0"/>
          <a:chOff x="0" y="0"/>
          <a:chExt cx="0" cy="0"/>
        </a:xfrm>
      </p:grpSpPr>
      <p:pic>
        <p:nvPicPr>
          <p:cNvPr id="6" name="object 2">
            <a:extLst>
              <a:ext uri="{FF2B5EF4-FFF2-40B4-BE49-F238E27FC236}">
                <a16:creationId xmlns:a16="http://schemas.microsoft.com/office/drawing/2014/main" id="{3E06A675-647C-40C5-6399-B642063039A4}"/>
              </a:ext>
            </a:extLst>
          </p:cNvPr>
          <p:cNvPicPr/>
          <p:nvPr userDrawn="1"/>
        </p:nvPicPr>
        <p:blipFill rotWithShape="1">
          <a:blip r:embed="rId2" cstate="print">
            <a:alphaModFix amt="27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a:extLst>
              <a:ext uri="{FF2B5EF4-FFF2-40B4-BE49-F238E27FC236}">
                <a16:creationId xmlns:a16="http://schemas.microsoft.com/office/drawing/2014/main" id="{52C1C368-503A-C622-6FDE-E0060070AE50}"/>
              </a:ext>
            </a:extLst>
          </p:cNvPr>
          <p:cNvSpPr>
            <a:spLocks noGrp="1"/>
          </p:cNvSpPr>
          <p:nvPr>
            <p:ph type="title"/>
          </p:nvPr>
        </p:nvSpPr>
        <p:spPr>
          <a:xfrm>
            <a:off x="1218622" y="3429000"/>
            <a:ext cx="9418875" cy="1325563"/>
          </a:xfrm>
          <a:prstGeom prst="rect">
            <a:avLst/>
          </a:prstGeom>
        </p:spPr>
        <p:txBody>
          <a:bodyPr/>
          <a:lstStyle>
            <a:lvl1pPr>
              <a:defRPr b="0" i="0">
                <a:solidFill>
                  <a:schemeClr val="bg1"/>
                </a:solidFill>
                <a:latin typeface="Helvetica Light" panose="020B0403020202020204" pitchFamily="34" charset="0"/>
              </a:defRPr>
            </a:lvl1pPr>
          </a:lstStyle>
          <a:p>
            <a:r>
              <a:rPr lang="en-GB"/>
              <a:t>Click to edit Master title style</a:t>
            </a:r>
            <a:endParaRPr lang="en-US"/>
          </a:p>
        </p:txBody>
      </p:sp>
      <p:pic>
        <p:nvPicPr>
          <p:cNvPr id="10" name="Bilde 5">
            <a:extLst>
              <a:ext uri="{FF2B5EF4-FFF2-40B4-BE49-F238E27FC236}">
                <a16:creationId xmlns:a16="http://schemas.microsoft.com/office/drawing/2014/main" id="{7DCA0359-8D81-843C-70E8-4571A42EA7A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12031" y="5389851"/>
            <a:ext cx="2822031" cy="493381"/>
          </a:xfrm>
          <a:prstGeom prst="rect">
            <a:avLst/>
          </a:prstGeom>
        </p:spPr>
      </p:pic>
      <p:cxnSp>
        <p:nvCxnSpPr>
          <p:cNvPr id="11" name="Straight Connector 10">
            <a:extLst>
              <a:ext uri="{FF2B5EF4-FFF2-40B4-BE49-F238E27FC236}">
                <a16:creationId xmlns:a16="http://schemas.microsoft.com/office/drawing/2014/main" id="{D2B4E9CF-53FB-6A14-C29B-FB79E254B303}"/>
              </a:ext>
            </a:extLst>
          </p:cNvPr>
          <p:cNvCxnSpPr>
            <a:cxnSpLocks/>
          </p:cNvCxnSpPr>
          <p:nvPr userDrawn="1"/>
        </p:nvCxnSpPr>
        <p:spPr>
          <a:xfrm>
            <a:off x="1315186" y="4964483"/>
            <a:ext cx="941887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0BD676DD-16C3-41CC-2353-A2227D88BB3E}"/>
              </a:ext>
            </a:extLst>
          </p:cNvPr>
          <p:cNvSpPr>
            <a:spLocks noGrp="1"/>
          </p:cNvSpPr>
          <p:nvPr>
            <p:ph type="body" sz="quarter" idx="25"/>
          </p:nvPr>
        </p:nvSpPr>
        <p:spPr>
          <a:xfrm>
            <a:off x="1218622" y="5269288"/>
            <a:ext cx="5730817" cy="1227888"/>
          </a:xfrm>
          <a:prstGeom prst="rect">
            <a:avLst/>
          </a:prstGeom>
        </p:spPr>
        <p:txBody>
          <a:bodyPr anchor="t">
            <a:noAutofit/>
          </a:bodyPr>
          <a:lstStyle>
            <a:lvl1pPr marL="0" indent="0">
              <a:buNone/>
              <a:defRPr sz="14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Click to edit Master text styles</a:t>
            </a:r>
          </a:p>
        </p:txBody>
      </p:sp>
    </p:spTree>
    <p:extLst>
      <p:ext uri="{BB962C8B-B14F-4D97-AF65-F5344CB8AC3E}">
        <p14:creationId xmlns:p14="http://schemas.microsoft.com/office/powerpoint/2010/main" val="36578568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57_Custom Layout">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727CFE4-BB94-62BB-5760-A8B1421E05C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CF619745-182C-DF4B-F195-0187CE408F41}"/>
              </a:ext>
            </a:extLst>
          </p:cNvPr>
          <p:cNvSpPr/>
          <p:nvPr userDrawn="1"/>
        </p:nvSpPr>
        <p:spPr>
          <a:xfrm>
            <a:off x="0" y="0"/>
            <a:ext cx="12192000" cy="6858000"/>
          </a:xfrm>
          <a:prstGeom prst="rect">
            <a:avLst/>
          </a:prstGeom>
          <a:solidFill>
            <a:schemeClr val="accent3">
              <a:lumMod val="75000"/>
              <a:alpha val="858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a:solidFill>
                <a:schemeClr val="bg1"/>
              </a:solidFill>
            </a:endParaRPr>
          </a:p>
        </p:txBody>
      </p:sp>
      <p:pic>
        <p:nvPicPr>
          <p:cNvPr id="11" name="Bilde 3">
            <a:extLst>
              <a:ext uri="{FF2B5EF4-FFF2-40B4-BE49-F238E27FC236}">
                <a16:creationId xmlns:a16="http://schemas.microsoft.com/office/drawing/2014/main" id="{40FA1915-9788-1617-FA70-2C66B40267B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98209" y="5506718"/>
            <a:ext cx="2395583" cy="418826"/>
          </a:xfrm>
          <a:prstGeom prst="rect">
            <a:avLst/>
          </a:prstGeom>
        </p:spPr>
      </p:pic>
      <p:sp>
        <p:nvSpPr>
          <p:cNvPr id="2" name="Title 1">
            <a:extLst>
              <a:ext uri="{FF2B5EF4-FFF2-40B4-BE49-F238E27FC236}">
                <a16:creationId xmlns:a16="http://schemas.microsoft.com/office/drawing/2014/main" id="{4F65D4AB-B803-4643-BCDF-D6393E1CDC9B}"/>
              </a:ext>
            </a:extLst>
          </p:cNvPr>
          <p:cNvSpPr>
            <a:spLocks noGrp="1"/>
          </p:cNvSpPr>
          <p:nvPr>
            <p:ph type="title"/>
          </p:nvPr>
        </p:nvSpPr>
        <p:spPr>
          <a:xfrm>
            <a:off x="1588770" y="1833762"/>
            <a:ext cx="9014460" cy="1595238"/>
          </a:xfrm>
          <a:prstGeom prst="rect">
            <a:avLst/>
          </a:prstGeom>
        </p:spPr>
        <p:txBody>
          <a:bodyPr/>
          <a:lstStyle>
            <a:lvl1pPr algn="ctr">
              <a:defRPr sz="5400" b="0" i="0">
                <a:solidFill>
                  <a:schemeClr val="accent2"/>
                </a:solidFill>
                <a:latin typeface="Helvetica Light" panose="020B0403020202020204" pitchFamily="34" charset="0"/>
              </a:defRPr>
            </a:lvl1pPr>
          </a:lstStyle>
          <a:p>
            <a:r>
              <a:rPr lang="en-GB"/>
              <a:t>Click to edit Master title style</a:t>
            </a:r>
            <a:endParaRPr lang="en-US"/>
          </a:p>
        </p:txBody>
      </p:sp>
      <p:sp>
        <p:nvSpPr>
          <p:cNvPr id="7" name="Text Placeholder 20">
            <a:extLst>
              <a:ext uri="{FF2B5EF4-FFF2-40B4-BE49-F238E27FC236}">
                <a16:creationId xmlns:a16="http://schemas.microsoft.com/office/drawing/2014/main" id="{1D537A84-0006-344B-B900-FF658484079B}"/>
              </a:ext>
            </a:extLst>
          </p:cNvPr>
          <p:cNvSpPr>
            <a:spLocks noGrp="1"/>
          </p:cNvSpPr>
          <p:nvPr>
            <p:ph type="body" sz="quarter" idx="25"/>
          </p:nvPr>
        </p:nvSpPr>
        <p:spPr>
          <a:xfrm>
            <a:off x="2351973" y="3707820"/>
            <a:ext cx="7488055" cy="1227888"/>
          </a:xfrm>
          <a:prstGeom prst="rect">
            <a:avLst/>
          </a:prstGeom>
        </p:spPr>
        <p:txBody>
          <a:bodyPr anchor="t">
            <a:noAutofit/>
          </a:bodyPr>
          <a:lstStyle>
            <a:lvl1pPr marL="0" indent="0" algn="ctr">
              <a:buNone/>
              <a:defRPr sz="20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Click to edit Master text styles</a:t>
            </a:r>
          </a:p>
        </p:txBody>
      </p:sp>
    </p:spTree>
    <p:extLst>
      <p:ext uri="{BB962C8B-B14F-4D97-AF65-F5344CB8AC3E}">
        <p14:creationId xmlns:p14="http://schemas.microsoft.com/office/powerpoint/2010/main" val="40113451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grpSp>
        <p:nvGrpSpPr>
          <p:cNvPr id="25" name="Group 24">
            <a:extLst>
              <a:ext uri="{FF2B5EF4-FFF2-40B4-BE49-F238E27FC236}">
                <a16:creationId xmlns:a16="http://schemas.microsoft.com/office/drawing/2014/main" id="{6DEF82C5-480D-954F-B095-FD483D7FEEB4}"/>
              </a:ext>
            </a:extLst>
          </p:cNvPr>
          <p:cNvGrpSpPr/>
          <p:nvPr/>
        </p:nvGrpSpPr>
        <p:grpSpPr>
          <a:xfrm>
            <a:off x="731838" y="4085429"/>
            <a:ext cx="5202388" cy="1070771"/>
            <a:chOff x="558332" y="2312872"/>
            <a:chExt cx="5202388" cy="756000"/>
          </a:xfrm>
        </p:grpSpPr>
        <p:sp>
          <p:nvSpPr>
            <p:cNvPr id="26" name="Rectangle 25">
              <a:extLst>
                <a:ext uri="{FF2B5EF4-FFF2-40B4-BE49-F238E27FC236}">
                  <a16:creationId xmlns:a16="http://schemas.microsoft.com/office/drawing/2014/main" id="{7E68816F-8ED8-F14C-9463-BC5BE746F915}"/>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4813DECF-DB9F-1D41-BF9F-AB28D2D0FFA9}"/>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86060DA3-1C3F-574A-B441-7E66952FAF26}"/>
              </a:ext>
            </a:extLst>
          </p:cNvPr>
          <p:cNvGrpSpPr/>
          <p:nvPr/>
        </p:nvGrpSpPr>
        <p:grpSpPr>
          <a:xfrm>
            <a:off x="731838" y="2892118"/>
            <a:ext cx="5202388" cy="1070771"/>
            <a:chOff x="558332" y="2312872"/>
            <a:chExt cx="5202388" cy="756000"/>
          </a:xfrm>
        </p:grpSpPr>
        <p:sp>
          <p:nvSpPr>
            <p:cNvPr id="30" name="Rectangle 29">
              <a:extLst>
                <a:ext uri="{FF2B5EF4-FFF2-40B4-BE49-F238E27FC236}">
                  <a16:creationId xmlns:a16="http://schemas.microsoft.com/office/drawing/2014/main" id="{6B36066D-F13C-AE43-8952-9366B8A0D7AC}"/>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Straight Connector 30">
              <a:extLst>
                <a:ext uri="{FF2B5EF4-FFF2-40B4-BE49-F238E27FC236}">
                  <a16:creationId xmlns:a16="http://schemas.microsoft.com/office/drawing/2014/main" id="{BFC7F9BA-6C49-4740-A870-49B6EC480963}"/>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5" name="Text Placeholder 20">
            <a:extLst>
              <a:ext uri="{FF2B5EF4-FFF2-40B4-BE49-F238E27FC236}">
                <a16:creationId xmlns:a16="http://schemas.microsoft.com/office/drawing/2014/main" id="{8B979C09-D13C-7246-A315-CB1F91820224}"/>
              </a:ext>
            </a:extLst>
          </p:cNvPr>
          <p:cNvSpPr>
            <a:spLocks noGrp="1"/>
          </p:cNvSpPr>
          <p:nvPr>
            <p:ph type="body" sz="quarter" idx="14" hasCustomPrompt="1"/>
          </p:nvPr>
        </p:nvSpPr>
        <p:spPr>
          <a:xfrm>
            <a:off x="817639" y="4138343"/>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92CE0F41-7E9E-3148-9463-F5580DB7B873}"/>
              </a:ext>
            </a:extLst>
          </p:cNvPr>
          <p:cNvSpPr>
            <a:spLocks noGrp="1"/>
          </p:cNvSpPr>
          <p:nvPr>
            <p:ph type="body" sz="quarter" idx="15" hasCustomPrompt="1"/>
          </p:nvPr>
        </p:nvSpPr>
        <p:spPr>
          <a:xfrm>
            <a:off x="817639" y="2968372"/>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18" name="Bilde 3">
            <a:extLst>
              <a:ext uri="{FF2B5EF4-FFF2-40B4-BE49-F238E27FC236}">
                <a16:creationId xmlns:a16="http://schemas.microsoft.com/office/drawing/2014/main" id="{1BD9195B-80E5-6AC0-01C9-D82C02ED118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9" name="Date Placeholder 2">
            <a:extLst>
              <a:ext uri="{FF2B5EF4-FFF2-40B4-BE49-F238E27FC236}">
                <a16:creationId xmlns:a16="http://schemas.microsoft.com/office/drawing/2014/main" id="{6B7C66F6-643D-31ED-8414-0874C0375E13}"/>
              </a:ext>
            </a:extLst>
          </p:cNvPr>
          <p:cNvSpPr>
            <a:spLocks noGrp="1"/>
          </p:cNvSpPr>
          <p:nvPr>
            <p:ph type="dt" sz="half" idx="16"/>
          </p:nvPr>
        </p:nvSpPr>
        <p:spPr>
          <a:xfrm>
            <a:off x="2303627" y="6492875"/>
            <a:ext cx="528585" cy="365125"/>
          </a:xfrm>
        </p:spPr>
        <p:txBody>
          <a:bodyPr/>
          <a:lstStyle/>
          <a:p>
            <a:fld id="{F6F3811D-79FE-3D4D-BD27-3F46504353D4}" type="datetime1">
              <a:rPr lang="nb-NO" smtClean="0"/>
              <a:t>20.08.2024</a:t>
            </a:fld>
            <a:endParaRPr lang="en-US"/>
          </a:p>
        </p:txBody>
      </p:sp>
      <p:sp>
        <p:nvSpPr>
          <p:cNvPr id="20" name="Footer Placeholder 3">
            <a:extLst>
              <a:ext uri="{FF2B5EF4-FFF2-40B4-BE49-F238E27FC236}">
                <a16:creationId xmlns:a16="http://schemas.microsoft.com/office/drawing/2014/main" id="{39A2C9C4-B763-96E0-2166-3E5E140F1670}"/>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21" name="Slide Number Placeholder 4">
            <a:extLst>
              <a:ext uri="{FF2B5EF4-FFF2-40B4-BE49-F238E27FC236}">
                <a16:creationId xmlns:a16="http://schemas.microsoft.com/office/drawing/2014/main" id="{4B3ECF92-0715-0968-72F1-075744B6594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2941551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sp>
        <p:nvSpPr>
          <p:cNvPr id="26" name="Rectangle 25">
            <a:extLst>
              <a:ext uri="{FF2B5EF4-FFF2-40B4-BE49-F238E27FC236}">
                <a16:creationId xmlns:a16="http://schemas.microsoft.com/office/drawing/2014/main" id="{7E68816F-8ED8-F14C-9463-BC5BE746F915}"/>
              </a:ext>
            </a:extLst>
          </p:cNvPr>
          <p:cNvSpPr/>
          <p:nvPr/>
        </p:nvSpPr>
        <p:spPr>
          <a:xfrm>
            <a:off x="731838" y="4085429"/>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4813DECF-DB9F-1D41-BF9F-AB28D2D0FFA9}"/>
              </a:ext>
            </a:extLst>
          </p:cNvPr>
          <p:cNvCxnSpPr>
            <a:cxnSpLocks/>
          </p:cNvCxnSpPr>
          <p:nvPr/>
        </p:nvCxnSpPr>
        <p:spPr>
          <a:xfrm>
            <a:off x="808013" y="4085429"/>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B36066D-F13C-AE43-8952-9366B8A0D7AC}"/>
              </a:ext>
            </a:extLst>
          </p:cNvPr>
          <p:cNvSpPr/>
          <p:nvPr/>
        </p:nvSpPr>
        <p:spPr>
          <a:xfrm>
            <a:off x="731838" y="2892118"/>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Straight Connector 30">
            <a:extLst>
              <a:ext uri="{FF2B5EF4-FFF2-40B4-BE49-F238E27FC236}">
                <a16:creationId xmlns:a16="http://schemas.microsoft.com/office/drawing/2014/main" id="{BFC7F9BA-6C49-4740-A870-49B6EC480963}"/>
              </a:ext>
            </a:extLst>
          </p:cNvPr>
          <p:cNvCxnSpPr>
            <a:cxnSpLocks/>
          </p:cNvCxnSpPr>
          <p:nvPr/>
        </p:nvCxnSpPr>
        <p:spPr>
          <a:xfrm>
            <a:off x="808013" y="2892118"/>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5" name="Text Placeholder 20">
            <a:extLst>
              <a:ext uri="{FF2B5EF4-FFF2-40B4-BE49-F238E27FC236}">
                <a16:creationId xmlns:a16="http://schemas.microsoft.com/office/drawing/2014/main" id="{8B979C09-D13C-7246-A315-CB1F91820224}"/>
              </a:ext>
            </a:extLst>
          </p:cNvPr>
          <p:cNvSpPr>
            <a:spLocks noGrp="1"/>
          </p:cNvSpPr>
          <p:nvPr>
            <p:ph type="body" sz="quarter" idx="14" hasCustomPrompt="1"/>
          </p:nvPr>
        </p:nvSpPr>
        <p:spPr>
          <a:xfrm>
            <a:off x="1088020" y="4138343"/>
            <a:ext cx="4710674"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92CE0F41-7E9E-3148-9463-F5580DB7B873}"/>
              </a:ext>
            </a:extLst>
          </p:cNvPr>
          <p:cNvSpPr>
            <a:spLocks noGrp="1"/>
          </p:cNvSpPr>
          <p:nvPr>
            <p:ph type="body" sz="quarter" idx="15" hasCustomPrompt="1"/>
          </p:nvPr>
        </p:nvSpPr>
        <p:spPr>
          <a:xfrm>
            <a:off x="1088020" y="2968372"/>
            <a:ext cx="4710674"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18" name="Bilde 3">
            <a:extLst>
              <a:ext uri="{FF2B5EF4-FFF2-40B4-BE49-F238E27FC236}">
                <a16:creationId xmlns:a16="http://schemas.microsoft.com/office/drawing/2014/main" id="{1BD9195B-80E5-6AC0-01C9-D82C02ED118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9" name="Date Placeholder 2">
            <a:extLst>
              <a:ext uri="{FF2B5EF4-FFF2-40B4-BE49-F238E27FC236}">
                <a16:creationId xmlns:a16="http://schemas.microsoft.com/office/drawing/2014/main" id="{6B7C66F6-643D-31ED-8414-0874C0375E13}"/>
              </a:ext>
            </a:extLst>
          </p:cNvPr>
          <p:cNvSpPr>
            <a:spLocks noGrp="1"/>
          </p:cNvSpPr>
          <p:nvPr>
            <p:ph type="dt" sz="half" idx="16"/>
          </p:nvPr>
        </p:nvSpPr>
        <p:spPr>
          <a:xfrm>
            <a:off x="2303627" y="6492875"/>
            <a:ext cx="528585" cy="365125"/>
          </a:xfrm>
        </p:spPr>
        <p:txBody>
          <a:bodyPr/>
          <a:lstStyle/>
          <a:p>
            <a:fld id="{D53E2B2E-B83E-9041-8D38-730B67129A7C}" type="datetime1">
              <a:rPr lang="nb-NO" smtClean="0"/>
              <a:t>20.08.2024</a:t>
            </a:fld>
            <a:endParaRPr lang="en-US"/>
          </a:p>
        </p:txBody>
      </p:sp>
      <p:sp>
        <p:nvSpPr>
          <p:cNvPr id="20" name="Footer Placeholder 3">
            <a:extLst>
              <a:ext uri="{FF2B5EF4-FFF2-40B4-BE49-F238E27FC236}">
                <a16:creationId xmlns:a16="http://schemas.microsoft.com/office/drawing/2014/main" id="{39A2C9C4-B763-96E0-2166-3E5E140F1670}"/>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21" name="Slide Number Placeholder 4">
            <a:extLst>
              <a:ext uri="{FF2B5EF4-FFF2-40B4-BE49-F238E27FC236}">
                <a16:creationId xmlns:a16="http://schemas.microsoft.com/office/drawing/2014/main" id="{4B3ECF92-0715-0968-72F1-075744B6594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253941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46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grpSp>
        <p:nvGrpSpPr>
          <p:cNvPr id="15" name="Group 14">
            <a:extLst>
              <a:ext uri="{FF2B5EF4-FFF2-40B4-BE49-F238E27FC236}">
                <a16:creationId xmlns:a16="http://schemas.microsoft.com/office/drawing/2014/main" id="{695E2979-A264-70BD-555D-9C31C89B99C2}"/>
              </a:ext>
            </a:extLst>
          </p:cNvPr>
          <p:cNvGrpSpPr/>
          <p:nvPr userDrawn="1"/>
        </p:nvGrpSpPr>
        <p:grpSpPr>
          <a:xfrm>
            <a:off x="731838" y="4768603"/>
            <a:ext cx="5202388" cy="1070771"/>
            <a:chOff x="558332" y="2312872"/>
            <a:chExt cx="5202388" cy="756000"/>
          </a:xfrm>
        </p:grpSpPr>
        <p:sp>
          <p:nvSpPr>
            <p:cNvPr id="16" name="Rectangle 15">
              <a:extLst>
                <a:ext uri="{FF2B5EF4-FFF2-40B4-BE49-F238E27FC236}">
                  <a16:creationId xmlns:a16="http://schemas.microsoft.com/office/drawing/2014/main" id="{5A95CCCA-102E-EF68-04F2-04CF2EC0D71D}"/>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3EE749C5-12C4-D619-3255-42F84C1B0073}"/>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8" name="Text Placeholder 20">
            <a:extLst>
              <a:ext uri="{FF2B5EF4-FFF2-40B4-BE49-F238E27FC236}">
                <a16:creationId xmlns:a16="http://schemas.microsoft.com/office/drawing/2014/main" id="{2D990C2F-6E86-3D57-71A9-0EC247EF1E73}"/>
              </a:ext>
            </a:extLst>
          </p:cNvPr>
          <p:cNvSpPr>
            <a:spLocks noGrp="1"/>
          </p:cNvSpPr>
          <p:nvPr>
            <p:ph type="body" sz="quarter" idx="13" hasCustomPrompt="1"/>
          </p:nvPr>
        </p:nvSpPr>
        <p:spPr>
          <a:xfrm>
            <a:off x="817639" y="4832982"/>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19" name="Group 18">
            <a:extLst>
              <a:ext uri="{FF2B5EF4-FFF2-40B4-BE49-F238E27FC236}">
                <a16:creationId xmlns:a16="http://schemas.microsoft.com/office/drawing/2014/main" id="{650D11A3-D263-14DD-3733-CD4D2938DB81}"/>
              </a:ext>
            </a:extLst>
          </p:cNvPr>
          <p:cNvGrpSpPr/>
          <p:nvPr userDrawn="1"/>
        </p:nvGrpSpPr>
        <p:grpSpPr>
          <a:xfrm>
            <a:off x="731838" y="3575292"/>
            <a:ext cx="5202388" cy="1070771"/>
            <a:chOff x="558332" y="2312872"/>
            <a:chExt cx="5202388" cy="756000"/>
          </a:xfrm>
        </p:grpSpPr>
        <p:sp>
          <p:nvSpPr>
            <p:cNvPr id="20" name="Rectangle 19">
              <a:extLst>
                <a:ext uri="{FF2B5EF4-FFF2-40B4-BE49-F238E27FC236}">
                  <a16:creationId xmlns:a16="http://schemas.microsoft.com/office/drawing/2014/main" id="{9D1217C1-C2C0-3651-3A4C-AD62443C809C}"/>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E77A3BA5-0BF4-57C8-4CDA-B3213523080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23C11601-452E-0C34-0222-E299865A8A59}"/>
              </a:ext>
            </a:extLst>
          </p:cNvPr>
          <p:cNvGrpSpPr/>
          <p:nvPr userDrawn="1"/>
        </p:nvGrpSpPr>
        <p:grpSpPr>
          <a:xfrm>
            <a:off x="731838" y="2381981"/>
            <a:ext cx="5202388" cy="1070771"/>
            <a:chOff x="558332" y="2312872"/>
            <a:chExt cx="5202388" cy="756000"/>
          </a:xfrm>
        </p:grpSpPr>
        <p:sp>
          <p:nvSpPr>
            <p:cNvPr id="33" name="Rectangle 32">
              <a:extLst>
                <a:ext uri="{FF2B5EF4-FFF2-40B4-BE49-F238E27FC236}">
                  <a16:creationId xmlns:a16="http://schemas.microsoft.com/office/drawing/2014/main" id="{3A29BEAE-EEB8-A485-0568-1CCF8FA3E2BC}"/>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BF79195B-E970-3457-F0DB-6DE3AB238E3E}"/>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5" name="Text Placeholder 20">
            <a:extLst>
              <a:ext uri="{FF2B5EF4-FFF2-40B4-BE49-F238E27FC236}">
                <a16:creationId xmlns:a16="http://schemas.microsoft.com/office/drawing/2014/main" id="{46450FDC-9A98-3624-3A28-C4C680E51476}"/>
              </a:ext>
            </a:extLst>
          </p:cNvPr>
          <p:cNvSpPr>
            <a:spLocks noGrp="1"/>
          </p:cNvSpPr>
          <p:nvPr>
            <p:ph type="body" sz="quarter" idx="14" hasCustomPrompt="1"/>
          </p:nvPr>
        </p:nvSpPr>
        <p:spPr>
          <a:xfrm>
            <a:off x="817639" y="3628206"/>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6" name="Text Placeholder 20">
            <a:extLst>
              <a:ext uri="{FF2B5EF4-FFF2-40B4-BE49-F238E27FC236}">
                <a16:creationId xmlns:a16="http://schemas.microsoft.com/office/drawing/2014/main" id="{49CBE21D-FBDF-140E-6D35-005ADF870536}"/>
              </a:ext>
            </a:extLst>
          </p:cNvPr>
          <p:cNvSpPr>
            <a:spLocks noGrp="1"/>
          </p:cNvSpPr>
          <p:nvPr>
            <p:ph type="body" sz="quarter" idx="15" hasCustomPrompt="1"/>
          </p:nvPr>
        </p:nvSpPr>
        <p:spPr>
          <a:xfrm>
            <a:off x="817639" y="2458235"/>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25" name="Bilde 3">
            <a:extLst>
              <a:ext uri="{FF2B5EF4-FFF2-40B4-BE49-F238E27FC236}">
                <a16:creationId xmlns:a16="http://schemas.microsoft.com/office/drawing/2014/main" id="{424BDAF4-D422-3AC5-47B1-4F05D60BB9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70BDCB77-5919-9FD6-02AD-705B6BAD4FF3}"/>
              </a:ext>
            </a:extLst>
          </p:cNvPr>
          <p:cNvSpPr>
            <a:spLocks noGrp="1"/>
          </p:cNvSpPr>
          <p:nvPr>
            <p:ph type="dt" sz="half" idx="16"/>
          </p:nvPr>
        </p:nvSpPr>
        <p:spPr>
          <a:xfrm>
            <a:off x="2303627" y="6492875"/>
            <a:ext cx="528585" cy="365125"/>
          </a:xfrm>
        </p:spPr>
        <p:txBody>
          <a:bodyPr/>
          <a:lstStyle/>
          <a:p>
            <a:fld id="{9109A8F1-81EA-0A47-BC88-31DA3ECD2A8B}" type="datetime1">
              <a:rPr lang="nb-NO" smtClean="0"/>
              <a:t>20.08.2024</a:t>
            </a:fld>
            <a:endParaRPr lang="en-US"/>
          </a:p>
        </p:txBody>
      </p:sp>
      <p:sp>
        <p:nvSpPr>
          <p:cNvPr id="26" name="Footer Placeholder 3">
            <a:extLst>
              <a:ext uri="{FF2B5EF4-FFF2-40B4-BE49-F238E27FC236}">
                <a16:creationId xmlns:a16="http://schemas.microsoft.com/office/drawing/2014/main" id="{3BE94EF0-077E-7A72-B08A-C1C403280FDF}"/>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27" name="Slide Number Placeholder 4">
            <a:extLst>
              <a:ext uri="{FF2B5EF4-FFF2-40B4-BE49-F238E27FC236}">
                <a16:creationId xmlns:a16="http://schemas.microsoft.com/office/drawing/2014/main" id="{30D922FC-A49B-FD69-6391-505A8FE74E59}"/>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42429425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59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sp>
        <p:nvSpPr>
          <p:cNvPr id="16" name="Rectangle 15">
            <a:extLst>
              <a:ext uri="{FF2B5EF4-FFF2-40B4-BE49-F238E27FC236}">
                <a16:creationId xmlns:a16="http://schemas.microsoft.com/office/drawing/2014/main" id="{5A95CCCA-102E-EF68-04F2-04CF2EC0D71D}"/>
              </a:ext>
            </a:extLst>
          </p:cNvPr>
          <p:cNvSpPr/>
          <p:nvPr/>
        </p:nvSpPr>
        <p:spPr>
          <a:xfrm>
            <a:off x="731838" y="4768603"/>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3EE749C5-12C4-D619-3255-42F84C1B0073}"/>
              </a:ext>
            </a:extLst>
          </p:cNvPr>
          <p:cNvCxnSpPr>
            <a:cxnSpLocks/>
          </p:cNvCxnSpPr>
          <p:nvPr/>
        </p:nvCxnSpPr>
        <p:spPr>
          <a:xfrm>
            <a:off x="817639" y="4768603"/>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Text Placeholder 20">
            <a:extLst>
              <a:ext uri="{FF2B5EF4-FFF2-40B4-BE49-F238E27FC236}">
                <a16:creationId xmlns:a16="http://schemas.microsoft.com/office/drawing/2014/main" id="{2D990C2F-6E86-3D57-71A9-0EC247EF1E73}"/>
              </a:ext>
            </a:extLst>
          </p:cNvPr>
          <p:cNvSpPr>
            <a:spLocks noGrp="1"/>
          </p:cNvSpPr>
          <p:nvPr userDrawn="1">
            <p:ph type="body" sz="quarter" idx="13" hasCustomPrompt="1"/>
          </p:nvPr>
        </p:nvSpPr>
        <p:spPr>
          <a:xfrm>
            <a:off x="1033669" y="4832982"/>
            <a:ext cx="4765025"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20" name="Rectangle 19">
            <a:extLst>
              <a:ext uri="{FF2B5EF4-FFF2-40B4-BE49-F238E27FC236}">
                <a16:creationId xmlns:a16="http://schemas.microsoft.com/office/drawing/2014/main" id="{9D1217C1-C2C0-3651-3A4C-AD62443C809C}"/>
              </a:ext>
            </a:extLst>
          </p:cNvPr>
          <p:cNvSpPr/>
          <p:nvPr/>
        </p:nvSpPr>
        <p:spPr>
          <a:xfrm>
            <a:off x="731838" y="3575292"/>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E77A3BA5-0BF4-57C8-4CDA-B3213523080F}"/>
              </a:ext>
            </a:extLst>
          </p:cNvPr>
          <p:cNvCxnSpPr>
            <a:cxnSpLocks/>
          </p:cNvCxnSpPr>
          <p:nvPr/>
        </p:nvCxnSpPr>
        <p:spPr>
          <a:xfrm>
            <a:off x="817639" y="3575292"/>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3A29BEAE-EEB8-A485-0568-1CCF8FA3E2BC}"/>
              </a:ext>
            </a:extLst>
          </p:cNvPr>
          <p:cNvSpPr/>
          <p:nvPr/>
        </p:nvSpPr>
        <p:spPr>
          <a:xfrm>
            <a:off x="731838" y="2381981"/>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BF79195B-E970-3457-F0DB-6DE3AB238E3E}"/>
              </a:ext>
            </a:extLst>
          </p:cNvPr>
          <p:cNvCxnSpPr>
            <a:cxnSpLocks/>
          </p:cNvCxnSpPr>
          <p:nvPr/>
        </p:nvCxnSpPr>
        <p:spPr>
          <a:xfrm>
            <a:off x="817639" y="2381981"/>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46450FDC-9A98-3624-3A28-C4C680E51476}"/>
              </a:ext>
            </a:extLst>
          </p:cNvPr>
          <p:cNvSpPr>
            <a:spLocks noGrp="1"/>
          </p:cNvSpPr>
          <p:nvPr userDrawn="1">
            <p:ph type="body" sz="quarter" idx="14" hasCustomPrompt="1"/>
          </p:nvPr>
        </p:nvSpPr>
        <p:spPr>
          <a:xfrm>
            <a:off x="1033669" y="3628206"/>
            <a:ext cx="4765025"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6" name="Text Placeholder 20">
            <a:extLst>
              <a:ext uri="{FF2B5EF4-FFF2-40B4-BE49-F238E27FC236}">
                <a16:creationId xmlns:a16="http://schemas.microsoft.com/office/drawing/2014/main" id="{49CBE21D-FBDF-140E-6D35-005ADF870536}"/>
              </a:ext>
            </a:extLst>
          </p:cNvPr>
          <p:cNvSpPr>
            <a:spLocks noGrp="1"/>
          </p:cNvSpPr>
          <p:nvPr userDrawn="1">
            <p:ph type="body" sz="quarter" idx="15" hasCustomPrompt="1"/>
          </p:nvPr>
        </p:nvSpPr>
        <p:spPr>
          <a:xfrm>
            <a:off x="1033669" y="2458235"/>
            <a:ext cx="4765025"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25" name="Bilde 3">
            <a:extLst>
              <a:ext uri="{FF2B5EF4-FFF2-40B4-BE49-F238E27FC236}">
                <a16:creationId xmlns:a16="http://schemas.microsoft.com/office/drawing/2014/main" id="{424BDAF4-D422-3AC5-47B1-4F05D60BB9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70BDCB77-5919-9FD6-02AD-705B6BAD4FF3}"/>
              </a:ext>
            </a:extLst>
          </p:cNvPr>
          <p:cNvSpPr>
            <a:spLocks noGrp="1"/>
          </p:cNvSpPr>
          <p:nvPr userDrawn="1">
            <p:ph type="dt" sz="half" idx="16"/>
          </p:nvPr>
        </p:nvSpPr>
        <p:spPr>
          <a:xfrm>
            <a:off x="2303627" y="6492875"/>
            <a:ext cx="528585" cy="365125"/>
          </a:xfrm>
        </p:spPr>
        <p:txBody>
          <a:bodyPr/>
          <a:lstStyle/>
          <a:p>
            <a:fld id="{7CCF9775-665F-7C4F-8C2C-36E2CBAA3CD1}" type="datetime1">
              <a:rPr lang="nb-NO" smtClean="0"/>
              <a:t>20.08.2024</a:t>
            </a:fld>
            <a:endParaRPr lang="en-US"/>
          </a:p>
        </p:txBody>
      </p:sp>
      <p:sp>
        <p:nvSpPr>
          <p:cNvPr id="26" name="Footer Placeholder 3">
            <a:extLst>
              <a:ext uri="{FF2B5EF4-FFF2-40B4-BE49-F238E27FC236}">
                <a16:creationId xmlns:a16="http://schemas.microsoft.com/office/drawing/2014/main" id="{3BE94EF0-077E-7A72-B08A-C1C403280FDF}"/>
              </a:ext>
            </a:extLst>
          </p:cNvPr>
          <p:cNvSpPr>
            <a:spLocks noGrp="1"/>
          </p:cNvSpPr>
          <p:nvPr userDrawn="1">
            <p:ph type="ftr" sz="quarter" idx="17"/>
          </p:nvPr>
        </p:nvSpPr>
        <p:spPr>
          <a:xfrm>
            <a:off x="175116" y="6492875"/>
            <a:ext cx="2107096" cy="365125"/>
          </a:xfrm>
        </p:spPr>
        <p:txBody>
          <a:bodyPr/>
          <a:lstStyle/>
          <a:p>
            <a:r>
              <a:rPr lang="en-US"/>
              <a:t>© StrongPoint 2022. All rights reserved.</a:t>
            </a:r>
          </a:p>
        </p:txBody>
      </p:sp>
      <p:sp>
        <p:nvSpPr>
          <p:cNvPr id="27" name="Slide Number Placeholder 4">
            <a:extLst>
              <a:ext uri="{FF2B5EF4-FFF2-40B4-BE49-F238E27FC236}">
                <a16:creationId xmlns:a16="http://schemas.microsoft.com/office/drawing/2014/main" id="{30D922FC-A49B-FD69-6391-505A8FE74E59}"/>
              </a:ext>
            </a:extLst>
          </p:cNvPr>
          <p:cNvSpPr>
            <a:spLocks noGrp="1"/>
          </p:cNvSpPr>
          <p:nvPr userDrawn="1">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4411372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47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grpSp>
        <p:nvGrpSpPr>
          <p:cNvPr id="25" name="Group 24">
            <a:extLst>
              <a:ext uri="{FF2B5EF4-FFF2-40B4-BE49-F238E27FC236}">
                <a16:creationId xmlns:a16="http://schemas.microsoft.com/office/drawing/2014/main" id="{37A582FD-82EE-E788-AF1A-D5B8F27F4843}"/>
              </a:ext>
            </a:extLst>
          </p:cNvPr>
          <p:cNvGrpSpPr/>
          <p:nvPr userDrawn="1"/>
        </p:nvGrpSpPr>
        <p:grpSpPr>
          <a:xfrm>
            <a:off x="731838" y="2360372"/>
            <a:ext cx="5202388" cy="756000"/>
            <a:chOff x="558332" y="2312872"/>
            <a:chExt cx="5202388" cy="756000"/>
          </a:xfrm>
        </p:grpSpPr>
        <p:sp>
          <p:nvSpPr>
            <p:cNvPr id="26" name="Rectangle 25">
              <a:extLst>
                <a:ext uri="{FF2B5EF4-FFF2-40B4-BE49-F238E27FC236}">
                  <a16:creationId xmlns:a16="http://schemas.microsoft.com/office/drawing/2014/main" id="{E366F876-8570-297F-035B-0DE6C6600DEB}"/>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E1B9C562-3D2C-2F2B-9171-1A792DDF93D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9" name="Text Placeholder 20">
            <a:extLst>
              <a:ext uri="{FF2B5EF4-FFF2-40B4-BE49-F238E27FC236}">
                <a16:creationId xmlns:a16="http://schemas.microsoft.com/office/drawing/2014/main" id="{E449B1A2-F732-EF88-13A4-8EDA8436E445}"/>
              </a:ext>
            </a:extLst>
          </p:cNvPr>
          <p:cNvSpPr>
            <a:spLocks noGrp="1"/>
          </p:cNvSpPr>
          <p:nvPr>
            <p:ph type="body" sz="quarter" idx="10" hasCustomPrompt="1"/>
          </p:nvPr>
        </p:nvSpPr>
        <p:spPr>
          <a:xfrm>
            <a:off x="817639" y="2449447"/>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30" name="Group 29">
            <a:extLst>
              <a:ext uri="{FF2B5EF4-FFF2-40B4-BE49-F238E27FC236}">
                <a16:creationId xmlns:a16="http://schemas.microsoft.com/office/drawing/2014/main" id="{D6FCE257-7D18-875A-CD9E-90F3822B1E6E}"/>
              </a:ext>
            </a:extLst>
          </p:cNvPr>
          <p:cNvGrpSpPr/>
          <p:nvPr userDrawn="1"/>
        </p:nvGrpSpPr>
        <p:grpSpPr>
          <a:xfrm>
            <a:off x="731838" y="3246651"/>
            <a:ext cx="5202388" cy="756000"/>
            <a:chOff x="558332" y="2312872"/>
            <a:chExt cx="5202388" cy="756000"/>
          </a:xfrm>
        </p:grpSpPr>
        <p:sp>
          <p:nvSpPr>
            <p:cNvPr id="31" name="Rectangle 30">
              <a:extLst>
                <a:ext uri="{FF2B5EF4-FFF2-40B4-BE49-F238E27FC236}">
                  <a16:creationId xmlns:a16="http://schemas.microsoft.com/office/drawing/2014/main" id="{4F0F38EE-E67F-FBED-A126-C22FC09800EC}"/>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7F21480C-2573-EE0E-911E-11FF4E962E2D}"/>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2C4533ED-65E2-0C4A-E8A3-20EAC0CFC98F}"/>
              </a:ext>
            </a:extLst>
          </p:cNvPr>
          <p:cNvGrpSpPr/>
          <p:nvPr userDrawn="1"/>
        </p:nvGrpSpPr>
        <p:grpSpPr>
          <a:xfrm>
            <a:off x="731838" y="4132930"/>
            <a:ext cx="5202388" cy="756000"/>
            <a:chOff x="558332" y="2312872"/>
            <a:chExt cx="5202388" cy="756000"/>
          </a:xfrm>
        </p:grpSpPr>
        <p:sp>
          <p:nvSpPr>
            <p:cNvPr id="39" name="Rectangle 38">
              <a:extLst>
                <a:ext uri="{FF2B5EF4-FFF2-40B4-BE49-F238E27FC236}">
                  <a16:creationId xmlns:a16="http://schemas.microsoft.com/office/drawing/2014/main" id="{118BC62C-526B-BBEF-8DEC-5FD2D9E478AB}"/>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668DEA18-A608-B503-491A-179887B02603}"/>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C4291E4D-E220-C66B-2873-894507738DCE}"/>
              </a:ext>
            </a:extLst>
          </p:cNvPr>
          <p:cNvGrpSpPr/>
          <p:nvPr userDrawn="1"/>
        </p:nvGrpSpPr>
        <p:grpSpPr>
          <a:xfrm>
            <a:off x="731838" y="5019208"/>
            <a:ext cx="5202388" cy="756000"/>
            <a:chOff x="558332" y="2312872"/>
            <a:chExt cx="5202388" cy="756000"/>
          </a:xfrm>
        </p:grpSpPr>
        <p:sp>
          <p:nvSpPr>
            <p:cNvPr id="42" name="Rectangle 41">
              <a:extLst>
                <a:ext uri="{FF2B5EF4-FFF2-40B4-BE49-F238E27FC236}">
                  <a16:creationId xmlns:a16="http://schemas.microsoft.com/office/drawing/2014/main" id="{0D17DF68-02BE-0BBD-A1D3-2F8300DF1C12}"/>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3" name="Straight Connector 42">
              <a:extLst>
                <a:ext uri="{FF2B5EF4-FFF2-40B4-BE49-F238E27FC236}">
                  <a16:creationId xmlns:a16="http://schemas.microsoft.com/office/drawing/2014/main" id="{9CD4D8F9-14BF-CA58-F7A4-FC3AC4163018}"/>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4" name="Text Placeholder 20">
            <a:extLst>
              <a:ext uri="{FF2B5EF4-FFF2-40B4-BE49-F238E27FC236}">
                <a16:creationId xmlns:a16="http://schemas.microsoft.com/office/drawing/2014/main" id="{5E08B787-23FB-55C5-00E1-BC2440525D70}"/>
              </a:ext>
            </a:extLst>
          </p:cNvPr>
          <p:cNvSpPr>
            <a:spLocks noGrp="1"/>
          </p:cNvSpPr>
          <p:nvPr>
            <p:ph type="body" sz="quarter" idx="12" hasCustomPrompt="1"/>
          </p:nvPr>
        </p:nvSpPr>
        <p:spPr>
          <a:xfrm>
            <a:off x="817639" y="3329886"/>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5" name="Text Placeholder 20">
            <a:extLst>
              <a:ext uri="{FF2B5EF4-FFF2-40B4-BE49-F238E27FC236}">
                <a16:creationId xmlns:a16="http://schemas.microsoft.com/office/drawing/2014/main" id="{CCF4088B-D715-137F-2F33-CC96578BAC53}"/>
              </a:ext>
            </a:extLst>
          </p:cNvPr>
          <p:cNvSpPr>
            <a:spLocks noGrp="1"/>
          </p:cNvSpPr>
          <p:nvPr>
            <p:ph type="body" sz="quarter" idx="13" hasCustomPrompt="1"/>
          </p:nvPr>
        </p:nvSpPr>
        <p:spPr>
          <a:xfrm>
            <a:off x="817639" y="4210325"/>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758A94F3-F9EE-52AA-4B7B-B799FEE37001}"/>
              </a:ext>
            </a:extLst>
          </p:cNvPr>
          <p:cNvSpPr>
            <a:spLocks noGrp="1"/>
          </p:cNvSpPr>
          <p:nvPr>
            <p:ph type="body" sz="quarter" idx="14" hasCustomPrompt="1"/>
          </p:nvPr>
        </p:nvSpPr>
        <p:spPr>
          <a:xfrm>
            <a:off x="817639" y="5090765"/>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32" name="Bilde 3">
            <a:extLst>
              <a:ext uri="{FF2B5EF4-FFF2-40B4-BE49-F238E27FC236}">
                <a16:creationId xmlns:a16="http://schemas.microsoft.com/office/drawing/2014/main" id="{98EEFC5F-05DB-267E-00D0-0824C7B567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3" name="Date Placeholder 2">
            <a:extLst>
              <a:ext uri="{FF2B5EF4-FFF2-40B4-BE49-F238E27FC236}">
                <a16:creationId xmlns:a16="http://schemas.microsoft.com/office/drawing/2014/main" id="{EAB28A51-C4C2-D978-4B27-3F1ABED430BF}"/>
              </a:ext>
            </a:extLst>
          </p:cNvPr>
          <p:cNvSpPr>
            <a:spLocks noGrp="1"/>
          </p:cNvSpPr>
          <p:nvPr>
            <p:ph type="dt" sz="half" idx="16"/>
          </p:nvPr>
        </p:nvSpPr>
        <p:spPr>
          <a:xfrm>
            <a:off x="2303627" y="6492875"/>
            <a:ext cx="528585" cy="365125"/>
          </a:xfrm>
        </p:spPr>
        <p:txBody>
          <a:bodyPr/>
          <a:lstStyle/>
          <a:p>
            <a:fld id="{241DED62-5E07-9E4B-A13E-58BAE0D3D84F}" type="datetime1">
              <a:rPr lang="nb-NO" smtClean="0"/>
              <a:t>20.08.2024</a:t>
            </a:fld>
            <a:endParaRPr lang="en-US"/>
          </a:p>
        </p:txBody>
      </p:sp>
      <p:sp>
        <p:nvSpPr>
          <p:cNvPr id="34" name="Footer Placeholder 3">
            <a:extLst>
              <a:ext uri="{FF2B5EF4-FFF2-40B4-BE49-F238E27FC236}">
                <a16:creationId xmlns:a16="http://schemas.microsoft.com/office/drawing/2014/main" id="{FD8A2425-82AA-A745-317B-1D51C4065284}"/>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35" name="Slide Number Placeholder 4">
            <a:extLst>
              <a:ext uri="{FF2B5EF4-FFF2-40B4-BE49-F238E27FC236}">
                <a16:creationId xmlns:a16="http://schemas.microsoft.com/office/drawing/2014/main" id="{19C9AE7C-9103-2E0C-B1C2-2F7C060BB04C}"/>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4771286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60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sp>
        <p:nvSpPr>
          <p:cNvPr id="26" name="Rectangle 25">
            <a:extLst>
              <a:ext uri="{FF2B5EF4-FFF2-40B4-BE49-F238E27FC236}">
                <a16:creationId xmlns:a16="http://schemas.microsoft.com/office/drawing/2014/main" id="{E366F876-8570-297F-035B-0DE6C6600DEB}"/>
              </a:ext>
            </a:extLst>
          </p:cNvPr>
          <p:cNvSpPr/>
          <p:nvPr/>
        </p:nvSpPr>
        <p:spPr>
          <a:xfrm>
            <a:off x="731838" y="23603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E1B9C562-3D2C-2F2B-9171-1A792DDF93DF}"/>
              </a:ext>
            </a:extLst>
          </p:cNvPr>
          <p:cNvCxnSpPr>
            <a:cxnSpLocks/>
          </p:cNvCxnSpPr>
          <p:nvPr/>
        </p:nvCxnSpPr>
        <p:spPr>
          <a:xfrm>
            <a:off x="827256" y="2360372"/>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Text Placeholder 20">
            <a:extLst>
              <a:ext uri="{FF2B5EF4-FFF2-40B4-BE49-F238E27FC236}">
                <a16:creationId xmlns:a16="http://schemas.microsoft.com/office/drawing/2014/main" id="{E449B1A2-F732-EF88-13A4-8EDA8436E445}"/>
              </a:ext>
            </a:extLst>
          </p:cNvPr>
          <p:cNvSpPr>
            <a:spLocks noGrp="1"/>
          </p:cNvSpPr>
          <p:nvPr userDrawn="1">
            <p:ph type="body" sz="quarter" idx="10" hasCustomPrompt="1"/>
          </p:nvPr>
        </p:nvSpPr>
        <p:spPr>
          <a:xfrm>
            <a:off x="1009815" y="2449447"/>
            <a:ext cx="478887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1" name="Rectangle 30">
            <a:extLst>
              <a:ext uri="{FF2B5EF4-FFF2-40B4-BE49-F238E27FC236}">
                <a16:creationId xmlns:a16="http://schemas.microsoft.com/office/drawing/2014/main" id="{4F0F38EE-E67F-FBED-A126-C22FC09800EC}"/>
              </a:ext>
            </a:extLst>
          </p:cNvPr>
          <p:cNvSpPr/>
          <p:nvPr/>
        </p:nvSpPr>
        <p:spPr>
          <a:xfrm>
            <a:off x="731838" y="3246651"/>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7F21480C-2573-EE0E-911E-11FF4E962E2D}"/>
              </a:ext>
            </a:extLst>
          </p:cNvPr>
          <p:cNvCxnSpPr>
            <a:cxnSpLocks/>
          </p:cNvCxnSpPr>
          <p:nvPr/>
        </p:nvCxnSpPr>
        <p:spPr>
          <a:xfrm>
            <a:off x="827256" y="3246651"/>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118BC62C-526B-BBEF-8DEC-5FD2D9E478AB}"/>
              </a:ext>
            </a:extLst>
          </p:cNvPr>
          <p:cNvSpPr/>
          <p:nvPr/>
        </p:nvSpPr>
        <p:spPr>
          <a:xfrm>
            <a:off x="731838" y="4132930"/>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668DEA18-A608-B503-491A-179887B02603}"/>
              </a:ext>
            </a:extLst>
          </p:cNvPr>
          <p:cNvCxnSpPr>
            <a:cxnSpLocks/>
          </p:cNvCxnSpPr>
          <p:nvPr/>
        </p:nvCxnSpPr>
        <p:spPr>
          <a:xfrm>
            <a:off x="827256" y="4132930"/>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0D17DF68-02BE-0BBD-A1D3-2F8300DF1C12}"/>
              </a:ext>
            </a:extLst>
          </p:cNvPr>
          <p:cNvSpPr/>
          <p:nvPr/>
        </p:nvSpPr>
        <p:spPr>
          <a:xfrm>
            <a:off x="731838" y="5019208"/>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3" name="Straight Connector 42">
            <a:extLst>
              <a:ext uri="{FF2B5EF4-FFF2-40B4-BE49-F238E27FC236}">
                <a16:creationId xmlns:a16="http://schemas.microsoft.com/office/drawing/2014/main" id="{9CD4D8F9-14BF-CA58-F7A4-FC3AC4163018}"/>
              </a:ext>
            </a:extLst>
          </p:cNvPr>
          <p:cNvCxnSpPr>
            <a:cxnSpLocks/>
          </p:cNvCxnSpPr>
          <p:nvPr/>
        </p:nvCxnSpPr>
        <p:spPr>
          <a:xfrm>
            <a:off x="827256" y="5019208"/>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Text Placeholder 20">
            <a:extLst>
              <a:ext uri="{FF2B5EF4-FFF2-40B4-BE49-F238E27FC236}">
                <a16:creationId xmlns:a16="http://schemas.microsoft.com/office/drawing/2014/main" id="{5E08B787-23FB-55C5-00E1-BC2440525D70}"/>
              </a:ext>
            </a:extLst>
          </p:cNvPr>
          <p:cNvSpPr>
            <a:spLocks noGrp="1"/>
          </p:cNvSpPr>
          <p:nvPr userDrawn="1">
            <p:ph type="body" sz="quarter" idx="12" hasCustomPrompt="1"/>
          </p:nvPr>
        </p:nvSpPr>
        <p:spPr>
          <a:xfrm>
            <a:off x="1009815" y="3329886"/>
            <a:ext cx="478887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5" name="Text Placeholder 20">
            <a:extLst>
              <a:ext uri="{FF2B5EF4-FFF2-40B4-BE49-F238E27FC236}">
                <a16:creationId xmlns:a16="http://schemas.microsoft.com/office/drawing/2014/main" id="{CCF4088B-D715-137F-2F33-CC96578BAC53}"/>
              </a:ext>
            </a:extLst>
          </p:cNvPr>
          <p:cNvSpPr>
            <a:spLocks noGrp="1"/>
          </p:cNvSpPr>
          <p:nvPr userDrawn="1">
            <p:ph type="body" sz="quarter" idx="13" hasCustomPrompt="1"/>
          </p:nvPr>
        </p:nvSpPr>
        <p:spPr>
          <a:xfrm>
            <a:off x="1009815" y="4210325"/>
            <a:ext cx="478887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758A94F3-F9EE-52AA-4B7B-B799FEE37001}"/>
              </a:ext>
            </a:extLst>
          </p:cNvPr>
          <p:cNvSpPr>
            <a:spLocks noGrp="1"/>
          </p:cNvSpPr>
          <p:nvPr userDrawn="1">
            <p:ph type="body" sz="quarter" idx="14" hasCustomPrompt="1"/>
          </p:nvPr>
        </p:nvSpPr>
        <p:spPr>
          <a:xfrm>
            <a:off x="1009815" y="5090765"/>
            <a:ext cx="478887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32" name="Bilde 3">
            <a:extLst>
              <a:ext uri="{FF2B5EF4-FFF2-40B4-BE49-F238E27FC236}">
                <a16:creationId xmlns:a16="http://schemas.microsoft.com/office/drawing/2014/main" id="{98EEFC5F-05DB-267E-00D0-0824C7B567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3" name="Date Placeholder 2">
            <a:extLst>
              <a:ext uri="{FF2B5EF4-FFF2-40B4-BE49-F238E27FC236}">
                <a16:creationId xmlns:a16="http://schemas.microsoft.com/office/drawing/2014/main" id="{EAB28A51-C4C2-D978-4B27-3F1ABED430BF}"/>
              </a:ext>
            </a:extLst>
          </p:cNvPr>
          <p:cNvSpPr>
            <a:spLocks noGrp="1"/>
          </p:cNvSpPr>
          <p:nvPr userDrawn="1">
            <p:ph type="dt" sz="half" idx="16"/>
          </p:nvPr>
        </p:nvSpPr>
        <p:spPr>
          <a:xfrm>
            <a:off x="2303627" y="6492875"/>
            <a:ext cx="528585" cy="365125"/>
          </a:xfrm>
        </p:spPr>
        <p:txBody>
          <a:bodyPr/>
          <a:lstStyle/>
          <a:p>
            <a:fld id="{8D7FD13E-4F38-8B4A-9D2A-03305D85591C}" type="datetime1">
              <a:rPr lang="nb-NO" smtClean="0"/>
              <a:t>20.08.2024</a:t>
            </a:fld>
            <a:endParaRPr lang="en-US"/>
          </a:p>
        </p:txBody>
      </p:sp>
      <p:sp>
        <p:nvSpPr>
          <p:cNvPr id="34" name="Footer Placeholder 3">
            <a:extLst>
              <a:ext uri="{FF2B5EF4-FFF2-40B4-BE49-F238E27FC236}">
                <a16:creationId xmlns:a16="http://schemas.microsoft.com/office/drawing/2014/main" id="{FD8A2425-82AA-A745-317B-1D51C4065284}"/>
              </a:ext>
            </a:extLst>
          </p:cNvPr>
          <p:cNvSpPr>
            <a:spLocks noGrp="1"/>
          </p:cNvSpPr>
          <p:nvPr userDrawn="1">
            <p:ph type="ftr" sz="quarter" idx="17"/>
          </p:nvPr>
        </p:nvSpPr>
        <p:spPr>
          <a:xfrm>
            <a:off x="175116" y="6492875"/>
            <a:ext cx="2107096" cy="365125"/>
          </a:xfrm>
        </p:spPr>
        <p:txBody>
          <a:bodyPr/>
          <a:lstStyle/>
          <a:p>
            <a:r>
              <a:rPr lang="en-US"/>
              <a:t>© StrongPoint 2022. All rights reserved.</a:t>
            </a:r>
          </a:p>
        </p:txBody>
      </p:sp>
      <p:sp>
        <p:nvSpPr>
          <p:cNvPr id="35" name="Slide Number Placeholder 4">
            <a:extLst>
              <a:ext uri="{FF2B5EF4-FFF2-40B4-BE49-F238E27FC236}">
                <a16:creationId xmlns:a16="http://schemas.microsoft.com/office/drawing/2014/main" id="{19C9AE7C-9103-2E0C-B1C2-2F7C060BB04C}"/>
              </a:ext>
            </a:extLst>
          </p:cNvPr>
          <p:cNvSpPr>
            <a:spLocks noGrp="1"/>
          </p:cNvSpPr>
          <p:nvPr userDrawn="1">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3593021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48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504683"/>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grpSp>
        <p:nvGrpSpPr>
          <p:cNvPr id="32" name="Group 31">
            <a:extLst>
              <a:ext uri="{FF2B5EF4-FFF2-40B4-BE49-F238E27FC236}">
                <a16:creationId xmlns:a16="http://schemas.microsoft.com/office/drawing/2014/main" id="{9E4B393B-5C8D-DB20-7965-7736D1FD5F57}"/>
              </a:ext>
            </a:extLst>
          </p:cNvPr>
          <p:cNvGrpSpPr/>
          <p:nvPr userDrawn="1"/>
        </p:nvGrpSpPr>
        <p:grpSpPr>
          <a:xfrm>
            <a:off x="734070" y="2072928"/>
            <a:ext cx="5202388" cy="756000"/>
            <a:chOff x="558332" y="2312872"/>
            <a:chExt cx="5202388" cy="756000"/>
          </a:xfrm>
        </p:grpSpPr>
        <p:sp>
          <p:nvSpPr>
            <p:cNvPr id="33" name="Rectangle 32">
              <a:extLst>
                <a:ext uri="{FF2B5EF4-FFF2-40B4-BE49-F238E27FC236}">
                  <a16:creationId xmlns:a16="http://schemas.microsoft.com/office/drawing/2014/main" id="{0DA3DEA2-7333-4492-1044-D7EB7386727A}"/>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7F35A7AB-6104-5231-735C-5AE5EF809F71}"/>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5" name="Text Placeholder 20">
            <a:extLst>
              <a:ext uri="{FF2B5EF4-FFF2-40B4-BE49-F238E27FC236}">
                <a16:creationId xmlns:a16="http://schemas.microsoft.com/office/drawing/2014/main" id="{5A2AB5B1-2ECF-5F24-EF62-2BEC48D11679}"/>
              </a:ext>
            </a:extLst>
          </p:cNvPr>
          <p:cNvSpPr>
            <a:spLocks noGrp="1"/>
          </p:cNvSpPr>
          <p:nvPr>
            <p:ph type="body" sz="quarter" idx="10" hasCustomPrompt="1"/>
          </p:nvPr>
        </p:nvSpPr>
        <p:spPr>
          <a:xfrm>
            <a:off x="819871" y="2162003"/>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36" name="Group 35">
            <a:extLst>
              <a:ext uri="{FF2B5EF4-FFF2-40B4-BE49-F238E27FC236}">
                <a16:creationId xmlns:a16="http://schemas.microsoft.com/office/drawing/2014/main" id="{BDB68336-1BE8-7ED3-11EB-37C4F5570633}"/>
              </a:ext>
            </a:extLst>
          </p:cNvPr>
          <p:cNvGrpSpPr/>
          <p:nvPr userDrawn="1"/>
        </p:nvGrpSpPr>
        <p:grpSpPr>
          <a:xfrm>
            <a:off x="734070" y="2915116"/>
            <a:ext cx="5202388" cy="756000"/>
            <a:chOff x="558332" y="2312872"/>
            <a:chExt cx="5202388" cy="756000"/>
          </a:xfrm>
        </p:grpSpPr>
        <p:sp>
          <p:nvSpPr>
            <p:cNvPr id="47" name="Rectangle 46">
              <a:extLst>
                <a:ext uri="{FF2B5EF4-FFF2-40B4-BE49-F238E27FC236}">
                  <a16:creationId xmlns:a16="http://schemas.microsoft.com/office/drawing/2014/main" id="{6F9DD9A6-9D82-99B8-94E5-51FB18A35AFF}"/>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8" name="Straight Connector 47">
              <a:extLst>
                <a:ext uri="{FF2B5EF4-FFF2-40B4-BE49-F238E27FC236}">
                  <a16:creationId xmlns:a16="http://schemas.microsoft.com/office/drawing/2014/main" id="{6BAF944F-5074-63E2-A5E3-2B5F0E5C3D07}"/>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E2E53277-CE50-28C3-C929-98DE8F5E4205}"/>
              </a:ext>
            </a:extLst>
          </p:cNvPr>
          <p:cNvGrpSpPr/>
          <p:nvPr userDrawn="1"/>
        </p:nvGrpSpPr>
        <p:grpSpPr>
          <a:xfrm>
            <a:off x="734070" y="3757304"/>
            <a:ext cx="5202388" cy="756000"/>
            <a:chOff x="558332" y="2312872"/>
            <a:chExt cx="5202388" cy="756000"/>
          </a:xfrm>
        </p:grpSpPr>
        <p:sp>
          <p:nvSpPr>
            <p:cNvPr id="50" name="Rectangle 49">
              <a:extLst>
                <a:ext uri="{FF2B5EF4-FFF2-40B4-BE49-F238E27FC236}">
                  <a16:creationId xmlns:a16="http://schemas.microsoft.com/office/drawing/2014/main" id="{18CC2C82-EAA6-63E4-031C-FC42706250B7}"/>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891DA805-F299-AE45-6235-E1100FC431C5}"/>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CB76BFD8-9678-F7C0-1053-6572ACA36044}"/>
              </a:ext>
            </a:extLst>
          </p:cNvPr>
          <p:cNvGrpSpPr/>
          <p:nvPr userDrawn="1"/>
        </p:nvGrpSpPr>
        <p:grpSpPr>
          <a:xfrm>
            <a:off x="734070" y="4599492"/>
            <a:ext cx="5202388" cy="756000"/>
            <a:chOff x="558332" y="2312872"/>
            <a:chExt cx="5202388" cy="756000"/>
          </a:xfrm>
        </p:grpSpPr>
        <p:sp>
          <p:nvSpPr>
            <p:cNvPr id="53" name="Rectangle 52">
              <a:extLst>
                <a:ext uri="{FF2B5EF4-FFF2-40B4-BE49-F238E27FC236}">
                  <a16:creationId xmlns:a16="http://schemas.microsoft.com/office/drawing/2014/main" id="{83E2BD2D-2C57-54CC-2ECB-DDF1AEF80DCB}"/>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E1648AD5-C028-FBF1-597A-79A21158DE93}"/>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55" name="Text Placeholder 20">
            <a:extLst>
              <a:ext uri="{FF2B5EF4-FFF2-40B4-BE49-F238E27FC236}">
                <a16:creationId xmlns:a16="http://schemas.microsoft.com/office/drawing/2014/main" id="{B1A0D399-AD63-C8F6-A79B-CA49BE109A06}"/>
              </a:ext>
            </a:extLst>
          </p:cNvPr>
          <p:cNvSpPr>
            <a:spLocks noGrp="1"/>
          </p:cNvSpPr>
          <p:nvPr>
            <p:ph type="body" sz="quarter" idx="12" hasCustomPrompt="1"/>
          </p:nvPr>
        </p:nvSpPr>
        <p:spPr>
          <a:xfrm>
            <a:off x="819871" y="3004191"/>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6" name="Text Placeholder 20">
            <a:extLst>
              <a:ext uri="{FF2B5EF4-FFF2-40B4-BE49-F238E27FC236}">
                <a16:creationId xmlns:a16="http://schemas.microsoft.com/office/drawing/2014/main" id="{CCC12247-8BAB-4AE4-DDFB-5CB8B7006906}"/>
              </a:ext>
            </a:extLst>
          </p:cNvPr>
          <p:cNvSpPr>
            <a:spLocks noGrp="1"/>
          </p:cNvSpPr>
          <p:nvPr>
            <p:ph type="body" sz="quarter" idx="13" hasCustomPrompt="1"/>
          </p:nvPr>
        </p:nvSpPr>
        <p:spPr>
          <a:xfrm>
            <a:off x="819871" y="3846379"/>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7" name="Text Placeholder 20">
            <a:extLst>
              <a:ext uri="{FF2B5EF4-FFF2-40B4-BE49-F238E27FC236}">
                <a16:creationId xmlns:a16="http://schemas.microsoft.com/office/drawing/2014/main" id="{2FEA113A-604B-5532-6772-443DEC02D830}"/>
              </a:ext>
            </a:extLst>
          </p:cNvPr>
          <p:cNvSpPr>
            <a:spLocks noGrp="1"/>
          </p:cNvSpPr>
          <p:nvPr>
            <p:ph type="body" sz="quarter" idx="14" hasCustomPrompt="1"/>
          </p:nvPr>
        </p:nvSpPr>
        <p:spPr>
          <a:xfrm>
            <a:off x="819871" y="4688567"/>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58" name="Group 57">
            <a:extLst>
              <a:ext uri="{FF2B5EF4-FFF2-40B4-BE49-F238E27FC236}">
                <a16:creationId xmlns:a16="http://schemas.microsoft.com/office/drawing/2014/main" id="{1749022F-2D24-3B7B-4935-CDF421E1AA27}"/>
              </a:ext>
            </a:extLst>
          </p:cNvPr>
          <p:cNvGrpSpPr/>
          <p:nvPr userDrawn="1"/>
        </p:nvGrpSpPr>
        <p:grpSpPr>
          <a:xfrm>
            <a:off x="752577" y="5441680"/>
            <a:ext cx="5202388" cy="756000"/>
            <a:chOff x="558332" y="2312872"/>
            <a:chExt cx="5202388" cy="756000"/>
          </a:xfrm>
        </p:grpSpPr>
        <p:sp>
          <p:nvSpPr>
            <p:cNvPr id="59" name="Rectangle 58">
              <a:extLst>
                <a:ext uri="{FF2B5EF4-FFF2-40B4-BE49-F238E27FC236}">
                  <a16:creationId xmlns:a16="http://schemas.microsoft.com/office/drawing/2014/main" id="{74C29AE8-19AA-C1C7-9021-ACCC5B30EBA8}"/>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0" name="Straight Connector 59">
              <a:extLst>
                <a:ext uri="{FF2B5EF4-FFF2-40B4-BE49-F238E27FC236}">
                  <a16:creationId xmlns:a16="http://schemas.microsoft.com/office/drawing/2014/main" id="{D1AF8B10-77B7-994C-26DA-98606625369C}"/>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61" name="Text Placeholder 20">
            <a:extLst>
              <a:ext uri="{FF2B5EF4-FFF2-40B4-BE49-F238E27FC236}">
                <a16:creationId xmlns:a16="http://schemas.microsoft.com/office/drawing/2014/main" id="{EBC6E672-A248-2ABD-D4D1-033D6C57FC5E}"/>
              </a:ext>
            </a:extLst>
          </p:cNvPr>
          <p:cNvSpPr>
            <a:spLocks noGrp="1"/>
          </p:cNvSpPr>
          <p:nvPr>
            <p:ph type="body" sz="quarter" idx="15" hasCustomPrompt="1"/>
          </p:nvPr>
        </p:nvSpPr>
        <p:spPr>
          <a:xfrm>
            <a:off x="838378" y="5530755"/>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27" name="Bilde 3">
            <a:extLst>
              <a:ext uri="{FF2B5EF4-FFF2-40B4-BE49-F238E27FC236}">
                <a16:creationId xmlns:a16="http://schemas.microsoft.com/office/drawing/2014/main" id="{A5B0FA5C-4366-EE3B-6258-1E103A7EB7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9" name="Date Placeholder 2">
            <a:extLst>
              <a:ext uri="{FF2B5EF4-FFF2-40B4-BE49-F238E27FC236}">
                <a16:creationId xmlns:a16="http://schemas.microsoft.com/office/drawing/2014/main" id="{52A88FDD-AA4C-DAEE-7C94-F7149BE52E2C}"/>
              </a:ext>
            </a:extLst>
          </p:cNvPr>
          <p:cNvSpPr>
            <a:spLocks noGrp="1"/>
          </p:cNvSpPr>
          <p:nvPr>
            <p:ph type="dt" sz="half" idx="16"/>
          </p:nvPr>
        </p:nvSpPr>
        <p:spPr>
          <a:xfrm>
            <a:off x="2303627" y="6492875"/>
            <a:ext cx="528585" cy="365125"/>
          </a:xfrm>
        </p:spPr>
        <p:txBody>
          <a:bodyPr/>
          <a:lstStyle/>
          <a:p>
            <a:fld id="{47545123-108E-7840-8F97-0D799CAD06D0}" type="datetime1">
              <a:rPr lang="nb-NO" smtClean="0"/>
              <a:t>20.08.2024</a:t>
            </a:fld>
            <a:endParaRPr lang="en-US"/>
          </a:p>
        </p:txBody>
      </p:sp>
      <p:sp>
        <p:nvSpPr>
          <p:cNvPr id="30" name="Footer Placeholder 3">
            <a:extLst>
              <a:ext uri="{FF2B5EF4-FFF2-40B4-BE49-F238E27FC236}">
                <a16:creationId xmlns:a16="http://schemas.microsoft.com/office/drawing/2014/main" id="{D2BFB3AC-A2B8-F5EF-B14F-1D7D4A7611CA}"/>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31" name="Slide Number Placeholder 4">
            <a:extLst>
              <a:ext uri="{FF2B5EF4-FFF2-40B4-BE49-F238E27FC236}">
                <a16:creationId xmlns:a16="http://schemas.microsoft.com/office/drawing/2014/main" id="{463286B1-D26D-3F1D-B5F5-8A0CF9299383}"/>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46530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0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sp>
        <p:nvSpPr>
          <p:cNvPr id="26" name="Rectangle 25">
            <a:extLst>
              <a:ext uri="{FF2B5EF4-FFF2-40B4-BE49-F238E27FC236}">
                <a16:creationId xmlns:a16="http://schemas.microsoft.com/office/drawing/2014/main" id="{E366F876-8570-297F-035B-0DE6C6600DEB}"/>
              </a:ext>
            </a:extLst>
          </p:cNvPr>
          <p:cNvSpPr/>
          <p:nvPr/>
        </p:nvSpPr>
        <p:spPr>
          <a:xfrm>
            <a:off x="731838" y="23603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E1B9C562-3D2C-2F2B-9171-1A792DDF93DF}"/>
              </a:ext>
            </a:extLst>
          </p:cNvPr>
          <p:cNvCxnSpPr>
            <a:cxnSpLocks/>
          </p:cNvCxnSpPr>
          <p:nvPr/>
        </p:nvCxnSpPr>
        <p:spPr>
          <a:xfrm>
            <a:off x="827256" y="2360372"/>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Text Placeholder 20">
            <a:extLst>
              <a:ext uri="{FF2B5EF4-FFF2-40B4-BE49-F238E27FC236}">
                <a16:creationId xmlns:a16="http://schemas.microsoft.com/office/drawing/2014/main" id="{E449B1A2-F732-EF88-13A4-8EDA8436E445}"/>
              </a:ext>
            </a:extLst>
          </p:cNvPr>
          <p:cNvSpPr>
            <a:spLocks noGrp="1"/>
          </p:cNvSpPr>
          <p:nvPr userDrawn="1">
            <p:ph type="body" sz="quarter" idx="10" hasCustomPrompt="1"/>
          </p:nvPr>
        </p:nvSpPr>
        <p:spPr>
          <a:xfrm>
            <a:off x="1009815" y="2449447"/>
            <a:ext cx="478887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1" name="Rectangle 30">
            <a:extLst>
              <a:ext uri="{FF2B5EF4-FFF2-40B4-BE49-F238E27FC236}">
                <a16:creationId xmlns:a16="http://schemas.microsoft.com/office/drawing/2014/main" id="{4F0F38EE-E67F-FBED-A126-C22FC09800EC}"/>
              </a:ext>
            </a:extLst>
          </p:cNvPr>
          <p:cNvSpPr/>
          <p:nvPr/>
        </p:nvSpPr>
        <p:spPr>
          <a:xfrm>
            <a:off x="731838" y="3246651"/>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7F21480C-2573-EE0E-911E-11FF4E962E2D}"/>
              </a:ext>
            </a:extLst>
          </p:cNvPr>
          <p:cNvCxnSpPr>
            <a:cxnSpLocks/>
          </p:cNvCxnSpPr>
          <p:nvPr/>
        </p:nvCxnSpPr>
        <p:spPr>
          <a:xfrm>
            <a:off x="827256" y="3246651"/>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118BC62C-526B-BBEF-8DEC-5FD2D9E478AB}"/>
              </a:ext>
            </a:extLst>
          </p:cNvPr>
          <p:cNvSpPr/>
          <p:nvPr/>
        </p:nvSpPr>
        <p:spPr>
          <a:xfrm>
            <a:off x="731838" y="4132930"/>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668DEA18-A608-B503-491A-179887B02603}"/>
              </a:ext>
            </a:extLst>
          </p:cNvPr>
          <p:cNvCxnSpPr>
            <a:cxnSpLocks/>
          </p:cNvCxnSpPr>
          <p:nvPr/>
        </p:nvCxnSpPr>
        <p:spPr>
          <a:xfrm>
            <a:off x="827256" y="4132930"/>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0D17DF68-02BE-0BBD-A1D3-2F8300DF1C12}"/>
              </a:ext>
            </a:extLst>
          </p:cNvPr>
          <p:cNvSpPr/>
          <p:nvPr/>
        </p:nvSpPr>
        <p:spPr>
          <a:xfrm>
            <a:off x="731838" y="5019208"/>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3" name="Straight Connector 42">
            <a:extLst>
              <a:ext uri="{FF2B5EF4-FFF2-40B4-BE49-F238E27FC236}">
                <a16:creationId xmlns:a16="http://schemas.microsoft.com/office/drawing/2014/main" id="{9CD4D8F9-14BF-CA58-F7A4-FC3AC4163018}"/>
              </a:ext>
            </a:extLst>
          </p:cNvPr>
          <p:cNvCxnSpPr>
            <a:cxnSpLocks/>
          </p:cNvCxnSpPr>
          <p:nvPr/>
        </p:nvCxnSpPr>
        <p:spPr>
          <a:xfrm>
            <a:off x="827256" y="5019208"/>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Text Placeholder 20">
            <a:extLst>
              <a:ext uri="{FF2B5EF4-FFF2-40B4-BE49-F238E27FC236}">
                <a16:creationId xmlns:a16="http://schemas.microsoft.com/office/drawing/2014/main" id="{5E08B787-23FB-55C5-00E1-BC2440525D70}"/>
              </a:ext>
            </a:extLst>
          </p:cNvPr>
          <p:cNvSpPr>
            <a:spLocks noGrp="1"/>
          </p:cNvSpPr>
          <p:nvPr userDrawn="1">
            <p:ph type="body" sz="quarter" idx="12" hasCustomPrompt="1"/>
          </p:nvPr>
        </p:nvSpPr>
        <p:spPr>
          <a:xfrm>
            <a:off x="1009815" y="3329886"/>
            <a:ext cx="478887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5" name="Text Placeholder 20">
            <a:extLst>
              <a:ext uri="{FF2B5EF4-FFF2-40B4-BE49-F238E27FC236}">
                <a16:creationId xmlns:a16="http://schemas.microsoft.com/office/drawing/2014/main" id="{CCF4088B-D715-137F-2F33-CC96578BAC53}"/>
              </a:ext>
            </a:extLst>
          </p:cNvPr>
          <p:cNvSpPr>
            <a:spLocks noGrp="1"/>
          </p:cNvSpPr>
          <p:nvPr userDrawn="1">
            <p:ph type="body" sz="quarter" idx="13" hasCustomPrompt="1"/>
          </p:nvPr>
        </p:nvSpPr>
        <p:spPr>
          <a:xfrm>
            <a:off x="1009815" y="4210325"/>
            <a:ext cx="478887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758A94F3-F9EE-52AA-4B7B-B799FEE37001}"/>
              </a:ext>
            </a:extLst>
          </p:cNvPr>
          <p:cNvSpPr>
            <a:spLocks noGrp="1"/>
          </p:cNvSpPr>
          <p:nvPr userDrawn="1">
            <p:ph type="body" sz="quarter" idx="14" hasCustomPrompt="1"/>
          </p:nvPr>
        </p:nvSpPr>
        <p:spPr>
          <a:xfrm>
            <a:off x="1009815" y="5090765"/>
            <a:ext cx="478887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32" name="Bilde 3">
            <a:extLst>
              <a:ext uri="{FF2B5EF4-FFF2-40B4-BE49-F238E27FC236}">
                <a16:creationId xmlns:a16="http://schemas.microsoft.com/office/drawing/2014/main" id="{98EEFC5F-05DB-267E-00D0-0824C7B567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3" name="Date Placeholder 2">
            <a:extLst>
              <a:ext uri="{FF2B5EF4-FFF2-40B4-BE49-F238E27FC236}">
                <a16:creationId xmlns:a16="http://schemas.microsoft.com/office/drawing/2014/main" id="{EAB28A51-C4C2-D978-4B27-3F1ABED430BF}"/>
              </a:ext>
            </a:extLst>
          </p:cNvPr>
          <p:cNvSpPr>
            <a:spLocks noGrp="1"/>
          </p:cNvSpPr>
          <p:nvPr userDrawn="1">
            <p:ph type="dt" sz="half" idx="16"/>
          </p:nvPr>
        </p:nvSpPr>
        <p:spPr>
          <a:xfrm>
            <a:off x="2303627" y="6492875"/>
            <a:ext cx="528585" cy="365125"/>
          </a:xfrm>
        </p:spPr>
        <p:txBody>
          <a:bodyPr/>
          <a:lstStyle/>
          <a:p>
            <a:fld id="{EAEDEE14-5235-CA4A-B0CB-10CC04E093B1}" type="datetime1">
              <a:rPr lang="nb-NO" smtClean="0"/>
              <a:t>20.08.2024</a:t>
            </a:fld>
            <a:endParaRPr lang="en-US"/>
          </a:p>
        </p:txBody>
      </p:sp>
      <p:sp>
        <p:nvSpPr>
          <p:cNvPr id="34" name="Footer Placeholder 3">
            <a:extLst>
              <a:ext uri="{FF2B5EF4-FFF2-40B4-BE49-F238E27FC236}">
                <a16:creationId xmlns:a16="http://schemas.microsoft.com/office/drawing/2014/main" id="{FD8A2425-82AA-A745-317B-1D51C4065284}"/>
              </a:ext>
            </a:extLst>
          </p:cNvPr>
          <p:cNvSpPr>
            <a:spLocks noGrp="1"/>
          </p:cNvSpPr>
          <p:nvPr userDrawn="1">
            <p:ph type="ftr" sz="quarter" idx="17"/>
          </p:nvPr>
        </p:nvSpPr>
        <p:spPr>
          <a:xfrm>
            <a:off x="175116" y="6492875"/>
            <a:ext cx="2107096" cy="365125"/>
          </a:xfrm>
        </p:spPr>
        <p:txBody>
          <a:bodyPr/>
          <a:lstStyle/>
          <a:p>
            <a:r>
              <a:rPr lang="en-US"/>
              <a:t>© StrongPoint 2022</a:t>
            </a:r>
          </a:p>
        </p:txBody>
      </p:sp>
      <p:sp>
        <p:nvSpPr>
          <p:cNvPr id="35" name="Slide Number Placeholder 4">
            <a:extLst>
              <a:ext uri="{FF2B5EF4-FFF2-40B4-BE49-F238E27FC236}">
                <a16:creationId xmlns:a16="http://schemas.microsoft.com/office/drawing/2014/main" id="{19C9AE7C-9103-2E0C-B1C2-2F7C060BB04C}"/>
              </a:ext>
            </a:extLst>
          </p:cNvPr>
          <p:cNvSpPr>
            <a:spLocks noGrp="1"/>
          </p:cNvSpPr>
          <p:nvPr userDrawn="1">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3614913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userDrawn="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61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504683"/>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sp>
        <p:nvSpPr>
          <p:cNvPr id="33" name="Rectangle 32">
            <a:extLst>
              <a:ext uri="{FF2B5EF4-FFF2-40B4-BE49-F238E27FC236}">
                <a16:creationId xmlns:a16="http://schemas.microsoft.com/office/drawing/2014/main" id="{0DA3DEA2-7333-4492-1044-D7EB7386727A}"/>
              </a:ext>
            </a:extLst>
          </p:cNvPr>
          <p:cNvSpPr/>
          <p:nvPr/>
        </p:nvSpPr>
        <p:spPr>
          <a:xfrm>
            <a:off x="734070" y="2072928"/>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7F35A7AB-6104-5231-735C-5AE5EF809F71}"/>
              </a:ext>
            </a:extLst>
          </p:cNvPr>
          <p:cNvCxnSpPr>
            <a:cxnSpLocks/>
          </p:cNvCxnSpPr>
          <p:nvPr/>
        </p:nvCxnSpPr>
        <p:spPr>
          <a:xfrm>
            <a:off x="829487" y="2072928"/>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5A2AB5B1-2ECF-5F24-EF62-2BEC48D11679}"/>
              </a:ext>
            </a:extLst>
          </p:cNvPr>
          <p:cNvSpPr>
            <a:spLocks noGrp="1"/>
          </p:cNvSpPr>
          <p:nvPr userDrawn="1">
            <p:ph type="body" sz="quarter" idx="10" hasCustomPrompt="1"/>
          </p:nvPr>
        </p:nvSpPr>
        <p:spPr>
          <a:xfrm>
            <a:off x="983357" y="2162003"/>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7" name="Rectangle 46">
            <a:extLst>
              <a:ext uri="{FF2B5EF4-FFF2-40B4-BE49-F238E27FC236}">
                <a16:creationId xmlns:a16="http://schemas.microsoft.com/office/drawing/2014/main" id="{6F9DD9A6-9D82-99B8-94E5-51FB18A35AFF}"/>
              </a:ext>
            </a:extLst>
          </p:cNvPr>
          <p:cNvSpPr/>
          <p:nvPr/>
        </p:nvSpPr>
        <p:spPr>
          <a:xfrm>
            <a:off x="734070" y="2915116"/>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8" name="Straight Connector 47">
            <a:extLst>
              <a:ext uri="{FF2B5EF4-FFF2-40B4-BE49-F238E27FC236}">
                <a16:creationId xmlns:a16="http://schemas.microsoft.com/office/drawing/2014/main" id="{6BAF944F-5074-63E2-A5E3-2B5F0E5C3D07}"/>
              </a:ext>
            </a:extLst>
          </p:cNvPr>
          <p:cNvCxnSpPr>
            <a:cxnSpLocks/>
          </p:cNvCxnSpPr>
          <p:nvPr/>
        </p:nvCxnSpPr>
        <p:spPr>
          <a:xfrm>
            <a:off x="829487" y="2915116"/>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18CC2C82-EAA6-63E4-031C-FC42706250B7}"/>
              </a:ext>
            </a:extLst>
          </p:cNvPr>
          <p:cNvSpPr/>
          <p:nvPr/>
        </p:nvSpPr>
        <p:spPr>
          <a:xfrm>
            <a:off x="734070" y="3757304"/>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891DA805-F299-AE45-6235-E1100FC431C5}"/>
              </a:ext>
            </a:extLst>
          </p:cNvPr>
          <p:cNvCxnSpPr>
            <a:cxnSpLocks/>
          </p:cNvCxnSpPr>
          <p:nvPr/>
        </p:nvCxnSpPr>
        <p:spPr>
          <a:xfrm>
            <a:off x="829487" y="3757304"/>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3E2BD2D-2C57-54CC-2ECB-DDF1AEF80DCB}"/>
              </a:ext>
            </a:extLst>
          </p:cNvPr>
          <p:cNvSpPr/>
          <p:nvPr/>
        </p:nvSpPr>
        <p:spPr>
          <a:xfrm>
            <a:off x="734070" y="459949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E1648AD5-C028-FBF1-597A-79A21158DE93}"/>
              </a:ext>
            </a:extLst>
          </p:cNvPr>
          <p:cNvCxnSpPr>
            <a:cxnSpLocks/>
          </p:cNvCxnSpPr>
          <p:nvPr/>
        </p:nvCxnSpPr>
        <p:spPr>
          <a:xfrm>
            <a:off x="829487" y="4599492"/>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Text Placeholder 20">
            <a:extLst>
              <a:ext uri="{FF2B5EF4-FFF2-40B4-BE49-F238E27FC236}">
                <a16:creationId xmlns:a16="http://schemas.microsoft.com/office/drawing/2014/main" id="{B1A0D399-AD63-C8F6-A79B-CA49BE109A06}"/>
              </a:ext>
            </a:extLst>
          </p:cNvPr>
          <p:cNvSpPr>
            <a:spLocks noGrp="1"/>
          </p:cNvSpPr>
          <p:nvPr userDrawn="1">
            <p:ph type="body" sz="quarter" idx="12" hasCustomPrompt="1"/>
          </p:nvPr>
        </p:nvSpPr>
        <p:spPr>
          <a:xfrm>
            <a:off x="983357" y="3004191"/>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6" name="Text Placeholder 20">
            <a:extLst>
              <a:ext uri="{FF2B5EF4-FFF2-40B4-BE49-F238E27FC236}">
                <a16:creationId xmlns:a16="http://schemas.microsoft.com/office/drawing/2014/main" id="{CCC12247-8BAB-4AE4-DDFB-5CB8B7006906}"/>
              </a:ext>
            </a:extLst>
          </p:cNvPr>
          <p:cNvSpPr>
            <a:spLocks noGrp="1"/>
          </p:cNvSpPr>
          <p:nvPr userDrawn="1">
            <p:ph type="body" sz="quarter" idx="13" hasCustomPrompt="1"/>
          </p:nvPr>
        </p:nvSpPr>
        <p:spPr>
          <a:xfrm>
            <a:off x="983357" y="3846379"/>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7" name="Text Placeholder 20">
            <a:extLst>
              <a:ext uri="{FF2B5EF4-FFF2-40B4-BE49-F238E27FC236}">
                <a16:creationId xmlns:a16="http://schemas.microsoft.com/office/drawing/2014/main" id="{2FEA113A-604B-5532-6772-443DEC02D830}"/>
              </a:ext>
            </a:extLst>
          </p:cNvPr>
          <p:cNvSpPr>
            <a:spLocks noGrp="1"/>
          </p:cNvSpPr>
          <p:nvPr userDrawn="1">
            <p:ph type="body" sz="quarter" idx="14" hasCustomPrompt="1"/>
          </p:nvPr>
        </p:nvSpPr>
        <p:spPr>
          <a:xfrm>
            <a:off x="983357" y="4688567"/>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9" name="Rectangle 58">
            <a:extLst>
              <a:ext uri="{FF2B5EF4-FFF2-40B4-BE49-F238E27FC236}">
                <a16:creationId xmlns:a16="http://schemas.microsoft.com/office/drawing/2014/main" id="{74C29AE8-19AA-C1C7-9021-ACCC5B30EBA8}"/>
              </a:ext>
            </a:extLst>
          </p:cNvPr>
          <p:cNvSpPr/>
          <p:nvPr/>
        </p:nvSpPr>
        <p:spPr>
          <a:xfrm>
            <a:off x="752577" y="5441680"/>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0" name="Straight Connector 59">
            <a:extLst>
              <a:ext uri="{FF2B5EF4-FFF2-40B4-BE49-F238E27FC236}">
                <a16:creationId xmlns:a16="http://schemas.microsoft.com/office/drawing/2014/main" id="{D1AF8B10-77B7-994C-26DA-98606625369C}"/>
              </a:ext>
            </a:extLst>
          </p:cNvPr>
          <p:cNvCxnSpPr>
            <a:cxnSpLocks/>
          </p:cNvCxnSpPr>
          <p:nvPr/>
        </p:nvCxnSpPr>
        <p:spPr>
          <a:xfrm>
            <a:off x="847994" y="5441680"/>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Text Placeholder 20">
            <a:extLst>
              <a:ext uri="{FF2B5EF4-FFF2-40B4-BE49-F238E27FC236}">
                <a16:creationId xmlns:a16="http://schemas.microsoft.com/office/drawing/2014/main" id="{EBC6E672-A248-2ABD-D4D1-033D6C57FC5E}"/>
              </a:ext>
            </a:extLst>
          </p:cNvPr>
          <p:cNvSpPr>
            <a:spLocks noGrp="1"/>
          </p:cNvSpPr>
          <p:nvPr userDrawn="1">
            <p:ph type="body" sz="quarter" idx="15" hasCustomPrompt="1"/>
          </p:nvPr>
        </p:nvSpPr>
        <p:spPr>
          <a:xfrm>
            <a:off x="1001864" y="5530755"/>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27" name="Bilde 3">
            <a:extLst>
              <a:ext uri="{FF2B5EF4-FFF2-40B4-BE49-F238E27FC236}">
                <a16:creationId xmlns:a16="http://schemas.microsoft.com/office/drawing/2014/main" id="{A5B0FA5C-4366-EE3B-6258-1E103A7EB7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9" name="Date Placeholder 2">
            <a:extLst>
              <a:ext uri="{FF2B5EF4-FFF2-40B4-BE49-F238E27FC236}">
                <a16:creationId xmlns:a16="http://schemas.microsoft.com/office/drawing/2014/main" id="{52A88FDD-AA4C-DAEE-7C94-F7149BE52E2C}"/>
              </a:ext>
            </a:extLst>
          </p:cNvPr>
          <p:cNvSpPr>
            <a:spLocks noGrp="1"/>
          </p:cNvSpPr>
          <p:nvPr userDrawn="1">
            <p:ph type="dt" sz="half" idx="16"/>
          </p:nvPr>
        </p:nvSpPr>
        <p:spPr>
          <a:xfrm>
            <a:off x="2303627" y="6492875"/>
            <a:ext cx="528585" cy="365125"/>
          </a:xfrm>
        </p:spPr>
        <p:txBody>
          <a:bodyPr/>
          <a:lstStyle/>
          <a:p>
            <a:fld id="{EF62846D-3C60-164A-A1A7-FC77803E8843}" type="datetime1">
              <a:rPr lang="nb-NO" smtClean="0"/>
              <a:t>20.08.2024</a:t>
            </a:fld>
            <a:endParaRPr lang="en-US"/>
          </a:p>
        </p:txBody>
      </p:sp>
      <p:sp>
        <p:nvSpPr>
          <p:cNvPr id="30" name="Footer Placeholder 3">
            <a:extLst>
              <a:ext uri="{FF2B5EF4-FFF2-40B4-BE49-F238E27FC236}">
                <a16:creationId xmlns:a16="http://schemas.microsoft.com/office/drawing/2014/main" id="{D2BFB3AC-A2B8-F5EF-B14F-1D7D4A7611CA}"/>
              </a:ext>
            </a:extLst>
          </p:cNvPr>
          <p:cNvSpPr>
            <a:spLocks noGrp="1"/>
          </p:cNvSpPr>
          <p:nvPr userDrawn="1">
            <p:ph type="ftr" sz="quarter" idx="17"/>
          </p:nvPr>
        </p:nvSpPr>
        <p:spPr>
          <a:xfrm>
            <a:off x="175116" y="6492875"/>
            <a:ext cx="2107096" cy="365125"/>
          </a:xfrm>
        </p:spPr>
        <p:txBody>
          <a:bodyPr/>
          <a:lstStyle/>
          <a:p>
            <a:r>
              <a:rPr lang="en-US"/>
              <a:t>© StrongPoint 2022. All rights reserved.</a:t>
            </a:r>
          </a:p>
        </p:txBody>
      </p:sp>
      <p:sp>
        <p:nvSpPr>
          <p:cNvPr id="31" name="Slide Number Placeholder 4">
            <a:extLst>
              <a:ext uri="{FF2B5EF4-FFF2-40B4-BE49-F238E27FC236}">
                <a16:creationId xmlns:a16="http://schemas.microsoft.com/office/drawing/2014/main" id="{463286B1-D26D-3F1D-B5F5-8A0CF9299383}"/>
              </a:ext>
            </a:extLst>
          </p:cNvPr>
          <p:cNvSpPr>
            <a:spLocks noGrp="1"/>
          </p:cNvSpPr>
          <p:nvPr userDrawn="1">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7899276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6" name="Rectangle 25">
            <a:extLst>
              <a:ext uri="{FF2B5EF4-FFF2-40B4-BE49-F238E27FC236}">
                <a16:creationId xmlns:a16="http://schemas.microsoft.com/office/drawing/2014/main" id="{964B2FCB-A9B0-4145-B29B-AD456C94D7C2}"/>
              </a:ext>
            </a:extLst>
          </p:cNvPr>
          <p:cNvSpPr/>
          <p:nvPr/>
        </p:nvSpPr>
        <p:spPr>
          <a:xfrm>
            <a:off x="741777" y="2706095"/>
            <a:ext cx="5234480" cy="3070681"/>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8" name="Straight Connector 27">
            <a:extLst>
              <a:ext uri="{FF2B5EF4-FFF2-40B4-BE49-F238E27FC236}">
                <a16:creationId xmlns:a16="http://schemas.microsoft.com/office/drawing/2014/main" id="{17FD8ADB-B041-7841-B1C3-28DBA168A7C7}"/>
              </a:ext>
            </a:extLst>
          </p:cNvPr>
          <p:cNvCxnSpPr>
            <a:cxnSpLocks/>
          </p:cNvCxnSpPr>
          <p:nvPr/>
        </p:nvCxnSpPr>
        <p:spPr>
          <a:xfrm>
            <a:off x="741777" y="2695911"/>
            <a:ext cx="523448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50" name="Text Placeholder 20">
            <a:extLst>
              <a:ext uri="{FF2B5EF4-FFF2-40B4-BE49-F238E27FC236}">
                <a16:creationId xmlns:a16="http://schemas.microsoft.com/office/drawing/2014/main" id="{0AB8628E-6620-874B-85B8-393DA4676167}"/>
              </a:ext>
            </a:extLst>
          </p:cNvPr>
          <p:cNvSpPr>
            <a:spLocks noGrp="1"/>
          </p:cNvSpPr>
          <p:nvPr userDrawn="1">
            <p:ph type="body" sz="quarter" idx="19" hasCustomPrompt="1"/>
          </p:nvPr>
        </p:nvSpPr>
        <p:spPr>
          <a:xfrm>
            <a:off x="916646" y="2866046"/>
            <a:ext cx="4831011" cy="2731120"/>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ext Placeholder 20">
            <a:extLst>
              <a:ext uri="{FF2B5EF4-FFF2-40B4-BE49-F238E27FC236}">
                <a16:creationId xmlns:a16="http://schemas.microsoft.com/office/drawing/2014/main" id="{1CA6145D-0C72-F541-BE9A-355F095B9528}"/>
              </a:ext>
            </a:extLst>
          </p:cNvPr>
          <p:cNvSpPr>
            <a:spLocks noGrp="1"/>
          </p:cNvSpPr>
          <p:nvPr userDrawn="1">
            <p:ph type="body" sz="quarter" idx="22" hasCustomPrompt="1"/>
          </p:nvPr>
        </p:nvSpPr>
        <p:spPr>
          <a:xfrm>
            <a:off x="916646" y="1964633"/>
            <a:ext cx="483101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6" name="Rectangle 45">
            <a:extLst>
              <a:ext uri="{FF2B5EF4-FFF2-40B4-BE49-F238E27FC236}">
                <a16:creationId xmlns:a16="http://schemas.microsoft.com/office/drawing/2014/main" id="{A3D10291-5127-FF2D-DB99-A8BC7A6A2DD7}"/>
              </a:ext>
            </a:extLst>
          </p:cNvPr>
          <p:cNvSpPr/>
          <p:nvPr/>
        </p:nvSpPr>
        <p:spPr>
          <a:xfrm>
            <a:off x="6179192" y="2706095"/>
            <a:ext cx="5234480" cy="3070681"/>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47" name="Straight Connector 46">
            <a:extLst>
              <a:ext uri="{FF2B5EF4-FFF2-40B4-BE49-F238E27FC236}">
                <a16:creationId xmlns:a16="http://schemas.microsoft.com/office/drawing/2014/main" id="{11529A5D-199F-9F29-A51F-7EB14E5F39A4}"/>
              </a:ext>
            </a:extLst>
          </p:cNvPr>
          <p:cNvCxnSpPr>
            <a:cxnSpLocks/>
          </p:cNvCxnSpPr>
          <p:nvPr/>
        </p:nvCxnSpPr>
        <p:spPr>
          <a:xfrm>
            <a:off x="6179192" y="2695911"/>
            <a:ext cx="523448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49" name="Text Placeholder 20">
            <a:extLst>
              <a:ext uri="{FF2B5EF4-FFF2-40B4-BE49-F238E27FC236}">
                <a16:creationId xmlns:a16="http://schemas.microsoft.com/office/drawing/2014/main" id="{53F9C245-C049-7212-1741-F3CF7A9166B4}"/>
              </a:ext>
            </a:extLst>
          </p:cNvPr>
          <p:cNvSpPr>
            <a:spLocks noGrp="1"/>
          </p:cNvSpPr>
          <p:nvPr userDrawn="1">
            <p:ph type="body" sz="quarter" idx="23" hasCustomPrompt="1"/>
          </p:nvPr>
        </p:nvSpPr>
        <p:spPr>
          <a:xfrm>
            <a:off x="6354061" y="2866046"/>
            <a:ext cx="4831011" cy="2731120"/>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1" name="Text Placeholder 20">
            <a:extLst>
              <a:ext uri="{FF2B5EF4-FFF2-40B4-BE49-F238E27FC236}">
                <a16:creationId xmlns:a16="http://schemas.microsoft.com/office/drawing/2014/main" id="{DB1A1BE0-6496-E44D-5A1D-6067B555908A}"/>
              </a:ext>
            </a:extLst>
          </p:cNvPr>
          <p:cNvSpPr>
            <a:spLocks noGrp="1"/>
          </p:cNvSpPr>
          <p:nvPr userDrawn="1">
            <p:ph type="body" sz="quarter" idx="24" hasCustomPrompt="1"/>
          </p:nvPr>
        </p:nvSpPr>
        <p:spPr>
          <a:xfrm>
            <a:off x="6354061" y="1964633"/>
            <a:ext cx="483101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2" name="Title 1">
            <a:extLst>
              <a:ext uri="{FF2B5EF4-FFF2-40B4-BE49-F238E27FC236}">
                <a16:creationId xmlns:a16="http://schemas.microsoft.com/office/drawing/2014/main" id="{B47A2599-5FAF-9034-E375-BAE6412058E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6" name="Bilde 3">
            <a:extLst>
              <a:ext uri="{FF2B5EF4-FFF2-40B4-BE49-F238E27FC236}">
                <a16:creationId xmlns:a16="http://schemas.microsoft.com/office/drawing/2014/main" id="{26F30CAA-FF03-C96A-502E-FF88C11C47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7" name="Date Placeholder 2">
            <a:extLst>
              <a:ext uri="{FF2B5EF4-FFF2-40B4-BE49-F238E27FC236}">
                <a16:creationId xmlns:a16="http://schemas.microsoft.com/office/drawing/2014/main" id="{FCE1B1D8-3C46-DA56-7783-6203653E2315}"/>
              </a:ext>
            </a:extLst>
          </p:cNvPr>
          <p:cNvSpPr>
            <a:spLocks noGrp="1"/>
          </p:cNvSpPr>
          <p:nvPr>
            <p:ph type="dt" sz="half" idx="16"/>
          </p:nvPr>
        </p:nvSpPr>
        <p:spPr>
          <a:xfrm>
            <a:off x="2303627" y="6492875"/>
            <a:ext cx="528585" cy="365125"/>
          </a:xfrm>
        </p:spPr>
        <p:txBody>
          <a:bodyPr/>
          <a:lstStyle/>
          <a:p>
            <a:fld id="{39FF43BF-720B-F842-B3FC-CC92B0E75ECD}" type="datetime1">
              <a:rPr lang="nb-NO" smtClean="0"/>
              <a:t>20.08.2024</a:t>
            </a:fld>
            <a:endParaRPr lang="en-US"/>
          </a:p>
        </p:txBody>
      </p:sp>
      <p:sp>
        <p:nvSpPr>
          <p:cNvPr id="19" name="Footer Placeholder 3">
            <a:extLst>
              <a:ext uri="{FF2B5EF4-FFF2-40B4-BE49-F238E27FC236}">
                <a16:creationId xmlns:a16="http://schemas.microsoft.com/office/drawing/2014/main" id="{7A65BB47-36D4-FED3-14E1-32016471939C}"/>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20" name="Slide Number Placeholder 4">
            <a:extLst>
              <a:ext uri="{FF2B5EF4-FFF2-40B4-BE49-F238E27FC236}">
                <a16:creationId xmlns:a16="http://schemas.microsoft.com/office/drawing/2014/main" id="{F1C9FB8A-BD98-C6EA-1693-3C82E226D1DE}"/>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4995430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49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6" name="Rectangle 25">
            <a:extLst>
              <a:ext uri="{FF2B5EF4-FFF2-40B4-BE49-F238E27FC236}">
                <a16:creationId xmlns:a16="http://schemas.microsoft.com/office/drawing/2014/main" id="{964B2FCB-A9B0-4145-B29B-AD456C94D7C2}"/>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8" name="Straight Connector 27">
            <a:extLst>
              <a:ext uri="{FF2B5EF4-FFF2-40B4-BE49-F238E27FC236}">
                <a16:creationId xmlns:a16="http://schemas.microsoft.com/office/drawing/2014/main" id="{17FD8ADB-B041-7841-B1C3-28DBA168A7C7}"/>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30" name="Rectangle 29">
            <a:extLst>
              <a:ext uri="{FF2B5EF4-FFF2-40B4-BE49-F238E27FC236}">
                <a16:creationId xmlns:a16="http://schemas.microsoft.com/office/drawing/2014/main" id="{BEA4711D-5FB9-1140-ACF9-77B5A0C68D53}"/>
              </a:ext>
            </a:extLst>
          </p:cNvPr>
          <p:cNvSpPr/>
          <p:nvPr/>
        </p:nvSpPr>
        <p:spPr>
          <a:xfrm>
            <a:off x="4253915"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2" name="Straight Connector 31">
            <a:extLst>
              <a:ext uri="{FF2B5EF4-FFF2-40B4-BE49-F238E27FC236}">
                <a16:creationId xmlns:a16="http://schemas.microsoft.com/office/drawing/2014/main" id="{52130800-D63A-3843-B550-B3C820A89816}"/>
              </a:ext>
            </a:extLst>
          </p:cNvPr>
          <p:cNvCxnSpPr>
            <a:cxnSpLocks/>
          </p:cNvCxnSpPr>
          <p:nvPr/>
        </p:nvCxnSpPr>
        <p:spPr>
          <a:xfrm>
            <a:off x="4253915"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37" name="Rectangle 36">
            <a:extLst>
              <a:ext uri="{FF2B5EF4-FFF2-40B4-BE49-F238E27FC236}">
                <a16:creationId xmlns:a16="http://schemas.microsoft.com/office/drawing/2014/main" id="{0C98384D-7BB5-5C48-A5ED-327B4184534B}"/>
              </a:ext>
            </a:extLst>
          </p:cNvPr>
          <p:cNvSpPr/>
          <p:nvPr/>
        </p:nvSpPr>
        <p:spPr>
          <a:xfrm>
            <a:off x="775949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48" name="Straight Connector 47">
            <a:extLst>
              <a:ext uri="{FF2B5EF4-FFF2-40B4-BE49-F238E27FC236}">
                <a16:creationId xmlns:a16="http://schemas.microsoft.com/office/drawing/2014/main" id="{DE9F925F-0CBA-BF4C-9DFE-2CF31B40A496}"/>
              </a:ext>
            </a:extLst>
          </p:cNvPr>
          <p:cNvCxnSpPr>
            <a:cxnSpLocks/>
          </p:cNvCxnSpPr>
          <p:nvPr/>
        </p:nvCxnSpPr>
        <p:spPr>
          <a:xfrm>
            <a:off x="775949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50" name="Text Placeholder 20">
            <a:extLst>
              <a:ext uri="{FF2B5EF4-FFF2-40B4-BE49-F238E27FC236}">
                <a16:creationId xmlns:a16="http://schemas.microsoft.com/office/drawing/2014/main" id="{0AB8628E-6620-874B-85B8-393DA4676167}"/>
              </a:ext>
            </a:extLst>
          </p:cNvPr>
          <p:cNvSpPr>
            <a:spLocks noGrp="1"/>
          </p:cNvSpPr>
          <p:nvPr>
            <p:ph type="body" sz="quarter" idx="19" hasCustomPrompt="1"/>
          </p:nvPr>
        </p:nvSpPr>
        <p:spPr>
          <a:xfrm>
            <a:off x="916646" y="3179823"/>
            <a:ext cx="2774041" cy="2372109"/>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9" name="Text Placeholder 20">
            <a:extLst>
              <a:ext uri="{FF2B5EF4-FFF2-40B4-BE49-F238E27FC236}">
                <a16:creationId xmlns:a16="http://schemas.microsoft.com/office/drawing/2014/main" id="{A56B007D-AE67-314F-AB2F-B2CB4787DDFB}"/>
              </a:ext>
            </a:extLst>
          </p:cNvPr>
          <p:cNvSpPr>
            <a:spLocks noGrp="1"/>
          </p:cNvSpPr>
          <p:nvPr>
            <p:ph type="body" sz="quarter" idx="20" hasCustomPrompt="1"/>
          </p:nvPr>
        </p:nvSpPr>
        <p:spPr>
          <a:xfrm>
            <a:off x="4450894" y="3185748"/>
            <a:ext cx="2774041" cy="2372109"/>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60" name="Text Placeholder 20">
            <a:extLst>
              <a:ext uri="{FF2B5EF4-FFF2-40B4-BE49-F238E27FC236}">
                <a16:creationId xmlns:a16="http://schemas.microsoft.com/office/drawing/2014/main" id="{8F5D6E2F-7511-1C4E-BCEA-BE59A10E6B55}"/>
              </a:ext>
            </a:extLst>
          </p:cNvPr>
          <p:cNvSpPr>
            <a:spLocks noGrp="1"/>
          </p:cNvSpPr>
          <p:nvPr>
            <p:ph type="body" sz="quarter" idx="21" hasCustomPrompt="1"/>
          </p:nvPr>
        </p:nvSpPr>
        <p:spPr>
          <a:xfrm>
            <a:off x="7956476" y="3195932"/>
            <a:ext cx="2774041" cy="2372109"/>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ext Placeholder 20">
            <a:extLst>
              <a:ext uri="{FF2B5EF4-FFF2-40B4-BE49-F238E27FC236}">
                <a16:creationId xmlns:a16="http://schemas.microsoft.com/office/drawing/2014/main" id="{1CA6145D-0C72-F541-BE9A-355F095B9528}"/>
              </a:ext>
            </a:extLst>
          </p:cNvPr>
          <p:cNvSpPr>
            <a:spLocks noGrp="1"/>
          </p:cNvSpPr>
          <p:nvPr>
            <p:ph type="body" sz="quarter" idx="22" hasCustomPrompt="1"/>
          </p:nvPr>
        </p:nvSpPr>
        <p:spPr>
          <a:xfrm>
            <a:off x="916646" y="2278410"/>
            <a:ext cx="277404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9" name="Text Placeholder 20">
            <a:extLst>
              <a:ext uri="{FF2B5EF4-FFF2-40B4-BE49-F238E27FC236}">
                <a16:creationId xmlns:a16="http://schemas.microsoft.com/office/drawing/2014/main" id="{CD8BDA50-ABD7-723D-FFC8-3A1EF3BE0050}"/>
              </a:ext>
            </a:extLst>
          </p:cNvPr>
          <p:cNvSpPr>
            <a:spLocks noGrp="1"/>
          </p:cNvSpPr>
          <p:nvPr>
            <p:ph type="body" sz="quarter" idx="23" hasCustomPrompt="1"/>
          </p:nvPr>
        </p:nvSpPr>
        <p:spPr>
          <a:xfrm>
            <a:off x="4450894" y="2284335"/>
            <a:ext cx="277404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20" name="Text Placeholder 20">
            <a:extLst>
              <a:ext uri="{FF2B5EF4-FFF2-40B4-BE49-F238E27FC236}">
                <a16:creationId xmlns:a16="http://schemas.microsoft.com/office/drawing/2014/main" id="{A675B563-EEF3-5077-3650-299FDCF523BE}"/>
              </a:ext>
            </a:extLst>
          </p:cNvPr>
          <p:cNvSpPr>
            <a:spLocks noGrp="1"/>
          </p:cNvSpPr>
          <p:nvPr>
            <p:ph type="body" sz="quarter" idx="24" hasCustomPrompt="1"/>
          </p:nvPr>
        </p:nvSpPr>
        <p:spPr>
          <a:xfrm>
            <a:off x="7956476" y="2294519"/>
            <a:ext cx="277404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21" name="Title 1">
            <a:extLst>
              <a:ext uri="{FF2B5EF4-FFF2-40B4-BE49-F238E27FC236}">
                <a16:creationId xmlns:a16="http://schemas.microsoft.com/office/drawing/2014/main" id="{FBC1BB7D-600D-3086-600E-967C8E38E39A}"/>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4" name="Bilde 3">
            <a:extLst>
              <a:ext uri="{FF2B5EF4-FFF2-40B4-BE49-F238E27FC236}">
                <a16:creationId xmlns:a16="http://schemas.microsoft.com/office/drawing/2014/main" id="{9CD177BF-FF5D-5C7A-316D-6DDD63B3FFF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B26D9874-3CD2-94C0-D547-2A64FD3F17BF}"/>
              </a:ext>
            </a:extLst>
          </p:cNvPr>
          <p:cNvSpPr>
            <a:spLocks noGrp="1"/>
          </p:cNvSpPr>
          <p:nvPr>
            <p:ph type="dt" sz="half" idx="16"/>
          </p:nvPr>
        </p:nvSpPr>
        <p:spPr>
          <a:xfrm>
            <a:off x="2303627" y="6492875"/>
            <a:ext cx="528585" cy="365125"/>
          </a:xfrm>
        </p:spPr>
        <p:txBody>
          <a:bodyPr/>
          <a:lstStyle/>
          <a:p>
            <a:fld id="{7EEBB14C-947B-1F42-8A07-E376D9ED73E6}" type="datetime1">
              <a:rPr lang="nb-NO" smtClean="0"/>
              <a:t>20.08.2024</a:t>
            </a:fld>
            <a:endParaRPr lang="en-US"/>
          </a:p>
        </p:txBody>
      </p:sp>
      <p:sp>
        <p:nvSpPr>
          <p:cNvPr id="25" name="Footer Placeholder 3">
            <a:extLst>
              <a:ext uri="{FF2B5EF4-FFF2-40B4-BE49-F238E27FC236}">
                <a16:creationId xmlns:a16="http://schemas.microsoft.com/office/drawing/2014/main" id="{4D5AC9D7-1147-F331-F642-24F580EC7E33}"/>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27" name="Slide Number Placeholder 4">
            <a:extLst>
              <a:ext uri="{FF2B5EF4-FFF2-40B4-BE49-F238E27FC236}">
                <a16:creationId xmlns:a16="http://schemas.microsoft.com/office/drawing/2014/main" id="{EA107953-00EC-C977-6B85-65310C640CF0}"/>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7848850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50_Custom Layou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011D626-3DE3-B061-399E-A199D5C50ED2}"/>
              </a:ext>
            </a:extLst>
          </p:cNvPr>
          <p:cNvGrpSpPr/>
          <p:nvPr userDrawn="1"/>
        </p:nvGrpSpPr>
        <p:grpSpPr>
          <a:xfrm>
            <a:off x="741777" y="2466299"/>
            <a:ext cx="2568674" cy="3483187"/>
            <a:chOff x="741777" y="3009688"/>
            <a:chExt cx="3168000" cy="2705311"/>
          </a:xfrm>
        </p:grpSpPr>
        <p:sp>
          <p:nvSpPr>
            <p:cNvPr id="26" name="Rectangle 25">
              <a:extLst>
                <a:ext uri="{FF2B5EF4-FFF2-40B4-BE49-F238E27FC236}">
                  <a16:creationId xmlns:a16="http://schemas.microsoft.com/office/drawing/2014/main" id="{964B2FCB-A9B0-4145-B29B-AD456C94D7C2}"/>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8" name="Straight Connector 27">
              <a:extLst>
                <a:ext uri="{FF2B5EF4-FFF2-40B4-BE49-F238E27FC236}">
                  <a16:creationId xmlns:a16="http://schemas.microsoft.com/office/drawing/2014/main" id="{17FD8ADB-B041-7841-B1C3-28DBA168A7C7}"/>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50" name="Text Placeholder 20">
            <a:extLst>
              <a:ext uri="{FF2B5EF4-FFF2-40B4-BE49-F238E27FC236}">
                <a16:creationId xmlns:a16="http://schemas.microsoft.com/office/drawing/2014/main" id="{0AB8628E-6620-874B-85B8-393DA4676167}"/>
              </a:ext>
            </a:extLst>
          </p:cNvPr>
          <p:cNvSpPr>
            <a:spLocks noGrp="1"/>
          </p:cNvSpPr>
          <p:nvPr>
            <p:ph type="body" sz="quarter" idx="19" hasCustomPrompt="1"/>
          </p:nvPr>
        </p:nvSpPr>
        <p:spPr>
          <a:xfrm>
            <a:off x="916647" y="2636434"/>
            <a:ext cx="2218440" cy="3165235"/>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ext Placeholder 20">
            <a:extLst>
              <a:ext uri="{FF2B5EF4-FFF2-40B4-BE49-F238E27FC236}">
                <a16:creationId xmlns:a16="http://schemas.microsoft.com/office/drawing/2014/main" id="{1CA6145D-0C72-F541-BE9A-355F095B9528}"/>
              </a:ext>
            </a:extLst>
          </p:cNvPr>
          <p:cNvSpPr>
            <a:spLocks noGrp="1"/>
          </p:cNvSpPr>
          <p:nvPr>
            <p:ph type="body" sz="quarter" idx="22" hasCustomPrompt="1"/>
          </p:nvPr>
        </p:nvSpPr>
        <p:spPr>
          <a:xfrm>
            <a:off x="916647" y="1655697"/>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grpSp>
        <p:nvGrpSpPr>
          <p:cNvPr id="36" name="Group 35">
            <a:extLst>
              <a:ext uri="{FF2B5EF4-FFF2-40B4-BE49-F238E27FC236}">
                <a16:creationId xmlns:a16="http://schemas.microsoft.com/office/drawing/2014/main" id="{10FCA0BF-9E4E-438D-86BD-D6CE1C6532F4}"/>
              </a:ext>
            </a:extLst>
          </p:cNvPr>
          <p:cNvGrpSpPr/>
          <p:nvPr userDrawn="1"/>
        </p:nvGrpSpPr>
        <p:grpSpPr>
          <a:xfrm>
            <a:off x="3419661" y="2466299"/>
            <a:ext cx="2568674" cy="3483187"/>
            <a:chOff x="741777" y="3009688"/>
            <a:chExt cx="3168000" cy="2705311"/>
          </a:xfrm>
        </p:grpSpPr>
        <p:sp>
          <p:nvSpPr>
            <p:cNvPr id="38" name="Rectangle 37">
              <a:extLst>
                <a:ext uri="{FF2B5EF4-FFF2-40B4-BE49-F238E27FC236}">
                  <a16:creationId xmlns:a16="http://schemas.microsoft.com/office/drawing/2014/main" id="{9371083E-173B-64B6-90DB-3932E95AE3CE}"/>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9" name="Straight Connector 38">
              <a:extLst>
                <a:ext uri="{FF2B5EF4-FFF2-40B4-BE49-F238E27FC236}">
                  <a16:creationId xmlns:a16="http://schemas.microsoft.com/office/drawing/2014/main" id="{50410FC9-B8E7-3F8D-595B-42FB6FEA213B}"/>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40" name="Text Placeholder 20">
            <a:extLst>
              <a:ext uri="{FF2B5EF4-FFF2-40B4-BE49-F238E27FC236}">
                <a16:creationId xmlns:a16="http://schemas.microsoft.com/office/drawing/2014/main" id="{81692953-2040-E900-7B7B-F1391A6919F4}"/>
              </a:ext>
            </a:extLst>
          </p:cNvPr>
          <p:cNvSpPr>
            <a:spLocks noGrp="1"/>
          </p:cNvSpPr>
          <p:nvPr>
            <p:ph type="body" sz="quarter" idx="23" hasCustomPrompt="1"/>
          </p:nvPr>
        </p:nvSpPr>
        <p:spPr>
          <a:xfrm>
            <a:off x="3594531" y="2636434"/>
            <a:ext cx="2218440" cy="3165235"/>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1" name="Text Placeholder 20">
            <a:extLst>
              <a:ext uri="{FF2B5EF4-FFF2-40B4-BE49-F238E27FC236}">
                <a16:creationId xmlns:a16="http://schemas.microsoft.com/office/drawing/2014/main" id="{99CAF562-9E6C-E9A1-8784-3B5643C9B56C}"/>
              </a:ext>
            </a:extLst>
          </p:cNvPr>
          <p:cNvSpPr>
            <a:spLocks noGrp="1"/>
          </p:cNvSpPr>
          <p:nvPr>
            <p:ph type="body" sz="quarter" idx="24" hasCustomPrompt="1"/>
          </p:nvPr>
        </p:nvSpPr>
        <p:spPr>
          <a:xfrm>
            <a:off x="3594531" y="1655697"/>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grpSp>
        <p:nvGrpSpPr>
          <p:cNvPr id="42" name="Group 41">
            <a:extLst>
              <a:ext uri="{FF2B5EF4-FFF2-40B4-BE49-F238E27FC236}">
                <a16:creationId xmlns:a16="http://schemas.microsoft.com/office/drawing/2014/main" id="{3BC38829-0CB0-DAC5-3FD3-5F83FAD74D25}"/>
              </a:ext>
            </a:extLst>
          </p:cNvPr>
          <p:cNvGrpSpPr/>
          <p:nvPr userDrawn="1"/>
        </p:nvGrpSpPr>
        <p:grpSpPr>
          <a:xfrm>
            <a:off x="6097545" y="2466299"/>
            <a:ext cx="2568674" cy="3483187"/>
            <a:chOff x="741777" y="3009688"/>
            <a:chExt cx="3168000" cy="2705311"/>
          </a:xfrm>
        </p:grpSpPr>
        <p:sp>
          <p:nvSpPr>
            <p:cNvPr id="43" name="Rectangle 42">
              <a:extLst>
                <a:ext uri="{FF2B5EF4-FFF2-40B4-BE49-F238E27FC236}">
                  <a16:creationId xmlns:a16="http://schemas.microsoft.com/office/drawing/2014/main" id="{934B1946-4432-7FE4-DB63-2FEDA29EC05B}"/>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44" name="Straight Connector 43">
              <a:extLst>
                <a:ext uri="{FF2B5EF4-FFF2-40B4-BE49-F238E27FC236}">
                  <a16:creationId xmlns:a16="http://schemas.microsoft.com/office/drawing/2014/main" id="{947D6BC6-595C-82B9-6399-4E27F2A595EC}"/>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45" name="Text Placeholder 20">
            <a:extLst>
              <a:ext uri="{FF2B5EF4-FFF2-40B4-BE49-F238E27FC236}">
                <a16:creationId xmlns:a16="http://schemas.microsoft.com/office/drawing/2014/main" id="{F8FE9088-EF4C-3223-9561-5AA13C2DA0BC}"/>
              </a:ext>
            </a:extLst>
          </p:cNvPr>
          <p:cNvSpPr>
            <a:spLocks noGrp="1"/>
          </p:cNvSpPr>
          <p:nvPr>
            <p:ph type="body" sz="quarter" idx="25" hasCustomPrompt="1"/>
          </p:nvPr>
        </p:nvSpPr>
        <p:spPr>
          <a:xfrm>
            <a:off x="6272415" y="2636434"/>
            <a:ext cx="2218440" cy="3165235"/>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FDAFBEA9-6483-A006-3BCE-3E336865EB86}"/>
              </a:ext>
            </a:extLst>
          </p:cNvPr>
          <p:cNvSpPr>
            <a:spLocks noGrp="1"/>
          </p:cNvSpPr>
          <p:nvPr>
            <p:ph type="body" sz="quarter" idx="26" hasCustomPrompt="1"/>
          </p:nvPr>
        </p:nvSpPr>
        <p:spPr>
          <a:xfrm>
            <a:off x="6272415" y="1655697"/>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grpSp>
        <p:nvGrpSpPr>
          <p:cNvPr id="47" name="Group 46">
            <a:extLst>
              <a:ext uri="{FF2B5EF4-FFF2-40B4-BE49-F238E27FC236}">
                <a16:creationId xmlns:a16="http://schemas.microsoft.com/office/drawing/2014/main" id="{B49072DD-A0AB-BA37-188D-A6CBE2760790}"/>
              </a:ext>
            </a:extLst>
          </p:cNvPr>
          <p:cNvGrpSpPr/>
          <p:nvPr userDrawn="1"/>
        </p:nvGrpSpPr>
        <p:grpSpPr>
          <a:xfrm>
            <a:off x="8775429" y="2466299"/>
            <a:ext cx="2568674" cy="3483187"/>
            <a:chOff x="741777" y="3009688"/>
            <a:chExt cx="3168000" cy="2705311"/>
          </a:xfrm>
        </p:grpSpPr>
        <p:sp>
          <p:nvSpPr>
            <p:cNvPr id="49" name="Rectangle 48">
              <a:extLst>
                <a:ext uri="{FF2B5EF4-FFF2-40B4-BE49-F238E27FC236}">
                  <a16:creationId xmlns:a16="http://schemas.microsoft.com/office/drawing/2014/main" id="{43226A65-F603-7E9F-1818-EB37E0ADFE01}"/>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51" name="Straight Connector 50">
              <a:extLst>
                <a:ext uri="{FF2B5EF4-FFF2-40B4-BE49-F238E27FC236}">
                  <a16:creationId xmlns:a16="http://schemas.microsoft.com/office/drawing/2014/main" id="{72CD8099-2E22-CF35-A54D-8A6B45292651}"/>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52" name="Text Placeholder 20">
            <a:extLst>
              <a:ext uri="{FF2B5EF4-FFF2-40B4-BE49-F238E27FC236}">
                <a16:creationId xmlns:a16="http://schemas.microsoft.com/office/drawing/2014/main" id="{D2A91264-00E1-4BD3-293E-BE40AAD98C5F}"/>
              </a:ext>
            </a:extLst>
          </p:cNvPr>
          <p:cNvSpPr>
            <a:spLocks noGrp="1"/>
          </p:cNvSpPr>
          <p:nvPr>
            <p:ph type="body" sz="quarter" idx="27" hasCustomPrompt="1"/>
          </p:nvPr>
        </p:nvSpPr>
        <p:spPr>
          <a:xfrm>
            <a:off x="8950299" y="2636434"/>
            <a:ext cx="2218440" cy="3165235"/>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3" name="Text Placeholder 20">
            <a:extLst>
              <a:ext uri="{FF2B5EF4-FFF2-40B4-BE49-F238E27FC236}">
                <a16:creationId xmlns:a16="http://schemas.microsoft.com/office/drawing/2014/main" id="{7AE9B17A-9DE8-3C9E-DDDC-CA860B6819B3}"/>
              </a:ext>
            </a:extLst>
          </p:cNvPr>
          <p:cNvSpPr>
            <a:spLocks noGrp="1"/>
          </p:cNvSpPr>
          <p:nvPr>
            <p:ph type="body" sz="quarter" idx="28" hasCustomPrompt="1"/>
          </p:nvPr>
        </p:nvSpPr>
        <p:spPr>
          <a:xfrm>
            <a:off x="8950299" y="1655697"/>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4" name="Title 1">
            <a:extLst>
              <a:ext uri="{FF2B5EF4-FFF2-40B4-BE49-F238E27FC236}">
                <a16:creationId xmlns:a16="http://schemas.microsoft.com/office/drawing/2014/main" id="{4CBCEBE8-4452-D323-6817-17EE7B63E7D9}"/>
              </a:ext>
            </a:extLst>
          </p:cNvPr>
          <p:cNvSpPr>
            <a:spLocks noGrp="1"/>
          </p:cNvSpPr>
          <p:nvPr>
            <p:ph type="title" hasCustomPrompt="1"/>
          </p:nvPr>
        </p:nvSpPr>
        <p:spPr>
          <a:xfrm>
            <a:off x="741777" y="365126"/>
            <a:ext cx="10671895" cy="1072413"/>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9" name="Bilde 3">
            <a:extLst>
              <a:ext uri="{FF2B5EF4-FFF2-40B4-BE49-F238E27FC236}">
                <a16:creationId xmlns:a16="http://schemas.microsoft.com/office/drawing/2014/main" id="{83CBD614-335B-27CF-E780-42F6959997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0" name="Date Placeholder 2">
            <a:extLst>
              <a:ext uri="{FF2B5EF4-FFF2-40B4-BE49-F238E27FC236}">
                <a16:creationId xmlns:a16="http://schemas.microsoft.com/office/drawing/2014/main" id="{E001BFB9-41A9-46E7-0739-121E9A9F8FD7}"/>
              </a:ext>
            </a:extLst>
          </p:cNvPr>
          <p:cNvSpPr>
            <a:spLocks noGrp="1"/>
          </p:cNvSpPr>
          <p:nvPr>
            <p:ph type="dt" sz="half" idx="16"/>
          </p:nvPr>
        </p:nvSpPr>
        <p:spPr>
          <a:xfrm>
            <a:off x="2303627" y="6492875"/>
            <a:ext cx="528585" cy="365125"/>
          </a:xfrm>
        </p:spPr>
        <p:txBody>
          <a:bodyPr/>
          <a:lstStyle/>
          <a:p>
            <a:fld id="{9B91ABCD-B26F-5544-96F5-EC2A13A635C3}" type="datetime1">
              <a:rPr lang="nb-NO" smtClean="0"/>
              <a:t>20.08.2024</a:t>
            </a:fld>
            <a:endParaRPr lang="en-US"/>
          </a:p>
        </p:txBody>
      </p:sp>
      <p:sp>
        <p:nvSpPr>
          <p:cNvPr id="31" name="Footer Placeholder 3">
            <a:extLst>
              <a:ext uri="{FF2B5EF4-FFF2-40B4-BE49-F238E27FC236}">
                <a16:creationId xmlns:a16="http://schemas.microsoft.com/office/drawing/2014/main" id="{F8DD2AE9-39A5-3C89-9B7E-E313A23E435B}"/>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32" name="Slide Number Placeholder 4">
            <a:extLst>
              <a:ext uri="{FF2B5EF4-FFF2-40B4-BE49-F238E27FC236}">
                <a16:creationId xmlns:a16="http://schemas.microsoft.com/office/drawing/2014/main" id="{CF06A512-AED3-A481-0B29-F7227D9E7699}"/>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7744857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51_Custom Layou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64B2FCB-A9B0-4145-B29B-AD456C94D7C2}"/>
              </a:ext>
            </a:extLst>
          </p:cNvPr>
          <p:cNvSpPr/>
          <p:nvPr/>
        </p:nvSpPr>
        <p:spPr>
          <a:xfrm>
            <a:off x="741777" y="2294769"/>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8" name="Straight Connector 27">
            <a:extLst>
              <a:ext uri="{FF2B5EF4-FFF2-40B4-BE49-F238E27FC236}">
                <a16:creationId xmlns:a16="http://schemas.microsoft.com/office/drawing/2014/main" id="{17FD8ADB-B041-7841-B1C3-28DBA168A7C7}"/>
              </a:ext>
            </a:extLst>
          </p:cNvPr>
          <p:cNvCxnSpPr>
            <a:cxnSpLocks/>
          </p:cNvCxnSpPr>
          <p:nvPr/>
        </p:nvCxnSpPr>
        <p:spPr>
          <a:xfrm>
            <a:off x="741777" y="2281656"/>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22" name="Rektangel 2">
            <a:extLst>
              <a:ext uri="{FF2B5EF4-FFF2-40B4-BE49-F238E27FC236}">
                <a16:creationId xmlns:a16="http://schemas.microsoft.com/office/drawing/2014/main" id="{D40A3AB9-ABBE-2444-B58D-F892A304954B}"/>
              </a:ext>
            </a:extLst>
          </p:cNvPr>
          <p:cNvSpPr/>
          <p:nvPr userDrawn="1"/>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50" name="Text Placeholder 20">
            <a:extLst>
              <a:ext uri="{FF2B5EF4-FFF2-40B4-BE49-F238E27FC236}">
                <a16:creationId xmlns:a16="http://schemas.microsoft.com/office/drawing/2014/main" id="{0AB8628E-6620-874B-85B8-393DA4676167}"/>
              </a:ext>
            </a:extLst>
          </p:cNvPr>
          <p:cNvSpPr>
            <a:spLocks noGrp="1"/>
          </p:cNvSpPr>
          <p:nvPr userDrawn="1">
            <p:ph type="body" sz="quarter" idx="19" hasCustomPrompt="1"/>
          </p:nvPr>
        </p:nvSpPr>
        <p:spPr>
          <a:xfrm>
            <a:off x="916647" y="2451792"/>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ext Placeholder 20">
            <a:extLst>
              <a:ext uri="{FF2B5EF4-FFF2-40B4-BE49-F238E27FC236}">
                <a16:creationId xmlns:a16="http://schemas.microsoft.com/office/drawing/2014/main" id="{1CA6145D-0C72-F541-BE9A-355F095B9528}"/>
              </a:ext>
            </a:extLst>
          </p:cNvPr>
          <p:cNvSpPr>
            <a:spLocks noGrp="1"/>
          </p:cNvSpPr>
          <p:nvPr userDrawn="1">
            <p:ph type="body" sz="quarter" idx="22" hasCustomPrompt="1"/>
          </p:nvPr>
        </p:nvSpPr>
        <p:spPr>
          <a:xfrm>
            <a:off x="916647" y="1471054"/>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8" name="Rectangle 37">
            <a:extLst>
              <a:ext uri="{FF2B5EF4-FFF2-40B4-BE49-F238E27FC236}">
                <a16:creationId xmlns:a16="http://schemas.microsoft.com/office/drawing/2014/main" id="{9371083E-173B-64B6-90DB-3932E95AE3CE}"/>
              </a:ext>
            </a:extLst>
          </p:cNvPr>
          <p:cNvSpPr/>
          <p:nvPr/>
        </p:nvSpPr>
        <p:spPr>
          <a:xfrm>
            <a:off x="3419661" y="2294769"/>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9" name="Straight Connector 38">
            <a:extLst>
              <a:ext uri="{FF2B5EF4-FFF2-40B4-BE49-F238E27FC236}">
                <a16:creationId xmlns:a16="http://schemas.microsoft.com/office/drawing/2014/main" id="{50410FC9-B8E7-3F8D-595B-42FB6FEA213B}"/>
              </a:ext>
            </a:extLst>
          </p:cNvPr>
          <p:cNvCxnSpPr>
            <a:cxnSpLocks/>
          </p:cNvCxnSpPr>
          <p:nvPr/>
        </p:nvCxnSpPr>
        <p:spPr>
          <a:xfrm>
            <a:off x="3419661" y="2281656"/>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40" name="Text Placeholder 20">
            <a:extLst>
              <a:ext uri="{FF2B5EF4-FFF2-40B4-BE49-F238E27FC236}">
                <a16:creationId xmlns:a16="http://schemas.microsoft.com/office/drawing/2014/main" id="{81692953-2040-E900-7B7B-F1391A6919F4}"/>
              </a:ext>
            </a:extLst>
          </p:cNvPr>
          <p:cNvSpPr>
            <a:spLocks noGrp="1"/>
          </p:cNvSpPr>
          <p:nvPr userDrawn="1">
            <p:ph type="body" sz="quarter" idx="23" hasCustomPrompt="1"/>
          </p:nvPr>
        </p:nvSpPr>
        <p:spPr>
          <a:xfrm>
            <a:off x="3594531" y="2451792"/>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1" name="Text Placeholder 20">
            <a:extLst>
              <a:ext uri="{FF2B5EF4-FFF2-40B4-BE49-F238E27FC236}">
                <a16:creationId xmlns:a16="http://schemas.microsoft.com/office/drawing/2014/main" id="{99CAF562-9E6C-E9A1-8784-3B5643C9B56C}"/>
              </a:ext>
            </a:extLst>
          </p:cNvPr>
          <p:cNvSpPr>
            <a:spLocks noGrp="1"/>
          </p:cNvSpPr>
          <p:nvPr userDrawn="1">
            <p:ph type="body" sz="quarter" idx="24" hasCustomPrompt="1"/>
          </p:nvPr>
        </p:nvSpPr>
        <p:spPr>
          <a:xfrm>
            <a:off x="3594531" y="1471054"/>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3" name="Rectangle 42">
            <a:extLst>
              <a:ext uri="{FF2B5EF4-FFF2-40B4-BE49-F238E27FC236}">
                <a16:creationId xmlns:a16="http://schemas.microsoft.com/office/drawing/2014/main" id="{934B1946-4432-7FE4-DB63-2FEDA29EC05B}"/>
              </a:ext>
            </a:extLst>
          </p:cNvPr>
          <p:cNvSpPr/>
          <p:nvPr/>
        </p:nvSpPr>
        <p:spPr>
          <a:xfrm>
            <a:off x="6097545" y="2294769"/>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44" name="Straight Connector 43">
            <a:extLst>
              <a:ext uri="{FF2B5EF4-FFF2-40B4-BE49-F238E27FC236}">
                <a16:creationId xmlns:a16="http://schemas.microsoft.com/office/drawing/2014/main" id="{947D6BC6-595C-82B9-6399-4E27F2A595EC}"/>
              </a:ext>
            </a:extLst>
          </p:cNvPr>
          <p:cNvCxnSpPr>
            <a:cxnSpLocks/>
          </p:cNvCxnSpPr>
          <p:nvPr/>
        </p:nvCxnSpPr>
        <p:spPr>
          <a:xfrm>
            <a:off x="6097545" y="2281656"/>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45" name="Text Placeholder 20">
            <a:extLst>
              <a:ext uri="{FF2B5EF4-FFF2-40B4-BE49-F238E27FC236}">
                <a16:creationId xmlns:a16="http://schemas.microsoft.com/office/drawing/2014/main" id="{F8FE9088-EF4C-3223-9561-5AA13C2DA0BC}"/>
              </a:ext>
            </a:extLst>
          </p:cNvPr>
          <p:cNvSpPr>
            <a:spLocks noGrp="1"/>
          </p:cNvSpPr>
          <p:nvPr userDrawn="1">
            <p:ph type="body" sz="quarter" idx="25" hasCustomPrompt="1"/>
          </p:nvPr>
        </p:nvSpPr>
        <p:spPr>
          <a:xfrm>
            <a:off x="6272415" y="2451792"/>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FDAFBEA9-6483-A006-3BCE-3E336865EB86}"/>
              </a:ext>
            </a:extLst>
          </p:cNvPr>
          <p:cNvSpPr>
            <a:spLocks noGrp="1"/>
          </p:cNvSpPr>
          <p:nvPr userDrawn="1">
            <p:ph type="body" sz="quarter" idx="26" hasCustomPrompt="1"/>
          </p:nvPr>
        </p:nvSpPr>
        <p:spPr>
          <a:xfrm>
            <a:off x="6272415" y="1471054"/>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9" name="Rectangle 48">
            <a:extLst>
              <a:ext uri="{FF2B5EF4-FFF2-40B4-BE49-F238E27FC236}">
                <a16:creationId xmlns:a16="http://schemas.microsoft.com/office/drawing/2014/main" id="{43226A65-F603-7E9F-1818-EB37E0ADFE01}"/>
              </a:ext>
            </a:extLst>
          </p:cNvPr>
          <p:cNvSpPr/>
          <p:nvPr/>
        </p:nvSpPr>
        <p:spPr>
          <a:xfrm>
            <a:off x="8775429" y="2294769"/>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51" name="Straight Connector 50">
            <a:extLst>
              <a:ext uri="{FF2B5EF4-FFF2-40B4-BE49-F238E27FC236}">
                <a16:creationId xmlns:a16="http://schemas.microsoft.com/office/drawing/2014/main" id="{72CD8099-2E22-CF35-A54D-8A6B45292651}"/>
              </a:ext>
            </a:extLst>
          </p:cNvPr>
          <p:cNvCxnSpPr>
            <a:cxnSpLocks/>
          </p:cNvCxnSpPr>
          <p:nvPr/>
        </p:nvCxnSpPr>
        <p:spPr>
          <a:xfrm>
            <a:off x="8775429" y="2281656"/>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52" name="Text Placeholder 20">
            <a:extLst>
              <a:ext uri="{FF2B5EF4-FFF2-40B4-BE49-F238E27FC236}">
                <a16:creationId xmlns:a16="http://schemas.microsoft.com/office/drawing/2014/main" id="{D2A91264-00E1-4BD3-293E-BE40AAD98C5F}"/>
              </a:ext>
            </a:extLst>
          </p:cNvPr>
          <p:cNvSpPr>
            <a:spLocks noGrp="1"/>
          </p:cNvSpPr>
          <p:nvPr userDrawn="1">
            <p:ph type="body" sz="quarter" idx="27" hasCustomPrompt="1"/>
          </p:nvPr>
        </p:nvSpPr>
        <p:spPr>
          <a:xfrm>
            <a:off x="8950299" y="2451792"/>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3" name="Text Placeholder 20">
            <a:extLst>
              <a:ext uri="{FF2B5EF4-FFF2-40B4-BE49-F238E27FC236}">
                <a16:creationId xmlns:a16="http://schemas.microsoft.com/office/drawing/2014/main" id="{7AE9B17A-9DE8-3C9E-DDDC-CA860B6819B3}"/>
              </a:ext>
            </a:extLst>
          </p:cNvPr>
          <p:cNvSpPr>
            <a:spLocks noGrp="1"/>
          </p:cNvSpPr>
          <p:nvPr userDrawn="1">
            <p:ph type="body" sz="quarter" idx="28" hasCustomPrompt="1"/>
          </p:nvPr>
        </p:nvSpPr>
        <p:spPr>
          <a:xfrm>
            <a:off x="8950299" y="1471054"/>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25" name="Rectangle 24">
            <a:extLst>
              <a:ext uri="{FF2B5EF4-FFF2-40B4-BE49-F238E27FC236}">
                <a16:creationId xmlns:a16="http://schemas.microsoft.com/office/drawing/2014/main" id="{771DEEDC-8187-24ED-7E42-DAF4D52C68F0}"/>
              </a:ext>
            </a:extLst>
          </p:cNvPr>
          <p:cNvSpPr/>
          <p:nvPr userDrawn="1"/>
        </p:nvSpPr>
        <p:spPr>
          <a:xfrm>
            <a:off x="741777" y="4673718"/>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7" name="Straight Connector 26">
            <a:extLst>
              <a:ext uri="{FF2B5EF4-FFF2-40B4-BE49-F238E27FC236}">
                <a16:creationId xmlns:a16="http://schemas.microsoft.com/office/drawing/2014/main" id="{6FEC3663-E96C-EB19-6441-42F6D2DC96EB}"/>
              </a:ext>
            </a:extLst>
          </p:cNvPr>
          <p:cNvCxnSpPr>
            <a:cxnSpLocks/>
          </p:cNvCxnSpPr>
          <p:nvPr userDrawn="1"/>
        </p:nvCxnSpPr>
        <p:spPr>
          <a:xfrm>
            <a:off x="741777" y="4660605"/>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29" name="Text Placeholder 20">
            <a:extLst>
              <a:ext uri="{FF2B5EF4-FFF2-40B4-BE49-F238E27FC236}">
                <a16:creationId xmlns:a16="http://schemas.microsoft.com/office/drawing/2014/main" id="{213A7298-F970-E6B0-83A2-28DA87BFD348}"/>
              </a:ext>
            </a:extLst>
          </p:cNvPr>
          <p:cNvSpPr>
            <a:spLocks noGrp="1"/>
          </p:cNvSpPr>
          <p:nvPr>
            <p:ph type="body" sz="quarter" idx="29" hasCustomPrompt="1"/>
          </p:nvPr>
        </p:nvSpPr>
        <p:spPr>
          <a:xfrm>
            <a:off x="916647" y="4830741"/>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0" name="Text Placeholder 20">
            <a:extLst>
              <a:ext uri="{FF2B5EF4-FFF2-40B4-BE49-F238E27FC236}">
                <a16:creationId xmlns:a16="http://schemas.microsoft.com/office/drawing/2014/main" id="{14C5DD45-1491-CE4C-68D4-8537C20243BA}"/>
              </a:ext>
            </a:extLst>
          </p:cNvPr>
          <p:cNvSpPr>
            <a:spLocks noGrp="1"/>
          </p:cNvSpPr>
          <p:nvPr>
            <p:ph type="body" sz="quarter" idx="30" hasCustomPrompt="1"/>
          </p:nvPr>
        </p:nvSpPr>
        <p:spPr>
          <a:xfrm>
            <a:off x="916647" y="3850003"/>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1" name="Rectangle 30">
            <a:extLst>
              <a:ext uri="{FF2B5EF4-FFF2-40B4-BE49-F238E27FC236}">
                <a16:creationId xmlns:a16="http://schemas.microsoft.com/office/drawing/2014/main" id="{64127DA2-9D94-3342-77FA-829E376A2AAB}"/>
              </a:ext>
            </a:extLst>
          </p:cNvPr>
          <p:cNvSpPr/>
          <p:nvPr userDrawn="1"/>
        </p:nvSpPr>
        <p:spPr>
          <a:xfrm>
            <a:off x="3419661" y="4673718"/>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2" name="Straight Connector 31">
            <a:extLst>
              <a:ext uri="{FF2B5EF4-FFF2-40B4-BE49-F238E27FC236}">
                <a16:creationId xmlns:a16="http://schemas.microsoft.com/office/drawing/2014/main" id="{94459CC2-233A-3DEB-79C8-F3938E2874EA}"/>
              </a:ext>
            </a:extLst>
          </p:cNvPr>
          <p:cNvCxnSpPr>
            <a:cxnSpLocks/>
          </p:cNvCxnSpPr>
          <p:nvPr userDrawn="1"/>
        </p:nvCxnSpPr>
        <p:spPr>
          <a:xfrm>
            <a:off x="3419661" y="4660605"/>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33" name="Text Placeholder 20">
            <a:extLst>
              <a:ext uri="{FF2B5EF4-FFF2-40B4-BE49-F238E27FC236}">
                <a16:creationId xmlns:a16="http://schemas.microsoft.com/office/drawing/2014/main" id="{0CF42145-CC43-0481-2346-A89427045E01}"/>
              </a:ext>
            </a:extLst>
          </p:cNvPr>
          <p:cNvSpPr>
            <a:spLocks noGrp="1"/>
          </p:cNvSpPr>
          <p:nvPr>
            <p:ph type="body" sz="quarter" idx="31" hasCustomPrompt="1"/>
          </p:nvPr>
        </p:nvSpPr>
        <p:spPr>
          <a:xfrm>
            <a:off x="3594531" y="4830741"/>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4" name="Text Placeholder 20">
            <a:extLst>
              <a:ext uri="{FF2B5EF4-FFF2-40B4-BE49-F238E27FC236}">
                <a16:creationId xmlns:a16="http://schemas.microsoft.com/office/drawing/2014/main" id="{769DBB9D-40B5-FDB7-C647-56DDDA0858C3}"/>
              </a:ext>
            </a:extLst>
          </p:cNvPr>
          <p:cNvSpPr>
            <a:spLocks noGrp="1"/>
          </p:cNvSpPr>
          <p:nvPr>
            <p:ph type="body" sz="quarter" idx="32" hasCustomPrompt="1"/>
          </p:nvPr>
        </p:nvSpPr>
        <p:spPr>
          <a:xfrm>
            <a:off x="3594531" y="3850003"/>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5" name="Rectangle 34">
            <a:extLst>
              <a:ext uri="{FF2B5EF4-FFF2-40B4-BE49-F238E27FC236}">
                <a16:creationId xmlns:a16="http://schemas.microsoft.com/office/drawing/2014/main" id="{54BCF977-5C7F-3DF5-226C-277F16D4A6FF}"/>
              </a:ext>
            </a:extLst>
          </p:cNvPr>
          <p:cNvSpPr/>
          <p:nvPr userDrawn="1"/>
        </p:nvSpPr>
        <p:spPr>
          <a:xfrm>
            <a:off x="6097545" y="4673718"/>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7" name="Straight Connector 36">
            <a:extLst>
              <a:ext uri="{FF2B5EF4-FFF2-40B4-BE49-F238E27FC236}">
                <a16:creationId xmlns:a16="http://schemas.microsoft.com/office/drawing/2014/main" id="{61D22BE9-B0C4-9A41-C5B2-58F43FE7CDAA}"/>
              </a:ext>
            </a:extLst>
          </p:cNvPr>
          <p:cNvCxnSpPr>
            <a:cxnSpLocks/>
          </p:cNvCxnSpPr>
          <p:nvPr userDrawn="1"/>
        </p:nvCxnSpPr>
        <p:spPr>
          <a:xfrm>
            <a:off x="6097545" y="4660605"/>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48" name="Text Placeholder 20">
            <a:extLst>
              <a:ext uri="{FF2B5EF4-FFF2-40B4-BE49-F238E27FC236}">
                <a16:creationId xmlns:a16="http://schemas.microsoft.com/office/drawing/2014/main" id="{31A2F491-F043-7829-889E-CC01ADD3DF5F}"/>
              </a:ext>
            </a:extLst>
          </p:cNvPr>
          <p:cNvSpPr>
            <a:spLocks noGrp="1"/>
          </p:cNvSpPr>
          <p:nvPr>
            <p:ph type="body" sz="quarter" idx="33" hasCustomPrompt="1"/>
          </p:nvPr>
        </p:nvSpPr>
        <p:spPr>
          <a:xfrm>
            <a:off x="6272415" y="4830741"/>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4" name="Text Placeholder 20">
            <a:extLst>
              <a:ext uri="{FF2B5EF4-FFF2-40B4-BE49-F238E27FC236}">
                <a16:creationId xmlns:a16="http://schemas.microsoft.com/office/drawing/2014/main" id="{450FF938-86F3-41D1-C772-3BB3B837341F}"/>
              </a:ext>
            </a:extLst>
          </p:cNvPr>
          <p:cNvSpPr>
            <a:spLocks noGrp="1"/>
          </p:cNvSpPr>
          <p:nvPr>
            <p:ph type="body" sz="quarter" idx="34" hasCustomPrompt="1"/>
          </p:nvPr>
        </p:nvSpPr>
        <p:spPr>
          <a:xfrm>
            <a:off x="6272415" y="3850003"/>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5" name="Rectangle 54">
            <a:extLst>
              <a:ext uri="{FF2B5EF4-FFF2-40B4-BE49-F238E27FC236}">
                <a16:creationId xmlns:a16="http://schemas.microsoft.com/office/drawing/2014/main" id="{F8392C24-170F-C3C9-8554-7D2FF1E002D9}"/>
              </a:ext>
            </a:extLst>
          </p:cNvPr>
          <p:cNvSpPr/>
          <p:nvPr userDrawn="1"/>
        </p:nvSpPr>
        <p:spPr>
          <a:xfrm>
            <a:off x="8775429" y="4673718"/>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56" name="Straight Connector 55">
            <a:extLst>
              <a:ext uri="{FF2B5EF4-FFF2-40B4-BE49-F238E27FC236}">
                <a16:creationId xmlns:a16="http://schemas.microsoft.com/office/drawing/2014/main" id="{9B9E750F-A21C-FCB9-4EFC-7BEA8BFE35C0}"/>
              </a:ext>
            </a:extLst>
          </p:cNvPr>
          <p:cNvCxnSpPr>
            <a:cxnSpLocks/>
          </p:cNvCxnSpPr>
          <p:nvPr userDrawn="1"/>
        </p:nvCxnSpPr>
        <p:spPr>
          <a:xfrm>
            <a:off x="8775429" y="4660605"/>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57" name="Text Placeholder 20">
            <a:extLst>
              <a:ext uri="{FF2B5EF4-FFF2-40B4-BE49-F238E27FC236}">
                <a16:creationId xmlns:a16="http://schemas.microsoft.com/office/drawing/2014/main" id="{DB2B63C6-9F13-A41E-F5D4-B1F419019F2E}"/>
              </a:ext>
            </a:extLst>
          </p:cNvPr>
          <p:cNvSpPr>
            <a:spLocks noGrp="1"/>
          </p:cNvSpPr>
          <p:nvPr>
            <p:ph type="body" sz="quarter" idx="35" hasCustomPrompt="1"/>
          </p:nvPr>
        </p:nvSpPr>
        <p:spPr>
          <a:xfrm>
            <a:off x="8950299" y="4830741"/>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8" name="Text Placeholder 20">
            <a:extLst>
              <a:ext uri="{FF2B5EF4-FFF2-40B4-BE49-F238E27FC236}">
                <a16:creationId xmlns:a16="http://schemas.microsoft.com/office/drawing/2014/main" id="{A121C4C7-0C16-A825-2C55-2F10B1BA2063}"/>
              </a:ext>
            </a:extLst>
          </p:cNvPr>
          <p:cNvSpPr>
            <a:spLocks noGrp="1"/>
          </p:cNvSpPr>
          <p:nvPr>
            <p:ph type="body" sz="quarter" idx="36" hasCustomPrompt="1"/>
          </p:nvPr>
        </p:nvSpPr>
        <p:spPr>
          <a:xfrm>
            <a:off x="8950299" y="3850003"/>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9" name="Title 1">
            <a:extLst>
              <a:ext uri="{FF2B5EF4-FFF2-40B4-BE49-F238E27FC236}">
                <a16:creationId xmlns:a16="http://schemas.microsoft.com/office/drawing/2014/main" id="{9B587442-3116-C0A0-18F9-7A897267D819}"/>
              </a:ext>
            </a:extLst>
          </p:cNvPr>
          <p:cNvSpPr>
            <a:spLocks noGrp="1"/>
          </p:cNvSpPr>
          <p:nvPr>
            <p:ph type="title" hasCustomPrompt="1"/>
          </p:nvPr>
        </p:nvSpPr>
        <p:spPr>
          <a:xfrm>
            <a:off x="741777" y="365126"/>
            <a:ext cx="10671895" cy="99368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42" name="Bilde 3">
            <a:extLst>
              <a:ext uri="{FF2B5EF4-FFF2-40B4-BE49-F238E27FC236}">
                <a16:creationId xmlns:a16="http://schemas.microsoft.com/office/drawing/2014/main" id="{1E180836-C789-8619-DB8A-CE3F0915A7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47" name="Date Placeholder 2">
            <a:extLst>
              <a:ext uri="{FF2B5EF4-FFF2-40B4-BE49-F238E27FC236}">
                <a16:creationId xmlns:a16="http://schemas.microsoft.com/office/drawing/2014/main" id="{40EC078F-DB36-1601-92FF-770899727D07}"/>
              </a:ext>
            </a:extLst>
          </p:cNvPr>
          <p:cNvSpPr>
            <a:spLocks noGrp="1"/>
          </p:cNvSpPr>
          <p:nvPr>
            <p:ph type="dt" sz="half" idx="16"/>
          </p:nvPr>
        </p:nvSpPr>
        <p:spPr>
          <a:xfrm>
            <a:off x="2303627" y="6492875"/>
            <a:ext cx="528585" cy="365125"/>
          </a:xfrm>
        </p:spPr>
        <p:txBody>
          <a:bodyPr/>
          <a:lstStyle/>
          <a:p>
            <a:fld id="{7ACC4505-86D6-EB4A-AFD1-DFF583DE9CB9}" type="datetime1">
              <a:rPr lang="nb-NO" smtClean="0"/>
              <a:t>20.08.2024</a:t>
            </a:fld>
            <a:endParaRPr lang="en-US"/>
          </a:p>
        </p:txBody>
      </p:sp>
      <p:sp>
        <p:nvSpPr>
          <p:cNvPr id="60" name="Footer Placeholder 3">
            <a:extLst>
              <a:ext uri="{FF2B5EF4-FFF2-40B4-BE49-F238E27FC236}">
                <a16:creationId xmlns:a16="http://schemas.microsoft.com/office/drawing/2014/main" id="{39F40227-679D-0B79-92F0-5999FCFA70E5}"/>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61" name="Slide Number Placeholder 4">
            <a:extLst>
              <a:ext uri="{FF2B5EF4-FFF2-40B4-BE49-F238E27FC236}">
                <a16:creationId xmlns:a16="http://schemas.microsoft.com/office/drawing/2014/main" id="{29A40919-D39A-66B3-F03F-0EBE8A9FA2A3}"/>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0383789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4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8" name="Title 1">
            <a:extLst>
              <a:ext uri="{FF2B5EF4-FFF2-40B4-BE49-F238E27FC236}">
                <a16:creationId xmlns:a16="http://schemas.microsoft.com/office/drawing/2014/main" id="{24C98934-0BC0-6144-9BC0-31616D8C2519}"/>
              </a:ext>
            </a:extLst>
          </p:cNvPr>
          <p:cNvSpPr>
            <a:spLocks noGrp="1"/>
          </p:cNvSpPr>
          <p:nvPr>
            <p:ph type="title" hasCustomPrompt="1"/>
          </p:nvPr>
        </p:nvSpPr>
        <p:spPr>
          <a:xfrm>
            <a:off x="741777" y="365126"/>
            <a:ext cx="10671895" cy="1036620"/>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0" name="Bilde 3">
            <a:extLst>
              <a:ext uri="{FF2B5EF4-FFF2-40B4-BE49-F238E27FC236}">
                <a16:creationId xmlns:a16="http://schemas.microsoft.com/office/drawing/2014/main" id="{8F41D518-6784-585C-BEDA-150EF2A499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1" name="Text Placeholder 20">
            <a:extLst>
              <a:ext uri="{FF2B5EF4-FFF2-40B4-BE49-F238E27FC236}">
                <a16:creationId xmlns:a16="http://schemas.microsoft.com/office/drawing/2014/main" id="{0D31FB67-27C8-9D49-44F1-EDEDC8A9FD23}"/>
              </a:ext>
            </a:extLst>
          </p:cNvPr>
          <p:cNvSpPr>
            <a:spLocks noGrp="1"/>
          </p:cNvSpPr>
          <p:nvPr>
            <p:ph type="body" sz="quarter" idx="22" hasCustomPrompt="1"/>
          </p:nvPr>
        </p:nvSpPr>
        <p:spPr>
          <a:xfrm>
            <a:off x="731837" y="1555199"/>
            <a:ext cx="10559013" cy="314610"/>
          </a:xfrm>
          <a:prstGeom prst="rect">
            <a:avLst/>
          </a:prstGeom>
        </p:spPr>
        <p:txBody>
          <a:bodyPr anchor="t">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2" name="Text Placeholder 20">
            <a:extLst>
              <a:ext uri="{FF2B5EF4-FFF2-40B4-BE49-F238E27FC236}">
                <a16:creationId xmlns:a16="http://schemas.microsoft.com/office/drawing/2014/main" id="{69679182-FAE3-13C5-B33C-B5EB0EE5763E}"/>
              </a:ext>
            </a:extLst>
          </p:cNvPr>
          <p:cNvSpPr>
            <a:spLocks noGrp="1"/>
          </p:cNvSpPr>
          <p:nvPr>
            <p:ph type="body" sz="quarter" idx="15" hasCustomPrompt="1"/>
          </p:nvPr>
        </p:nvSpPr>
        <p:spPr>
          <a:xfrm>
            <a:off x="741776" y="2017226"/>
            <a:ext cx="10549075" cy="4035704"/>
          </a:xfrm>
          <a:prstGeom prst="rect">
            <a:avLst/>
          </a:prstGeom>
        </p:spPr>
        <p:txBody>
          <a:bodyPr anchor="t">
            <a:noAutofit/>
          </a:bodyPr>
          <a:lstStyle>
            <a:lvl1pPr marL="0" indent="0">
              <a:buNone/>
              <a:defRPr sz="12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3" name="Date Placeholder 2">
            <a:extLst>
              <a:ext uri="{FF2B5EF4-FFF2-40B4-BE49-F238E27FC236}">
                <a16:creationId xmlns:a16="http://schemas.microsoft.com/office/drawing/2014/main" id="{DD2C5759-92AC-9F4E-F31D-6058BE479403}"/>
              </a:ext>
            </a:extLst>
          </p:cNvPr>
          <p:cNvSpPr>
            <a:spLocks noGrp="1"/>
          </p:cNvSpPr>
          <p:nvPr>
            <p:ph type="dt" sz="half" idx="16"/>
          </p:nvPr>
        </p:nvSpPr>
        <p:spPr>
          <a:xfrm>
            <a:off x="2303627" y="6492875"/>
            <a:ext cx="528585" cy="365125"/>
          </a:xfrm>
        </p:spPr>
        <p:txBody>
          <a:bodyPr/>
          <a:lstStyle/>
          <a:p>
            <a:fld id="{80E417B3-1F46-B84E-88AB-5642ACE06235}" type="datetime1">
              <a:rPr lang="nb-NO" smtClean="0"/>
              <a:t>20.08.2024</a:t>
            </a:fld>
            <a:endParaRPr lang="en-US"/>
          </a:p>
        </p:txBody>
      </p:sp>
      <p:sp>
        <p:nvSpPr>
          <p:cNvPr id="14" name="Footer Placeholder 3">
            <a:extLst>
              <a:ext uri="{FF2B5EF4-FFF2-40B4-BE49-F238E27FC236}">
                <a16:creationId xmlns:a16="http://schemas.microsoft.com/office/drawing/2014/main" id="{B9BAD17B-B40E-C4E1-1CDA-75F73720EFCA}"/>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15" name="Slide Number Placeholder 4">
            <a:extLst>
              <a:ext uri="{FF2B5EF4-FFF2-40B4-BE49-F238E27FC236}">
                <a16:creationId xmlns:a16="http://schemas.microsoft.com/office/drawing/2014/main" id="{4FE82372-A133-AD73-D04A-C2CFD2C25714}"/>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976557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guide id="2" pos="6607">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3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6" name="Title 1">
            <a:extLst>
              <a:ext uri="{FF2B5EF4-FFF2-40B4-BE49-F238E27FC236}">
                <a16:creationId xmlns:a16="http://schemas.microsoft.com/office/drawing/2014/main" id="{B4A3ECC9-8F4D-E101-59A0-077077FE57B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8" name="Bilde 3">
            <a:extLst>
              <a:ext uri="{FF2B5EF4-FFF2-40B4-BE49-F238E27FC236}">
                <a16:creationId xmlns:a16="http://schemas.microsoft.com/office/drawing/2014/main" id="{3420C06F-BD3E-F705-FE57-5A3BA80667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9" name="Date Placeholder 2">
            <a:extLst>
              <a:ext uri="{FF2B5EF4-FFF2-40B4-BE49-F238E27FC236}">
                <a16:creationId xmlns:a16="http://schemas.microsoft.com/office/drawing/2014/main" id="{3715DC52-4B33-BE62-CDE3-71452BD46731}"/>
              </a:ext>
            </a:extLst>
          </p:cNvPr>
          <p:cNvSpPr>
            <a:spLocks noGrp="1"/>
          </p:cNvSpPr>
          <p:nvPr>
            <p:ph type="dt" sz="half" idx="16"/>
          </p:nvPr>
        </p:nvSpPr>
        <p:spPr>
          <a:xfrm>
            <a:off x="2303627" y="6492875"/>
            <a:ext cx="528585" cy="365125"/>
          </a:xfrm>
        </p:spPr>
        <p:txBody>
          <a:bodyPr/>
          <a:lstStyle/>
          <a:p>
            <a:fld id="{BFBA4834-A04D-3746-9956-FB85C35CCB93}" type="datetime1">
              <a:rPr lang="nb-NO" smtClean="0"/>
              <a:t>20.08.2024</a:t>
            </a:fld>
            <a:endParaRPr lang="en-US"/>
          </a:p>
        </p:txBody>
      </p:sp>
      <p:sp>
        <p:nvSpPr>
          <p:cNvPr id="10" name="Footer Placeholder 3">
            <a:extLst>
              <a:ext uri="{FF2B5EF4-FFF2-40B4-BE49-F238E27FC236}">
                <a16:creationId xmlns:a16="http://schemas.microsoft.com/office/drawing/2014/main" id="{1C77C9C1-3D73-870B-D81D-B51E5E3A470C}"/>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11" name="Slide Number Placeholder 4">
            <a:extLst>
              <a:ext uri="{FF2B5EF4-FFF2-40B4-BE49-F238E27FC236}">
                <a16:creationId xmlns:a16="http://schemas.microsoft.com/office/drawing/2014/main" id="{67F64C78-F787-DDB6-45BD-07EC8DE8E7D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9919693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guide id="2" pos="6607">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56_Custom Layout">
    <p:bg>
      <p:bgPr>
        <a:solidFill>
          <a:schemeClr val="accent3"/>
        </a:solidFill>
        <a:effectLst/>
      </p:bgPr>
    </p:bg>
    <p:spTree>
      <p:nvGrpSpPr>
        <p:cNvPr id="1" name=""/>
        <p:cNvGrpSpPr/>
        <p:nvPr/>
      </p:nvGrpSpPr>
      <p:grpSpPr>
        <a:xfrm>
          <a:off x="0" y="0"/>
          <a:ext cx="0" cy="0"/>
          <a:chOff x="0" y="0"/>
          <a:chExt cx="0" cy="0"/>
        </a:xfrm>
      </p:grpSpPr>
      <p:pic>
        <p:nvPicPr>
          <p:cNvPr id="23" name="Bilde 3">
            <a:extLst>
              <a:ext uri="{FF2B5EF4-FFF2-40B4-BE49-F238E27FC236}">
                <a16:creationId xmlns:a16="http://schemas.microsoft.com/office/drawing/2014/main" id="{D00E2AFF-DEA5-0D40-A283-8310B81ED59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6" name="Title 1">
            <a:extLst>
              <a:ext uri="{FF2B5EF4-FFF2-40B4-BE49-F238E27FC236}">
                <a16:creationId xmlns:a16="http://schemas.microsoft.com/office/drawing/2014/main" id="{B4A3ECC9-8F4D-E101-59A0-077077FE57B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bg1"/>
                </a:solidFill>
                <a:latin typeface="Helvetica Light" panose="020B0403020202020204" pitchFamily="34" charset="0"/>
              </a:defRPr>
            </a:lvl1pPr>
          </a:lstStyle>
          <a:p>
            <a:r>
              <a:rPr lang="en-GB"/>
              <a:t>Slide title here</a:t>
            </a:r>
            <a:endParaRPr lang="en-US"/>
          </a:p>
        </p:txBody>
      </p:sp>
      <p:cxnSp>
        <p:nvCxnSpPr>
          <p:cNvPr id="7" name="Straight Connector 6">
            <a:extLst>
              <a:ext uri="{FF2B5EF4-FFF2-40B4-BE49-F238E27FC236}">
                <a16:creationId xmlns:a16="http://schemas.microsoft.com/office/drawing/2014/main" id="{795D36FA-32FE-D914-4600-645D7F8B4F09}"/>
              </a:ext>
            </a:extLst>
          </p:cNvPr>
          <p:cNvCxnSpPr>
            <a:cxnSpLocks/>
          </p:cNvCxnSpPr>
          <p:nvPr userDrawn="1"/>
        </p:nvCxnSpPr>
        <p:spPr>
          <a:xfrm>
            <a:off x="259644" y="6415094"/>
            <a:ext cx="1165729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Date Placeholder 2">
            <a:extLst>
              <a:ext uri="{FF2B5EF4-FFF2-40B4-BE49-F238E27FC236}">
                <a16:creationId xmlns:a16="http://schemas.microsoft.com/office/drawing/2014/main" id="{215FB111-AAF3-6032-3C9E-731E726A2869}"/>
              </a:ext>
            </a:extLst>
          </p:cNvPr>
          <p:cNvSpPr>
            <a:spLocks noGrp="1"/>
          </p:cNvSpPr>
          <p:nvPr>
            <p:ph type="dt" sz="half" idx="16"/>
          </p:nvPr>
        </p:nvSpPr>
        <p:spPr>
          <a:xfrm>
            <a:off x="2303627" y="6492875"/>
            <a:ext cx="528585" cy="365125"/>
          </a:xfrm>
        </p:spPr>
        <p:txBody>
          <a:bodyPr/>
          <a:lstStyle/>
          <a:p>
            <a:fld id="{FEC27428-B2BF-F043-8AA8-12CAD9E9F693}" type="datetime1">
              <a:rPr lang="nb-NO" smtClean="0"/>
              <a:t>20.08.2024</a:t>
            </a:fld>
            <a:endParaRPr lang="en-US"/>
          </a:p>
        </p:txBody>
      </p:sp>
      <p:sp>
        <p:nvSpPr>
          <p:cNvPr id="12" name="Footer Placeholder 3">
            <a:extLst>
              <a:ext uri="{FF2B5EF4-FFF2-40B4-BE49-F238E27FC236}">
                <a16:creationId xmlns:a16="http://schemas.microsoft.com/office/drawing/2014/main" id="{C9CF8A18-7C8B-000D-F346-39DC81A61DB3}"/>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13" name="Slide Number Placeholder 4">
            <a:extLst>
              <a:ext uri="{FF2B5EF4-FFF2-40B4-BE49-F238E27FC236}">
                <a16:creationId xmlns:a16="http://schemas.microsoft.com/office/drawing/2014/main" id="{E583F702-8D79-7A26-D8A6-4AA71B0DFC52}"/>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5488320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guide id="2" pos="6607">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grpSp>
        <p:nvGrpSpPr>
          <p:cNvPr id="19" name="Group 18">
            <a:extLst>
              <a:ext uri="{FF2B5EF4-FFF2-40B4-BE49-F238E27FC236}">
                <a16:creationId xmlns:a16="http://schemas.microsoft.com/office/drawing/2014/main" id="{B2E54100-83F6-3840-9740-66AEE324BF5D}"/>
              </a:ext>
            </a:extLst>
          </p:cNvPr>
          <p:cNvGrpSpPr/>
          <p:nvPr/>
        </p:nvGrpSpPr>
        <p:grpSpPr>
          <a:xfrm>
            <a:off x="1187723" y="1964633"/>
            <a:ext cx="9298521" cy="1070771"/>
            <a:chOff x="558331" y="2312872"/>
            <a:chExt cx="9298521" cy="756000"/>
          </a:xfrm>
        </p:grpSpPr>
        <p:sp>
          <p:nvSpPr>
            <p:cNvPr id="20" name="Rectangle 19">
              <a:extLst>
                <a:ext uri="{FF2B5EF4-FFF2-40B4-BE49-F238E27FC236}">
                  <a16:creationId xmlns:a16="http://schemas.microsoft.com/office/drawing/2014/main" id="{68E4597E-D37D-6D49-A946-1A166440BD7E}"/>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1273524" y="2040887"/>
            <a:ext cx="8988074" cy="942012"/>
          </a:xfrm>
          <a:prstGeom prst="rect">
            <a:avLst/>
          </a:prstGeom>
        </p:spPr>
        <p:txBody>
          <a:bodyPr anchor="ctr">
            <a:noAutofit/>
          </a:bodyPr>
          <a:lstStyle>
            <a:lvl1pPr>
              <a:defRPr sz="16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33" name="Group 32">
            <a:extLst>
              <a:ext uri="{FF2B5EF4-FFF2-40B4-BE49-F238E27FC236}">
                <a16:creationId xmlns:a16="http://schemas.microsoft.com/office/drawing/2014/main" id="{8CF6493A-85E1-3947-8DFF-8992C3EB5575}"/>
              </a:ext>
            </a:extLst>
          </p:cNvPr>
          <p:cNvGrpSpPr/>
          <p:nvPr/>
        </p:nvGrpSpPr>
        <p:grpSpPr>
          <a:xfrm>
            <a:off x="1187723" y="3221669"/>
            <a:ext cx="9298521" cy="1070771"/>
            <a:chOff x="558331" y="2312872"/>
            <a:chExt cx="9298521" cy="756000"/>
          </a:xfrm>
        </p:grpSpPr>
        <p:sp>
          <p:nvSpPr>
            <p:cNvPr id="34" name="Rectangle 33">
              <a:extLst>
                <a:ext uri="{FF2B5EF4-FFF2-40B4-BE49-F238E27FC236}">
                  <a16:creationId xmlns:a16="http://schemas.microsoft.com/office/drawing/2014/main" id="{5E8ECC9D-C46B-2A4B-BE5F-C9E1BCA7AAB3}"/>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5" name="Straight Connector 34">
              <a:extLst>
                <a:ext uri="{FF2B5EF4-FFF2-40B4-BE49-F238E27FC236}">
                  <a16:creationId xmlns:a16="http://schemas.microsoft.com/office/drawing/2014/main" id="{43F1115C-F8E4-1A46-B855-3890FC0AD164}"/>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9" name="Text Placeholder 20">
            <a:extLst>
              <a:ext uri="{FF2B5EF4-FFF2-40B4-BE49-F238E27FC236}">
                <a16:creationId xmlns:a16="http://schemas.microsoft.com/office/drawing/2014/main" id="{8AA3BD84-2566-4A4F-935C-DC90EF27B068}"/>
              </a:ext>
            </a:extLst>
          </p:cNvPr>
          <p:cNvSpPr>
            <a:spLocks noGrp="1"/>
          </p:cNvSpPr>
          <p:nvPr>
            <p:ph type="body" sz="quarter" idx="16" hasCustomPrompt="1"/>
          </p:nvPr>
        </p:nvSpPr>
        <p:spPr>
          <a:xfrm>
            <a:off x="1273524" y="3297923"/>
            <a:ext cx="8988074" cy="942012"/>
          </a:xfrm>
          <a:prstGeom prst="rect">
            <a:avLst/>
          </a:prstGeom>
        </p:spPr>
        <p:txBody>
          <a:bodyPr anchor="ctr">
            <a:noAutofit/>
          </a:bodyPr>
          <a:lstStyle>
            <a:lvl1pPr>
              <a:defRPr sz="16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40" name="Group 39">
            <a:extLst>
              <a:ext uri="{FF2B5EF4-FFF2-40B4-BE49-F238E27FC236}">
                <a16:creationId xmlns:a16="http://schemas.microsoft.com/office/drawing/2014/main" id="{988AB194-4E6C-E643-89BB-F483B519222E}"/>
              </a:ext>
            </a:extLst>
          </p:cNvPr>
          <p:cNvGrpSpPr/>
          <p:nvPr/>
        </p:nvGrpSpPr>
        <p:grpSpPr>
          <a:xfrm>
            <a:off x="1187723" y="4476771"/>
            <a:ext cx="9298521" cy="1070771"/>
            <a:chOff x="558331" y="2312872"/>
            <a:chExt cx="9298521" cy="756000"/>
          </a:xfrm>
        </p:grpSpPr>
        <p:sp>
          <p:nvSpPr>
            <p:cNvPr id="41" name="Rectangle 40">
              <a:extLst>
                <a:ext uri="{FF2B5EF4-FFF2-40B4-BE49-F238E27FC236}">
                  <a16:creationId xmlns:a16="http://schemas.microsoft.com/office/drawing/2014/main" id="{7B794547-A81B-B146-9F79-83EF1310EF3B}"/>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2" name="Straight Connector 41">
              <a:extLst>
                <a:ext uri="{FF2B5EF4-FFF2-40B4-BE49-F238E27FC236}">
                  <a16:creationId xmlns:a16="http://schemas.microsoft.com/office/drawing/2014/main" id="{1281F5AA-DC43-4A4F-9B6D-F2524A03C140}"/>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4" name="Text Placeholder 20">
            <a:extLst>
              <a:ext uri="{FF2B5EF4-FFF2-40B4-BE49-F238E27FC236}">
                <a16:creationId xmlns:a16="http://schemas.microsoft.com/office/drawing/2014/main" id="{BFEE6F6E-0ACE-CB4C-AE62-AD392FEF8D6B}"/>
              </a:ext>
            </a:extLst>
          </p:cNvPr>
          <p:cNvSpPr>
            <a:spLocks noGrp="1"/>
          </p:cNvSpPr>
          <p:nvPr>
            <p:ph type="body" sz="quarter" idx="17" hasCustomPrompt="1"/>
          </p:nvPr>
        </p:nvSpPr>
        <p:spPr>
          <a:xfrm>
            <a:off x="1273524" y="4553025"/>
            <a:ext cx="8988074" cy="942012"/>
          </a:xfrm>
          <a:prstGeom prst="rect">
            <a:avLst/>
          </a:prstGeom>
        </p:spPr>
        <p:txBody>
          <a:bodyPr anchor="ctr">
            <a:noAutofit/>
          </a:bodyPr>
          <a:lstStyle>
            <a:lvl1pPr>
              <a:defRPr sz="16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itle 1">
            <a:extLst>
              <a:ext uri="{FF2B5EF4-FFF2-40B4-BE49-F238E27FC236}">
                <a16:creationId xmlns:a16="http://schemas.microsoft.com/office/drawing/2014/main" id="{5A8ED574-45A5-BA5F-83D9-501C74743261}"/>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4" name="Bilde 3">
            <a:extLst>
              <a:ext uri="{FF2B5EF4-FFF2-40B4-BE49-F238E27FC236}">
                <a16:creationId xmlns:a16="http://schemas.microsoft.com/office/drawing/2014/main" id="{A611CCAD-80C3-06B4-705B-1B5115DACC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F9946F15-B6F1-AD65-1F0F-84F361170B27}"/>
              </a:ext>
            </a:extLst>
          </p:cNvPr>
          <p:cNvSpPr>
            <a:spLocks noGrp="1"/>
          </p:cNvSpPr>
          <p:nvPr>
            <p:ph type="dt" sz="half" idx="18"/>
          </p:nvPr>
        </p:nvSpPr>
        <p:spPr>
          <a:xfrm>
            <a:off x="2303627" y="6492875"/>
            <a:ext cx="528585" cy="365125"/>
          </a:xfrm>
        </p:spPr>
        <p:txBody>
          <a:bodyPr/>
          <a:lstStyle/>
          <a:p>
            <a:fld id="{7264E493-7B21-DD46-B5EB-9BB6E6710B58}" type="datetime1">
              <a:rPr lang="nb-NO" smtClean="0"/>
              <a:t>20.08.2024</a:t>
            </a:fld>
            <a:endParaRPr lang="en-US"/>
          </a:p>
        </p:txBody>
      </p:sp>
      <p:sp>
        <p:nvSpPr>
          <p:cNvPr id="25" name="Footer Placeholder 3">
            <a:extLst>
              <a:ext uri="{FF2B5EF4-FFF2-40B4-BE49-F238E27FC236}">
                <a16:creationId xmlns:a16="http://schemas.microsoft.com/office/drawing/2014/main" id="{D3677154-2D1D-755A-7A98-B9A188F49124}"/>
              </a:ext>
            </a:extLst>
          </p:cNvPr>
          <p:cNvSpPr>
            <a:spLocks noGrp="1"/>
          </p:cNvSpPr>
          <p:nvPr>
            <p:ph type="ftr" sz="quarter" idx="19"/>
          </p:nvPr>
        </p:nvSpPr>
        <p:spPr>
          <a:xfrm>
            <a:off x="175116" y="6492875"/>
            <a:ext cx="2107096" cy="365125"/>
          </a:xfrm>
        </p:spPr>
        <p:txBody>
          <a:bodyPr/>
          <a:lstStyle/>
          <a:p>
            <a:r>
              <a:rPr lang="en-US"/>
              <a:t>© StrongPoint 2022. All rights reserved.</a:t>
            </a:r>
          </a:p>
        </p:txBody>
      </p:sp>
      <p:sp>
        <p:nvSpPr>
          <p:cNvPr id="26" name="Slide Number Placeholder 4">
            <a:extLst>
              <a:ext uri="{FF2B5EF4-FFF2-40B4-BE49-F238E27FC236}">
                <a16:creationId xmlns:a16="http://schemas.microsoft.com/office/drawing/2014/main" id="{DC439C8F-6268-A04D-43C5-37B3E15F0B04}"/>
              </a:ext>
            </a:extLst>
          </p:cNvPr>
          <p:cNvSpPr>
            <a:spLocks noGrp="1"/>
          </p:cNvSpPr>
          <p:nvPr>
            <p:ph type="sldNum" sz="quarter" idx="20"/>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824078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grpSp>
        <p:nvGrpSpPr>
          <p:cNvPr id="19" name="Group 18">
            <a:extLst>
              <a:ext uri="{FF2B5EF4-FFF2-40B4-BE49-F238E27FC236}">
                <a16:creationId xmlns:a16="http://schemas.microsoft.com/office/drawing/2014/main" id="{B2E54100-83F6-3840-9740-66AEE324BF5D}"/>
              </a:ext>
            </a:extLst>
          </p:cNvPr>
          <p:cNvGrpSpPr/>
          <p:nvPr/>
        </p:nvGrpSpPr>
        <p:grpSpPr>
          <a:xfrm>
            <a:off x="1187723" y="1869808"/>
            <a:ext cx="9298521" cy="863468"/>
            <a:chOff x="558331" y="2312872"/>
            <a:chExt cx="9298521" cy="756000"/>
          </a:xfrm>
        </p:grpSpPr>
        <p:sp>
          <p:nvSpPr>
            <p:cNvPr id="20" name="Rectangle 19">
              <a:extLst>
                <a:ext uri="{FF2B5EF4-FFF2-40B4-BE49-F238E27FC236}">
                  <a16:creationId xmlns:a16="http://schemas.microsoft.com/office/drawing/2014/main" id="{68E4597E-D37D-6D49-A946-1A166440BD7E}"/>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1273524" y="1946061"/>
            <a:ext cx="8988074"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17" name="Group 16">
            <a:extLst>
              <a:ext uri="{FF2B5EF4-FFF2-40B4-BE49-F238E27FC236}">
                <a16:creationId xmlns:a16="http://schemas.microsoft.com/office/drawing/2014/main" id="{3C27F867-309D-EA46-8C0F-93359D32C6CB}"/>
              </a:ext>
            </a:extLst>
          </p:cNvPr>
          <p:cNvGrpSpPr/>
          <p:nvPr/>
        </p:nvGrpSpPr>
        <p:grpSpPr>
          <a:xfrm>
            <a:off x="1187723" y="2835884"/>
            <a:ext cx="9298521" cy="863468"/>
            <a:chOff x="558331" y="2312872"/>
            <a:chExt cx="9298521" cy="756000"/>
          </a:xfrm>
        </p:grpSpPr>
        <p:sp>
          <p:nvSpPr>
            <p:cNvPr id="18" name="Rectangle 17">
              <a:extLst>
                <a:ext uri="{FF2B5EF4-FFF2-40B4-BE49-F238E27FC236}">
                  <a16:creationId xmlns:a16="http://schemas.microsoft.com/office/drawing/2014/main" id="{99E19D7A-E6A9-054C-AB01-00DB0026F10D}"/>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82A16F31-8845-CC4C-9AD4-2BC372F49F8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5" name="Text Placeholder 20">
            <a:extLst>
              <a:ext uri="{FF2B5EF4-FFF2-40B4-BE49-F238E27FC236}">
                <a16:creationId xmlns:a16="http://schemas.microsoft.com/office/drawing/2014/main" id="{FC0F6143-34C5-944F-BEB1-CDAB609C4E6E}"/>
              </a:ext>
            </a:extLst>
          </p:cNvPr>
          <p:cNvSpPr>
            <a:spLocks noGrp="1"/>
          </p:cNvSpPr>
          <p:nvPr>
            <p:ph type="body" sz="quarter" idx="16" hasCustomPrompt="1"/>
          </p:nvPr>
        </p:nvSpPr>
        <p:spPr>
          <a:xfrm>
            <a:off x="1273524" y="2912137"/>
            <a:ext cx="8988074"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26" name="Group 25">
            <a:extLst>
              <a:ext uri="{FF2B5EF4-FFF2-40B4-BE49-F238E27FC236}">
                <a16:creationId xmlns:a16="http://schemas.microsoft.com/office/drawing/2014/main" id="{B34B0E98-BDEB-A143-938B-9D5929ECC2A1}"/>
              </a:ext>
            </a:extLst>
          </p:cNvPr>
          <p:cNvGrpSpPr/>
          <p:nvPr/>
        </p:nvGrpSpPr>
        <p:grpSpPr>
          <a:xfrm>
            <a:off x="1187723" y="3801960"/>
            <a:ext cx="9298521" cy="863468"/>
            <a:chOff x="558331" y="2312872"/>
            <a:chExt cx="9298521" cy="756000"/>
          </a:xfrm>
        </p:grpSpPr>
        <p:sp>
          <p:nvSpPr>
            <p:cNvPr id="27" name="Rectangle 26">
              <a:extLst>
                <a:ext uri="{FF2B5EF4-FFF2-40B4-BE49-F238E27FC236}">
                  <a16:creationId xmlns:a16="http://schemas.microsoft.com/office/drawing/2014/main" id="{154CD58A-8677-9545-B209-DF3C50FFCE03}"/>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CDD90E82-23AD-3E41-AFF1-C14FF24768FB}"/>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9" name="Text Placeholder 20">
            <a:extLst>
              <a:ext uri="{FF2B5EF4-FFF2-40B4-BE49-F238E27FC236}">
                <a16:creationId xmlns:a16="http://schemas.microsoft.com/office/drawing/2014/main" id="{CBE9FA2F-6631-2348-B5E8-CB1404D78870}"/>
              </a:ext>
            </a:extLst>
          </p:cNvPr>
          <p:cNvSpPr>
            <a:spLocks noGrp="1"/>
          </p:cNvSpPr>
          <p:nvPr>
            <p:ph type="body" sz="quarter" idx="17" hasCustomPrompt="1"/>
          </p:nvPr>
        </p:nvSpPr>
        <p:spPr>
          <a:xfrm>
            <a:off x="1273524" y="3878213"/>
            <a:ext cx="8988074"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30" name="Group 29">
            <a:extLst>
              <a:ext uri="{FF2B5EF4-FFF2-40B4-BE49-F238E27FC236}">
                <a16:creationId xmlns:a16="http://schemas.microsoft.com/office/drawing/2014/main" id="{2FEE898A-C06A-E34F-A972-FD3103EE3129}"/>
              </a:ext>
            </a:extLst>
          </p:cNvPr>
          <p:cNvGrpSpPr/>
          <p:nvPr/>
        </p:nvGrpSpPr>
        <p:grpSpPr>
          <a:xfrm>
            <a:off x="1194774" y="4768036"/>
            <a:ext cx="9298521" cy="863468"/>
            <a:chOff x="558331" y="2312872"/>
            <a:chExt cx="9298521" cy="756000"/>
          </a:xfrm>
        </p:grpSpPr>
        <p:sp>
          <p:nvSpPr>
            <p:cNvPr id="31" name="Rectangle 30">
              <a:extLst>
                <a:ext uri="{FF2B5EF4-FFF2-40B4-BE49-F238E27FC236}">
                  <a16:creationId xmlns:a16="http://schemas.microsoft.com/office/drawing/2014/main" id="{DA81EE83-C4CA-464B-95C0-5BA7057E8005}"/>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Connector 35">
              <a:extLst>
                <a:ext uri="{FF2B5EF4-FFF2-40B4-BE49-F238E27FC236}">
                  <a16:creationId xmlns:a16="http://schemas.microsoft.com/office/drawing/2014/main" id="{30F7734C-D965-A94B-944D-9E59C1C659A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7" name="Text Placeholder 20">
            <a:extLst>
              <a:ext uri="{FF2B5EF4-FFF2-40B4-BE49-F238E27FC236}">
                <a16:creationId xmlns:a16="http://schemas.microsoft.com/office/drawing/2014/main" id="{2E0AC1D5-7922-AD4E-9F76-639646857156}"/>
              </a:ext>
            </a:extLst>
          </p:cNvPr>
          <p:cNvSpPr>
            <a:spLocks noGrp="1"/>
          </p:cNvSpPr>
          <p:nvPr>
            <p:ph type="body" sz="quarter" idx="18" hasCustomPrompt="1"/>
          </p:nvPr>
        </p:nvSpPr>
        <p:spPr>
          <a:xfrm>
            <a:off x="1280575" y="4844289"/>
            <a:ext cx="8988074"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4" name="Title 1">
            <a:extLst>
              <a:ext uri="{FF2B5EF4-FFF2-40B4-BE49-F238E27FC236}">
                <a16:creationId xmlns:a16="http://schemas.microsoft.com/office/drawing/2014/main" id="{3D98C387-A2A9-7ECF-B58A-43D17D41B545}"/>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33" name="Bilde 3">
            <a:extLst>
              <a:ext uri="{FF2B5EF4-FFF2-40B4-BE49-F238E27FC236}">
                <a16:creationId xmlns:a16="http://schemas.microsoft.com/office/drawing/2014/main" id="{5A493850-0919-73DC-4660-940F19B6928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5" name="Date Placeholder 2">
            <a:extLst>
              <a:ext uri="{FF2B5EF4-FFF2-40B4-BE49-F238E27FC236}">
                <a16:creationId xmlns:a16="http://schemas.microsoft.com/office/drawing/2014/main" id="{CD3C5EDB-8EF3-32E0-4CB6-0B791BC79CDC}"/>
              </a:ext>
            </a:extLst>
          </p:cNvPr>
          <p:cNvSpPr>
            <a:spLocks noGrp="1"/>
          </p:cNvSpPr>
          <p:nvPr>
            <p:ph type="dt" sz="half" idx="19"/>
          </p:nvPr>
        </p:nvSpPr>
        <p:spPr>
          <a:xfrm>
            <a:off x="2303627" y="6492875"/>
            <a:ext cx="528585" cy="365125"/>
          </a:xfrm>
        </p:spPr>
        <p:txBody>
          <a:bodyPr/>
          <a:lstStyle/>
          <a:p>
            <a:fld id="{E8A4517C-C961-0A4F-8CB0-D119509D7505}" type="datetime1">
              <a:rPr lang="nb-NO" smtClean="0"/>
              <a:t>20.08.2024</a:t>
            </a:fld>
            <a:endParaRPr lang="en-US"/>
          </a:p>
        </p:txBody>
      </p:sp>
      <p:sp>
        <p:nvSpPr>
          <p:cNvPr id="38" name="Footer Placeholder 3">
            <a:extLst>
              <a:ext uri="{FF2B5EF4-FFF2-40B4-BE49-F238E27FC236}">
                <a16:creationId xmlns:a16="http://schemas.microsoft.com/office/drawing/2014/main" id="{14E8C576-3009-3581-06ED-C2DA5B0955E0}"/>
              </a:ext>
            </a:extLst>
          </p:cNvPr>
          <p:cNvSpPr>
            <a:spLocks noGrp="1"/>
          </p:cNvSpPr>
          <p:nvPr>
            <p:ph type="ftr" sz="quarter" idx="20"/>
          </p:nvPr>
        </p:nvSpPr>
        <p:spPr>
          <a:xfrm>
            <a:off x="175116" y="6492875"/>
            <a:ext cx="2107096" cy="365125"/>
          </a:xfrm>
        </p:spPr>
        <p:txBody>
          <a:bodyPr/>
          <a:lstStyle/>
          <a:p>
            <a:r>
              <a:rPr lang="en-US"/>
              <a:t>© StrongPoint 2022. All rights reserved.</a:t>
            </a:r>
          </a:p>
        </p:txBody>
      </p:sp>
      <p:sp>
        <p:nvSpPr>
          <p:cNvPr id="39" name="Slide Number Placeholder 4">
            <a:extLst>
              <a:ext uri="{FF2B5EF4-FFF2-40B4-BE49-F238E27FC236}">
                <a16:creationId xmlns:a16="http://schemas.microsoft.com/office/drawing/2014/main" id="{BCCE60F8-4242-58AF-4166-CEDF8927560F}"/>
              </a:ext>
            </a:extLst>
          </p:cNvPr>
          <p:cNvSpPr>
            <a:spLocks noGrp="1"/>
          </p:cNvSpPr>
          <p:nvPr>
            <p:ph type="sldNum" sz="quarter" idx="21"/>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973837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8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504683"/>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grpSp>
        <p:nvGrpSpPr>
          <p:cNvPr id="32" name="Group 31">
            <a:extLst>
              <a:ext uri="{FF2B5EF4-FFF2-40B4-BE49-F238E27FC236}">
                <a16:creationId xmlns:a16="http://schemas.microsoft.com/office/drawing/2014/main" id="{9E4B393B-5C8D-DB20-7965-7736D1FD5F57}"/>
              </a:ext>
            </a:extLst>
          </p:cNvPr>
          <p:cNvGrpSpPr/>
          <p:nvPr userDrawn="1"/>
        </p:nvGrpSpPr>
        <p:grpSpPr>
          <a:xfrm>
            <a:off x="734070" y="2072928"/>
            <a:ext cx="5202388" cy="756000"/>
            <a:chOff x="558332" y="2312872"/>
            <a:chExt cx="5202388" cy="756000"/>
          </a:xfrm>
        </p:grpSpPr>
        <p:sp>
          <p:nvSpPr>
            <p:cNvPr id="33" name="Rectangle 32">
              <a:extLst>
                <a:ext uri="{FF2B5EF4-FFF2-40B4-BE49-F238E27FC236}">
                  <a16:creationId xmlns:a16="http://schemas.microsoft.com/office/drawing/2014/main" id="{0DA3DEA2-7333-4492-1044-D7EB7386727A}"/>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7F35A7AB-6104-5231-735C-5AE5EF809F71}"/>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5" name="Text Placeholder 20">
            <a:extLst>
              <a:ext uri="{FF2B5EF4-FFF2-40B4-BE49-F238E27FC236}">
                <a16:creationId xmlns:a16="http://schemas.microsoft.com/office/drawing/2014/main" id="{5A2AB5B1-2ECF-5F24-EF62-2BEC48D11679}"/>
              </a:ext>
            </a:extLst>
          </p:cNvPr>
          <p:cNvSpPr>
            <a:spLocks noGrp="1"/>
          </p:cNvSpPr>
          <p:nvPr>
            <p:ph type="body" sz="quarter" idx="10" hasCustomPrompt="1"/>
          </p:nvPr>
        </p:nvSpPr>
        <p:spPr>
          <a:xfrm>
            <a:off x="819871" y="2162003"/>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36" name="Group 35">
            <a:extLst>
              <a:ext uri="{FF2B5EF4-FFF2-40B4-BE49-F238E27FC236}">
                <a16:creationId xmlns:a16="http://schemas.microsoft.com/office/drawing/2014/main" id="{BDB68336-1BE8-7ED3-11EB-37C4F5570633}"/>
              </a:ext>
            </a:extLst>
          </p:cNvPr>
          <p:cNvGrpSpPr/>
          <p:nvPr userDrawn="1"/>
        </p:nvGrpSpPr>
        <p:grpSpPr>
          <a:xfrm>
            <a:off x="734070" y="2915116"/>
            <a:ext cx="5202388" cy="756000"/>
            <a:chOff x="558332" y="2312872"/>
            <a:chExt cx="5202388" cy="756000"/>
          </a:xfrm>
        </p:grpSpPr>
        <p:sp>
          <p:nvSpPr>
            <p:cNvPr id="47" name="Rectangle 46">
              <a:extLst>
                <a:ext uri="{FF2B5EF4-FFF2-40B4-BE49-F238E27FC236}">
                  <a16:creationId xmlns:a16="http://schemas.microsoft.com/office/drawing/2014/main" id="{6F9DD9A6-9D82-99B8-94E5-51FB18A35AFF}"/>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8" name="Straight Connector 47">
              <a:extLst>
                <a:ext uri="{FF2B5EF4-FFF2-40B4-BE49-F238E27FC236}">
                  <a16:creationId xmlns:a16="http://schemas.microsoft.com/office/drawing/2014/main" id="{6BAF944F-5074-63E2-A5E3-2B5F0E5C3D07}"/>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E2E53277-CE50-28C3-C929-98DE8F5E4205}"/>
              </a:ext>
            </a:extLst>
          </p:cNvPr>
          <p:cNvGrpSpPr/>
          <p:nvPr userDrawn="1"/>
        </p:nvGrpSpPr>
        <p:grpSpPr>
          <a:xfrm>
            <a:off x="734070" y="3757304"/>
            <a:ext cx="5202388" cy="756000"/>
            <a:chOff x="558332" y="2312872"/>
            <a:chExt cx="5202388" cy="756000"/>
          </a:xfrm>
        </p:grpSpPr>
        <p:sp>
          <p:nvSpPr>
            <p:cNvPr id="50" name="Rectangle 49">
              <a:extLst>
                <a:ext uri="{FF2B5EF4-FFF2-40B4-BE49-F238E27FC236}">
                  <a16:creationId xmlns:a16="http://schemas.microsoft.com/office/drawing/2014/main" id="{18CC2C82-EAA6-63E4-031C-FC42706250B7}"/>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891DA805-F299-AE45-6235-E1100FC431C5}"/>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CB76BFD8-9678-F7C0-1053-6572ACA36044}"/>
              </a:ext>
            </a:extLst>
          </p:cNvPr>
          <p:cNvGrpSpPr/>
          <p:nvPr userDrawn="1"/>
        </p:nvGrpSpPr>
        <p:grpSpPr>
          <a:xfrm>
            <a:off x="734070" y="4599492"/>
            <a:ext cx="5202388" cy="756000"/>
            <a:chOff x="558332" y="2312872"/>
            <a:chExt cx="5202388" cy="756000"/>
          </a:xfrm>
        </p:grpSpPr>
        <p:sp>
          <p:nvSpPr>
            <p:cNvPr id="53" name="Rectangle 52">
              <a:extLst>
                <a:ext uri="{FF2B5EF4-FFF2-40B4-BE49-F238E27FC236}">
                  <a16:creationId xmlns:a16="http://schemas.microsoft.com/office/drawing/2014/main" id="{83E2BD2D-2C57-54CC-2ECB-DDF1AEF80DCB}"/>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E1648AD5-C028-FBF1-597A-79A21158DE93}"/>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55" name="Text Placeholder 20">
            <a:extLst>
              <a:ext uri="{FF2B5EF4-FFF2-40B4-BE49-F238E27FC236}">
                <a16:creationId xmlns:a16="http://schemas.microsoft.com/office/drawing/2014/main" id="{B1A0D399-AD63-C8F6-A79B-CA49BE109A06}"/>
              </a:ext>
            </a:extLst>
          </p:cNvPr>
          <p:cNvSpPr>
            <a:spLocks noGrp="1"/>
          </p:cNvSpPr>
          <p:nvPr>
            <p:ph type="body" sz="quarter" idx="12" hasCustomPrompt="1"/>
          </p:nvPr>
        </p:nvSpPr>
        <p:spPr>
          <a:xfrm>
            <a:off x="819871" y="3004191"/>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6" name="Text Placeholder 20">
            <a:extLst>
              <a:ext uri="{FF2B5EF4-FFF2-40B4-BE49-F238E27FC236}">
                <a16:creationId xmlns:a16="http://schemas.microsoft.com/office/drawing/2014/main" id="{CCC12247-8BAB-4AE4-DDFB-5CB8B7006906}"/>
              </a:ext>
            </a:extLst>
          </p:cNvPr>
          <p:cNvSpPr>
            <a:spLocks noGrp="1"/>
          </p:cNvSpPr>
          <p:nvPr>
            <p:ph type="body" sz="quarter" idx="13" hasCustomPrompt="1"/>
          </p:nvPr>
        </p:nvSpPr>
        <p:spPr>
          <a:xfrm>
            <a:off x="819871" y="3846379"/>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7" name="Text Placeholder 20">
            <a:extLst>
              <a:ext uri="{FF2B5EF4-FFF2-40B4-BE49-F238E27FC236}">
                <a16:creationId xmlns:a16="http://schemas.microsoft.com/office/drawing/2014/main" id="{2FEA113A-604B-5532-6772-443DEC02D830}"/>
              </a:ext>
            </a:extLst>
          </p:cNvPr>
          <p:cNvSpPr>
            <a:spLocks noGrp="1"/>
          </p:cNvSpPr>
          <p:nvPr>
            <p:ph type="body" sz="quarter" idx="14" hasCustomPrompt="1"/>
          </p:nvPr>
        </p:nvSpPr>
        <p:spPr>
          <a:xfrm>
            <a:off x="819871" y="4688567"/>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58" name="Group 57">
            <a:extLst>
              <a:ext uri="{FF2B5EF4-FFF2-40B4-BE49-F238E27FC236}">
                <a16:creationId xmlns:a16="http://schemas.microsoft.com/office/drawing/2014/main" id="{1749022F-2D24-3B7B-4935-CDF421E1AA27}"/>
              </a:ext>
            </a:extLst>
          </p:cNvPr>
          <p:cNvGrpSpPr/>
          <p:nvPr userDrawn="1"/>
        </p:nvGrpSpPr>
        <p:grpSpPr>
          <a:xfrm>
            <a:off x="752577" y="5441680"/>
            <a:ext cx="5202388" cy="756000"/>
            <a:chOff x="558332" y="2312872"/>
            <a:chExt cx="5202388" cy="756000"/>
          </a:xfrm>
        </p:grpSpPr>
        <p:sp>
          <p:nvSpPr>
            <p:cNvPr id="59" name="Rectangle 58">
              <a:extLst>
                <a:ext uri="{FF2B5EF4-FFF2-40B4-BE49-F238E27FC236}">
                  <a16:creationId xmlns:a16="http://schemas.microsoft.com/office/drawing/2014/main" id="{74C29AE8-19AA-C1C7-9021-ACCC5B30EBA8}"/>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0" name="Straight Connector 59">
              <a:extLst>
                <a:ext uri="{FF2B5EF4-FFF2-40B4-BE49-F238E27FC236}">
                  <a16:creationId xmlns:a16="http://schemas.microsoft.com/office/drawing/2014/main" id="{D1AF8B10-77B7-994C-26DA-98606625369C}"/>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61" name="Text Placeholder 20">
            <a:extLst>
              <a:ext uri="{FF2B5EF4-FFF2-40B4-BE49-F238E27FC236}">
                <a16:creationId xmlns:a16="http://schemas.microsoft.com/office/drawing/2014/main" id="{EBC6E672-A248-2ABD-D4D1-033D6C57FC5E}"/>
              </a:ext>
            </a:extLst>
          </p:cNvPr>
          <p:cNvSpPr>
            <a:spLocks noGrp="1"/>
          </p:cNvSpPr>
          <p:nvPr>
            <p:ph type="body" sz="quarter" idx="15" hasCustomPrompt="1"/>
          </p:nvPr>
        </p:nvSpPr>
        <p:spPr>
          <a:xfrm>
            <a:off x="838378" y="5530755"/>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27" name="Bilde 3">
            <a:extLst>
              <a:ext uri="{FF2B5EF4-FFF2-40B4-BE49-F238E27FC236}">
                <a16:creationId xmlns:a16="http://schemas.microsoft.com/office/drawing/2014/main" id="{A5B0FA5C-4366-EE3B-6258-1E103A7EB7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9" name="Date Placeholder 2">
            <a:extLst>
              <a:ext uri="{FF2B5EF4-FFF2-40B4-BE49-F238E27FC236}">
                <a16:creationId xmlns:a16="http://schemas.microsoft.com/office/drawing/2014/main" id="{52A88FDD-AA4C-DAEE-7C94-F7149BE52E2C}"/>
              </a:ext>
            </a:extLst>
          </p:cNvPr>
          <p:cNvSpPr>
            <a:spLocks noGrp="1"/>
          </p:cNvSpPr>
          <p:nvPr>
            <p:ph type="dt" sz="half" idx="16"/>
          </p:nvPr>
        </p:nvSpPr>
        <p:spPr>
          <a:xfrm>
            <a:off x="2303627" y="6492875"/>
            <a:ext cx="528585" cy="365125"/>
          </a:xfrm>
        </p:spPr>
        <p:txBody>
          <a:bodyPr/>
          <a:lstStyle/>
          <a:p>
            <a:fld id="{C078AF55-8EF8-CB40-A566-F181B071D6FB}" type="datetime1">
              <a:rPr lang="nb-NO" smtClean="0"/>
              <a:t>20.08.2024</a:t>
            </a:fld>
            <a:endParaRPr lang="en-US"/>
          </a:p>
        </p:txBody>
      </p:sp>
      <p:sp>
        <p:nvSpPr>
          <p:cNvPr id="30" name="Footer Placeholder 3">
            <a:extLst>
              <a:ext uri="{FF2B5EF4-FFF2-40B4-BE49-F238E27FC236}">
                <a16:creationId xmlns:a16="http://schemas.microsoft.com/office/drawing/2014/main" id="{D2BFB3AC-A2B8-F5EF-B14F-1D7D4A7611CA}"/>
              </a:ext>
            </a:extLst>
          </p:cNvPr>
          <p:cNvSpPr>
            <a:spLocks noGrp="1"/>
          </p:cNvSpPr>
          <p:nvPr>
            <p:ph type="ftr" sz="quarter" idx="17"/>
          </p:nvPr>
        </p:nvSpPr>
        <p:spPr>
          <a:xfrm>
            <a:off x="175116" y="6492875"/>
            <a:ext cx="2107096" cy="365125"/>
          </a:xfrm>
        </p:spPr>
        <p:txBody>
          <a:bodyPr/>
          <a:lstStyle/>
          <a:p>
            <a:r>
              <a:rPr lang="en-US"/>
              <a:t>© StrongPoint 2022</a:t>
            </a:r>
          </a:p>
        </p:txBody>
      </p:sp>
      <p:sp>
        <p:nvSpPr>
          <p:cNvPr id="31" name="Slide Number Placeholder 4">
            <a:extLst>
              <a:ext uri="{FF2B5EF4-FFF2-40B4-BE49-F238E27FC236}">
                <a16:creationId xmlns:a16="http://schemas.microsoft.com/office/drawing/2014/main" id="{463286B1-D26D-3F1D-B5F5-8A0CF9299383}"/>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9831576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userDrawn="1">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7" y="1980018"/>
            <a:ext cx="5629107" cy="37616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920607" y="2173414"/>
            <a:ext cx="5189583" cy="3418494"/>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cxnSp>
        <p:nvCxnSpPr>
          <p:cNvPr id="38" name="Straight Connector 37">
            <a:extLst>
              <a:ext uri="{FF2B5EF4-FFF2-40B4-BE49-F238E27FC236}">
                <a16:creationId xmlns:a16="http://schemas.microsoft.com/office/drawing/2014/main" id="{50BA0497-110B-3B4D-9B26-9615B579AE79}"/>
              </a:ext>
            </a:extLst>
          </p:cNvPr>
          <p:cNvCxnSpPr>
            <a:cxnSpLocks/>
          </p:cNvCxnSpPr>
          <p:nvPr/>
        </p:nvCxnSpPr>
        <p:spPr>
          <a:xfrm>
            <a:off x="6764797" y="1968295"/>
            <a:ext cx="0" cy="377341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C4E265A3-E59C-4BC7-CBFB-20219EE3DCE7}"/>
              </a:ext>
            </a:extLst>
          </p:cNvPr>
          <p:cNvSpPr>
            <a:spLocks noGrp="1"/>
          </p:cNvSpPr>
          <p:nvPr>
            <p:ph type="body" sz="quarter" idx="20"/>
          </p:nvPr>
        </p:nvSpPr>
        <p:spPr>
          <a:xfrm>
            <a:off x="6961306" y="2732861"/>
            <a:ext cx="4520840" cy="2859047"/>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Click to edit Master text styles</a:t>
            </a:r>
          </a:p>
        </p:txBody>
      </p:sp>
      <p:sp>
        <p:nvSpPr>
          <p:cNvPr id="39" name="Text Placeholder 20">
            <a:extLst>
              <a:ext uri="{FF2B5EF4-FFF2-40B4-BE49-F238E27FC236}">
                <a16:creationId xmlns:a16="http://schemas.microsoft.com/office/drawing/2014/main" id="{0620665D-BB66-4164-1374-A28DAD6902DA}"/>
              </a:ext>
            </a:extLst>
          </p:cNvPr>
          <p:cNvSpPr>
            <a:spLocks noGrp="1"/>
          </p:cNvSpPr>
          <p:nvPr>
            <p:ph type="body" sz="quarter" idx="28" hasCustomPrompt="1"/>
          </p:nvPr>
        </p:nvSpPr>
        <p:spPr>
          <a:xfrm>
            <a:off x="6961306" y="1986725"/>
            <a:ext cx="4520835" cy="629219"/>
          </a:xfrm>
          <a:prstGeom prst="rect">
            <a:avLst/>
          </a:prstGeom>
        </p:spPr>
        <p:txBody>
          <a:bodyPr anchor="t">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0" name="Title 1">
            <a:extLst>
              <a:ext uri="{FF2B5EF4-FFF2-40B4-BE49-F238E27FC236}">
                <a16:creationId xmlns:a16="http://schemas.microsoft.com/office/drawing/2014/main" id="{51F252D0-5EDA-7351-60DB-CC72A28D7A48}"/>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3" name="Bilde 3">
            <a:extLst>
              <a:ext uri="{FF2B5EF4-FFF2-40B4-BE49-F238E27FC236}">
                <a16:creationId xmlns:a16="http://schemas.microsoft.com/office/drawing/2014/main" id="{94408A45-5155-B048-3606-450C4DFB675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4" name="Date Placeholder 2">
            <a:extLst>
              <a:ext uri="{FF2B5EF4-FFF2-40B4-BE49-F238E27FC236}">
                <a16:creationId xmlns:a16="http://schemas.microsoft.com/office/drawing/2014/main" id="{3C9C0C90-AE8A-48F2-1EBA-7E27ACD7BA9F}"/>
              </a:ext>
            </a:extLst>
          </p:cNvPr>
          <p:cNvSpPr>
            <a:spLocks noGrp="1"/>
          </p:cNvSpPr>
          <p:nvPr>
            <p:ph type="dt" sz="half" idx="16"/>
          </p:nvPr>
        </p:nvSpPr>
        <p:spPr>
          <a:xfrm>
            <a:off x="2303627" y="6492875"/>
            <a:ext cx="528585" cy="365125"/>
          </a:xfrm>
        </p:spPr>
        <p:txBody>
          <a:bodyPr/>
          <a:lstStyle/>
          <a:p>
            <a:fld id="{F3EA187A-DB05-BE4A-B45F-B6D5A0BADF2C}" type="datetime1">
              <a:rPr lang="nb-NO" smtClean="0"/>
              <a:t>20.08.2024</a:t>
            </a:fld>
            <a:endParaRPr lang="en-US"/>
          </a:p>
        </p:txBody>
      </p:sp>
      <p:sp>
        <p:nvSpPr>
          <p:cNvPr id="15" name="Footer Placeholder 3">
            <a:extLst>
              <a:ext uri="{FF2B5EF4-FFF2-40B4-BE49-F238E27FC236}">
                <a16:creationId xmlns:a16="http://schemas.microsoft.com/office/drawing/2014/main" id="{E26AB59A-D5D9-39F1-D704-0AFB2691E90A}"/>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16" name="Slide Number Placeholder 4">
            <a:extLst>
              <a:ext uri="{FF2B5EF4-FFF2-40B4-BE49-F238E27FC236}">
                <a16:creationId xmlns:a16="http://schemas.microsoft.com/office/drawing/2014/main" id="{8FA05EBA-527C-CFCE-E5AE-2CA4589D5691}"/>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8287396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52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grpSp>
        <p:nvGrpSpPr>
          <p:cNvPr id="19" name="Group 18">
            <a:extLst>
              <a:ext uri="{FF2B5EF4-FFF2-40B4-BE49-F238E27FC236}">
                <a16:creationId xmlns:a16="http://schemas.microsoft.com/office/drawing/2014/main" id="{B2E54100-83F6-3840-9740-66AEE324BF5D}"/>
              </a:ext>
            </a:extLst>
          </p:cNvPr>
          <p:cNvGrpSpPr/>
          <p:nvPr/>
        </p:nvGrpSpPr>
        <p:grpSpPr>
          <a:xfrm>
            <a:off x="741777" y="1980018"/>
            <a:ext cx="5629107" cy="863468"/>
            <a:chOff x="558331" y="2312872"/>
            <a:chExt cx="9298521" cy="756000"/>
          </a:xfrm>
        </p:grpSpPr>
        <p:sp>
          <p:nvSpPr>
            <p:cNvPr id="20" name="Rectangle 19">
              <a:extLst>
                <a:ext uri="{FF2B5EF4-FFF2-40B4-BE49-F238E27FC236}">
                  <a16:creationId xmlns:a16="http://schemas.microsoft.com/office/drawing/2014/main" id="{68E4597E-D37D-6D49-A946-1A166440BD7E}"/>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7578" y="2056271"/>
            <a:ext cx="5189583"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grpSp>
        <p:nvGrpSpPr>
          <p:cNvPr id="17" name="Group 16">
            <a:extLst>
              <a:ext uri="{FF2B5EF4-FFF2-40B4-BE49-F238E27FC236}">
                <a16:creationId xmlns:a16="http://schemas.microsoft.com/office/drawing/2014/main" id="{3C27F867-309D-EA46-8C0F-93359D32C6CB}"/>
              </a:ext>
            </a:extLst>
          </p:cNvPr>
          <p:cNvGrpSpPr/>
          <p:nvPr/>
        </p:nvGrpSpPr>
        <p:grpSpPr>
          <a:xfrm>
            <a:off x="741777" y="2946094"/>
            <a:ext cx="5629107" cy="863468"/>
            <a:chOff x="558331" y="2312872"/>
            <a:chExt cx="9298521" cy="756000"/>
          </a:xfrm>
        </p:grpSpPr>
        <p:sp>
          <p:nvSpPr>
            <p:cNvPr id="18" name="Rectangle 17">
              <a:extLst>
                <a:ext uri="{FF2B5EF4-FFF2-40B4-BE49-F238E27FC236}">
                  <a16:creationId xmlns:a16="http://schemas.microsoft.com/office/drawing/2014/main" id="{99E19D7A-E6A9-054C-AB01-00DB0026F10D}"/>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82A16F31-8845-CC4C-9AD4-2BC372F49F8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5" name="Text Placeholder 20">
            <a:extLst>
              <a:ext uri="{FF2B5EF4-FFF2-40B4-BE49-F238E27FC236}">
                <a16:creationId xmlns:a16="http://schemas.microsoft.com/office/drawing/2014/main" id="{FC0F6143-34C5-944F-BEB1-CDAB609C4E6E}"/>
              </a:ext>
            </a:extLst>
          </p:cNvPr>
          <p:cNvSpPr>
            <a:spLocks noGrp="1"/>
          </p:cNvSpPr>
          <p:nvPr>
            <p:ph type="body" sz="quarter" idx="16" hasCustomPrompt="1"/>
          </p:nvPr>
        </p:nvSpPr>
        <p:spPr>
          <a:xfrm>
            <a:off x="827578" y="3022347"/>
            <a:ext cx="5189583" cy="710960"/>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grpSp>
        <p:nvGrpSpPr>
          <p:cNvPr id="26" name="Group 25">
            <a:extLst>
              <a:ext uri="{FF2B5EF4-FFF2-40B4-BE49-F238E27FC236}">
                <a16:creationId xmlns:a16="http://schemas.microsoft.com/office/drawing/2014/main" id="{B34B0E98-BDEB-A143-938B-9D5929ECC2A1}"/>
              </a:ext>
            </a:extLst>
          </p:cNvPr>
          <p:cNvGrpSpPr/>
          <p:nvPr/>
        </p:nvGrpSpPr>
        <p:grpSpPr>
          <a:xfrm>
            <a:off x="741777" y="3912170"/>
            <a:ext cx="5629107" cy="863468"/>
            <a:chOff x="558331" y="2312872"/>
            <a:chExt cx="9298521" cy="756000"/>
          </a:xfrm>
        </p:grpSpPr>
        <p:sp>
          <p:nvSpPr>
            <p:cNvPr id="27" name="Rectangle 26">
              <a:extLst>
                <a:ext uri="{FF2B5EF4-FFF2-40B4-BE49-F238E27FC236}">
                  <a16:creationId xmlns:a16="http://schemas.microsoft.com/office/drawing/2014/main" id="{154CD58A-8677-9545-B209-DF3C50FFCE03}"/>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CDD90E82-23AD-3E41-AFF1-C14FF24768FB}"/>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9" name="Text Placeholder 20">
            <a:extLst>
              <a:ext uri="{FF2B5EF4-FFF2-40B4-BE49-F238E27FC236}">
                <a16:creationId xmlns:a16="http://schemas.microsoft.com/office/drawing/2014/main" id="{CBE9FA2F-6631-2348-B5E8-CB1404D78870}"/>
              </a:ext>
            </a:extLst>
          </p:cNvPr>
          <p:cNvSpPr>
            <a:spLocks noGrp="1"/>
          </p:cNvSpPr>
          <p:nvPr>
            <p:ph type="body" sz="quarter" idx="17" hasCustomPrompt="1"/>
          </p:nvPr>
        </p:nvSpPr>
        <p:spPr>
          <a:xfrm>
            <a:off x="827578" y="3988423"/>
            <a:ext cx="5189583" cy="710960"/>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grpSp>
        <p:nvGrpSpPr>
          <p:cNvPr id="30" name="Group 29">
            <a:extLst>
              <a:ext uri="{FF2B5EF4-FFF2-40B4-BE49-F238E27FC236}">
                <a16:creationId xmlns:a16="http://schemas.microsoft.com/office/drawing/2014/main" id="{2FEE898A-C06A-E34F-A972-FD3103EE3129}"/>
              </a:ext>
            </a:extLst>
          </p:cNvPr>
          <p:cNvGrpSpPr/>
          <p:nvPr/>
        </p:nvGrpSpPr>
        <p:grpSpPr>
          <a:xfrm>
            <a:off x="748828" y="4878246"/>
            <a:ext cx="5629107" cy="863468"/>
            <a:chOff x="558331" y="2312872"/>
            <a:chExt cx="9298521" cy="756000"/>
          </a:xfrm>
        </p:grpSpPr>
        <p:sp>
          <p:nvSpPr>
            <p:cNvPr id="31" name="Rectangle 30">
              <a:extLst>
                <a:ext uri="{FF2B5EF4-FFF2-40B4-BE49-F238E27FC236}">
                  <a16:creationId xmlns:a16="http://schemas.microsoft.com/office/drawing/2014/main" id="{DA81EE83-C4CA-464B-95C0-5BA7057E8005}"/>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Connector 35">
              <a:extLst>
                <a:ext uri="{FF2B5EF4-FFF2-40B4-BE49-F238E27FC236}">
                  <a16:creationId xmlns:a16="http://schemas.microsoft.com/office/drawing/2014/main" id="{30F7734C-D965-A94B-944D-9E59C1C659A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7" name="Text Placeholder 20">
            <a:extLst>
              <a:ext uri="{FF2B5EF4-FFF2-40B4-BE49-F238E27FC236}">
                <a16:creationId xmlns:a16="http://schemas.microsoft.com/office/drawing/2014/main" id="{2E0AC1D5-7922-AD4E-9F76-639646857156}"/>
              </a:ext>
            </a:extLst>
          </p:cNvPr>
          <p:cNvSpPr>
            <a:spLocks noGrp="1"/>
          </p:cNvSpPr>
          <p:nvPr>
            <p:ph type="body" sz="quarter" idx="18" hasCustomPrompt="1"/>
          </p:nvPr>
        </p:nvSpPr>
        <p:spPr>
          <a:xfrm>
            <a:off x="834629" y="4954499"/>
            <a:ext cx="5189583" cy="710960"/>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cxnSp>
        <p:nvCxnSpPr>
          <p:cNvPr id="38" name="Straight Connector 37">
            <a:extLst>
              <a:ext uri="{FF2B5EF4-FFF2-40B4-BE49-F238E27FC236}">
                <a16:creationId xmlns:a16="http://schemas.microsoft.com/office/drawing/2014/main" id="{50BA0497-110B-3B4D-9B26-9615B579AE79}"/>
              </a:ext>
            </a:extLst>
          </p:cNvPr>
          <p:cNvCxnSpPr>
            <a:cxnSpLocks/>
          </p:cNvCxnSpPr>
          <p:nvPr userDrawn="1"/>
        </p:nvCxnSpPr>
        <p:spPr>
          <a:xfrm>
            <a:off x="6764797" y="1968295"/>
            <a:ext cx="0" cy="377341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48532500-70E3-56B8-5408-3B19292DC938}"/>
              </a:ext>
            </a:extLst>
          </p:cNvPr>
          <p:cNvSpPr>
            <a:spLocks noGrp="1"/>
          </p:cNvSpPr>
          <p:nvPr>
            <p:ph type="body" sz="quarter" idx="20"/>
          </p:nvPr>
        </p:nvSpPr>
        <p:spPr>
          <a:xfrm>
            <a:off x="6961306" y="2732861"/>
            <a:ext cx="4520840" cy="2859047"/>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Click to edit Master text styles</a:t>
            </a:r>
          </a:p>
        </p:txBody>
      </p:sp>
      <p:sp>
        <p:nvSpPr>
          <p:cNvPr id="39" name="Text Placeholder 20">
            <a:extLst>
              <a:ext uri="{FF2B5EF4-FFF2-40B4-BE49-F238E27FC236}">
                <a16:creationId xmlns:a16="http://schemas.microsoft.com/office/drawing/2014/main" id="{70055568-A992-C0C3-247D-12598FCCA433}"/>
              </a:ext>
            </a:extLst>
          </p:cNvPr>
          <p:cNvSpPr>
            <a:spLocks noGrp="1"/>
          </p:cNvSpPr>
          <p:nvPr>
            <p:ph type="body" sz="quarter" idx="28" hasCustomPrompt="1"/>
          </p:nvPr>
        </p:nvSpPr>
        <p:spPr>
          <a:xfrm>
            <a:off x="6961306" y="1986725"/>
            <a:ext cx="4520835" cy="629219"/>
          </a:xfrm>
          <a:prstGeom prst="rect">
            <a:avLst/>
          </a:prstGeom>
        </p:spPr>
        <p:txBody>
          <a:bodyPr anchor="t">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0" name="Title 1">
            <a:extLst>
              <a:ext uri="{FF2B5EF4-FFF2-40B4-BE49-F238E27FC236}">
                <a16:creationId xmlns:a16="http://schemas.microsoft.com/office/drawing/2014/main" id="{A6F30889-31DB-9A6C-379C-3B0014AD5F04}"/>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33" name="Bilde 3">
            <a:extLst>
              <a:ext uri="{FF2B5EF4-FFF2-40B4-BE49-F238E27FC236}">
                <a16:creationId xmlns:a16="http://schemas.microsoft.com/office/drawing/2014/main" id="{7F36F31A-B85F-ECCC-EE19-25B832DA9B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4" name="Date Placeholder 2">
            <a:extLst>
              <a:ext uri="{FF2B5EF4-FFF2-40B4-BE49-F238E27FC236}">
                <a16:creationId xmlns:a16="http://schemas.microsoft.com/office/drawing/2014/main" id="{11A5783A-4D89-B982-66F2-1C55D2A4FF15}"/>
              </a:ext>
            </a:extLst>
          </p:cNvPr>
          <p:cNvSpPr>
            <a:spLocks noGrp="1"/>
          </p:cNvSpPr>
          <p:nvPr>
            <p:ph type="dt" sz="half" idx="29"/>
          </p:nvPr>
        </p:nvSpPr>
        <p:spPr>
          <a:xfrm>
            <a:off x="2303627" y="6492875"/>
            <a:ext cx="528585" cy="365125"/>
          </a:xfrm>
        </p:spPr>
        <p:txBody>
          <a:bodyPr/>
          <a:lstStyle/>
          <a:p>
            <a:fld id="{9EF34DC9-2DD0-B24E-9890-EB5A535300C3}" type="datetime1">
              <a:rPr lang="nb-NO" smtClean="0"/>
              <a:t>20.08.2024</a:t>
            </a:fld>
            <a:endParaRPr lang="en-US"/>
          </a:p>
        </p:txBody>
      </p:sp>
      <p:sp>
        <p:nvSpPr>
          <p:cNvPr id="41" name="Footer Placeholder 3">
            <a:extLst>
              <a:ext uri="{FF2B5EF4-FFF2-40B4-BE49-F238E27FC236}">
                <a16:creationId xmlns:a16="http://schemas.microsoft.com/office/drawing/2014/main" id="{E43AA8C9-01E7-D4A7-9845-3A5D50C9A1D1}"/>
              </a:ext>
            </a:extLst>
          </p:cNvPr>
          <p:cNvSpPr>
            <a:spLocks noGrp="1"/>
          </p:cNvSpPr>
          <p:nvPr>
            <p:ph type="ftr" sz="quarter" idx="30"/>
          </p:nvPr>
        </p:nvSpPr>
        <p:spPr>
          <a:xfrm>
            <a:off x="175116" y="6492875"/>
            <a:ext cx="2107096" cy="365125"/>
          </a:xfrm>
        </p:spPr>
        <p:txBody>
          <a:bodyPr/>
          <a:lstStyle/>
          <a:p>
            <a:r>
              <a:rPr lang="en-US"/>
              <a:t>© StrongPoint 2022. All rights reserved.</a:t>
            </a:r>
          </a:p>
        </p:txBody>
      </p:sp>
      <p:sp>
        <p:nvSpPr>
          <p:cNvPr id="42" name="Slide Number Placeholder 4">
            <a:extLst>
              <a:ext uri="{FF2B5EF4-FFF2-40B4-BE49-F238E27FC236}">
                <a16:creationId xmlns:a16="http://schemas.microsoft.com/office/drawing/2014/main" id="{26E63F40-F6DA-BE09-86BD-4CDD968104DB}"/>
              </a:ext>
            </a:extLst>
          </p:cNvPr>
          <p:cNvSpPr>
            <a:spLocks noGrp="1"/>
          </p:cNvSpPr>
          <p:nvPr>
            <p:ph type="sldNum" sz="quarter" idx="31"/>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3277864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7" y="1606947"/>
            <a:ext cx="9063966"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41777"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84024" y="1850244"/>
            <a:ext cx="6770384" cy="3804619"/>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34" name="Bilde 13" descr="Et bilde som inneholder innendørs, datamaskin, leke, bord&#10;&#10;Automatisk generert beskrivelse">
            <a:extLst>
              <a:ext uri="{FF2B5EF4-FFF2-40B4-BE49-F238E27FC236}">
                <a16:creationId xmlns:a16="http://schemas.microsoft.com/office/drawing/2014/main" id="{82ADC36C-C5B4-5446-B311-0999748BC0A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597963" y="2054672"/>
            <a:ext cx="4594037" cy="4254591"/>
          </a:xfrm>
          <a:prstGeom prst="rect">
            <a:avLst/>
          </a:prstGeom>
        </p:spPr>
      </p:pic>
      <p:sp>
        <p:nvSpPr>
          <p:cNvPr id="9" name="Title 1">
            <a:extLst>
              <a:ext uri="{FF2B5EF4-FFF2-40B4-BE49-F238E27FC236}">
                <a16:creationId xmlns:a16="http://schemas.microsoft.com/office/drawing/2014/main" id="{E57EA93B-AC9E-03E8-D91C-19CF2DA6B9C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2" name="Bilde 3">
            <a:extLst>
              <a:ext uri="{FF2B5EF4-FFF2-40B4-BE49-F238E27FC236}">
                <a16:creationId xmlns:a16="http://schemas.microsoft.com/office/drawing/2014/main" id="{63E4AE8C-7FC8-B6DB-17CB-A62427F9C80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3" name="Date Placeholder 2">
            <a:extLst>
              <a:ext uri="{FF2B5EF4-FFF2-40B4-BE49-F238E27FC236}">
                <a16:creationId xmlns:a16="http://schemas.microsoft.com/office/drawing/2014/main" id="{601DC5CA-617F-ECD5-4035-EC54D988924A}"/>
              </a:ext>
            </a:extLst>
          </p:cNvPr>
          <p:cNvSpPr>
            <a:spLocks noGrp="1"/>
          </p:cNvSpPr>
          <p:nvPr>
            <p:ph type="dt" sz="half" idx="16"/>
          </p:nvPr>
        </p:nvSpPr>
        <p:spPr>
          <a:xfrm>
            <a:off x="2303627" y="6492875"/>
            <a:ext cx="528585" cy="365125"/>
          </a:xfrm>
        </p:spPr>
        <p:txBody>
          <a:bodyPr/>
          <a:lstStyle/>
          <a:p>
            <a:fld id="{F290BC89-2BCA-394D-AE29-D3C8BD3100C2}" type="datetime1">
              <a:rPr lang="nb-NO" smtClean="0"/>
              <a:t>20.08.2024</a:t>
            </a:fld>
            <a:endParaRPr lang="en-US"/>
          </a:p>
        </p:txBody>
      </p:sp>
      <p:sp>
        <p:nvSpPr>
          <p:cNvPr id="14" name="Footer Placeholder 3">
            <a:extLst>
              <a:ext uri="{FF2B5EF4-FFF2-40B4-BE49-F238E27FC236}">
                <a16:creationId xmlns:a16="http://schemas.microsoft.com/office/drawing/2014/main" id="{D69B4FC8-AC6B-54DD-EAE6-85D02AD3BF20}"/>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15" name="Slide Number Placeholder 4">
            <a:extLst>
              <a:ext uri="{FF2B5EF4-FFF2-40B4-BE49-F238E27FC236}">
                <a16:creationId xmlns:a16="http://schemas.microsoft.com/office/drawing/2014/main" id="{BBE056E2-6CC0-262C-7F2E-B95D44CED5BA}"/>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4118717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39_Custom Layout">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038D6646-E4D2-DD44-A139-EB42716908C7}"/>
              </a:ext>
            </a:extLst>
          </p:cNvPr>
          <p:cNvSpPr>
            <a:spLocks noGrp="1"/>
          </p:cNvSpPr>
          <p:nvPr>
            <p:ph type="pic" sz="quarter" idx="16"/>
          </p:nvPr>
        </p:nvSpPr>
        <p:spPr>
          <a:xfrm>
            <a:off x="6678514" y="1635371"/>
            <a:ext cx="4735158" cy="4226168"/>
          </a:xfrm>
          <a:prstGeom prst="rect">
            <a:avLst/>
          </a:prstGeom>
        </p:spPr>
        <p:txBody>
          <a:bodyPr anchor="ctr"/>
          <a:lstStyle>
            <a:lvl1pPr marL="0" indent="0" algn="ctr">
              <a:buNone/>
              <a:defRPr b="0" i="0">
                <a:solidFill>
                  <a:schemeClr val="accent1"/>
                </a:solidFill>
                <a:latin typeface="Helvetica Light" panose="020B0403020202020204" pitchFamily="34" charset="0"/>
              </a:defRPr>
            </a:lvl1pPr>
          </a:lstStyle>
          <a:p>
            <a:r>
              <a:rPr lang="en-GB"/>
              <a:t>Click icon to add picture</a:t>
            </a:r>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8" y="1606947"/>
            <a:ext cx="5850934"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41777"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7579" y="1699192"/>
            <a:ext cx="5674814" cy="4068562"/>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 name="Title 1">
            <a:extLst>
              <a:ext uri="{FF2B5EF4-FFF2-40B4-BE49-F238E27FC236}">
                <a16:creationId xmlns:a16="http://schemas.microsoft.com/office/drawing/2014/main" id="{1E4EE4EB-D8A2-2E64-5C7C-82412718B6BF}"/>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11" name="Date Placeholder 2">
            <a:extLst>
              <a:ext uri="{FF2B5EF4-FFF2-40B4-BE49-F238E27FC236}">
                <a16:creationId xmlns:a16="http://schemas.microsoft.com/office/drawing/2014/main" id="{7F4BF283-092E-C00E-953E-068744DAAA49}"/>
              </a:ext>
            </a:extLst>
          </p:cNvPr>
          <p:cNvSpPr>
            <a:spLocks noGrp="1"/>
          </p:cNvSpPr>
          <p:nvPr>
            <p:ph type="dt" sz="half" idx="17"/>
          </p:nvPr>
        </p:nvSpPr>
        <p:spPr>
          <a:xfrm>
            <a:off x="2303627" y="6492875"/>
            <a:ext cx="528585" cy="365125"/>
          </a:xfrm>
        </p:spPr>
        <p:txBody>
          <a:bodyPr/>
          <a:lstStyle/>
          <a:p>
            <a:fld id="{8A09585E-061A-9E4D-A6E2-AD740B9B2537}" type="datetime1">
              <a:rPr lang="nb-NO" smtClean="0"/>
              <a:t>20.08.2024</a:t>
            </a:fld>
            <a:endParaRPr lang="en-US"/>
          </a:p>
        </p:txBody>
      </p:sp>
      <p:sp>
        <p:nvSpPr>
          <p:cNvPr id="12" name="Footer Placeholder 3">
            <a:extLst>
              <a:ext uri="{FF2B5EF4-FFF2-40B4-BE49-F238E27FC236}">
                <a16:creationId xmlns:a16="http://schemas.microsoft.com/office/drawing/2014/main" id="{2D503D9A-B423-C00F-2CB6-41A20DB6790B}"/>
              </a:ext>
            </a:extLst>
          </p:cNvPr>
          <p:cNvSpPr>
            <a:spLocks noGrp="1"/>
          </p:cNvSpPr>
          <p:nvPr>
            <p:ph type="ftr" sz="quarter" idx="18"/>
          </p:nvPr>
        </p:nvSpPr>
        <p:spPr>
          <a:xfrm>
            <a:off x="175116" y="6492875"/>
            <a:ext cx="2107096" cy="365125"/>
          </a:xfrm>
        </p:spPr>
        <p:txBody>
          <a:bodyPr/>
          <a:lstStyle/>
          <a:p>
            <a:r>
              <a:rPr lang="en-US"/>
              <a:t>© StrongPoint 2022. All rights reserved.</a:t>
            </a:r>
          </a:p>
        </p:txBody>
      </p:sp>
      <p:sp>
        <p:nvSpPr>
          <p:cNvPr id="13" name="Slide Number Placeholder 4">
            <a:extLst>
              <a:ext uri="{FF2B5EF4-FFF2-40B4-BE49-F238E27FC236}">
                <a16:creationId xmlns:a16="http://schemas.microsoft.com/office/drawing/2014/main" id="{E31BBD39-6B1B-18BF-C0CF-DAD8F2A95290}"/>
              </a:ext>
            </a:extLst>
          </p:cNvPr>
          <p:cNvSpPr>
            <a:spLocks noGrp="1"/>
          </p:cNvSpPr>
          <p:nvPr>
            <p:ph type="sldNum" sz="quarter" idx="19"/>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9657771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54_Custom Layout">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038D6646-E4D2-DD44-A139-EB42716908C7}"/>
              </a:ext>
            </a:extLst>
          </p:cNvPr>
          <p:cNvSpPr>
            <a:spLocks noGrp="1"/>
          </p:cNvSpPr>
          <p:nvPr>
            <p:ph type="pic" sz="quarter" idx="16"/>
          </p:nvPr>
        </p:nvSpPr>
        <p:spPr>
          <a:xfrm>
            <a:off x="4674124" y="1635371"/>
            <a:ext cx="6739548" cy="4226168"/>
          </a:xfrm>
          <a:prstGeom prst="rect">
            <a:avLst/>
          </a:prstGeom>
        </p:spPr>
        <p:txBody>
          <a:bodyPr anchor="ctr"/>
          <a:lstStyle>
            <a:lvl1pPr marL="0" indent="0" algn="ctr">
              <a:buNone/>
              <a:defRPr b="0" i="0">
                <a:solidFill>
                  <a:schemeClr val="accent1"/>
                </a:solidFill>
                <a:latin typeface="Helvetica Light" panose="020B0403020202020204" pitchFamily="34" charset="0"/>
              </a:defRPr>
            </a:lvl1pPr>
          </a:lstStyle>
          <a:p>
            <a:r>
              <a:rPr lang="en-GB"/>
              <a:t>Click icon to add picture</a:t>
            </a:r>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8" y="1606947"/>
            <a:ext cx="3846545"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41777"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7579" y="1699192"/>
            <a:ext cx="3597460" cy="4068562"/>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 name="Title 1">
            <a:extLst>
              <a:ext uri="{FF2B5EF4-FFF2-40B4-BE49-F238E27FC236}">
                <a16:creationId xmlns:a16="http://schemas.microsoft.com/office/drawing/2014/main" id="{1E4EE4EB-D8A2-2E64-5C7C-82412718B6BF}"/>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2" name="Bilde 3">
            <a:extLst>
              <a:ext uri="{FF2B5EF4-FFF2-40B4-BE49-F238E27FC236}">
                <a16:creationId xmlns:a16="http://schemas.microsoft.com/office/drawing/2014/main" id="{0327E981-B6C3-CD4C-0EF0-126DBFD1988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3" name="Date Placeholder 2">
            <a:extLst>
              <a:ext uri="{FF2B5EF4-FFF2-40B4-BE49-F238E27FC236}">
                <a16:creationId xmlns:a16="http://schemas.microsoft.com/office/drawing/2014/main" id="{DC9AEC75-ADB7-C1ED-BDB5-2C7758DE421F}"/>
              </a:ext>
            </a:extLst>
          </p:cNvPr>
          <p:cNvSpPr>
            <a:spLocks noGrp="1"/>
          </p:cNvSpPr>
          <p:nvPr>
            <p:ph type="dt" sz="half" idx="17"/>
          </p:nvPr>
        </p:nvSpPr>
        <p:spPr>
          <a:xfrm>
            <a:off x="2303627" y="6492875"/>
            <a:ext cx="528585" cy="365125"/>
          </a:xfrm>
        </p:spPr>
        <p:txBody>
          <a:bodyPr/>
          <a:lstStyle/>
          <a:p>
            <a:fld id="{A6E4F9D0-67E2-FF49-9CED-2C810D5EE4D0}" type="datetime1">
              <a:rPr lang="nb-NO" smtClean="0"/>
              <a:t>20.08.2024</a:t>
            </a:fld>
            <a:endParaRPr lang="en-US"/>
          </a:p>
        </p:txBody>
      </p:sp>
      <p:sp>
        <p:nvSpPr>
          <p:cNvPr id="14" name="Footer Placeholder 3">
            <a:extLst>
              <a:ext uri="{FF2B5EF4-FFF2-40B4-BE49-F238E27FC236}">
                <a16:creationId xmlns:a16="http://schemas.microsoft.com/office/drawing/2014/main" id="{737E5B01-DCF8-EE11-DF60-D46A5131CF87}"/>
              </a:ext>
            </a:extLst>
          </p:cNvPr>
          <p:cNvSpPr>
            <a:spLocks noGrp="1"/>
          </p:cNvSpPr>
          <p:nvPr>
            <p:ph type="ftr" sz="quarter" idx="18"/>
          </p:nvPr>
        </p:nvSpPr>
        <p:spPr>
          <a:xfrm>
            <a:off x="175116" y="6492875"/>
            <a:ext cx="2107096" cy="365125"/>
          </a:xfrm>
        </p:spPr>
        <p:txBody>
          <a:bodyPr/>
          <a:lstStyle/>
          <a:p>
            <a:r>
              <a:rPr lang="en-US"/>
              <a:t>© StrongPoint 2022. All rights reserved.</a:t>
            </a:r>
          </a:p>
        </p:txBody>
      </p:sp>
      <p:sp>
        <p:nvSpPr>
          <p:cNvPr id="15" name="Slide Number Placeholder 4">
            <a:extLst>
              <a:ext uri="{FF2B5EF4-FFF2-40B4-BE49-F238E27FC236}">
                <a16:creationId xmlns:a16="http://schemas.microsoft.com/office/drawing/2014/main" id="{6DBBC043-34AD-A698-EA2B-CF6680B72D21}"/>
              </a:ext>
            </a:extLst>
          </p:cNvPr>
          <p:cNvSpPr>
            <a:spLocks noGrp="1"/>
          </p:cNvSpPr>
          <p:nvPr>
            <p:ph type="sldNum" sz="quarter" idx="19"/>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4074464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55_Custom Layout">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038D6646-E4D2-DD44-A139-EB42716908C7}"/>
              </a:ext>
            </a:extLst>
          </p:cNvPr>
          <p:cNvSpPr>
            <a:spLocks noGrp="1"/>
          </p:cNvSpPr>
          <p:nvPr>
            <p:ph type="pic" sz="quarter" idx="16"/>
          </p:nvPr>
        </p:nvSpPr>
        <p:spPr>
          <a:xfrm>
            <a:off x="8271590" y="1635371"/>
            <a:ext cx="3142081" cy="4226168"/>
          </a:xfrm>
          <a:prstGeom prst="rect">
            <a:avLst/>
          </a:prstGeom>
        </p:spPr>
        <p:txBody>
          <a:bodyPr anchor="ctr"/>
          <a:lstStyle>
            <a:lvl1pPr marL="0" indent="0" algn="ctr">
              <a:buNone/>
              <a:defRPr b="0" i="0">
                <a:solidFill>
                  <a:schemeClr val="accent1"/>
                </a:solidFill>
                <a:latin typeface="Helvetica Light" panose="020B0403020202020204" pitchFamily="34" charset="0"/>
              </a:defRPr>
            </a:lvl1pPr>
          </a:lstStyle>
          <a:p>
            <a:r>
              <a:rPr lang="en-GB"/>
              <a:t>Click icon to add picture</a:t>
            </a:r>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8" y="1606947"/>
            <a:ext cx="3896132"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41777"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7578" y="1699192"/>
            <a:ext cx="3680615" cy="4068562"/>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 name="Title 1">
            <a:extLst>
              <a:ext uri="{FF2B5EF4-FFF2-40B4-BE49-F238E27FC236}">
                <a16:creationId xmlns:a16="http://schemas.microsoft.com/office/drawing/2014/main" id="{1E4EE4EB-D8A2-2E64-5C7C-82412718B6BF}"/>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11" name="Picture Placeholder 3">
            <a:extLst>
              <a:ext uri="{FF2B5EF4-FFF2-40B4-BE49-F238E27FC236}">
                <a16:creationId xmlns:a16="http://schemas.microsoft.com/office/drawing/2014/main" id="{3CC9F20E-3553-313F-ADE6-7FAB12C7B417}"/>
              </a:ext>
            </a:extLst>
          </p:cNvPr>
          <p:cNvSpPr>
            <a:spLocks noGrp="1"/>
          </p:cNvSpPr>
          <p:nvPr>
            <p:ph type="pic" sz="quarter" idx="17"/>
          </p:nvPr>
        </p:nvSpPr>
        <p:spPr>
          <a:xfrm>
            <a:off x="4764746" y="1635371"/>
            <a:ext cx="3380014" cy="4226168"/>
          </a:xfrm>
          <a:prstGeom prst="rect">
            <a:avLst/>
          </a:prstGeom>
        </p:spPr>
        <p:txBody>
          <a:bodyPr anchor="ctr"/>
          <a:lstStyle>
            <a:lvl1pPr marL="0" indent="0" algn="ctr">
              <a:buNone/>
              <a:defRPr b="0" i="0">
                <a:solidFill>
                  <a:schemeClr val="accent1"/>
                </a:solidFill>
                <a:latin typeface="Helvetica Light" panose="020B0403020202020204" pitchFamily="34" charset="0"/>
              </a:defRPr>
            </a:lvl1pPr>
          </a:lstStyle>
          <a:p>
            <a:r>
              <a:rPr lang="en-GB"/>
              <a:t>Click icon to add picture</a:t>
            </a:r>
          </a:p>
        </p:txBody>
      </p:sp>
      <p:pic>
        <p:nvPicPr>
          <p:cNvPr id="13" name="Bilde 3">
            <a:extLst>
              <a:ext uri="{FF2B5EF4-FFF2-40B4-BE49-F238E27FC236}">
                <a16:creationId xmlns:a16="http://schemas.microsoft.com/office/drawing/2014/main" id="{5F1C00DC-FD44-9124-9788-8918143E08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4" name="Date Placeholder 2">
            <a:extLst>
              <a:ext uri="{FF2B5EF4-FFF2-40B4-BE49-F238E27FC236}">
                <a16:creationId xmlns:a16="http://schemas.microsoft.com/office/drawing/2014/main" id="{E7111538-68AD-F0AD-97EF-F3CFFC032DA1}"/>
              </a:ext>
            </a:extLst>
          </p:cNvPr>
          <p:cNvSpPr>
            <a:spLocks noGrp="1"/>
          </p:cNvSpPr>
          <p:nvPr>
            <p:ph type="dt" sz="half" idx="18"/>
          </p:nvPr>
        </p:nvSpPr>
        <p:spPr>
          <a:xfrm>
            <a:off x="2303627" y="6492875"/>
            <a:ext cx="528585" cy="365125"/>
          </a:xfrm>
        </p:spPr>
        <p:txBody>
          <a:bodyPr/>
          <a:lstStyle/>
          <a:p>
            <a:fld id="{ACC9502E-AED7-AC4F-A364-5EE8F199DAB9}" type="datetime1">
              <a:rPr lang="nb-NO" smtClean="0"/>
              <a:t>20.08.2024</a:t>
            </a:fld>
            <a:endParaRPr lang="en-US"/>
          </a:p>
        </p:txBody>
      </p:sp>
      <p:sp>
        <p:nvSpPr>
          <p:cNvPr id="15" name="Footer Placeholder 3">
            <a:extLst>
              <a:ext uri="{FF2B5EF4-FFF2-40B4-BE49-F238E27FC236}">
                <a16:creationId xmlns:a16="http://schemas.microsoft.com/office/drawing/2014/main" id="{01142E11-F214-36F3-8C13-CB4805DA263C}"/>
              </a:ext>
            </a:extLst>
          </p:cNvPr>
          <p:cNvSpPr>
            <a:spLocks noGrp="1"/>
          </p:cNvSpPr>
          <p:nvPr>
            <p:ph type="ftr" sz="quarter" idx="19"/>
          </p:nvPr>
        </p:nvSpPr>
        <p:spPr>
          <a:xfrm>
            <a:off x="175116" y="6492875"/>
            <a:ext cx="2107096" cy="365125"/>
          </a:xfrm>
        </p:spPr>
        <p:txBody>
          <a:bodyPr/>
          <a:lstStyle/>
          <a:p>
            <a:r>
              <a:rPr lang="en-US"/>
              <a:t>© StrongPoint 2022. All rights reserved.</a:t>
            </a:r>
          </a:p>
        </p:txBody>
      </p:sp>
      <p:sp>
        <p:nvSpPr>
          <p:cNvPr id="16" name="Slide Number Placeholder 4">
            <a:extLst>
              <a:ext uri="{FF2B5EF4-FFF2-40B4-BE49-F238E27FC236}">
                <a16:creationId xmlns:a16="http://schemas.microsoft.com/office/drawing/2014/main" id="{6FB8189E-9F09-A4BD-84B5-48D52AF3348E}"/>
              </a:ext>
            </a:extLst>
          </p:cNvPr>
          <p:cNvSpPr>
            <a:spLocks noGrp="1"/>
          </p:cNvSpPr>
          <p:nvPr>
            <p:ph type="sldNum" sz="quarter" idx="20"/>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9592342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37741" y="1606947"/>
            <a:ext cx="10630718"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37741"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3542" y="1699192"/>
            <a:ext cx="10338438" cy="4068562"/>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8" name="Title 1">
            <a:extLst>
              <a:ext uri="{FF2B5EF4-FFF2-40B4-BE49-F238E27FC236}">
                <a16:creationId xmlns:a16="http://schemas.microsoft.com/office/drawing/2014/main" id="{750EA6DB-7BE5-46DA-7D39-CE1BBA16615F}"/>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1" name="Bilde 3">
            <a:extLst>
              <a:ext uri="{FF2B5EF4-FFF2-40B4-BE49-F238E27FC236}">
                <a16:creationId xmlns:a16="http://schemas.microsoft.com/office/drawing/2014/main" id="{30247BF6-FA19-7552-D334-E3C9D9D6DF4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2" name="Date Placeholder 2">
            <a:extLst>
              <a:ext uri="{FF2B5EF4-FFF2-40B4-BE49-F238E27FC236}">
                <a16:creationId xmlns:a16="http://schemas.microsoft.com/office/drawing/2014/main" id="{8A1D8C01-17C6-A91E-6D56-51CD8050B615}"/>
              </a:ext>
            </a:extLst>
          </p:cNvPr>
          <p:cNvSpPr>
            <a:spLocks noGrp="1"/>
          </p:cNvSpPr>
          <p:nvPr>
            <p:ph type="dt" sz="half" idx="16"/>
          </p:nvPr>
        </p:nvSpPr>
        <p:spPr>
          <a:xfrm>
            <a:off x="2303627" y="6492875"/>
            <a:ext cx="528585" cy="365125"/>
          </a:xfrm>
        </p:spPr>
        <p:txBody>
          <a:bodyPr/>
          <a:lstStyle/>
          <a:p>
            <a:fld id="{874D328D-6607-0046-95C2-00DCF639C094}" type="datetime1">
              <a:rPr lang="nb-NO" smtClean="0"/>
              <a:t>20.08.2024</a:t>
            </a:fld>
            <a:endParaRPr lang="en-US"/>
          </a:p>
        </p:txBody>
      </p:sp>
      <p:sp>
        <p:nvSpPr>
          <p:cNvPr id="13" name="Footer Placeholder 3">
            <a:extLst>
              <a:ext uri="{FF2B5EF4-FFF2-40B4-BE49-F238E27FC236}">
                <a16:creationId xmlns:a16="http://schemas.microsoft.com/office/drawing/2014/main" id="{6B02DFB0-2518-39B7-471B-1FD6736FDFAA}"/>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14" name="Slide Number Placeholder 4">
            <a:extLst>
              <a:ext uri="{FF2B5EF4-FFF2-40B4-BE49-F238E27FC236}">
                <a16:creationId xmlns:a16="http://schemas.microsoft.com/office/drawing/2014/main" id="{A7D45FAD-36C9-58C2-B818-7F227551A5A8}"/>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9916534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1448411" y="237532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779147" y="1485777"/>
            <a:ext cx="2938011" cy="605707"/>
          </a:xfrm>
          <a:prstGeom prst="rect">
            <a:avLst/>
          </a:prstGeom>
        </p:spPr>
        <p:txBody>
          <a:bodyPr anchor="b">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529693" y="2380462"/>
            <a:ext cx="2187469"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6" name="Oval 5">
            <a:extLst>
              <a:ext uri="{FF2B5EF4-FFF2-40B4-BE49-F238E27FC236}">
                <a16:creationId xmlns:a16="http://schemas.microsoft.com/office/drawing/2014/main" id="{8DBB2A8D-B9A7-F046-8E3F-1F0126DB7CCD}"/>
              </a:ext>
            </a:extLst>
          </p:cNvPr>
          <p:cNvSpPr/>
          <p:nvPr userDrawn="1"/>
        </p:nvSpPr>
        <p:spPr>
          <a:xfrm>
            <a:off x="773262" y="2507190"/>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7" name="Straight Connector 46">
            <a:extLst>
              <a:ext uri="{FF2B5EF4-FFF2-40B4-BE49-F238E27FC236}">
                <a16:creationId xmlns:a16="http://schemas.microsoft.com/office/drawing/2014/main" id="{9319F917-FF3E-6F4A-8DED-9BD99CAF6CEC}"/>
              </a:ext>
            </a:extLst>
          </p:cNvPr>
          <p:cNvCxnSpPr>
            <a:cxnSpLocks/>
          </p:cNvCxnSpPr>
          <p:nvPr userDrawn="1"/>
        </p:nvCxnSpPr>
        <p:spPr>
          <a:xfrm>
            <a:off x="5202442" y="237532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8" name="Text Placeholder 20">
            <a:extLst>
              <a:ext uri="{FF2B5EF4-FFF2-40B4-BE49-F238E27FC236}">
                <a16:creationId xmlns:a16="http://schemas.microsoft.com/office/drawing/2014/main" id="{90110F60-89B8-F44F-86DF-237FA9EDC86F}"/>
              </a:ext>
            </a:extLst>
          </p:cNvPr>
          <p:cNvSpPr>
            <a:spLocks noGrp="1"/>
          </p:cNvSpPr>
          <p:nvPr>
            <p:ph type="body" sz="quarter" idx="31" hasCustomPrompt="1"/>
          </p:nvPr>
        </p:nvSpPr>
        <p:spPr>
          <a:xfrm>
            <a:off x="4533178" y="1485777"/>
            <a:ext cx="2938003" cy="605707"/>
          </a:xfrm>
          <a:prstGeom prst="rect">
            <a:avLst/>
          </a:prstGeom>
        </p:spPr>
        <p:txBody>
          <a:bodyPr anchor="b">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9" name="Text Placeholder 20">
            <a:extLst>
              <a:ext uri="{FF2B5EF4-FFF2-40B4-BE49-F238E27FC236}">
                <a16:creationId xmlns:a16="http://schemas.microsoft.com/office/drawing/2014/main" id="{8F9630DC-CA99-8F43-AA5B-00980E185C7F}"/>
              </a:ext>
            </a:extLst>
          </p:cNvPr>
          <p:cNvSpPr>
            <a:spLocks noGrp="1"/>
          </p:cNvSpPr>
          <p:nvPr>
            <p:ph type="body" sz="quarter" idx="32" hasCustomPrompt="1"/>
          </p:nvPr>
        </p:nvSpPr>
        <p:spPr>
          <a:xfrm>
            <a:off x="5283725" y="2380462"/>
            <a:ext cx="2187470"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3" name="Oval 52">
            <a:extLst>
              <a:ext uri="{FF2B5EF4-FFF2-40B4-BE49-F238E27FC236}">
                <a16:creationId xmlns:a16="http://schemas.microsoft.com/office/drawing/2014/main" id="{75A3B9E5-08F2-814D-9BEE-10B6FF734436}"/>
              </a:ext>
            </a:extLst>
          </p:cNvPr>
          <p:cNvSpPr/>
          <p:nvPr userDrawn="1"/>
        </p:nvSpPr>
        <p:spPr>
          <a:xfrm>
            <a:off x="4527293" y="2507190"/>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4" name="Straight Connector 53">
            <a:extLst>
              <a:ext uri="{FF2B5EF4-FFF2-40B4-BE49-F238E27FC236}">
                <a16:creationId xmlns:a16="http://schemas.microsoft.com/office/drawing/2014/main" id="{E613A742-D6B6-E547-AFAD-DAF27F529BB3}"/>
              </a:ext>
            </a:extLst>
          </p:cNvPr>
          <p:cNvCxnSpPr>
            <a:cxnSpLocks/>
          </p:cNvCxnSpPr>
          <p:nvPr userDrawn="1"/>
        </p:nvCxnSpPr>
        <p:spPr>
          <a:xfrm>
            <a:off x="9035840" y="237532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Text Placeholder 20">
            <a:extLst>
              <a:ext uri="{FF2B5EF4-FFF2-40B4-BE49-F238E27FC236}">
                <a16:creationId xmlns:a16="http://schemas.microsoft.com/office/drawing/2014/main" id="{FDAE3801-F6B0-9040-BFF6-0C2A999B3008}"/>
              </a:ext>
            </a:extLst>
          </p:cNvPr>
          <p:cNvSpPr>
            <a:spLocks noGrp="1"/>
          </p:cNvSpPr>
          <p:nvPr>
            <p:ph type="body" sz="quarter" idx="33" hasCustomPrompt="1"/>
          </p:nvPr>
        </p:nvSpPr>
        <p:spPr>
          <a:xfrm>
            <a:off x="8366577" y="1485777"/>
            <a:ext cx="2938004" cy="605707"/>
          </a:xfrm>
          <a:prstGeom prst="rect">
            <a:avLst/>
          </a:prstGeom>
        </p:spPr>
        <p:txBody>
          <a:bodyPr anchor="b">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6" name="Text Placeholder 20">
            <a:extLst>
              <a:ext uri="{FF2B5EF4-FFF2-40B4-BE49-F238E27FC236}">
                <a16:creationId xmlns:a16="http://schemas.microsoft.com/office/drawing/2014/main" id="{AC05E92B-0A22-F74F-A0A0-37E184796253}"/>
              </a:ext>
            </a:extLst>
          </p:cNvPr>
          <p:cNvSpPr>
            <a:spLocks noGrp="1"/>
          </p:cNvSpPr>
          <p:nvPr>
            <p:ph type="body" sz="quarter" idx="34" hasCustomPrompt="1"/>
          </p:nvPr>
        </p:nvSpPr>
        <p:spPr>
          <a:xfrm>
            <a:off x="9117123" y="2380462"/>
            <a:ext cx="219359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7" name="Oval 56">
            <a:extLst>
              <a:ext uri="{FF2B5EF4-FFF2-40B4-BE49-F238E27FC236}">
                <a16:creationId xmlns:a16="http://schemas.microsoft.com/office/drawing/2014/main" id="{3413011A-3D10-E14D-B233-D9B81B58D993}"/>
              </a:ext>
            </a:extLst>
          </p:cNvPr>
          <p:cNvSpPr/>
          <p:nvPr userDrawn="1"/>
        </p:nvSpPr>
        <p:spPr>
          <a:xfrm>
            <a:off x="8360691" y="2507190"/>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8" name="Straight Connector 57">
            <a:extLst>
              <a:ext uri="{FF2B5EF4-FFF2-40B4-BE49-F238E27FC236}">
                <a16:creationId xmlns:a16="http://schemas.microsoft.com/office/drawing/2014/main" id="{14D0E40A-826D-D447-875C-24BB261305E6}"/>
              </a:ext>
            </a:extLst>
          </p:cNvPr>
          <p:cNvCxnSpPr>
            <a:cxnSpLocks/>
          </p:cNvCxnSpPr>
          <p:nvPr userDrawn="1"/>
        </p:nvCxnSpPr>
        <p:spPr>
          <a:xfrm>
            <a:off x="1448411" y="3304813"/>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Text Placeholder 20">
            <a:extLst>
              <a:ext uri="{FF2B5EF4-FFF2-40B4-BE49-F238E27FC236}">
                <a16:creationId xmlns:a16="http://schemas.microsoft.com/office/drawing/2014/main" id="{8F334DBA-DB16-D64B-BA18-F61C21BB3599}"/>
              </a:ext>
            </a:extLst>
          </p:cNvPr>
          <p:cNvSpPr>
            <a:spLocks noGrp="1"/>
          </p:cNvSpPr>
          <p:nvPr>
            <p:ph type="body" sz="quarter" idx="35" hasCustomPrompt="1"/>
          </p:nvPr>
        </p:nvSpPr>
        <p:spPr>
          <a:xfrm>
            <a:off x="1529693" y="3309950"/>
            <a:ext cx="2187469"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64" name="Oval 63">
            <a:extLst>
              <a:ext uri="{FF2B5EF4-FFF2-40B4-BE49-F238E27FC236}">
                <a16:creationId xmlns:a16="http://schemas.microsoft.com/office/drawing/2014/main" id="{B2763EBF-B45B-7F4C-9541-765EF4D57406}"/>
              </a:ext>
            </a:extLst>
          </p:cNvPr>
          <p:cNvSpPr/>
          <p:nvPr userDrawn="1"/>
        </p:nvSpPr>
        <p:spPr>
          <a:xfrm>
            <a:off x="773262" y="3436678"/>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5" name="Straight Connector 64">
            <a:extLst>
              <a:ext uri="{FF2B5EF4-FFF2-40B4-BE49-F238E27FC236}">
                <a16:creationId xmlns:a16="http://schemas.microsoft.com/office/drawing/2014/main" id="{39C8D00F-526F-4D4A-87BC-AE247330FE55}"/>
              </a:ext>
            </a:extLst>
          </p:cNvPr>
          <p:cNvCxnSpPr>
            <a:cxnSpLocks/>
          </p:cNvCxnSpPr>
          <p:nvPr userDrawn="1"/>
        </p:nvCxnSpPr>
        <p:spPr>
          <a:xfrm>
            <a:off x="5202442" y="3304813"/>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6" name="Text Placeholder 20">
            <a:extLst>
              <a:ext uri="{FF2B5EF4-FFF2-40B4-BE49-F238E27FC236}">
                <a16:creationId xmlns:a16="http://schemas.microsoft.com/office/drawing/2014/main" id="{D58352EA-9911-8742-A2FE-08E11A7F4AA9}"/>
              </a:ext>
            </a:extLst>
          </p:cNvPr>
          <p:cNvSpPr>
            <a:spLocks noGrp="1"/>
          </p:cNvSpPr>
          <p:nvPr>
            <p:ph type="body" sz="quarter" idx="36" hasCustomPrompt="1"/>
          </p:nvPr>
        </p:nvSpPr>
        <p:spPr>
          <a:xfrm>
            <a:off x="5283725" y="3309950"/>
            <a:ext cx="2187470"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67" name="Oval 66">
            <a:extLst>
              <a:ext uri="{FF2B5EF4-FFF2-40B4-BE49-F238E27FC236}">
                <a16:creationId xmlns:a16="http://schemas.microsoft.com/office/drawing/2014/main" id="{CC472FC1-B8F3-434A-899E-A519F9565D65}"/>
              </a:ext>
            </a:extLst>
          </p:cNvPr>
          <p:cNvSpPr/>
          <p:nvPr userDrawn="1"/>
        </p:nvSpPr>
        <p:spPr>
          <a:xfrm>
            <a:off x="4527293" y="3436678"/>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8" name="Straight Connector 67">
            <a:extLst>
              <a:ext uri="{FF2B5EF4-FFF2-40B4-BE49-F238E27FC236}">
                <a16:creationId xmlns:a16="http://schemas.microsoft.com/office/drawing/2014/main" id="{0FBF096B-09C8-A742-8D7B-2CD71288F329}"/>
              </a:ext>
            </a:extLst>
          </p:cNvPr>
          <p:cNvCxnSpPr>
            <a:cxnSpLocks/>
          </p:cNvCxnSpPr>
          <p:nvPr userDrawn="1"/>
        </p:nvCxnSpPr>
        <p:spPr>
          <a:xfrm>
            <a:off x="9035840" y="3304813"/>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9" name="Text Placeholder 20">
            <a:extLst>
              <a:ext uri="{FF2B5EF4-FFF2-40B4-BE49-F238E27FC236}">
                <a16:creationId xmlns:a16="http://schemas.microsoft.com/office/drawing/2014/main" id="{693B4C3E-8292-A048-A211-BD35FDE740A1}"/>
              </a:ext>
            </a:extLst>
          </p:cNvPr>
          <p:cNvSpPr>
            <a:spLocks noGrp="1"/>
          </p:cNvSpPr>
          <p:nvPr>
            <p:ph type="body" sz="quarter" idx="37" hasCustomPrompt="1"/>
          </p:nvPr>
        </p:nvSpPr>
        <p:spPr>
          <a:xfrm>
            <a:off x="9117123" y="3309950"/>
            <a:ext cx="219359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70" name="Oval 69">
            <a:extLst>
              <a:ext uri="{FF2B5EF4-FFF2-40B4-BE49-F238E27FC236}">
                <a16:creationId xmlns:a16="http://schemas.microsoft.com/office/drawing/2014/main" id="{B40AD22E-5FFC-D145-9D3B-1CD5D45D23AA}"/>
              </a:ext>
            </a:extLst>
          </p:cNvPr>
          <p:cNvSpPr/>
          <p:nvPr userDrawn="1"/>
        </p:nvSpPr>
        <p:spPr>
          <a:xfrm>
            <a:off x="8360691" y="3436678"/>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1" name="Straight Connector 70">
            <a:extLst>
              <a:ext uri="{FF2B5EF4-FFF2-40B4-BE49-F238E27FC236}">
                <a16:creationId xmlns:a16="http://schemas.microsoft.com/office/drawing/2014/main" id="{9B854D38-8E94-2945-A6F3-1F4A80FB0143}"/>
              </a:ext>
            </a:extLst>
          </p:cNvPr>
          <p:cNvCxnSpPr>
            <a:cxnSpLocks/>
          </p:cNvCxnSpPr>
          <p:nvPr userDrawn="1"/>
        </p:nvCxnSpPr>
        <p:spPr>
          <a:xfrm>
            <a:off x="1448411" y="4229496"/>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Text Placeholder 20">
            <a:extLst>
              <a:ext uri="{FF2B5EF4-FFF2-40B4-BE49-F238E27FC236}">
                <a16:creationId xmlns:a16="http://schemas.microsoft.com/office/drawing/2014/main" id="{B03FB43F-DE17-034A-AD6E-863D0BF0C97A}"/>
              </a:ext>
            </a:extLst>
          </p:cNvPr>
          <p:cNvSpPr>
            <a:spLocks noGrp="1"/>
          </p:cNvSpPr>
          <p:nvPr>
            <p:ph type="body" sz="quarter" idx="38" hasCustomPrompt="1"/>
          </p:nvPr>
        </p:nvSpPr>
        <p:spPr>
          <a:xfrm>
            <a:off x="1529693" y="4234633"/>
            <a:ext cx="2187469"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73" name="Oval 72">
            <a:extLst>
              <a:ext uri="{FF2B5EF4-FFF2-40B4-BE49-F238E27FC236}">
                <a16:creationId xmlns:a16="http://schemas.microsoft.com/office/drawing/2014/main" id="{CCBBF6A3-F126-B341-869B-7CBDD189EB87}"/>
              </a:ext>
            </a:extLst>
          </p:cNvPr>
          <p:cNvSpPr/>
          <p:nvPr userDrawn="1"/>
        </p:nvSpPr>
        <p:spPr>
          <a:xfrm>
            <a:off x="773262" y="4361361"/>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4" name="Straight Connector 73">
            <a:extLst>
              <a:ext uri="{FF2B5EF4-FFF2-40B4-BE49-F238E27FC236}">
                <a16:creationId xmlns:a16="http://schemas.microsoft.com/office/drawing/2014/main" id="{B494456F-0DF8-A448-9114-AEF7CC59D455}"/>
              </a:ext>
            </a:extLst>
          </p:cNvPr>
          <p:cNvCxnSpPr>
            <a:cxnSpLocks/>
          </p:cNvCxnSpPr>
          <p:nvPr userDrawn="1"/>
        </p:nvCxnSpPr>
        <p:spPr>
          <a:xfrm>
            <a:off x="5202442" y="4229496"/>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5" name="Text Placeholder 20">
            <a:extLst>
              <a:ext uri="{FF2B5EF4-FFF2-40B4-BE49-F238E27FC236}">
                <a16:creationId xmlns:a16="http://schemas.microsoft.com/office/drawing/2014/main" id="{8AED9D6B-FA7A-9240-ACE9-40A615D0C77B}"/>
              </a:ext>
            </a:extLst>
          </p:cNvPr>
          <p:cNvSpPr>
            <a:spLocks noGrp="1"/>
          </p:cNvSpPr>
          <p:nvPr>
            <p:ph type="body" sz="quarter" idx="39" hasCustomPrompt="1"/>
          </p:nvPr>
        </p:nvSpPr>
        <p:spPr>
          <a:xfrm>
            <a:off x="5283725" y="4234633"/>
            <a:ext cx="2187470"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76" name="Oval 75">
            <a:extLst>
              <a:ext uri="{FF2B5EF4-FFF2-40B4-BE49-F238E27FC236}">
                <a16:creationId xmlns:a16="http://schemas.microsoft.com/office/drawing/2014/main" id="{B4E5386C-E801-E648-AE68-4E88E0AC2450}"/>
              </a:ext>
            </a:extLst>
          </p:cNvPr>
          <p:cNvSpPr/>
          <p:nvPr userDrawn="1"/>
        </p:nvSpPr>
        <p:spPr>
          <a:xfrm>
            <a:off x="4527293" y="4361361"/>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7" name="Straight Connector 76">
            <a:extLst>
              <a:ext uri="{FF2B5EF4-FFF2-40B4-BE49-F238E27FC236}">
                <a16:creationId xmlns:a16="http://schemas.microsoft.com/office/drawing/2014/main" id="{77F2F78F-ADE7-554C-A2FD-66B5759CE696}"/>
              </a:ext>
            </a:extLst>
          </p:cNvPr>
          <p:cNvCxnSpPr>
            <a:cxnSpLocks/>
          </p:cNvCxnSpPr>
          <p:nvPr userDrawn="1"/>
        </p:nvCxnSpPr>
        <p:spPr>
          <a:xfrm>
            <a:off x="9035840" y="4229496"/>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8" name="Text Placeholder 20">
            <a:extLst>
              <a:ext uri="{FF2B5EF4-FFF2-40B4-BE49-F238E27FC236}">
                <a16:creationId xmlns:a16="http://schemas.microsoft.com/office/drawing/2014/main" id="{0F8BCE60-D91B-E448-9707-12A4D5117841}"/>
              </a:ext>
            </a:extLst>
          </p:cNvPr>
          <p:cNvSpPr>
            <a:spLocks noGrp="1"/>
          </p:cNvSpPr>
          <p:nvPr>
            <p:ph type="body" sz="quarter" idx="40" hasCustomPrompt="1"/>
          </p:nvPr>
        </p:nvSpPr>
        <p:spPr>
          <a:xfrm>
            <a:off x="9117123" y="4234633"/>
            <a:ext cx="219359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79" name="Oval 78">
            <a:extLst>
              <a:ext uri="{FF2B5EF4-FFF2-40B4-BE49-F238E27FC236}">
                <a16:creationId xmlns:a16="http://schemas.microsoft.com/office/drawing/2014/main" id="{11D4FBDA-1686-F34C-A3EC-8C13DB3FF9E1}"/>
              </a:ext>
            </a:extLst>
          </p:cNvPr>
          <p:cNvSpPr/>
          <p:nvPr userDrawn="1"/>
        </p:nvSpPr>
        <p:spPr>
          <a:xfrm>
            <a:off x="8360691" y="4361361"/>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0" name="Straight Connector 79">
            <a:extLst>
              <a:ext uri="{FF2B5EF4-FFF2-40B4-BE49-F238E27FC236}">
                <a16:creationId xmlns:a16="http://schemas.microsoft.com/office/drawing/2014/main" id="{AFAC971E-6FED-A84A-AFF8-7D2BBE235176}"/>
              </a:ext>
            </a:extLst>
          </p:cNvPr>
          <p:cNvCxnSpPr>
            <a:cxnSpLocks/>
          </p:cNvCxnSpPr>
          <p:nvPr userDrawn="1"/>
        </p:nvCxnSpPr>
        <p:spPr>
          <a:xfrm>
            <a:off x="1448411" y="5171582"/>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1" name="Text Placeholder 20">
            <a:extLst>
              <a:ext uri="{FF2B5EF4-FFF2-40B4-BE49-F238E27FC236}">
                <a16:creationId xmlns:a16="http://schemas.microsoft.com/office/drawing/2014/main" id="{60FC510F-AB34-924E-942D-935C38146DE6}"/>
              </a:ext>
            </a:extLst>
          </p:cNvPr>
          <p:cNvSpPr>
            <a:spLocks noGrp="1"/>
          </p:cNvSpPr>
          <p:nvPr>
            <p:ph type="body" sz="quarter" idx="41" hasCustomPrompt="1"/>
          </p:nvPr>
        </p:nvSpPr>
        <p:spPr>
          <a:xfrm>
            <a:off x="1529693" y="5176719"/>
            <a:ext cx="2187469"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82" name="Oval 81">
            <a:extLst>
              <a:ext uri="{FF2B5EF4-FFF2-40B4-BE49-F238E27FC236}">
                <a16:creationId xmlns:a16="http://schemas.microsoft.com/office/drawing/2014/main" id="{963066B7-3415-694F-BD42-0686E65350FC}"/>
              </a:ext>
            </a:extLst>
          </p:cNvPr>
          <p:cNvSpPr/>
          <p:nvPr userDrawn="1"/>
        </p:nvSpPr>
        <p:spPr>
          <a:xfrm>
            <a:off x="773262" y="5303447"/>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3" name="Straight Connector 82">
            <a:extLst>
              <a:ext uri="{FF2B5EF4-FFF2-40B4-BE49-F238E27FC236}">
                <a16:creationId xmlns:a16="http://schemas.microsoft.com/office/drawing/2014/main" id="{C0A68C1A-30A7-A347-ADC7-875DF28D144E}"/>
              </a:ext>
            </a:extLst>
          </p:cNvPr>
          <p:cNvCxnSpPr>
            <a:cxnSpLocks/>
          </p:cNvCxnSpPr>
          <p:nvPr userDrawn="1"/>
        </p:nvCxnSpPr>
        <p:spPr>
          <a:xfrm>
            <a:off x="5202442" y="5171582"/>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4" name="Text Placeholder 20">
            <a:extLst>
              <a:ext uri="{FF2B5EF4-FFF2-40B4-BE49-F238E27FC236}">
                <a16:creationId xmlns:a16="http://schemas.microsoft.com/office/drawing/2014/main" id="{9BC348A1-0F4B-D748-9427-6CDF7D128789}"/>
              </a:ext>
            </a:extLst>
          </p:cNvPr>
          <p:cNvSpPr>
            <a:spLocks noGrp="1"/>
          </p:cNvSpPr>
          <p:nvPr>
            <p:ph type="body" sz="quarter" idx="42" hasCustomPrompt="1"/>
          </p:nvPr>
        </p:nvSpPr>
        <p:spPr>
          <a:xfrm>
            <a:off x="5283725" y="5176719"/>
            <a:ext cx="2187470"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85" name="Oval 84">
            <a:extLst>
              <a:ext uri="{FF2B5EF4-FFF2-40B4-BE49-F238E27FC236}">
                <a16:creationId xmlns:a16="http://schemas.microsoft.com/office/drawing/2014/main" id="{FC72BBE4-8608-3B46-AA33-6446773A0E7F}"/>
              </a:ext>
            </a:extLst>
          </p:cNvPr>
          <p:cNvSpPr/>
          <p:nvPr userDrawn="1"/>
        </p:nvSpPr>
        <p:spPr>
          <a:xfrm>
            <a:off x="4527293" y="5303447"/>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6" name="Straight Connector 85">
            <a:extLst>
              <a:ext uri="{FF2B5EF4-FFF2-40B4-BE49-F238E27FC236}">
                <a16:creationId xmlns:a16="http://schemas.microsoft.com/office/drawing/2014/main" id="{8C948146-17FD-DB4A-846E-F51BA988AE33}"/>
              </a:ext>
            </a:extLst>
          </p:cNvPr>
          <p:cNvCxnSpPr>
            <a:cxnSpLocks/>
          </p:cNvCxnSpPr>
          <p:nvPr userDrawn="1"/>
        </p:nvCxnSpPr>
        <p:spPr>
          <a:xfrm>
            <a:off x="9035840" y="5171582"/>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7" name="Text Placeholder 20">
            <a:extLst>
              <a:ext uri="{FF2B5EF4-FFF2-40B4-BE49-F238E27FC236}">
                <a16:creationId xmlns:a16="http://schemas.microsoft.com/office/drawing/2014/main" id="{75BDE792-8516-F140-98B5-E6555694FF9F}"/>
              </a:ext>
            </a:extLst>
          </p:cNvPr>
          <p:cNvSpPr>
            <a:spLocks noGrp="1"/>
          </p:cNvSpPr>
          <p:nvPr>
            <p:ph type="body" sz="quarter" idx="43" hasCustomPrompt="1"/>
          </p:nvPr>
        </p:nvSpPr>
        <p:spPr>
          <a:xfrm>
            <a:off x="9117123" y="5176719"/>
            <a:ext cx="219359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88" name="Oval 87">
            <a:extLst>
              <a:ext uri="{FF2B5EF4-FFF2-40B4-BE49-F238E27FC236}">
                <a16:creationId xmlns:a16="http://schemas.microsoft.com/office/drawing/2014/main" id="{DDDC840E-AD4E-2B46-B591-42777DAB80FF}"/>
              </a:ext>
            </a:extLst>
          </p:cNvPr>
          <p:cNvSpPr/>
          <p:nvPr userDrawn="1"/>
        </p:nvSpPr>
        <p:spPr>
          <a:xfrm>
            <a:off x="8360691" y="5303447"/>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Title 1">
            <a:extLst>
              <a:ext uri="{FF2B5EF4-FFF2-40B4-BE49-F238E27FC236}">
                <a16:creationId xmlns:a16="http://schemas.microsoft.com/office/drawing/2014/main" id="{F69BD680-0AAD-24E2-CE88-7D26D6861A10}"/>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50" name="Bilde 3">
            <a:extLst>
              <a:ext uri="{FF2B5EF4-FFF2-40B4-BE49-F238E27FC236}">
                <a16:creationId xmlns:a16="http://schemas.microsoft.com/office/drawing/2014/main" id="{2DE1B364-CE7B-11B5-BC6E-1FAF7873E55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51" name="Date Placeholder 2">
            <a:extLst>
              <a:ext uri="{FF2B5EF4-FFF2-40B4-BE49-F238E27FC236}">
                <a16:creationId xmlns:a16="http://schemas.microsoft.com/office/drawing/2014/main" id="{90471FF1-65DE-B018-6763-A20C8F2B0096}"/>
              </a:ext>
            </a:extLst>
          </p:cNvPr>
          <p:cNvSpPr>
            <a:spLocks noGrp="1"/>
          </p:cNvSpPr>
          <p:nvPr>
            <p:ph type="dt" sz="half" idx="16"/>
          </p:nvPr>
        </p:nvSpPr>
        <p:spPr>
          <a:xfrm>
            <a:off x="2303627" y="6492875"/>
            <a:ext cx="528585" cy="365125"/>
          </a:xfrm>
        </p:spPr>
        <p:txBody>
          <a:bodyPr/>
          <a:lstStyle/>
          <a:p>
            <a:fld id="{39BFBD57-5CDA-5143-866C-E33F9A3937D9}" type="datetime1">
              <a:rPr lang="nb-NO" smtClean="0"/>
              <a:t>20.08.2024</a:t>
            </a:fld>
            <a:endParaRPr lang="en-US"/>
          </a:p>
        </p:txBody>
      </p:sp>
      <p:sp>
        <p:nvSpPr>
          <p:cNvPr id="52" name="Footer Placeholder 3">
            <a:extLst>
              <a:ext uri="{FF2B5EF4-FFF2-40B4-BE49-F238E27FC236}">
                <a16:creationId xmlns:a16="http://schemas.microsoft.com/office/drawing/2014/main" id="{9EEC813E-A40F-C063-108A-6633715C3EF6}"/>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59" name="Slide Number Placeholder 4">
            <a:extLst>
              <a:ext uri="{FF2B5EF4-FFF2-40B4-BE49-F238E27FC236}">
                <a16:creationId xmlns:a16="http://schemas.microsoft.com/office/drawing/2014/main" id="{9DAA2385-A5B6-C08D-177C-2EC33650DD5F}"/>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7845251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36_Custom Layout">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C7B5656-DA3F-9847-9792-691229FFB730}"/>
              </a:ext>
            </a:extLst>
          </p:cNvPr>
          <p:cNvSpPr/>
          <p:nvPr userDrawn="1"/>
        </p:nvSpPr>
        <p:spPr>
          <a:xfrm>
            <a:off x="1081661" y="1477481"/>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1108209" y="2551410"/>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213240" y="1625928"/>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225116" y="2556547"/>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58" name="Straight Connector 57">
            <a:extLst>
              <a:ext uri="{FF2B5EF4-FFF2-40B4-BE49-F238E27FC236}">
                <a16:creationId xmlns:a16="http://schemas.microsoft.com/office/drawing/2014/main" id="{14D0E40A-826D-D447-875C-24BB261305E6}"/>
              </a:ext>
            </a:extLst>
          </p:cNvPr>
          <p:cNvCxnSpPr>
            <a:cxnSpLocks/>
          </p:cNvCxnSpPr>
          <p:nvPr userDrawn="1"/>
        </p:nvCxnSpPr>
        <p:spPr>
          <a:xfrm>
            <a:off x="1108209" y="3480898"/>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Text Placeholder 20">
            <a:extLst>
              <a:ext uri="{FF2B5EF4-FFF2-40B4-BE49-F238E27FC236}">
                <a16:creationId xmlns:a16="http://schemas.microsoft.com/office/drawing/2014/main" id="{8F334DBA-DB16-D64B-BA18-F61C21BB3599}"/>
              </a:ext>
            </a:extLst>
          </p:cNvPr>
          <p:cNvSpPr>
            <a:spLocks noGrp="1"/>
          </p:cNvSpPr>
          <p:nvPr>
            <p:ph type="body" sz="quarter" idx="35" hasCustomPrompt="1"/>
          </p:nvPr>
        </p:nvSpPr>
        <p:spPr>
          <a:xfrm>
            <a:off x="1225116" y="3486035"/>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71" name="Straight Connector 70">
            <a:extLst>
              <a:ext uri="{FF2B5EF4-FFF2-40B4-BE49-F238E27FC236}">
                <a16:creationId xmlns:a16="http://schemas.microsoft.com/office/drawing/2014/main" id="{9B854D38-8E94-2945-A6F3-1F4A80FB0143}"/>
              </a:ext>
            </a:extLst>
          </p:cNvPr>
          <p:cNvCxnSpPr>
            <a:cxnSpLocks/>
          </p:cNvCxnSpPr>
          <p:nvPr userDrawn="1"/>
        </p:nvCxnSpPr>
        <p:spPr>
          <a:xfrm>
            <a:off x="1108209" y="4405581"/>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Text Placeholder 20">
            <a:extLst>
              <a:ext uri="{FF2B5EF4-FFF2-40B4-BE49-F238E27FC236}">
                <a16:creationId xmlns:a16="http://schemas.microsoft.com/office/drawing/2014/main" id="{B03FB43F-DE17-034A-AD6E-863D0BF0C97A}"/>
              </a:ext>
            </a:extLst>
          </p:cNvPr>
          <p:cNvSpPr>
            <a:spLocks noGrp="1"/>
          </p:cNvSpPr>
          <p:nvPr>
            <p:ph type="body" sz="quarter" idx="38" hasCustomPrompt="1"/>
          </p:nvPr>
        </p:nvSpPr>
        <p:spPr>
          <a:xfrm>
            <a:off x="1225116" y="4410718"/>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80" name="Straight Connector 79">
            <a:extLst>
              <a:ext uri="{FF2B5EF4-FFF2-40B4-BE49-F238E27FC236}">
                <a16:creationId xmlns:a16="http://schemas.microsoft.com/office/drawing/2014/main" id="{AFAC971E-6FED-A84A-AFF8-7D2BBE235176}"/>
              </a:ext>
            </a:extLst>
          </p:cNvPr>
          <p:cNvCxnSpPr>
            <a:cxnSpLocks/>
          </p:cNvCxnSpPr>
          <p:nvPr userDrawn="1"/>
        </p:nvCxnSpPr>
        <p:spPr>
          <a:xfrm>
            <a:off x="1108209" y="534766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1" name="Text Placeholder 20">
            <a:extLst>
              <a:ext uri="{FF2B5EF4-FFF2-40B4-BE49-F238E27FC236}">
                <a16:creationId xmlns:a16="http://schemas.microsoft.com/office/drawing/2014/main" id="{60FC510F-AB34-924E-942D-935C38146DE6}"/>
              </a:ext>
            </a:extLst>
          </p:cNvPr>
          <p:cNvSpPr>
            <a:spLocks noGrp="1"/>
          </p:cNvSpPr>
          <p:nvPr>
            <p:ph type="body" sz="quarter" idx="41" hasCustomPrompt="1"/>
          </p:nvPr>
        </p:nvSpPr>
        <p:spPr>
          <a:xfrm>
            <a:off x="1225116" y="535280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 name="TextBox 2">
            <a:extLst>
              <a:ext uri="{FF2B5EF4-FFF2-40B4-BE49-F238E27FC236}">
                <a16:creationId xmlns:a16="http://schemas.microsoft.com/office/drawing/2014/main" id="{F3A29A19-CBAD-DB4D-A8E8-E75B17885703}"/>
              </a:ext>
            </a:extLst>
          </p:cNvPr>
          <p:cNvSpPr txBox="1"/>
          <p:nvPr userDrawn="1"/>
        </p:nvSpPr>
        <p:spPr>
          <a:xfrm>
            <a:off x="665830" y="1665452"/>
            <a:ext cx="559286" cy="523220"/>
          </a:xfrm>
          <a:prstGeom prst="rect">
            <a:avLst/>
          </a:prstGeom>
        </p:spPr>
        <p:txBody>
          <a:bodyPr wrap="square" rtlCol="0">
            <a:spAutoFit/>
          </a:bodyPr>
          <a:lstStyle/>
          <a:p>
            <a:r>
              <a:rPr lang="en-GB" sz="2800" b="1" i="0">
                <a:solidFill>
                  <a:schemeClr val="accent1"/>
                </a:solidFill>
                <a:latin typeface="Helvetica" pitchFamily="2" charset="0"/>
              </a:rPr>
              <a:t>1</a:t>
            </a:r>
          </a:p>
        </p:txBody>
      </p:sp>
      <p:sp>
        <p:nvSpPr>
          <p:cNvPr id="51" name="Rectangle 50">
            <a:extLst>
              <a:ext uri="{FF2B5EF4-FFF2-40B4-BE49-F238E27FC236}">
                <a16:creationId xmlns:a16="http://schemas.microsoft.com/office/drawing/2014/main" id="{25FF2627-BFD7-7245-8BBD-EF14EE38529E}"/>
              </a:ext>
            </a:extLst>
          </p:cNvPr>
          <p:cNvSpPr/>
          <p:nvPr userDrawn="1"/>
        </p:nvSpPr>
        <p:spPr>
          <a:xfrm>
            <a:off x="4721017" y="1477481"/>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a16="http://schemas.microsoft.com/office/drawing/2014/main" id="{9D94247F-1687-1C46-BCBA-B35359725D0B}"/>
              </a:ext>
            </a:extLst>
          </p:cNvPr>
          <p:cNvCxnSpPr>
            <a:cxnSpLocks/>
          </p:cNvCxnSpPr>
          <p:nvPr userDrawn="1"/>
        </p:nvCxnSpPr>
        <p:spPr>
          <a:xfrm>
            <a:off x="4747565" y="2551410"/>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9" name="Text Placeholder 20">
            <a:extLst>
              <a:ext uri="{FF2B5EF4-FFF2-40B4-BE49-F238E27FC236}">
                <a16:creationId xmlns:a16="http://schemas.microsoft.com/office/drawing/2014/main" id="{DF30A173-A5B6-1947-B430-0C6C140A1F01}"/>
              </a:ext>
            </a:extLst>
          </p:cNvPr>
          <p:cNvSpPr>
            <a:spLocks noGrp="1"/>
          </p:cNvSpPr>
          <p:nvPr>
            <p:ph type="body" sz="quarter" idx="42" hasCustomPrompt="1"/>
          </p:nvPr>
        </p:nvSpPr>
        <p:spPr>
          <a:xfrm>
            <a:off x="4852596" y="1625928"/>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60" name="Text Placeholder 20">
            <a:extLst>
              <a:ext uri="{FF2B5EF4-FFF2-40B4-BE49-F238E27FC236}">
                <a16:creationId xmlns:a16="http://schemas.microsoft.com/office/drawing/2014/main" id="{5B1BD81B-610E-C040-9E12-9890AAD2A079}"/>
              </a:ext>
            </a:extLst>
          </p:cNvPr>
          <p:cNvSpPr>
            <a:spLocks noGrp="1"/>
          </p:cNvSpPr>
          <p:nvPr>
            <p:ph type="body" sz="quarter" idx="43" hasCustomPrompt="1"/>
          </p:nvPr>
        </p:nvSpPr>
        <p:spPr>
          <a:xfrm>
            <a:off x="4864472" y="2556547"/>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61" name="Straight Connector 60">
            <a:extLst>
              <a:ext uri="{FF2B5EF4-FFF2-40B4-BE49-F238E27FC236}">
                <a16:creationId xmlns:a16="http://schemas.microsoft.com/office/drawing/2014/main" id="{2FF13610-5A03-124C-A6D3-AA5918F132C9}"/>
              </a:ext>
            </a:extLst>
          </p:cNvPr>
          <p:cNvCxnSpPr>
            <a:cxnSpLocks/>
          </p:cNvCxnSpPr>
          <p:nvPr userDrawn="1"/>
        </p:nvCxnSpPr>
        <p:spPr>
          <a:xfrm>
            <a:off x="4747565" y="3480898"/>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2" name="Text Placeholder 20">
            <a:extLst>
              <a:ext uri="{FF2B5EF4-FFF2-40B4-BE49-F238E27FC236}">
                <a16:creationId xmlns:a16="http://schemas.microsoft.com/office/drawing/2014/main" id="{CA1B7917-580E-9844-8A05-6C5610890CE7}"/>
              </a:ext>
            </a:extLst>
          </p:cNvPr>
          <p:cNvSpPr>
            <a:spLocks noGrp="1"/>
          </p:cNvSpPr>
          <p:nvPr>
            <p:ph type="body" sz="quarter" idx="44" hasCustomPrompt="1"/>
          </p:nvPr>
        </p:nvSpPr>
        <p:spPr>
          <a:xfrm>
            <a:off x="4864472" y="3486035"/>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89" name="Straight Connector 88">
            <a:extLst>
              <a:ext uri="{FF2B5EF4-FFF2-40B4-BE49-F238E27FC236}">
                <a16:creationId xmlns:a16="http://schemas.microsoft.com/office/drawing/2014/main" id="{E2BF938D-CBAC-4B44-9556-DF0C3CA4DF8F}"/>
              </a:ext>
            </a:extLst>
          </p:cNvPr>
          <p:cNvCxnSpPr>
            <a:cxnSpLocks/>
          </p:cNvCxnSpPr>
          <p:nvPr userDrawn="1"/>
        </p:nvCxnSpPr>
        <p:spPr>
          <a:xfrm>
            <a:off x="4747565" y="4405581"/>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0" name="Text Placeholder 20">
            <a:extLst>
              <a:ext uri="{FF2B5EF4-FFF2-40B4-BE49-F238E27FC236}">
                <a16:creationId xmlns:a16="http://schemas.microsoft.com/office/drawing/2014/main" id="{4603BFF9-BFF5-6841-9F55-9A442D528BCD}"/>
              </a:ext>
            </a:extLst>
          </p:cNvPr>
          <p:cNvSpPr>
            <a:spLocks noGrp="1"/>
          </p:cNvSpPr>
          <p:nvPr>
            <p:ph type="body" sz="quarter" idx="45" hasCustomPrompt="1"/>
          </p:nvPr>
        </p:nvSpPr>
        <p:spPr>
          <a:xfrm>
            <a:off x="4864472" y="4410718"/>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91" name="Straight Connector 90">
            <a:extLst>
              <a:ext uri="{FF2B5EF4-FFF2-40B4-BE49-F238E27FC236}">
                <a16:creationId xmlns:a16="http://schemas.microsoft.com/office/drawing/2014/main" id="{9DC2EED5-BB61-9444-A911-2C32CB804CC5}"/>
              </a:ext>
            </a:extLst>
          </p:cNvPr>
          <p:cNvCxnSpPr>
            <a:cxnSpLocks/>
          </p:cNvCxnSpPr>
          <p:nvPr userDrawn="1"/>
        </p:nvCxnSpPr>
        <p:spPr>
          <a:xfrm>
            <a:off x="4747565" y="534766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2" name="Text Placeholder 20">
            <a:extLst>
              <a:ext uri="{FF2B5EF4-FFF2-40B4-BE49-F238E27FC236}">
                <a16:creationId xmlns:a16="http://schemas.microsoft.com/office/drawing/2014/main" id="{E7161696-114D-3C41-BE58-292DC3B4482B}"/>
              </a:ext>
            </a:extLst>
          </p:cNvPr>
          <p:cNvSpPr>
            <a:spLocks noGrp="1"/>
          </p:cNvSpPr>
          <p:nvPr>
            <p:ph type="body" sz="quarter" idx="46" hasCustomPrompt="1"/>
          </p:nvPr>
        </p:nvSpPr>
        <p:spPr>
          <a:xfrm>
            <a:off x="4864472" y="535280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93" name="TextBox 92">
            <a:extLst>
              <a:ext uri="{FF2B5EF4-FFF2-40B4-BE49-F238E27FC236}">
                <a16:creationId xmlns:a16="http://schemas.microsoft.com/office/drawing/2014/main" id="{CB751464-8A7F-FA49-856D-4334A4C81AF1}"/>
              </a:ext>
            </a:extLst>
          </p:cNvPr>
          <p:cNvSpPr txBox="1"/>
          <p:nvPr userDrawn="1"/>
        </p:nvSpPr>
        <p:spPr>
          <a:xfrm>
            <a:off x="4305186" y="1665452"/>
            <a:ext cx="559286" cy="523220"/>
          </a:xfrm>
          <a:prstGeom prst="rect">
            <a:avLst/>
          </a:prstGeom>
        </p:spPr>
        <p:txBody>
          <a:bodyPr wrap="square" rtlCol="0">
            <a:spAutoFit/>
          </a:bodyPr>
          <a:lstStyle/>
          <a:p>
            <a:r>
              <a:rPr lang="en-GB" sz="2800" b="1" i="0">
                <a:solidFill>
                  <a:schemeClr val="accent1"/>
                </a:solidFill>
                <a:latin typeface="Helvetica" pitchFamily="2" charset="0"/>
              </a:rPr>
              <a:t>2</a:t>
            </a:r>
          </a:p>
        </p:txBody>
      </p:sp>
      <p:sp>
        <p:nvSpPr>
          <p:cNvPr id="94" name="Rectangle 93">
            <a:extLst>
              <a:ext uri="{FF2B5EF4-FFF2-40B4-BE49-F238E27FC236}">
                <a16:creationId xmlns:a16="http://schemas.microsoft.com/office/drawing/2014/main" id="{EF0334F8-DBA7-D04B-8D45-8AECC5324BDE}"/>
              </a:ext>
            </a:extLst>
          </p:cNvPr>
          <p:cNvSpPr/>
          <p:nvPr userDrawn="1"/>
        </p:nvSpPr>
        <p:spPr>
          <a:xfrm>
            <a:off x="8307365" y="1471229"/>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Straight Connector 94">
            <a:extLst>
              <a:ext uri="{FF2B5EF4-FFF2-40B4-BE49-F238E27FC236}">
                <a16:creationId xmlns:a16="http://schemas.microsoft.com/office/drawing/2014/main" id="{3D13591D-6EC1-AB4F-9969-6302E362784E}"/>
              </a:ext>
            </a:extLst>
          </p:cNvPr>
          <p:cNvCxnSpPr>
            <a:cxnSpLocks/>
          </p:cNvCxnSpPr>
          <p:nvPr userDrawn="1"/>
        </p:nvCxnSpPr>
        <p:spPr>
          <a:xfrm>
            <a:off x="8333913" y="2545158"/>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6" name="Text Placeholder 20">
            <a:extLst>
              <a:ext uri="{FF2B5EF4-FFF2-40B4-BE49-F238E27FC236}">
                <a16:creationId xmlns:a16="http://schemas.microsoft.com/office/drawing/2014/main" id="{14BEE252-4639-114D-AFB0-243BBC85FDD9}"/>
              </a:ext>
            </a:extLst>
          </p:cNvPr>
          <p:cNvSpPr>
            <a:spLocks noGrp="1"/>
          </p:cNvSpPr>
          <p:nvPr>
            <p:ph type="body" sz="quarter" idx="47" hasCustomPrompt="1"/>
          </p:nvPr>
        </p:nvSpPr>
        <p:spPr>
          <a:xfrm>
            <a:off x="8438944" y="1619676"/>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97" name="Text Placeholder 20">
            <a:extLst>
              <a:ext uri="{FF2B5EF4-FFF2-40B4-BE49-F238E27FC236}">
                <a16:creationId xmlns:a16="http://schemas.microsoft.com/office/drawing/2014/main" id="{FC6370E8-D75B-1844-A610-8287D1D8E14C}"/>
              </a:ext>
            </a:extLst>
          </p:cNvPr>
          <p:cNvSpPr>
            <a:spLocks noGrp="1"/>
          </p:cNvSpPr>
          <p:nvPr>
            <p:ph type="body" sz="quarter" idx="48" hasCustomPrompt="1"/>
          </p:nvPr>
        </p:nvSpPr>
        <p:spPr>
          <a:xfrm>
            <a:off x="8450820" y="2550295"/>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98" name="Straight Connector 97">
            <a:extLst>
              <a:ext uri="{FF2B5EF4-FFF2-40B4-BE49-F238E27FC236}">
                <a16:creationId xmlns:a16="http://schemas.microsoft.com/office/drawing/2014/main" id="{C0D779F3-6521-3942-8C9F-C999AF5DED7E}"/>
              </a:ext>
            </a:extLst>
          </p:cNvPr>
          <p:cNvCxnSpPr>
            <a:cxnSpLocks/>
          </p:cNvCxnSpPr>
          <p:nvPr userDrawn="1"/>
        </p:nvCxnSpPr>
        <p:spPr>
          <a:xfrm>
            <a:off x="8333913" y="3474646"/>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9" name="Text Placeholder 20">
            <a:extLst>
              <a:ext uri="{FF2B5EF4-FFF2-40B4-BE49-F238E27FC236}">
                <a16:creationId xmlns:a16="http://schemas.microsoft.com/office/drawing/2014/main" id="{C51B118D-026B-804A-A087-4B2F7080C4CB}"/>
              </a:ext>
            </a:extLst>
          </p:cNvPr>
          <p:cNvSpPr>
            <a:spLocks noGrp="1"/>
          </p:cNvSpPr>
          <p:nvPr>
            <p:ph type="body" sz="quarter" idx="49" hasCustomPrompt="1"/>
          </p:nvPr>
        </p:nvSpPr>
        <p:spPr>
          <a:xfrm>
            <a:off x="8450820" y="3479783"/>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100" name="Straight Connector 99">
            <a:extLst>
              <a:ext uri="{FF2B5EF4-FFF2-40B4-BE49-F238E27FC236}">
                <a16:creationId xmlns:a16="http://schemas.microsoft.com/office/drawing/2014/main" id="{9B8AEA03-D8B2-AF4D-8117-E6BB4A0DD32B}"/>
              </a:ext>
            </a:extLst>
          </p:cNvPr>
          <p:cNvCxnSpPr>
            <a:cxnSpLocks/>
          </p:cNvCxnSpPr>
          <p:nvPr userDrawn="1"/>
        </p:nvCxnSpPr>
        <p:spPr>
          <a:xfrm>
            <a:off x="8333913" y="4399329"/>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1" name="Text Placeholder 20">
            <a:extLst>
              <a:ext uri="{FF2B5EF4-FFF2-40B4-BE49-F238E27FC236}">
                <a16:creationId xmlns:a16="http://schemas.microsoft.com/office/drawing/2014/main" id="{BBEB6736-19B2-5B4F-8A4E-C0BDDEB6F0BD}"/>
              </a:ext>
            </a:extLst>
          </p:cNvPr>
          <p:cNvSpPr>
            <a:spLocks noGrp="1"/>
          </p:cNvSpPr>
          <p:nvPr>
            <p:ph type="body" sz="quarter" idx="50" hasCustomPrompt="1"/>
          </p:nvPr>
        </p:nvSpPr>
        <p:spPr>
          <a:xfrm>
            <a:off x="8450820" y="4404466"/>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102" name="Straight Connector 101">
            <a:extLst>
              <a:ext uri="{FF2B5EF4-FFF2-40B4-BE49-F238E27FC236}">
                <a16:creationId xmlns:a16="http://schemas.microsoft.com/office/drawing/2014/main" id="{4ABA2814-393E-934A-ABEB-748B137485D0}"/>
              </a:ext>
            </a:extLst>
          </p:cNvPr>
          <p:cNvCxnSpPr>
            <a:cxnSpLocks/>
          </p:cNvCxnSpPr>
          <p:nvPr userDrawn="1"/>
        </p:nvCxnSpPr>
        <p:spPr>
          <a:xfrm>
            <a:off x="8333913" y="534141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3" name="Text Placeholder 20">
            <a:extLst>
              <a:ext uri="{FF2B5EF4-FFF2-40B4-BE49-F238E27FC236}">
                <a16:creationId xmlns:a16="http://schemas.microsoft.com/office/drawing/2014/main" id="{DE66B957-6AB7-A74D-A611-8A2CBDFEF9E8}"/>
              </a:ext>
            </a:extLst>
          </p:cNvPr>
          <p:cNvSpPr>
            <a:spLocks noGrp="1"/>
          </p:cNvSpPr>
          <p:nvPr>
            <p:ph type="body" sz="quarter" idx="51" hasCustomPrompt="1"/>
          </p:nvPr>
        </p:nvSpPr>
        <p:spPr>
          <a:xfrm>
            <a:off x="8450820" y="5346552"/>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4" name="TextBox 103">
            <a:extLst>
              <a:ext uri="{FF2B5EF4-FFF2-40B4-BE49-F238E27FC236}">
                <a16:creationId xmlns:a16="http://schemas.microsoft.com/office/drawing/2014/main" id="{6969653A-6C2C-8147-ACCB-D4F972B28B3B}"/>
              </a:ext>
            </a:extLst>
          </p:cNvPr>
          <p:cNvSpPr txBox="1"/>
          <p:nvPr userDrawn="1"/>
        </p:nvSpPr>
        <p:spPr>
          <a:xfrm>
            <a:off x="7891534" y="1659200"/>
            <a:ext cx="559286" cy="523220"/>
          </a:xfrm>
          <a:prstGeom prst="rect">
            <a:avLst/>
          </a:prstGeom>
        </p:spPr>
        <p:txBody>
          <a:bodyPr wrap="square" rtlCol="0">
            <a:spAutoFit/>
          </a:bodyPr>
          <a:lstStyle/>
          <a:p>
            <a:r>
              <a:rPr lang="en-GB" sz="2800" b="1" i="0">
                <a:solidFill>
                  <a:schemeClr val="accent1"/>
                </a:solidFill>
                <a:latin typeface="Helvetica" pitchFamily="2" charset="0"/>
              </a:rPr>
              <a:t>3</a:t>
            </a:r>
          </a:p>
        </p:txBody>
      </p:sp>
      <p:sp>
        <p:nvSpPr>
          <p:cNvPr id="38" name="Title 1">
            <a:extLst>
              <a:ext uri="{FF2B5EF4-FFF2-40B4-BE49-F238E27FC236}">
                <a16:creationId xmlns:a16="http://schemas.microsoft.com/office/drawing/2014/main" id="{00D9EB27-355B-C0ED-84F3-A25252382F8B}"/>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41" name="Bilde 3">
            <a:extLst>
              <a:ext uri="{FF2B5EF4-FFF2-40B4-BE49-F238E27FC236}">
                <a16:creationId xmlns:a16="http://schemas.microsoft.com/office/drawing/2014/main" id="{802CD67E-099A-F1EE-76BF-B44552A10B5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42" name="Date Placeholder 2">
            <a:extLst>
              <a:ext uri="{FF2B5EF4-FFF2-40B4-BE49-F238E27FC236}">
                <a16:creationId xmlns:a16="http://schemas.microsoft.com/office/drawing/2014/main" id="{84CD0A1D-2D46-EBC0-78C1-A1B18A834B32}"/>
              </a:ext>
            </a:extLst>
          </p:cNvPr>
          <p:cNvSpPr>
            <a:spLocks noGrp="1"/>
          </p:cNvSpPr>
          <p:nvPr>
            <p:ph type="dt" sz="half" idx="16"/>
          </p:nvPr>
        </p:nvSpPr>
        <p:spPr>
          <a:xfrm>
            <a:off x="2303627" y="6492875"/>
            <a:ext cx="528585" cy="365125"/>
          </a:xfrm>
        </p:spPr>
        <p:txBody>
          <a:bodyPr/>
          <a:lstStyle/>
          <a:p>
            <a:fld id="{6CA60EC9-985E-4545-9445-8FABBD84B856}" type="datetime1">
              <a:rPr lang="nb-NO" smtClean="0"/>
              <a:t>20.08.2024</a:t>
            </a:fld>
            <a:endParaRPr lang="en-US"/>
          </a:p>
        </p:txBody>
      </p:sp>
      <p:sp>
        <p:nvSpPr>
          <p:cNvPr id="43" name="Footer Placeholder 3">
            <a:extLst>
              <a:ext uri="{FF2B5EF4-FFF2-40B4-BE49-F238E27FC236}">
                <a16:creationId xmlns:a16="http://schemas.microsoft.com/office/drawing/2014/main" id="{D4DFBF39-7B4F-EE99-33C6-C72DB6B6A70F}"/>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46" name="Slide Number Placeholder 4">
            <a:extLst>
              <a:ext uri="{FF2B5EF4-FFF2-40B4-BE49-F238E27FC236}">
                <a16:creationId xmlns:a16="http://schemas.microsoft.com/office/drawing/2014/main" id="{12EDDAFD-A3D0-210E-E712-1CBB4917AF1E}"/>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3400163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37_Custom Layout">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C7B5656-DA3F-9847-9792-691229FFB730}"/>
              </a:ext>
            </a:extLst>
          </p:cNvPr>
          <p:cNvSpPr/>
          <p:nvPr userDrawn="1"/>
        </p:nvSpPr>
        <p:spPr>
          <a:xfrm>
            <a:off x="1081661" y="1716020"/>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1108209" y="2789949"/>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213240" y="1864467"/>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225116" y="2795086"/>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58" name="Straight Connector 57">
            <a:extLst>
              <a:ext uri="{FF2B5EF4-FFF2-40B4-BE49-F238E27FC236}">
                <a16:creationId xmlns:a16="http://schemas.microsoft.com/office/drawing/2014/main" id="{14D0E40A-826D-D447-875C-24BB261305E6}"/>
              </a:ext>
            </a:extLst>
          </p:cNvPr>
          <p:cNvCxnSpPr>
            <a:cxnSpLocks/>
          </p:cNvCxnSpPr>
          <p:nvPr userDrawn="1"/>
        </p:nvCxnSpPr>
        <p:spPr>
          <a:xfrm>
            <a:off x="1108209" y="371943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Text Placeholder 20">
            <a:extLst>
              <a:ext uri="{FF2B5EF4-FFF2-40B4-BE49-F238E27FC236}">
                <a16:creationId xmlns:a16="http://schemas.microsoft.com/office/drawing/2014/main" id="{8F334DBA-DB16-D64B-BA18-F61C21BB3599}"/>
              </a:ext>
            </a:extLst>
          </p:cNvPr>
          <p:cNvSpPr>
            <a:spLocks noGrp="1"/>
          </p:cNvSpPr>
          <p:nvPr>
            <p:ph type="body" sz="quarter" idx="35" hasCustomPrompt="1"/>
          </p:nvPr>
        </p:nvSpPr>
        <p:spPr>
          <a:xfrm>
            <a:off x="1225116" y="372457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71" name="Straight Connector 70">
            <a:extLst>
              <a:ext uri="{FF2B5EF4-FFF2-40B4-BE49-F238E27FC236}">
                <a16:creationId xmlns:a16="http://schemas.microsoft.com/office/drawing/2014/main" id="{9B854D38-8E94-2945-A6F3-1F4A80FB0143}"/>
              </a:ext>
            </a:extLst>
          </p:cNvPr>
          <p:cNvCxnSpPr>
            <a:cxnSpLocks/>
          </p:cNvCxnSpPr>
          <p:nvPr userDrawn="1"/>
        </p:nvCxnSpPr>
        <p:spPr>
          <a:xfrm>
            <a:off x="1108209" y="4644120"/>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Text Placeholder 20">
            <a:extLst>
              <a:ext uri="{FF2B5EF4-FFF2-40B4-BE49-F238E27FC236}">
                <a16:creationId xmlns:a16="http://schemas.microsoft.com/office/drawing/2014/main" id="{B03FB43F-DE17-034A-AD6E-863D0BF0C97A}"/>
              </a:ext>
            </a:extLst>
          </p:cNvPr>
          <p:cNvSpPr>
            <a:spLocks noGrp="1"/>
          </p:cNvSpPr>
          <p:nvPr>
            <p:ph type="body" sz="quarter" idx="38" hasCustomPrompt="1"/>
          </p:nvPr>
        </p:nvSpPr>
        <p:spPr>
          <a:xfrm>
            <a:off x="1225116" y="4649257"/>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 name="TextBox 2">
            <a:extLst>
              <a:ext uri="{FF2B5EF4-FFF2-40B4-BE49-F238E27FC236}">
                <a16:creationId xmlns:a16="http://schemas.microsoft.com/office/drawing/2014/main" id="{F3A29A19-CBAD-DB4D-A8E8-E75B17885703}"/>
              </a:ext>
            </a:extLst>
          </p:cNvPr>
          <p:cNvSpPr txBox="1"/>
          <p:nvPr userDrawn="1"/>
        </p:nvSpPr>
        <p:spPr>
          <a:xfrm>
            <a:off x="665830" y="1903991"/>
            <a:ext cx="559286" cy="523220"/>
          </a:xfrm>
          <a:prstGeom prst="rect">
            <a:avLst/>
          </a:prstGeom>
        </p:spPr>
        <p:txBody>
          <a:bodyPr wrap="square" rtlCol="0">
            <a:spAutoFit/>
          </a:bodyPr>
          <a:lstStyle/>
          <a:p>
            <a:r>
              <a:rPr lang="en-GB" sz="2800" b="1" i="0">
                <a:solidFill>
                  <a:schemeClr val="accent1"/>
                </a:solidFill>
                <a:latin typeface="Helvetica" pitchFamily="2" charset="0"/>
              </a:rPr>
              <a:t>1</a:t>
            </a:r>
          </a:p>
        </p:txBody>
      </p:sp>
      <p:sp>
        <p:nvSpPr>
          <p:cNvPr id="51" name="Rectangle 50">
            <a:extLst>
              <a:ext uri="{FF2B5EF4-FFF2-40B4-BE49-F238E27FC236}">
                <a16:creationId xmlns:a16="http://schemas.microsoft.com/office/drawing/2014/main" id="{25FF2627-BFD7-7245-8BBD-EF14EE38529E}"/>
              </a:ext>
            </a:extLst>
          </p:cNvPr>
          <p:cNvSpPr/>
          <p:nvPr userDrawn="1"/>
        </p:nvSpPr>
        <p:spPr>
          <a:xfrm>
            <a:off x="4721017" y="1716020"/>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a16="http://schemas.microsoft.com/office/drawing/2014/main" id="{9D94247F-1687-1C46-BCBA-B35359725D0B}"/>
              </a:ext>
            </a:extLst>
          </p:cNvPr>
          <p:cNvCxnSpPr>
            <a:cxnSpLocks/>
          </p:cNvCxnSpPr>
          <p:nvPr userDrawn="1"/>
        </p:nvCxnSpPr>
        <p:spPr>
          <a:xfrm>
            <a:off x="4747565" y="2789949"/>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9" name="Text Placeholder 20">
            <a:extLst>
              <a:ext uri="{FF2B5EF4-FFF2-40B4-BE49-F238E27FC236}">
                <a16:creationId xmlns:a16="http://schemas.microsoft.com/office/drawing/2014/main" id="{DF30A173-A5B6-1947-B430-0C6C140A1F01}"/>
              </a:ext>
            </a:extLst>
          </p:cNvPr>
          <p:cNvSpPr>
            <a:spLocks noGrp="1"/>
          </p:cNvSpPr>
          <p:nvPr>
            <p:ph type="body" sz="quarter" idx="42" hasCustomPrompt="1"/>
          </p:nvPr>
        </p:nvSpPr>
        <p:spPr>
          <a:xfrm>
            <a:off x="4852596" y="1864467"/>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60" name="Text Placeholder 20">
            <a:extLst>
              <a:ext uri="{FF2B5EF4-FFF2-40B4-BE49-F238E27FC236}">
                <a16:creationId xmlns:a16="http://schemas.microsoft.com/office/drawing/2014/main" id="{5B1BD81B-610E-C040-9E12-9890AAD2A079}"/>
              </a:ext>
            </a:extLst>
          </p:cNvPr>
          <p:cNvSpPr>
            <a:spLocks noGrp="1"/>
          </p:cNvSpPr>
          <p:nvPr>
            <p:ph type="body" sz="quarter" idx="43" hasCustomPrompt="1"/>
          </p:nvPr>
        </p:nvSpPr>
        <p:spPr>
          <a:xfrm>
            <a:off x="4864472" y="2795086"/>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61" name="Straight Connector 60">
            <a:extLst>
              <a:ext uri="{FF2B5EF4-FFF2-40B4-BE49-F238E27FC236}">
                <a16:creationId xmlns:a16="http://schemas.microsoft.com/office/drawing/2014/main" id="{2FF13610-5A03-124C-A6D3-AA5918F132C9}"/>
              </a:ext>
            </a:extLst>
          </p:cNvPr>
          <p:cNvCxnSpPr>
            <a:cxnSpLocks/>
          </p:cNvCxnSpPr>
          <p:nvPr userDrawn="1"/>
        </p:nvCxnSpPr>
        <p:spPr>
          <a:xfrm>
            <a:off x="4747565" y="371943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2" name="Text Placeholder 20">
            <a:extLst>
              <a:ext uri="{FF2B5EF4-FFF2-40B4-BE49-F238E27FC236}">
                <a16:creationId xmlns:a16="http://schemas.microsoft.com/office/drawing/2014/main" id="{CA1B7917-580E-9844-8A05-6C5610890CE7}"/>
              </a:ext>
            </a:extLst>
          </p:cNvPr>
          <p:cNvSpPr>
            <a:spLocks noGrp="1"/>
          </p:cNvSpPr>
          <p:nvPr>
            <p:ph type="body" sz="quarter" idx="44" hasCustomPrompt="1"/>
          </p:nvPr>
        </p:nvSpPr>
        <p:spPr>
          <a:xfrm>
            <a:off x="4864472" y="372457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89" name="Straight Connector 88">
            <a:extLst>
              <a:ext uri="{FF2B5EF4-FFF2-40B4-BE49-F238E27FC236}">
                <a16:creationId xmlns:a16="http://schemas.microsoft.com/office/drawing/2014/main" id="{E2BF938D-CBAC-4B44-9556-DF0C3CA4DF8F}"/>
              </a:ext>
            </a:extLst>
          </p:cNvPr>
          <p:cNvCxnSpPr>
            <a:cxnSpLocks/>
          </p:cNvCxnSpPr>
          <p:nvPr userDrawn="1"/>
        </p:nvCxnSpPr>
        <p:spPr>
          <a:xfrm>
            <a:off x="4747565" y="4644120"/>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0" name="Text Placeholder 20">
            <a:extLst>
              <a:ext uri="{FF2B5EF4-FFF2-40B4-BE49-F238E27FC236}">
                <a16:creationId xmlns:a16="http://schemas.microsoft.com/office/drawing/2014/main" id="{4603BFF9-BFF5-6841-9F55-9A442D528BCD}"/>
              </a:ext>
            </a:extLst>
          </p:cNvPr>
          <p:cNvSpPr>
            <a:spLocks noGrp="1"/>
          </p:cNvSpPr>
          <p:nvPr>
            <p:ph type="body" sz="quarter" idx="45" hasCustomPrompt="1"/>
          </p:nvPr>
        </p:nvSpPr>
        <p:spPr>
          <a:xfrm>
            <a:off x="4864472" y="4649257"/>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93" name="TextBox 92">
            <a:extLst>
              <a:ext uri="{FF2B5EF4-FFF2-40B4-BE49-F238E27FC236}">
                <a16:creationId xmlns:a16="http://schemas.microsoft.com/office/drawing/2014/main" id="{CB751464-8A7F-FA49-856D-4334A4C81AF1}"/>
              </a:ext>
            </a:extLst>
          </p:cNvPr>
          <p:cNvSpPr txBox="1"/>
          <p:nvPr userDrawn="1"/>
        </p:nvSpPr>
        <p:spPr>
          <a:xfrm>
            <a:off x="4305186" y="1903991"/>
            <a:ext cx="559286" cy="523220"/>
          </a:xfrm>
          <a:prstGeom prst="rect">
            <a:avLst/>
          </a:prstGeom>
        </p:spPr>
        <p:txBody>
          <a:bodyPr wrap="square" rtlCol="0">
            <a:spAutoFit/>
          </a:bodyPr>
          <a:lstStyle/>
          <a:p>
            <a:r>
              <a:rPr lang="en-GB" sz="2800" b="1" i="0">
                <a:solidFill>
                  <a:schemeClr val="accent1"/>
                </a:solidFill>
                <a:latin typeface="Helvetica" pitchFamily="2" charset="0"/>
              </a:rPr>
              <a:t>2</a:t>
            </a:r>
          </a:p>
        </p:txBody>
      </p:sp>
      <p:sp>
        <p:nvSpPr>
          <p:cNvPr id="94" name="Rectangle 93">
            <a:extLst>
              <a:ext uri="{FF2B5EF4-FFF2-40B4-BE49-F238E27FC236}">
                <a16:creationId xmlns:a16="http://schemas.microsoft.com/office/drawing/2014/main" id="{EF0334F8-DBA7-D04B-8D45-8AECC5324BDE}"/>
              </a:ext>
            </a:extLst>
          </p:cNvPr>
          <p:cNvSpPr/>
          <p:nvPr userDrawn="1"/>
        </p:nvSpPr>
        <p:spPr>
          <a:xfrm>
            <a:off x="8307365" y="1709768"/>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Straight Connector 94">
            <a:extLst>
              <a:ext uri="{FF2B5EF4-FFF2-40B4-BE49-F238E27FC236}">
                <a16:creationId xmlns:a16="http://schemas.microsoft.com/office/drawing/2014/main" id="{3D13591D-6EC1-AB4F-9969-6302E362784E}"/>
              </a:ext>
            </a:extLst>
          </p:cNvPr>
          <p:cNvCxnSpPr>
            <a:cxnSpLocks/>
          </p:cNvCxnSpPr>
          <p:nvPr userDrawn="1"/>
        </p:nvCxnSpPr>
        <p:spPr>
          <a:xfrm>
            <a:off x="8333913" y="278369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6" name="Text Placeholder 20">
            <a:extLst>
              <a:ext uri="{FF2B5EF4-FFF2-40B4-BE49-F238E27FC236}">
                <a16:creationId xmlns:a16="http://schemas.microsoft.com/office/drawing/2014/main" id="{14BEE252-4639-114D-AFB0-243BBC85FDD9}"/>
              </a:ext>
            </a:extLst>
          </p:cNvPr>
          <p:cNvSpPr>
            <a:spLocks noGrp="1"/>
          </p:cNvSpPr>
          <p:nvPr>
            <p:ph type="body" sz="quarter" idx="47" hasCustomPrompt="1"/>
          </p:nvPr>
        </p:nvSpPr>
        <p:spPr>
          <a:xfrm>
            <a:off x="8438944" y="1858215"/>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97" name="Text Placeholder 20">
            <a:extLst>
              <a:ext uri="{FF2B5EF4-FFF2-40B4-BE49-F238E27FC236}">
                <a16:creationId xmlns:a16="http://schemas.microsoft.com/office/drawing/2014/main" id="{FC6370E8-D75B-1844-A610-8287D1D8E14C}"/>
              </a:ext>
            </a:extLst>
          </p:cNvPr>
          <p:cNvSpPr>
            <a:spLocks noGrp="1"/>
          </p:cNvSpPr>
          <p:nvPr>
            <p:ph type="body" sz="quarter" idx="48" hasCustomPrompt="1"/>
          </p:nvPr>
        </p:nvSpPr>
        <p:spPr>
          <a:xfrm>
            <a:off x="8450820" y="278883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98" name="Straight Connector 97">
            <a:extLst>
              <a:ext uri="{FF2B5EF4-FFF2-40B4-BE49-F238E27FC236}">
                <a16:creationId xmlns:a16="http://schemas.microsoft.com/office/drawing/2014/main" id="{C0D779F3-6521-3942-8C9F-C999AF5DED7E}"/>
              </a:ext>
            </a:extLst>
          </p:cNvPr>
          <p:cNvCxnSpPr>
            <a:cxnSpLocks/>
          </p:cNvCxnSpPr>
          <p:nvPr userDrawn="1"/>
        </p:nvCxnSpPr>
        <p:spPr>
          <a:xfrm>
            <a:off x="8333913" y="371318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9" name="Text Placeholder 20">
            <a:extLst>
              <a:ext uri="{FF2B5EF4-FFF2-40B4-BE49-F238E27FC236}">
                <a16:creationId xmlns:a16="http://schemas.microsoft.com/office/drawing/2014/main" id="{C51B118D-026B-804A-A087-4B2F7080C4CB}"/>
              </a:ext>
            </a:extLst>
          </p:cNvPr>
          <p:cNvSpPr>
            <a:spLocks noGrp="1"/>
          </p:cNvSpPr>
          <p:nvPr>
            <p:ph type="body" sz="quarter" idx="49" hasCustomPrompt="1"/>
          </p:nvPr>
        </p:nvSpPr>
        <p:spPr>
          <a:xfrm>
            <a:off x="8450820" y="3718322"/>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100" name="Straight Connector 99">
            <a:extLst>
              <a:ext uri="{FF2B5EF4-FFF2-40B4-BE49-F238E27FC236}">
                <a16:creationId xmlns:a16="http://schemas.microsoft.com/office/drawing/2014/main" id="{9B8AEA03-D8B2-AF4D-8117-E6BB4A0DD32B}"/>
              </a:ext>
            </a:extLst>
          </p:cNvPr>
          <p:cNvCxnSpPr>
            <a:cxnSpLocks/>
          </p:cNvCxnSpPr>
          <p:nvPr userDrawn="1"/>
        </p:nvCxnSpPr>
        <p:spPr>
          <a:xfrm>
            <a:off x="8333913" y="4637868"/>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1" name="Text Placeholder 20">
            <a:extLst>
              <a:ext uri="{FF2B5EF4-FFF2-40B4-BE49-F238E27FC236}">
                <a16:creationId xmlns:a16="http://schemas.microsoft.com/office/drawing/2014/main" id="{BBEB6736-19B2-5B4F-8A4E-C0BDDEB6F0BD}"/>
              </a:ext>
            </a:extLst>
          </p:cNvPr>
          <p:cNvSpPr>
            <a:spLocks noGrp="1"/>
          </p:cNvSpPr>
          <p:nvPr>
            <p:ph type="body" sz="quarter" idx="50" hasCustomPrompt="1"/>
          </p:nvPr>
        </p:nvSpPr>
        <p:spPr>
          <a:xfrm>
            <a:off x="8450820" y="4643005"/>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4" name="TextBox 103">
            <a:extLst>
              <a:ext uri="{FF2B5EF4-FFF2-40B4-BE49-F238E27FC236}">
                <a16:creationId xmlns:a16="http://schemas.microsoft.com/office/drawing/2014/main" id="{6969653A-6C2C-8147-ACCB-D4F972B28B3B}"/>
              </a:ext>
            </a:extLst>
          </p:cNvPr>
          <p:cNvSpPr txBox="1"/>
          <p:nvPr userDrawn="1"/>
        </p:nvSpPr>
        <p:spPr>
          <a:xfrm>
            <a:off x="7891534" y="1897739"/>
            <a:ext cx="559286" cy="523220"/>
          </a:xfrm>
          <a:prstGeom prst="rect">
            <a:avLst/>
          </a:prstGeom>
        </p:spPr>
        <p:txBody>
          <a:bodyPr wrap="square" rtlCol="0">
            <a:spAutoFit/>
          </a:bodyPr>
          <a:lstStyle/>
          <a:p>
            <a:r>
              <a:rPr lang="en-GB" sz="2800" b="1" i="0">
                <a:solidFill>
                  <a:schemeClr val="accent1"/>
                </a:solidFill>
                <a:latin typeface="Helvetica" pitchFamily="2" charset="0"/>
              </a:rPr>
              <a:t>3</a:t>
            </a:r>
          </a:p>
        </p:txBody>
      </p:sp>
      <p:sp>
        <p:nvSpPr>
          <p:cNvPr id="38" name="Title 1">
            <a:extLst>
              <a:ext uri="{FF2B5EF4-FFF2-40B4-BE49-F238E27FC236}">
                <a16:creationId xmlns:a16="http://schemas.microsoft.com/office/drawing/2014/main" id="{00D9EB27-355B-C0ED-84F3-A25252382F8B}"/>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35" name="Bilde 3">
            <a:extLst>
              <a:ext uri="{FF2B5EF4-FFF2-40B4-BE49-F238E27FC236}">
                <a16:creationId xmlns:a16="http://schemas.microsoft.com/office/drawing/2014/main" id="{FE2C0ED3-4F0D-76FE-4A81-DA2AEA5E0E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6" name="Date Placeholder 2">
            <a:extLst>
              <a:ext uri="{FF2B5EF4-FFF2-40B4-BE49-F238E27FC236}">
                <a16:creationId xmlns:a16="http://schemas.microsoft.com/office/drawing/2014/main" id="{5AC4A76A-0175-9E3F-9CDE-1DAD263CF72D}"/>
              </a:ext>
            </a:extLst>
          </p:cNvPr>
          <p:cNvSpPr>
            <a:spLocks noGrp="1"/>
          </p:cNvSpPr>
          <p:nvPr>
            <p:ph type="dt" sz="half" idx="16"/>
          </p:nvPr>
        </p:nvSpPr>
        <p:spPr>
          <a:xfrm>
            <a:off x="2303627" y="6492875"/>
            <a:ext cx="528585" cy="365125"/>
          </a:xfrm>
        </p:spPr>
        <p:txBody>
          <a:bodyPr/>
          <a:lstStyle/>
          <a:p>
            <a:fld id="{E7D5591C-2F1A-B349-9EFD-5599BDF73C64}" type="datetime1">
              <a:rPr lang="nb-NO" smtClean="0"/>
              <a:t>20.08.2024</a:t>
            </a:fld>
            <a:endParaRPr lang="en-US"/>
          </a:p>
        </p:txBody>
      </p:sp>
      <p:sp>
        <p:nvSpPr>
          <p:cNvPr id="37" name="Footer Placeholder 3">
            <a:extLst>
              <a:ext uri="{FF2B5EF4-FFF2-40B4-BE49-F238E27FC236}">
                <a16:creationId xmlns:a16="http://schemas.microsoft.com/office/drawing/2014/main" id="{5E45CE91-9625-5A6C-8A2E-9C439162CFDF}"/>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39" name="Slide Number Placeholder 4">
            <a:extLst>
              <a:ext uri="{FF2B5EF4-FFF2-40B4-BE49-F238E27FC236}">
                <a16:creationId xmlns:a16="http://schemas.microsoft.com/office/drawing/2014/main" id="{5B2B34E3-8FF7-63CC-43BD-9FB1EDD01E08}"/>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6550315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1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504683"/>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sp>
        <p:nvSpPr>
          <p:cNvPr id="33" name="Rectangle 32">
            <a:extLst>
              <a:ext uri="{FF2B5EF4-FFF2-40B4-BE49-F238E27FC236}">
                <a16:creationId xmlns:a16="http://schemas.microsoft.com/office/drawing/2014/main" id="{0DA3DEA2-7333-4492-1044-D7EB7386727A}"/>
              </a:ext>
            </a:extLst>
          </p:cNvPr>
          <p:cNvSpPr/>
          <p:nvPr/>
        </p:nvSpPr>
        <p:spPr>
          <a:xfrm>
            <a:off x="734070" y="2072928"/>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7F35A7AB-6104-5231-735C-5AE5EF809F71}"/>
              </a:ext>
            </a:extLst>
          </p:cNvPr>
          <p:cNvCxnSpPr>
            <a:cxnSpLocks/>
          </p:cNvCxnSpPr>
          <p:nvPr/>
        </p:nvCxnSpPr>
        <p:spPr>
          <a:xfrm>
            <a:off x="829487" y="2072928"/>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5A2AB5B1-2ECF-5F24-EF62-2BEC48D11679}"/>
              </a:ext>
            </a:extLst>
          </p:cNvPr>
          <p:cNvSpPr>
            <a:spLocks noGrp="1"/>
          </p:cNvSpPr>
          <p:nvPr userDrawn="1">
            <p:ph type="body" sz="quarter" idx="10" hasCustomPrompt="1"/>
          </p:nvPr>
        </p:nvSpPr>
        <p:spPr>
          <a:xfrm>
            <a:off x="983357" y="2162003"/>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7" name="Rectangle 46">
            <a:extLst>
              <a:ext uri="{FF2B5EF4-FFF2-40B4-BE49-F238E27FC236}">
                <a16:creationId xmlns:a16="http://schemas.microsoft.com/office/drawing/2014/main" id="{6F9DD9A6-9D82-99B8-94E5-51FB18A35AFF}"/>
              </a:ext>
            </a:extLst>
          </p:cNvPr>
          <p:cNvSpPr/>
          <p:nvPr/>
        </p:nvSpPr>
        <p:spPr>
          <a:xfrm>
            <a:off x="734070" y="2915116"/>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8" name="Straight Connector 47">
            <a:extLst>
              <a:ext uri="{FF2B5EF4-FFF2-40B4-BE49-F238E27FC236}">
                <a16:creationId xmlns:a16="http://schemas.microsoft.com/office/drawing/2014/main" id="{6BAF944F-5074-63E2-A5E3-2B5F0E5C3D07}"/>
              </a:ext>
            </a:extLst>
          </p:cNvPr>
          <p:cNvCxnSpPr>
            <a:cxnSpLocks/>
          </p:cNvCxnSpPr>
          <p:nvPr/>
        </p:nvCxnSpPr>
        <p:spPr>
          <a:xfrm>
            <a:off x="829487" y="2915116"/>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18CC2C82-EAA6-63E4-031C-FC42706250B7}"/>
              </a:ext>
            </a:extLst>
          </p:cNvPr>
          <p:cNvSpPr/>
          <p:nvPr/>
        </p:nvSpPr>
        <p:spPr>
          <a:xfrm>
            <a:off x="734070" y="3757304"/>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891DA805-F299-AE45-6235-E1100FC431C5}"/>
              </a:ext>
            </a:extLst>
          </p:cNvPr>
          <p:cNvCxnSpPr>
            <a:cxnSpLocks/>
          </p:cNvCxnSpPr>
          <p:nvPr/>
        </p:nvCxnSpPr>
        <p:spPr>
          <a:xfrm>
            <a:off x="829487" y="3757304"/>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3E2BD2D-2C57-54CC-2ECB-DDF1AEF80DCB}"/>
              </a:ext>
            </a:extLst>
          </p:cNvPr>
          <p:cNvSpPr/>
          <p:nvPr/>
        </p:nvSpPr>
        <p:spPr>
          <a:xfrm>
            <a:off x="734070" y="459949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E1648AD5-C028-FBF1-597A-79A21158DE93}"/>
              </a:ext>
            </a:extLst>
          </p:cNvPr>
          <p:cNvCxnSpPr>
            <a:cxnSpLocks/>
          </p:cNvCxnSpPr>
          <p:nvPr/>
        </p:nvCxnSpPr>
        <p:spPr>
          <a:xfrm>
            <a:off x="829487" y="4599492"/>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Text Placeholder 20">
            <a:extLst>
              <a:ext uri="{FF2B5EF4-FFF2-40B4-BE49-F238E27FC236}">
                <a16:creationId xmlns:a16="http://schemas.microsoft.com/office/drawing/2014/main" id="{B1A0D399-AD63-C8F6-A79B-CA49BE109A06}"/>
              </a:ext>
            </a:extLst>
          </p:cNvPr>
          <p:cNvSpPr>
            <a:spLocks noGrp="1"/>
          </p:cNvSpPr>
          <p:nvPr userDrawn="1">
            <p:ph type="body" sz="quarter" idx="12" hasCustomPrompt="1"/>
          </p:nvPr>
        </p:nvSpPr>
        <p:spPr>
          <a:xfrm>
            <a:off x="983357" y="3004191"/>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6" name="Text Placeholder 20">
            <a:extLst>
              <a:ext uri="{FF2B5EF4-FFF2-40B4-BE49-F238E27FC236}">
                <a16:creationId xmlns:a16="http://schemas.microsoft.com/office/drawing/2014/main" id="{CCC12247-8BAB-4AE4-DDFB-5CB8B7006906}"/>
              </a:ext>
            </a:extLst>
          </p:cNvPr>
          <p:cNvSpPr>
            <a:spLocks noGrp="1"/>
          </p:cNvSpPr>
          <p:nvPr userDrawn="1">
            <p:ph type="body" sz="quarter" idx="13" hasCustomPrompt="1"/>
          </p:nvPr>
        </p:nvSpPr>
        <p:spPr>
          <a:xfrm>
            <a:off x="983357" y="3846379"/>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7" name="Text Placeholder 20">
            <a:extLst>
              <a:ext uri="{FF2B5EF4-FFF2-40B4-BE49-F238E27FC236}">
                <a16:creationId xmlns:a16="http://schemas.microsoft.com/office/drawing/2014/main" id="{2FEA113A-604B-5532-6772-443DEC02D830}"/>
              </a:ext>
            </a:extLst>
          </p:cNvPr>
          <p:cNvSpPr>
            <a:spLocks noGrp="1"/>
          </p:cNvSpPr>
          <p:nvPr userDrawn="1">
            <p:ph type="body" sz="quarter" idx="14" hasCustomPrompt="1"/>
          </p:nvPr>
        </p:nvSpPr>
        <p:spPr>
          <a:xfrm>
            <a:off x="983357" y="4688567"/>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9" name="Rectangle 58">
            <a:extLst>
              <a:ext uri="{FF2B5EF4-FFF2-40B4-BE49-F238E27FC236}">
                <a16:creationId xmlns:a16="http://schemas.microsoft.com/office/drawing/2014/main" id="{74C29AE8-19AA-C1C7-9021-ACCC5B30EBA8}"/>
              </a:ext>
            </a:extLst>
          </p:cNvPr>
          <p:cNvSpPr/>
          <p:nvPr/>
        </p:nvSpPr>
        <p:spPr>
          <a:xfrm>
            <a:off x="752577" y="5441680"/>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0" name="Straight Connector 59">
            <a:extLst>
              <a:ext uri="{FF2B5EF4-FFF2-40B4-BE49-F238E27FC236}">
                <a16:creationId xmlns:a16="http://schemas.microsoft.com/office/drawing/2014/main" id="{D1AF8B10-77B7-994C-26DA-98606625369C}"/>
              </a:ext>
            </a:extLst>
          </p:cNvPr>
          <p:cNvCxnSpPr>
            <a:cxnSpLocks/>
          </p:cNvCxnSpPr>
          <p:nvPr/>
        </p:nvCxnSpPr>
        <p:spPr>
          <a:xfrm>
            <a:off x="847994" y="5441680"/>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Text Placeholder 20">
            <a:extLst>
              <a:ext uri="{FF2B5EF4-FFF2-40B4-BE49-F238E27FC236}">
                <a16:creationId xmlns:a16="http://schemas.microsoft.com/office/drawing/2014/main" id="{EBC6E672-A248-2ABD-D4D1-033D6C57FC5E}"/>
              </a:ext>
            </a:extLst>
          </p:cNvPr>
          <p:cNvSpPr>
            <a:spLocks noGrp="1"/>
          </p:cNvSpPr>
          <p:nvPr userDrawn="1">
            <p:ph type="body" sz="quarter" idx="15" hasCustomPrompt="1"/>
          </p:nvPr>
        </p:nvSpPr>
        <p:spPr>
          <a:xfrm>
            <a:off x="1001864" y="5530755"/>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27" name="Bilde 3">
            <a:extLst>
              <a:ext uri="{FF2B5EF4-FFF2-40B4-BE49-F238E27FC236}">
                <a16:creationId xmlns:a16="http://schemas.microsoft.com/office/drawing/2014/main" id="{A5B0FA5C-4366-EE3B-6258-1E103A7EB7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9" name="Date Placeholder 2">
            <a:extLst>
              <a:ext uri="{FF2B5EF4-FFF2-40B4-BE49-F238E27FC236}">
                <a16:creationId xmlns:a16="http://schemas.microsoft.com/office/drawing/2014/main" id="{52A88FDD-AA4C-DAEE-7C94-F7149BE52E2C}"/>
              </a:ext>
            </a:extLst>
          </p:cNvPr>
          <p:cNvSpPr>
            <a:spLocks noGrp="1"/>
          </p:cNvSpPr>
          <p:nvPr userDrawn="1">
            <p:ph type="dt" sz="half" idx="16"/>
          </p:nvPr>
        </p:nvSpPr>
        <p:spPr>
          <a:xfrm>
            <a:off x="2303627" y="6492875"/>
            <a:ext cx="528585" cy="365125"/>
          </a:xfrm>
        </p:spPr>
        <p:txBody>
          <a:bodyPr/>
          <a:lstStyle/>
          <a:p>
            <a:fld id="{807964D0-09DE-B340-ADEC-54859DDF85BE}" type="datetime1">
              <a:rPr lang="nb-NO" smtClean="0"/>
              <a:t>20.08.2024</a:t>
            </a:fld>
            <a:endParaRPr lang="en-US"/>
          </a:p>
        </p:txBody>
      </p:sp>
      <p:sp>
        <p:nvSpPr>
          <p:cNvPr id="30" name="Footer Placeholder 3">
            <a:extLst>
              <a:ext uri="{FF2B5EF4-FFF2-40B4-BE49-F238E27FC236}">
                <a16:creationId xmlns:a16="http://schemas.microsoft.com/office/drawing/2014/main" id="{D2BFB3AC-A2B8-F5EF-B14F-1D7D4A7611CA}"/>
              </a:ext>
            </a:extLst>
          </p:cNvPr>
          <p:cNvSpPr>
            <a:spLocks noGrp="1"/>
          </p:cNvSpPr>
          <p:nvPr userDrawn="1">
            <p:ph type="ftr" sz="quarter" idx="17"/>
          </p:nvPr>
        </p:nvSpPr>
        <p:spPr>
          <a:xfrm>
            <a:off x="175116" y="6492875"/>
            <a:ext cx="2107096" cy="365125"/>
          </a:xfrm>
        </p:spPr>
        <p:txBody>
          <a:bodyPr/>
          <a:lstStyle/>
          <a:p>
            <a:r>
              <a:rPr lang="en-US"/>
              <a:t>© StrongPoint 2022</a:t>
            </a:r>
          </a:p>
        </p:txBody>
      </p:sp>
      <p:sp>
        <p:nvSpPr>
          <p:cNvPr id="31" name="Slide Number Placeholder 4">
            <a:extLst>
              <a:ext uri="{FF2B5EF4-FFF2-40B4-BE49-F238E27FC236}">
                <a16:creationId xmlns:a16="http://schemas.microsoft.com/office/drawing/2014/main" id="{463286B1-D26D-3F1D-B5F5-8A0CF9299383}"/>
              </a:ext>
            </a:extLst>
          </p:cNvPr>
          <p:cNvSpPr>
            <a:spLocks noGrp="1"/>
          </p:cNvSpPr>
          <p:nvPr userDrawn="1">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0347760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userDrawn="1">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38_Custom Layout">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C7B5656-DA3F-9847-9792-691229FFB730}"/>
              </a:ext>
            </a:extLst>
          </p:cNvPr>
          <p:cNvSpPr/>
          <p:nvPr userDrawn="1"/>
        </p:nvSpPr>
        <p:spPr>
          <a:xfrm>
            <a:off x="1081661" y="1716020"/>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213240" y="1864467"/>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225116" y="2795085"/>
            <a:ext cx="2916256" cy="2636015"/>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 name="TextBox 2">
            <a:extLst>
              <a:ext uri="{FF2B5EF4-FFF2-40B4-BE49-F238E27FC236}">
                <a16:creationId xmlns:a16="http://schemas.microsoft.com/office/drawing/2014/main" id="{F3A29A19-CBAD-DB4D-A8E8-E75B17885703}"/>
              </a:ext>
            </a:extLst>
          </p:cNvPr>
          <p:cNvSpPr txBox="1"/>
          <p:nvPr userDrawn="1"/>
        </p:nvSpPr>
        <p:spPr>
          <a:xfrm>
            <a:off x="665830" y="1903991"/>
            <a:ext cx="559286" cy="523220"/>
          </a:xfrm>
          <a:prstGeom prst="rect">
            <a:avLst/>
          </a:prstGeom>
        </p:spPr>
        <p:txBody>
          <a:bodyPr wrap="square" rtlCol="0">
            <a:spAutoFit/>
          </a:bodyPr>
          <a:lstStyle/>
          <a:p>
            <a:r>
              <a:rPr lang="en-GB" sz="2800" b="1" i="0">
                <a:solidFill>
                  <a:schemeClr val="accent1"/>
                </a:solidFill>
                <a:latin typeface="Helvetica" pitchFamily="2" charset="0"/>
              </a:rPr>
              <a:t>1</a:t>
            </a:r>
          </a:p>
        </p:txBody>
      </p:sp>
      <p:sp>
        <p:nvSpPr>
          <p:cNvPr id="51" name="Rectangle 50">
            <a:extLst>
              <a:ext uri="{FF2B5EF4-FFF2-40B4-BE49-F238E27FC236}">
                <a16:creationId xmlns:a16="http://schemas.microsoft.com/office/drawing/2014/main" id="{25FF2627-BFD7-7245-8BBD-EF14EE38529E}"/>
              </a:ext>
            </a:extLst>
          </p:cNvPr>
          <p:cNvSpPr/>
          <p:nvPr userDrawn="1"/>
        </p:nvSpPr>
        <p:spPr>
          <a:xfrm>
            <a:off x="4721017" y="1716020"/>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 Placeholder 20">
            <a:extLst>
              <a:ext uri="{FF2B5EF4-FFF2-40B4-BE49-F238E27FC236}">
                <a16:creationId xmlns:a16="http://schemas.microsoft.com/office/drawing/2014/main" id="{DF30A173-A5B6-1947-B430-0C6C140A1F01}"/>
              </a:ext>
            </a:extLst>
          </p:cNvPr>
          <p:cNvSpPr>
            <a:spLocks noGrp="1"/>
          </p:cNvSpPr>
          <p:nvPr>
            <p:ph type="body" sz="quarter" idx="42" hasCustomPrompt="1"/>
          </p:nvPr>
        </p:nvSpPr>
        <p:spPr>
          <a:xfrm>
            <a:off x="4852596" y="1864467"/>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60" name="Text Placeholder 20">
            <a:extLst>
              <a:ext uri="{FF2B5EF4-FFF2-40B4-BE49-F238E27FC236}">
                <a16:creationId xmlns:a16="http://schemas.microsoft.com/office/drawing/2014/main" id="{5B1BD81B-610E-C040-9E12-9890AAD2A079}"/>
              </a:ext>
            </a:extLst>
          </p:cNvPr>
          <p:cNvSpPr>
            <a:spLocks noGrp="1"/>
          </p:cNvSpPr>
          <p:nvPr>
            <p:ph type="body" sz="quarter" idx="43" hasCustomPrompt="1"/>
          </p:nvPr>
        </p:nvSpPr>
        <p:spPr>
          <a:xfrm>
            <a:off x="4864472" y="2795085"/>
            <a:ext cx="2916256" cy="2636015"/>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93" name="TextBox 92">
            <a:extLst>
              <a:ext uri="{FF2B5EF4-FFF2-40B4-BE49-F238E27FC236}">
                <a16:creationId xmlns:a16="http://schemas.microsoft.com/office/drawing/2014/main" id="{CB751464-8A7F-FA49-856D-4334A4C81AF1}"/>
              </a:ext>
            </a:extLst>
          </p:cNvPr>
          <p:cNvSpPr txBox="1"/>
          <p:nvPr userDrawn="1"/>
        </p:nvSpPr>
        <p:spPr>
          <a:xfrm>
            <a:off x="4305186" y="1903991"/>
            <a:ext cx="559286" cy="523220"/>
          </a:xfrm>
          <a:prstGeom prst="rect">
            <a:avLst/>
          </a:prstGeom>
        </p:spPr>
        <p:txBody>
          <a:bodyPr wrap="square" rtlCol="0">
            <a:spAutoFit/>
          </a:bodyPr>
          <a:lstStyle/>
          <a:p>
            <a:r>
              <a:rPr lang="en-GB" sz="2800" b="1" i="0">
                <a:solidFill>
                  <a:schemeClr val="accent1"/>
                </a:solidFill>
                <a:latin typeface="Helvetica" pitchFamily="2" charset="0"/>
              </a:rPr>
              <a:t>2</a:t>
            </a:r>
          </a:p>
        </p:txBody>
      </p:sp>
      <p:sp>
        <p:nvSpPr>
          <p:cNvPr id="94" name="Rectangle 93">
            <a:extLst>
              <a:ext uri="{FF2B5EF4-FFF2-40B4-BE49-F238E27FC236}">
                <a16:creationId xmlns:a16="http://schemas.microsoft.com/office/drawing/2014/main" id="{EF0334F8-DBA7-D04B-8D45-8AECC5324BDE}"/>
              </a:ext>
            </a:extLst>
          </p:cNvPr>
          <p:cNvSpPr/>
          <p:nvPr userDrawn="1"/>
        </p:nvSpPr>
        <p:spPr>
          <a:xfrm>
            <a:off x="8307365" y="1709768"/>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1108209" y="2804934"/>
            <a:ext cx="0" cy="264115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D94247F-1687-1C46-BCBA-B35359725D0B}"/>
              </a:ext>
            </a:extLst>
          </p:cNvPr>
          <p:cNvCxnSpPr>
            <a:cxnSpLocks/>
          </p:cNvCxnSpPr>
          <p:nvPr userDrawn="1"/>
        </p:nvCxnSpPr>
        <p:spPr>
          <a:xfrm>
            <a:off x="4747565" y="2804934"/>
            <a:ext cx="0" cy="264115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3D13591D-6EC1-AB4F-9969-6302E362784E}"/>
              </a:ext>
            </a:extLst>
          </p:cNvPr>
          <p:cNvCxnSpPr>
            <a:cxnSpLocks/>
          </p:cNvCxnSpPr>
          <p:nvPr userDrawn="1"/>
        </p:nvCxnSpPr>
        <p:spPr>
          <a:xfrm>
            <a:off x="8333913" y="2783696"/>
            <a:ext cx="0" cy="264115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6" name="Text Placeholder 20">
            <a:extLst>
              <a:ext uri="{FF2B5EF4-FFF2-40B4-BE49-F238E27FC236}">
                <a16:creationId xmlns:a16="http://schemas.microsoft.com/office/drawing/2014/main" id="{14BEE252-4639-114D-AFB0-243BBC85FDD9}"/>
              </a:ext>
            </a:extLst>
          </p:cNvPr>
          <p:cNvSpPr>
            <a:spLocks noGrp="1"/>
          </p:cNvSpPr>
          <p:nvPr userDrawn="1">
            <p:ph type="body" sz="quarter" idx="47" hasCustomPrompt="1"/>
          </p:nvPr>
        </p:nvSpPr>
        <p:spPr>
          <a:xfrm>
            <a:off x="8438944" y="1858215"/>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97" name="Text Placeholder 20">
            <a:extLst>
              <a:ext uri="{FF2B5EF4-FFF2-40B4-BE49-F238E27FC236}">
                <a16:creationId xmlns:a16="http://schemas.microsoft.com/office/drawing/2014/main" id="{FC6370E8-D75B-1844-A610-8287D1D8E14C}"/>
              </a:ext>
            </a:extLst>
          </p:cNvPr>
          <p:cNvSpPr>
            <a:spLocks noGrp="1"/>
          </p:cNvSpPr>
          <p:nvPr userDrawn="1">
            <p:ph type="body" sz="quarter" idx="48" hasCustomPrompt="1"/>
          </p:nvPr>
        </p:nvSpPr>
        <p:spPr>
          <a:xfrm>
            <a:off x="8450820" y="2788833"/>
            <a:ext cx="2916256" cy="2636015"/>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4" name="TextBox 103">
            <a:extLst>
              <a:ext uri="{FF2B5EF4-FFF2-40B4-BE49-F238E27FC236}">
                <a16:creationId xmlns:a16="http://schemas.microsoft.com/office/drawing/2014/main" id="{6969653A-6C2C-8147-ACCB-D4F972B28B3B}"/>
              </a:ext>
            </a:extLst>
          </p:cNvPr>
          <p:cNvSpPr txBox="1"/>
          <p:nvPr userDrawn="1"/>
        </p:nvSpPr>
        <p:spPr>
          <a:xfrm>
            <a:off x="7891534" y="1897739"/>
            <a:ext cx="559286" cy="523220"/>
          </a:xfrm>
          <a:prstGeom prst="rect">
            <a:avLst/>
          </a:prstGeom>
        </p:spPr>
        <p:txBody>
          <a:bodyPr wrap="square" rtlCol="0">
            <a:spAutoFit/>
          </a:bodyPr>
          <a:lstStyle/>
          <a:p>
            <a:r>
              <a:rPr lang="en-GB" sz="2800" b="1" i="0">
                <a:solidFill>
                  <a:schemeClr val="accent1"/>
                </a:solidFill>
                <a:latin typeface="Helvetica" pitchFamily="2" charset="0"/>
              </a:rPr>
              <a:t>3</a:t>
            </a:r>
          </a:p>
        </p:txBody>
      </p:sp>
      <p:sp>
        <p:nvSpPr>
          <p:cNvPr id="38" name="Title 1">
            <a:extLst>
              <a:ext uri="{FF2B5EF4-FFF2-40B4-BE49-F238E27FC236}">
                <a16:creationId xmlns:a16="http://schemas.microsoft.com/office/drawing/2014/main" id="{00D9EB27-355B-C0ED-84F3-A25252382F8B}"/>
              </a:ext>
            </a:extLst>
          </p:cNvPr>
          <p:cNvSpPr>
            <a:spLocks noGrp="1"/>
          </p:cNvSpPr>
          <p:nvPr userDrawn="1">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4" name="Bilde 3">
            <a:extLst>
              <a:ext uri="{FF2B5EF4-FFF2-40B4-BE49-F238E27FC236}">
                <a16:creationId xmlns:a16="http://schemas.microsoft.com/office/drawing/2014/main" id="{DBA068A6-7045-9B50-BF91-73FC6D7BEB6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802E4C73-E5CC-C29C-AE6D-CF730A25DFAF}"/>
              </a:ext>
            </a:extLst>
          </p:cNvPr>
          <p:cNvSpPr>
            <a:spLocks noGrp="1"/>
          </p:cNvSpPr>
          <p:nvPr>
            <p:ph type="dt" sz="half" idx="16"/>
          </p:nvPr>
        </p:nvSpPr>
        <p:spPr>
          <a:xfrm>
            <a:off x="2303627" y="6492875"/>
            <a:ext cx="528585" cy="365125"/>
          </a:xfrm>
        </p:spPr>
        <p:txBody>
          <a:bodyPr/>
          <a:lstStyle/>
          <a:p>
            <a:fld id="{38D35A6E-F7CE-9542-B139-B65887BB1A12}" type="datetime1">
              <a:rPr lang="nb-NO" smtClean="0"/>
              <a:t>20.08.2024</a:t>
            </a:fld>
            <a:endParaRPr lang="en-US"/>
          </a:p>
        </p:txBody>
      </p:sp>
      <p:sp>
        <p:nvSpPr>
          <p:cNvPr id="25" name="Footer Placeholder 3">
            <a:extLst>
              <a:ext uri="{FF2B5EF4-FFF2-40B4-BE49-F238E27FC236}">
                <a16:creationId xmlns:a16="http://schemas.microsoft.com/office/drawing/2014/main" id="{82B0D240-8EAB-165B-6D33-B23105C34323}"/>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26" name="Slide Number Placeholder 4">
            <a:extLst>
              <a:ext uri="{FF2B5EF4-FFF2-40B4-BE49-F238E27FC236}">
                <a16:creationId xmlns:a16="http://schemas.microsoft.com/office/drawing/2014/main" id="{50FA445D-D6C4-B3F6-746A-1862AB3F8648}"/>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42795784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40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B1796F2-5DEC-996C-ABCB-7228BC4850E5}"/>
              </a:ext>
            </a:extLst>
          </p:cNvPr>
          <p:cNvSpPr>
            <a:spLocks noGrp="1"/>
          </p:cNvSpPr>
          <p:nvPr>
            <p:ph type="pic" sz="quarter" idx="52"/>
          </p:nvPr>
        </p:nvSpPr>
        <p:spPr>
          <a:xfrm>
            <a:off x="941547" y="1445066"/>
            <a:ext cx="3060700" cy="1820862"/>
          </a:xfrm>
          <a:prstGeom prst="rect">
            <a:avLst/>
          </a:prstGeom>
        </p:spPr>
        <p:txBody>
          <a:bodyPr anchor="ctr"/>
          <a:lstStyle>
            <a:lvl1pPr algn="ctr">
              <a:defRPr sz="1800"/>
            </a:lvl1pPr>
          </a:lstStyle>
          <a:p>
            <a:r>
              <a:rPr lang="en-GB"/>
              <a:t>Click icon to add picture</a:t>
            </a:r>
            <a:endParaRPr lang="en-US"/>
          </a:p>
        </p:txBody>
      </p:sp>
      <p:sp>
        <p:nvSpPr>
          <p:cNvPr id="45" name="Rectangle 44">
            <a:extLst>
              <a:ext uri="{FF2B5EF4-FFF2-40B4-BE49-F238E27FC236}">
                <a16:creationId xmlns:a16="http://schemas.microsoft.com/office/drawing/2014/main" id="{1C7B5656-DA3F-9847-9792-691229FFB730}"/>
              </a:ext>
            </a:extLst>
          </p:cNvPr>
          <p:cNvSpPr/>
          <p:nvPr userDrawn="1"/>
        </p:nvSpPr>
        <p:spPr>
          <a:xfrm>
            <a:off x="942119" y="3332603"/>
            <a:ext cx="3065442" cy="28072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061370" y="3403048"/>
            <a:ext cx="2830400" cy="582683"/>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061370" y="4001634"/>
            <a:ext cx="2830400" cy="2090483"/>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flipH="1">
            <a:off x="942119" y="3281228"/>
            <a:ext cx="306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8" name="Title 1">
            <a:extLst>
              <a:ext uri="{FF2B5EF4-FFF2-40B4-BE49-F238E27FC236}">
                <a16:creationId xmlns:a16="http://schemas.microsoft.com/office/drawing/2014/main" id="{00D9EB27-355B-C0ED-84F3-A25252382F8B}"/>
              </a:ext>
            </a:extLst>
          </p:cNvPr>
          <p:cNvSpPr>
            <a:spLocks noGrp="1"/>
          </p:cNvSpPr>
          <p:nvPr userDrawn="1">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4" name="Bilde 3">
            <a:extLst>
              <a:ext uri="{FF2B5EF4-FFF2-40B4-BE49-F238E27FC236}">
                <a16:creationId xmlns:a16="http://schemas.microsoft.com/office/drawing/2014/main" id="{DBA068A6-7045-9B50-BF91-73FC6D7BEB6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6" name="Picture Placeholder 7">
            <a:extLst>
              <a:ext uri="{FF2B5EF4-FFF2-40B4-BE49-F238E27FC236}">
                <a16:creationId xmlns:a16="http://schemas.microsoft.com/office/drawing/2014/main" id="{036ADB22-C59D-5054-F408-EBE475CB6330}"/>
              </a:ext>
            </a:extLst>
          </p:cNvPr>
          <p:cNvSpPr>
            <a:spLocks noGrp="1"/>
          </p:cNvSpPr>
          <p:nvPr>
            <p:ph type="pic" sz="quarter" idx="53"/>
          </p:nvPr>
        </p:nvSpPr>
        <p:spPr>
          <a:xfrm>
            <a:off x="4335930" y="1445066"/>
            <a:ext cx="3060700" cy="1820862"/>
          </a:xfrm>
          <a:prstGeom prst="rect">
            <a:avLst/>
          </a:prstGeom>
        </p:spPr>
        <p:txBody>
          <a:bodyPr anchor="ctr"/>
          <a:lstStyle>
            <a:lvl1pPr algn="ctr">
              <a:defRPr sz="1800"/>
            </a:lvl1pPr>
          </a:lstStyle>
          <a:p>
            <a:r>
              <a:rPr lang="en-GB"/>
              <a:t>Click icon to add picture</a:t>
            </a:r>
            <a:endParaRPr lang="en-US"/>
          </a:p>
        </p:txBody>
      </p:sp>
      <p:sp>
        <p:nvSpPr>
          <p:cNvPr id="27" name="Rectangle 26">
            <a:extLst>
              <a:ext uri="{FF2B5EF4-FFF2-40B4-BE49-F238E27FC236}">
                <a16:creationId xmlns:a16="http://schemas.microsoft.com/office/drawing/2014/main" id="{8B0ECE18-051B-DE63-AC4A-05752AB1499A}"/>
              </a:ext>
            </a:extLst>
          </p:cNvPr>
          <p:cNvSpPr/>
          <p:nvPr userDrawn="1"/>
        </p:nvSpPr>
        <p:spPr>
          <a:xfrm>
            <a:off x="4336502" y="3332603"/>
            <a:ext cx="3065442" cy="28072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 Placeholder 20">
            <a:extLst>
              <a:ext uri="{FF2B5EF4-FFF2-40B4-BE49-F238E27FC236}">
                <a16:creationId xmlns:a16="http://schemas.microsoft.com/office/drawing/2014/main" id="{456D4E1E-2C93-62C8-726C-E573B0A1F359}"/>
              </a:ext>
            </a:extLst>
          </p:cNvPr>
          <p:cNvSpPr>
            <a:spLocks noGrp="1"/>
          </p:cNvSpPr>
          <p:nvPr>
            <p:ph type="body" sz="quarter" idx="54" hasCustomPrompt="1"/>
          </p:nvPr>
        </p:nvSpPr>
        <p:spPr>
          <a:xfrm>
            <a:off x="4455753" y="3403048"/>
            <a:ext cx="2830400" cy="582683"/>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0" name="Text Placeholder 20">
            <a:extLst>
              <a:ext uri="{FF2B5EF4-FFF2-40B4-BE49-F238E27FC236}">
                <a16:creationId xmlns:a16="http://schemas.microsoft.com/office/drawing/2014/main" id="{C9E572EA-46BB-1ADC-2DCA-101125632D82}"/>
              </a:ext>
            </a:extLst>
          </p:cNvPr>
          <p:cNvSpPr>
            <a:spLocks noGrp="1"/>
          </p:cNvSpPr>
          <p:nvPr>
            <p:ph type="body" sz="quarter" idx="55" hasCustomPrompt="1"/>
          </p:nvPr>
        </p:nvSpPr>
        <p:spPr>
          <a:xfrm>
            <a:off x="4455753" y="4001634"/>
            <a:ext cx="2830400" cy="2090483"/>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31" name="Straight Connector 30">
            <a:extLst>
              <a:ext uri="{FF2B5EF4-FFF2-40B4-BE49-F238E27FC236}">
                <a16:creationId xmlns:a16="http://schemas.microsoft.com/office/drawing/2014/main" id="{FEAFBB64-B5C6-3C6D-951F-45E4DD827B97}"/>
              </a:ext>
            </a:extLst>
          </p:cNvPr>
          <p:cNvCxnSpPr>
            <a:cxnSpLocks/>
          </p:cNvCxnSpPr>
          <p:nvPr userDrawn="1"/>
        </p:nvCxnSpPr>
        <p:spPr>
          <a:xfrm flipH="1">
            <a:off x="4336502" y="3281228"/>
            <a:ext cx="306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Picture Placeholder 7">
            <a:extLst>
              <a:ext uri="{FF2B5EF4-FFF2-40B4-BE49-F238E27FC236}">
                <a16:creationId xmlns:a16="http://schemas.microsoft.com/office/drawing/2014/main" id="{226F6508-C1DE-4FDD-5D54-3E8CB0269374}"/>
              </a:ext>
            </a:extLst>
          </p:cNvPr>
          <p:cNvSpPr>
            <a:spLocks noGrp="1"/>
          </p:cNvSpPr>
          <p:nvPr>
            <p:ph type="pic" sz="quarter" idx="56"/>
          </p:nvPr>
        </p:nvSpPr>
        <p:spPr>
          <a:xfrm>
            <a:off x="7721049" y="1445066"/>
            <a:ext cx="3060700" cy="1820862"/>
          </a:xfrm>
          <a:prstGeom prst="rect">
            <a:avLst/>
          </a:prstGeom>
        </p:spPr>
        <p:txBody>
          <a:bodyPr anchor="ctr"/>
          <a:lstStyle>
            <a:lvl1pPr algn="ctr">
              <a:defRPr sz="1800"/>
            </a:lvl1pPr>
          </a:lstStyle>
          <a:p>
            <a:r>
              <a:rPr lang="en-GB"/>
              <a:t>Click icon to add picture</a:t>
            </a:r>
            <a:endParaRPr lang="en-US"/>
          </a:p>
        </p:txBody>
      </p:sp>
      <p:sp>
        <p:nvSpPr>
          <p:cNvPr id="33" name="Rectangle 32">
            <a:extLst>
              <a:ext uri="{FF2B5EF4-FFF2-40B4-BE49-F238E27FC236}">
                <a16:creationId xmlns:a16="http://schemas.microsoft.com/office/drawing/2014/main" id="{0C44F1A5-425E-87A2-2D24-3917E09030C5}"/>
              </a:ext>
            </a:extLst>
          </p:cNvPr>
          <p:cNvSpPr/>
          <p:nvPr userDrawn="1"/>
        </p:nvSpPr>
        <p:spPr>
          <a:xfrm>
            <a:off x="7721621" y="3332603"/>
            <a:ext cx="3065442" cy="28072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0">
            <a:extLst>
              <a:ext uri="{FF2B5EF4-FFF2-40B4-BE49-F238E27FC236}">
                <a16:creationId xmlns:a16="http://schemas.microsoft.com/office/drawing/2014/main" id="{71F3DA74-293C-7493-FE9F-ED46727177E4}"/>
              </a:ext>
            </a:extLst>
          </p:cNvPr>
          <p:cNvSpPr>
            <a:spLocks noGrp="1"/>
          </p:cNvSpPr>
          <p:nvPr>
            <p:ph type="body" sz="quarter" idx="57" hasCustomPrompt="1"/>
          </p:nvPr>
        </p:nvSpPr>
        <p:spPr>
          <a:xfrm>
            <a:off x="7840872" y="3403048"/>
            <a:ext cx="2830400" cy="582683"/>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5" name="Text Placeholder 20">
            <a:extLst>
              <a:ext uri="{FF2B5EF4-FFF2-40B4-BE49-F238E27FC236}">
                <a16:creationId xmlns:a16="http://schemas.microsoft.com/office/drawing/2014/main" id="{7C59F177-1602-67CB-884F-2E55B9C4C0BB}"/>
              </a:ext>
            </a:extLst>
          </p:cNvPr>
          <p:cNvSpPr>
            <a:spLocks noGrp="1"/>
          </p:cNvSpPr>
          <p:nvPr>
            <p:ph type="body" sz="quarter" idx="58" hasCustomPrompt="1"/>
          </p:nvPr>
        </p:nvSpPr>
        <p:spPr>
          <a:xfrm>
            <a:off x="7840872" y="4001634"/>
            <a:ext cx="2830400" cy="2090483"/>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36" name="Straight Connector 35">
            <a:extLst>
              <a:ext uri="{FF2B5EF4-FFF2-40B4-BE49-F238E27FC236}">
                <a16:creationId xmlns:a16="http://schemas.microsoft.com/office/drawing/2014/main" id="{75855995-0E07-4D27-6A42-BA419A06BB34}"/>
              </a:ext>
            </a:extLst>
          </p:cNvPr>
          <p:cNvCxnSpPr>
            <a:cxnSpLocks/>
          </p:cNvCxnSpPr>
          <p:nvPr userDrawn="1"/>
        </p:nvCxnSpPr>
        <p:spPr>
          <a:xfrm flipH="1">
            <a:off x="7721621" y="3281228"/>
            <a:ext cx="306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Date Placeholder 2">
            <a:extLst>
              <a:ext uri="{FF2B5EF4-FFF2-40B4-BE49-F238E27FC236}">
                <a16:creationId xmlns:a16="http://schemas.microsoft.com/office/drawing/2014/main" id="{23D09F0E-DD0A-56E4-A786-86687543EDF0}"/>
              </a:ext>
            </a:extLst>
          </p:cNvPr>
          <p:cNvSpPr>
            <a:spLocks noGrp="1"/>
          </p:cNvSpPr>
          <p:nvPr>
            <p:ph type="dt" sz="half" idx="16"/>
          </p:nvPr>
        </p:nvSpPr>
        <p:spPr>
          <a:xfrm>
            <a:off x="2303627" y="6492875"/>
            <a:ext cx="528585" cy="365125"/>
          </a:xfrm>
        </p:spPr>
        <p:txBody>
          <a:bodyPr/>
          <a:lstStyle/>
          <a:p>
            <a:fld id="{6E04736A-3684-114B-8E08-D8FB04084414}" type="datetime1">
              <a:rPr lang="nb-NO" smtClean="0"/>
              <a:t>20.08.2024</a:t>
            </a:fld>
            <a:endParaRPr lang="en-US"/>
          </a:p>
        </p:txBody>
      </p:sp>
      <p:sp>
        <p:nvSpPr>
          <p:cNvPr id="25" name="Footer Placeholder 3">
            <a:extLst>
              <a:ext uri="{FF2B5EF4-FFF2-40B4-BE49-F238E27FC236}">
                <a16:creationId xmlns:a16="http://schemas.microsoft.com/office/drawing/2014/main" id="{86EFD8CB-B4B0-C98B-BAE4-8B0E6EA80F4C}"/>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37" name="Slide Number Placeholder 4">
            <a:extLst>
              <a:ext uri="{FF2B5EF4-FFF2-40B4-BE49-F238E27FC236}">
                <a16:creationId xmlns:a16="http://schemas.microsoft.com/office/drawing/2014/main" id="{9BE7881F-148D-208B-717A-EE47DCF21D13}"/>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6131897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userDrawn="1">
  <p:cSld name="63_Custom Layout">
    <p:bg>
      <p:bgPr>
        <a:solidFill>
          <a:srgbClr val="2832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5D4AB-B803-4643-BCDF-D6393E1CDC9B}"/>
              </a:ext>
            </a:extLst>
          </p:cNvPr>
          <p:cNvSpPr>
            <a:spLocks noGrp="1"/>
          </p:cNvSpPr>
          <p:nvPr>
            <p:ph type="title"/>
          </p:nvPr>
        </p:nvSpPr>
        <p:spPr>
          <a:xfrm>
            <a:off x="1218623" y="4203099"/>
            <a:ext cx="5514686" cy="1325563"/>
          </a:xfrm>
          <a:prstGeom prst="rect">
            <a:avLst/>
          </a:prstGeom>
        </p:spPr>
        <p:txBody>
          <a:bodyPr anchor="b"/>
          <a:lstStyle>
            <a:lvl1pPr>
              <a:defRPr sz="4000" b="0" i="0">
                <a:solidFill>
                  <a:schemeClr val="bg1"/>
                </a:solidFill>
                <a:latin typeface="Helvetica Light" panose="020B0403020202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22442308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33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7" name="Text Placeholder 20">
            <a:extLst>
              <a:ext uri="{FF2B5EF4-FFF2-40B4-BE49-F238E27FC236}">
                <a16:creationId xmlns:a16="http://schemas.microsoft.com/office/drawing/2014/main" id="{49356417-6D30-E548-B1B3-2604029A7EF5}"/>
              </a:ext>
            </a:extLst>
          </p:cNvPr>
          <p:cNvSpPr>
            <a:spLocks noGrp="1"/>
          </p:cNvSpPr>
          <p:nvPr>
            <p:ph type="body" sz="quarter" idx="23" hasCustomPrompt="1"/>
          </p:nvPr>
        </p:nvSpPr>
        <p:spPr>
          <a:xfrm>
            <a:off x="916850" y="4573616"/>
            <a:ext cx="3137757" cy="1534671"/>
          </a:xfrm>
          <a:prstGeom prst="rect">
            <a:avLst/>
          </a:prstGeom>
        </p:spPr>
        <p:txBody>
          <a:bodyPr anchor="t">
            <a:noAutofit/>
          </a:bodyPr>
          <a:lstStyle>
            <a:lvl1pPr marL="0" indent="0" algn="ctr">
              <a:spcBef>
                <a:spcPts val="0"/>
              </a:spcBef>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012918" y="3256113"/>
            <a:ext cx="2945621" cy="918683"/>
          </a:xfrm>
          <a:prstGeom prst="rect">
            <a:avLst/>
          </a:prstGeom>
        </p:spPr>
        <p:txBody>
          <a:bodyPr anchor="ctr">
            <a:noAutofit/>
          </a:bodyPr>
          <a:lstStyle>
            <a:lvl1pPr marL="0" indent="0" algn="ctr">
              <a:spcBef>
                <a:spcPts val="0"/>
              </a:spcBef>
              <a:buNone/>
              <a:defRPr sz="20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a:t>
            </a:r>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968418" y="4391374"/>
            <a:ext cx="303462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1883E524-E691-2542-8EAD-DFBDB929960C}"/>
              </a:ext>
            </a:extLst>
          </p:cNvPr>
          <p:cNvSpPr/>
          <p:nvPr userDrawn="1"/>
        </p:nvSpPr>
        <p:spPr>
          <a:xfrm>
            <a:off x="1686942" y="1578688"/>
            <a:ext cx="1597573" cy="1597573"/>
          </a:xfrm>
          <a:prstGeom prst="ellipse">
            <a:avLst/>
          </a:prstGeom>
          <a:solidFill>
            <a:schemeClr val="accent4">
              <a:lumMod val="20000"/>
              <a:lumOff val="8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9" name="Text Placeholder 20">
            <a:extLst>
              <a:ext uri="{FF2B5EF4-FFF2-40B4-BE49-F238E27FC236}">
                <a16:creationId xmlns:a16="http://schemas.microsoft.com/office/drawing/2014/main" id="{D9AD4255-D80E-7342-B2C4-C5F594A23C7A}"/>
              </a:ext>
            </a:extLst>
          </p:cNvPr>
          <p:cNvSpPr>
            <a:spLocks noGrp="1"/>
          </p:cNvSpPr>
          <p:nvPr>
            <p:ph type="body" sz="quarter" idx="25" hasCustomPrompt="1"/>
          </p:nvPr>
        </p:nvSpPr>
        <p:spPr>
          <a:xfrm>
            <a:off x="4537281" y="4573616"/>
            <a:ext cx="3137757" cy="1534671"/>
          </a:xfrm>
          <a:prstGeom prst="rect">
            <a:avLst/>
          </a:prstGeom>
        </p:spPr>
        <p:txBody>
          <a:bodyPr anchor="t">
            <a:noAutofit/>
          </a:bodyPr>
          <a:lstStyle>
            <a:lvl1pPr marL="0" indent="0" algn="ctr">
              <a:spcBef>
                <a:spcPts val="0"/>
              </a:spcBef>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24" name="Text Placeholder 20">
            <a:extLst>
              <a:ext uri="{FF2B5EF4-FFF2-40B4-BE49-F238E27FC236}">
                <a16:creationId xmlns:a16="http://schemas.microsoft.com/office/drawing/2014/main" id="{8366C65D-987E-F940-9669-8FC67DF547D6}"/>
              </a:ext>
            </a:extLst>
          </p:cNvPr>
          <p:cNvSpPr>
            <a:spLocks noGrp="1"/>
          </p:cNvSpPr>
          <p:nvPr>
            <p:ph type="body" sz="quarter" idx="26" hasCustomPrompt="1"/>
          </p:nvPr>
        </p:nvSpPr>
        <p:spPr>
          <a:xfrm>
            <a:off x="4633349" y="3256113"/>
            <a:ext cx="2945621" cy="918683"/>
          </a:xfrm>
          <a:prstGeom prst="rect">
            <a:avLst/>
          </a:prstGeom>
        </p:spPr>
        <p:txBody>
          <a:bodyPr anchor="ctr">
            <a:noAutofit/>
          </a:bodyPr>
          <a:lstStyle>
            <a:lvl1pPr marL="0" indent="0" algn="ctr">
              <a:spcBef>
                <a:spcPts val="0"/>
              </a:spcBef>
              <a:buNone/>
              <a:defRPr sz="20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a:t>
            </a:r>
          </a:p>
        </p:txBody>
      </p:sp>
      <p:cxnSp>
        <p:nvCxnSpPr>
          <p:cNvPr id="25" name="Straight Connector 24">
            <a:extLst>
              <a:ext uri="{FF2B5EF4-FFF2-40B4-BE49-F238E27FC236}">
                <a16:creationId xmlns:a16="http://schemas.microsoft.com/office/drawing/2014/main" id="{1C8D12F1-1584-DD43-9F53-43F3AA6A406A}"/>
              </a:ext>
            </a:extLst>
          </p:cNvPr>
          <p:cNvCxnSpPr>
            <a:cxnSpLocks/>
          </p:cNvCxnSpPr>
          <p:nvPr userDrawn="1"/>
        </p:nvCxnSpPr>
        <p:spPr>
          <a:xfrm>
            <a:off x="4588849" y="4391374"/>
            <a:ext cx="303462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2DE219C-FDB1-CD4B-86C9-B419D3423531}"/>
              </a:ext>
            </a:extLst>
          </p:cNvPr>
          <p:cNvSpPr/>
          <p:nvPr userDrawn="1"/>
        </p:nvSpPr>
        <p:spPr>
          <a:xfrm>
            <a:off x="5307373" y="1578688"/>
            <a:ext cx="1597573" cy="1597573"/>
          </a:xfrm>
          <a:prstGeom prst="ellipse">
            <a:avLst/>
          </a:prstGeom>
          <a:solidFill>
            <a:schemeClr val="accent4">
              <a:lumMod val="20000"/>
              <a:lumOff val="8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31" name="Text Placeholder 20">
            <a:extLst>
              <a:ext uri="{FF2B5EF4-FFF2-40B4-BE49-F238E27FC236}">
                <a16:creationId xmlns:a16="http://schemas.microsoft.com/office/drawing/2014/main" id="{54C66FC1-2D84-0C46-9D7E-D57CFB2A719F}"/>
              </a:ext>
            </a:extLst>
          </p:cNvPr>
          <p:cNvSpPr>
            <a:spLocks noGrp="1"/>
          </p:cNvSpPr>
          <p:nvPr>
            <p:ph type="body" sz="quarter" idx="27" hasCustomPrompt="1"/>
          </p:nvPr>
        </p:nvSpPr>
        <p:spPr>
          <a:xfrm>
            <a:off x="8137393" y="4573616"/>
            <a:ext cx="3137757" cy="1534671"/>
          </a:xfrm>
          <a:prstGeom prst="rect">
            <a:avLst/>
          </a:prstGeom>
        </p:spPr>
        <p:txBody>
          <a:bodyPr anchor="t">
            <a:noAutofit/>
          </a:bodyPr>
          <a:lstStyle>
            <a:lvl1pPr marL="0" indent="0" algn="ctr">
              <a:spcBef>
                <a:spcPts val="0"/>
              </a:spcBef>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2" name="Text Placeholder 20">
            <a:extLst>
              <a:ext uri="{FF2B5EF4-FFF2-40B4-BE49-F238E27FC236}">
                <a16:creationId xmlns:a16="http://schemas.microsoft.com/office/drawing/2014/main" id="{9A1F39ED-4F03-854D-B159-03CB2DC987D8}"/>
              </a:ext>
            </a:extLst>
          </p:cNvPr>
          <p:cNvSpPr>
            <a:spLocks noGrp="1"/>
          </p:cNvSpPr>
          <p:nvPr>
            <p:ph type="body" sz="quarter" idx="28" hasCustomPrompt="1"/>
          </p:nvPr>
        </p:nvSpPr>
        <p:spPr>
          <a:xfrm>
            <a:off x="8233461" y="3256113"/>
            <a:ext cx="2945621" cy="918683"/>
          </a:xfrm>
          <a:prstGeom prst="rect">
            <a:avLst/>
          </a:prstGeom>
        </p:spPr>
        <p:txBody>
          <a:bodyPr anchor="ctr">
            <a:noAutofit/>
          </a:bodyPr>
          <a:lstStyle>
            <a:lvl1pPr marL="0" indent="0" algn="ctr">
              <a:spcBef>
                <a:spcPts val="0"/>
              </a:spcBef>
              <a:buNone/>
              <a:defRPr sz="20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a:t>
            </a:r>
          </a:p>
        </p:txBody>
      </p:sp>
      <p:cxnSp>
        <p:nvCxnSpPr>
          <p:cNvPr id="33" name="Straight Connector 32">
            <a:extLst>
              <a:ext uri="{FF2B5EF4-FFF2-40B4-BE49-F238E27FC236}">
                <a16:creationId xmlns:a16="http://schemas.microsoft.com/office/drawing/2014/main" id="{131695BE-7EC4-254F-88F8-92DE21E21441}"/>
              </a:ext>
            </a:extLst>
          </p:cNvPr>
          <p:cNvCxnSpPr>
            <a:cxnSpLocks/>
          </p:cNvCxnSpPr>
          <p:nvPr userDrawn="1"/>
        </p:nvCxnSpPr>
        <p:spPr>
          <a:xfrm>
            <a:off x="8188961" y="4391374"/>
            <a:ext cx="303462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535F4D65-5C03-B047-9C33-37F966AF2003}"/>
              </a:ext>
            </a:extLst>
          </p:cNvPr>
          <p:cNvSpPr/>
          <p:nvPr userDrawn="1"/>
        </p:nvSpPr>
        <p:spPr>
          <a:xfrm>
            <a:off x="8907485" y="1578688"/>
            <a:ext cx="1597573" cy="1597573"/>
          </a:xfrm>
          <a:prstGeom prst="ellipse">
            <a:avLst/>
          </a:prstGeom>
          <a:solidFill>
            <a:schemeClr val="accent4">
              <a:lumMod val="20000"/>
              <a:lumOff val="8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7" name="Title 1">
            <a:extLst>
              <a:ext uri="{FF2B5EF4-FFF2-40B4-BE49-F238E27FC236}">
                <a16:creationId xmlns:a16="http://schemas.microsoft.com/office/drawing/2014/main" id="{51B9A6BB-8E74-6CCC-357E-4A3C6975D961}"/>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4" name="Picture Placeholder 3">
            <a:extLst>
              <a:ext uri="{FF2B5EF4-FFF2-40B4-BE49-F238E27FC236}">
                <a16:creationId xmlns:a16="http://schemas.microsoft.com/office/drawing/2014/main" id="{807C389F-EE04-F928-A905-8D5A0A8319F6}"/>
              </a:ext>
            </a:extLst>
          </p:cNvPr>
          <p:cNvSpPr>
            <a:spLocks noGrp="1"/>
          </p:cNvSpPr>
          <p:nvPr>
            <p:ph type="pic" sz="quarter" idx="29"/>
          </p:nvPr>
        </p:nvSpPr>
        <p:spPr>
          <a:xfrm>
            <a:off x="1791990" y="1686396"/>
            <a:ext cx="1387475" cy="1387475"/>
          </a:xfrm>
          <a:prstGeom prst="ellipse">
            <a:avLst/>
          </a:prstGeom>
        </p:spPr>
        <p:txBody>
          <a:bodyPr anchor="ctr"/>
          <a:lstStyle>
            <a:lvl1pPr marL="0" indent="0" algn="ctr">
              <a:buNone/>
              <a:defRPr sz="1600"/>
            </a:lvl1pPr>
          </a:lstStyle>
          <a:p>
            <a:r>
              <a:rPr lang="en-GB"/>
              <a:t>Click icon to add picture</a:t>
            </a:r>
            <a:endParaRPr lang="en-US"/>
          </a:p>
        </p:txBody>
      </p:sp>
      <p:sp>
        <p:nvSpPr>
          <p:cNvPr id="20" name="Picture Placeholder 3">
            <a:extLst>
              <a:ext uri="{FF2B5EF4-FFF2-40B4-BE49-F238E27FC236}">
                <a16:creationId xmlns:a16="http://schemas.microsoft.com/office/drawing/2014/main" id="{C344D4AD-0C44-0016-1984-DEE4E4A47A86}"/>
              </a:ext>
            </a:extLst>
          </p:cNvPr>
          <p:cNvSpPr>
            <a:spLocks noGrp="1"/>
          </p:cNvSpPr>
          <p:nvPr>
            <p:ph type="pic" sz="quarter" idx="30"/>
          </p:nvPr>
        </p:nvSpPr>
        <p:spPr>
          <a:xfrm>
            <a:off x="5423086" y="1686396"/>
            <a:ext cx="1387475" cy="1387475"/>
          </a:xfrm>
          <a:prstGeom prst="ellipse">
            <a:avLst/>
          </a:prstGeom>
        </p:spPr>
        <p:txBody>
          <a:bodyPr anchor="ctr"/>
          <a:lstStyle>
            <a:lvl1pPr marL="0" indent="0" algn="ctr">
              <a:buNone/>
              <a:defRPr sz="1600"/>
            </a:lvl1pPr>
          </a:lstStyle>
          <a:p>
            <a:r>
              <a:rPr lang="en-GB"/>
              <a:t>Click icon to add picture</a:t>
            </a:r>
            <a:endParaRPr lang="en-US"/>
          </a:p>
        </p:txBody>
      </p:sp>
      <p:sp>
        <p:nvSpPr>
          <p:cNvPr id="21" name="Picture Placeholder 3">
            <a:extLst>
              <a:ext uri="{FF2B5EF4-FFF2-40B4-BE49-F238E27FC236}">
                <a16:creationId xmlns:a16="http://schemas.microsoft.com/office/drawing/2014/main" id="{9126EBDC-8FE3-E299-69BB-1724B93F2D1C}"/>
              </a:ext>
            </a:extLst>
          </p:cNvPr>
          <p:cNvSpPr>
            <a:spLocks noGrp="1"/>
          </p:cNvSpPr>
          <p:nvPr>
            <p:ph type="pic" sz="quarter" idx="31"/>
          </p:nvPr>
        </p:nvSpPr>
        <p:spPr>
          <a:xfrm>
            <a:off x="9001173" y="1686396"/>
            <a:ext cx="1387475" cy="1387475"/>
          </a:xfrm>
          <a:prstGeom prst="ellipse">
            <a:avLst/>
          </a:prstGeom>
        </p:spPr>
        <p:txBody>
          <a:bodyPr anchor="ctr"/>
          <a:lstStyle>
            <a:lvl1pPr marL="0" indent="0" algn="ctr">
              <a:buNone/>
              <a:defRPr sz="1600"/>
            </a:lvl1pPr>
          </a:lstStyle>
          <a:p>
            <a:r>
              <a:rPr lang="en-GB"/>
              <a:t>Click icon to add picture</a:t>
            </a:r>
            <a:endParaRPr lang="en-US"/>
          </a:p>
        </p:txBody>
      </p:sp>
      <p:pic>
        <p:nvPicPr>
          <p:cNvPr id="29" name="Bilde 3">
            <a:extLst>
              <a:ext uri="{FF2B5EF4-FFF2-40B4-BE49-F238E27FC236}">
                <a16:creationId xmlns:a16="http://schemas.microsoft.com/office/drawing/2014/main" id="{2D4B3CC7-6177-04CF-F34E-5EB758235AE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8FB02BF7-CD56-E79D-DDC8-97850F67C805}"/>
              </a:ext>
            </a:extLst>
          </p:cNvPr>
          <p:cNvSpPr>
            <a:spLocks noGrp="1"/>
          </p:cNvSpPr>
          <p:nvPr>
            <p:ph type="dt" sz="half" idx="16"/>
          </p:nvPr>
        </p:nvSpPr>
        <p:spPr>
          <a:xfrm>
            <a:off x="2303627" y="6492875"/>
            <a:ext cx="528585" cy="365125"/>
          </a:xfrm>
        </p:spPr>
        <p:txBody>
          <a:bodyPr/>
          <a:lstStyle/>
          <a:p>
            <a:fld id="{7CC85DCB-DB75-E74E-8F9C-4DD583B943C0}" type="datetime1">
              <a:rPr lang="nb-NO" smtClean="0"/>
              <a:t>20.08.2024</a:t>
            </a:fld>
            <a:endParaRPr lang="en-US"/>
          </a:p>
        </p:txBody>
      </p:sp>
      <p:sp>
        <p:nvSpPr>
          <p:cNvPr id="30" name="Footer Placeholder 3">
            <a:extLst>
              <a:ext uri="{FF2B5EF4-FFF2-40B4-BE49-F238E27FC236}">
                <a16:creationId xmlns:a16="http://schemas.microsoft.com/office/drawing/2014/main" id="{0713B773-2E0A-E988-8286-745F4694DCE1}"/>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35" name="Slide Number Placeholder 4">
            <a:extLst>
              <a:ext uri="{FF2B5EF4-FFF2-40B4-BE49-F238E27FC236}">
                <a16:creationId xmlns:a16="http://schemas.microsoft.com/office/drawing/2014/main" id="{6A77CE4C-F430-19AB-F402-F004842BAEF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8716672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Start page logo">
    <p:bg>
      <p:bgPr>
        <a:solidFill>
          <a:schemeClr val="accent1"/>
        </a:solidFill>
        <a:effectLst/>
      </p:bgPr>
    </p:bg>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02986883-6611-464E-A44F-2C88C009DE0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00718" y="1357984"/>
            <a:ext cx="6390564" cy="4142032"/>
          </a:xfrm>
          <a:prstGeom prst="rect">
            <a:avLst/>
          </a:prstGeom>
        </p:spPr>
      </p:pic>
    </p:spTree>
    <p:extLst>
      <p:ext uri="{BB962C8B-B14F-4D97-AF65-F5344CB8AC3E}">
        <p14:creationId xmlns:p14="http://schemas.microsoft.com/office/powerpoint/2010/main" val="31405129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Start page 3">
    <p:spTree>
      <p:nvGrpSpPr>
        <p:cNvPr id="1" name=""/>
        <p:cNvGrpSpPr/>
        <p:nvPr/>
      </p:nvGrpSpPr>
      <p:grpSpPr>
        <a:xfrm>
          <a:off x="0" y="0"/>
          <a:ext cx="0" cy="0"/>
          <a:chOff x="0" y="0"/>
          <a:chExt cx="0" cy="0"/>
        </a:xfrm>
      </p:grpSpPr>
      <p:sp>
        <p:nvSpPr>
          <p:cNvPr id="3" name="!!Blue">
            <a:extLst>
              <a:ext uri="{FF2B5EF4-FFF2-40B4-BE49-F238E27FC236}">
                <a16:creationId xmlns:a16="http://schemas.microsoft.com/office/drawing/2014/main" id="{A9C13785-1488-437B-BE9E-873F1FAAF20D}"/>
              </a:ext>
            </a:extLst>
          </p:cNvPr>
          <p:cNvSpPr/>
          <p:nvPr userDrawn="1"/>
        </p:nvSpPr>
        <p:spPr>
          <a:xfrm>
            <a:off x="0" y="-32618"/>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cap="all" baseline="0" noProof="0">
              <a:latin typeface="Arial" panose="020B0604020202020204" pitchFamily="34" charset="0"/>
              <a:cs typeface="Arial" panose="020B0604020202020204" pitchFamily="34" charset="0"/>
            </a:endParaRPr>
          </a:p>
        </p:txBody>
      </p:sp>
      <p:sp>
        <p:nvSpPr>
          <p:cNvPr id="7" name="Title">
            <a:extLst>
              <a:ext uri="{FF2B5EF4-FFF2-40B4-BE49-F238E27FC236}">
                <a16:creationId xmlns:a16="http://schemas.microsoft.com/office/drawing/2014/main" id="{13294DAA-8C17-424F-8143-208C3FE914DC}"/>
              </a:ext>
            </a:extLst>
          </p:cNvPr>
          <p:cNvSpPr>
            <a:spLocks noGrp="1"/>
          </p:cNvSpPr>
          <p:nvPr>
            <p:ph type="body" sz="quarter" idx="10" hasCustomPrompt="1"/>
          </p:nvPr>
        </p:nvSpPr>
        <p:spPr>
          <a:xfrm>
            <a:off x="0" y="4995863"/>
            <a:ext cx="12192000" cy="1143000"/>
          </a:xfrm>
          <a:prstGeom prst="rect">
            <a:avLst/>
          </a:prstGeom>
        </p:spPr>
        <p:txBody>
          <a:bodyPr/>
          <a:lstStyle>
            <a:lvl1pPr marL="0" indent="0" algn="ctr">
              <a:buNone/>
              <a:defRPr sz="2000" cap="all" spc="600" baseline="0">
                <a:solidFill>
                  <a:schemeClr val="bg1"/>
                </a:solidFill>
                <a:latin typeface="Arial" panose="020B0604020202020204" pitchFamily="34" charset="0"/>
                <a:cs typeface="Arial" panose="020B0604020202020204" pitchFamily="34" charset="0"/>
              </a:defRPr>
            </a:lvl1pPr>
          </a:lstStyle>
          <a:p>
            <a:pPr lvl="0"/>
            <a:r>
              <a:rPr lang="en-GB" noProof="0"/>
              <a:t>Main title here</a:t>
            </a:r>
          </a:p>
        </p:txBody>
      </p:sp>
      <p:pic>
        <p:nvPicPr>
          <p:cNvPr id="4" name="Bilde 3">
            <a:extLst>
              <a:ext uri="{FF2B5EF4-FFF2-40B4-BE49-F238E27FC236}">
                <a16:creationId xmlns:a16="http://schemas.microsoft.com/office/drawing/2014/main" id="{54C0EBEF-EDC7-498E-8550-F88AC37723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9708" y="2286000"/>
            <a:ext cx="7472584" cy="1306446"/>
          </a:xfrm>
          <a:prstGeom prst="rect">
            <a:avLst/>
          </a:prstGeom>
        </p:spPr>
      </p:pic>
    </p:spTree>
    <p:extLst>
      <p:ext uri="{BB962C8B-B14F-4D97-AF65-F5344CB8AC3E}">
        <p14:creationId xmlns:p14="http://schemas.microsoft.com/office/powerpoint/2010/main" val="14364989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Start Page 4">
    <p:spTree>
      <p:nvGrpSpPr>
        <p:cNvPr id="1" name=""/>
        <p:cNvGrpSpPr/>
        <p:nvPr/>
      </p:nvGrpSpPr>
      <p:grpSpPr>
        <a:xfrm>
          <a:off x="0" y="0"/>
          <a:ext cx="0" cy="0"/>
          <a:chOff x="0" y="0"/>
          <a:chExt cx="0" cy="0"/>
        </a:xfrm>
      </p:grpSpPr>
      <p:pic>
        <p:nvPicPr>
          <p:cNvPr id="10" name="Background Picture" descr="Et bilde som inneholder person, mat, bygning, stående&#10;&#10;Automatisk generert beskrivelse">
            <a:extLst>
              <a:ext uri="{FF2B5EF4-FFF2-40B4-BE49-F238E27FC236}">
                <a16:creationId xmlns:a16="http://schemas.microsoft.com/office/drawing/2014/main" id="{CDBD00A1-FA82-4DFE-84DF-F8297B7A1FB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35000"/>
            <a:ext cx="12192000" cy="8128000"/>
          </a:xfrm>
          <a:prstGeom prst="rect">
            <a:avLst/>
          </a:prstGeom>
        </p:spPr>
      </p:pic>
      <p:sp>
        <p:nvSpPr>
          <p:cNvPr id="7" name="Title">
            <a:extLst>
              <a:ext uri="{FF2B5EF4-FFF2-40B4-BE49-F238E27FC236}">
                <a16:creationId xmlns:a16="http://schemas.microsoft.com/office/drawing/2014/main" id="{13294DAA-8C17-424F-8143-208C3FE914DC}"/>
              </a:ext>
            </a:extLst>
          </p:cNvPr>
          <p:cNvSpPr>
            <a:spLocks noGrp="1"/>
          </p:cNvSpPr>
          <p:nvPr>
            <p:ph type="body" sz="quarter" idx="10" hasCustomPrompt="1"/>
          </p:nvPr>
        </p:nvSpPr>
        <p:spPr>
          <a:xfrm>
            <a:off x="0" y="5715000"/>
            <a:ext cx="12192000" cy="1143000"/>
          </a:xfrm>
          <a:prstGeom prst="rect">
            <a:avLst/>
          </a:prstGeom>
        </p:spPr>
        <p:txBody>
          <a:bodyPr/>
          <a:lstStyle>
            <a:lvl1pPr marL="0" indent="0" algn="ctr">
              <a:buNone/>
              <a:defRPr sz="2800" b="1" i="0" cap="all" spc="600" baseline="0">
                <a:solidFill>
                  <a:schemeClr val="tx1"/>
                </a:solidFill>
                <a:latin typeface="Helvetica" pitchFamily="2" charset="0"/>
                <a:cs typeface="Arial" panose="020B0604020202020204" pitchFamily="34" charset="0"/>
              </a:defRPr>
            </a:lvl1pPr>
          </a:lstStyle>
          <a:p>
            <a:pPr lvl="0"/>
            <a:r>
              <a:rPr lang="en-GB" noProof="0"/>
              <a:t>Main Title here</a:t>
            </a:r>
          </a:p>
        </p:txBody>
      </p:sp>
      <p:sp>
        <p:nvSpPr>
          <p:cNvPr id="6" name="!!Yellow">
            <a:extLst>
              <a:ext uri="{FF2B5EF4-FFF2-40B4-BE49-F238E27FC236}">
                <a16:creationId xmlns:a16="http://schemas.microsoft.com/office/drawing/2014/main" id="{CCFBDB04-BE7C-451A-8C1F-F17167D5B954}"/>
              </a:ext>
            </a:extLst>
          </p:cNvPr>
          <p:cNvSpPr/>
          <p:nvPr userDrawn="1"/>
        </p:nvSpPr>
        <p:spPr>
          <a:xfrm rot="16200000">
            <a:off x="5493659" y="4587989"/>
            <a:ext cx="1661884" cy="15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17" name="!!Blue">
            <a:extLst>
              <a:ext uri="{FF2B5EF4-FFF2-40B4-BE49-F238E27FC236}">
                <a16:creationId xmlns:a16="http://schemas.microsoft.com/office/drawing/2014/main" id="{DD8018AE-B7C4-4C53-9CAC-C9195BAFD01B}"/>
              </a:ext>
            </a:extLst>
          </p:cNvPr>
          <p:cNvSpPr/>
          <p:nvPr userDrawn="1"/>
        </p:nvSpPr>
        <p:spPr>
          <a:xfrm>
            <a:off x="0" y="3833248"/>
            <a:ext cx="6248400" cy="16618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pic>
        <p:nvPicPr>
          <p:cNvPr id="9" name="Bilde 8">
            <a:extLst>
              <a:ext uri="{FF2B5EF4-FFF2-40B4-BE49-F238E27FC236}">
                <a16:creationId xmlns:a16="http://schemas.microsoft.com/office/drawing/2014/main" id="{96D94C91-9E30-47C8-A221-62DCC86B5E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1762" y="4224965"/>
            <a:ext cx="5084878" cy="888999"/>
          </a:xfrm>
          <a:prstGeom prst="rect">
            <a:avLst/>
          </a:prstGeom>
        </p:spPr>
      </p:pic>
    </p:spTree>
    <p:extLst>
      <p:ext uri="{BB962C8B-B14F-4D97-AF65-F5344CB8AC3E}">
        <p14:creationId xmlns:p14="http://schemas.microsoft.com/office/powerpoint/2010/main" val="35216119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Only hea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AFE559D-504A-4E75-89C9-0313E00C5F7E}"/>
              </a:ext>
            </a:extLst>
          </p:cNvPr>
          <p:cNvSpPr>
            <a:spLocks noGrp="1"/>
          </p:cNvSpPr>
          <p:nvPr>
            <p:ph type="title" hasCustomPrompt="1"/>
          </p:nvPr>
        </p:nvSpPr>
        <p:spPr>
          <a:xfrm>
            <a:off x="838200" y="365125"/>
            <a:ext cx="10515600" cy="1325563"/>
          </a:xfrm>
          <a:prstGeom prst="rect">
            <a:avLst/>
          </a:prstGeom>
        </p:spPr>
        <p:txBody>
          <a:bodyPr/>
          <a:lstStyle>
            <a:lvl1pPr>
              <a:defRPr sz="3200" b="0" i="0">
                <a:solidFill>
                  <a:schemeClr val="accent5"/>
                </a:solidFill>
                <a:latin typeface="Helvetica Light" panose="020B0403020202020204" pitchFamily="34" charset="0"/>
                <a:cs typeface="Arial" panose="020B0604020202020204" pitchFamily="34" charset="0"/>
              </a:defRPr>
            </a:lvl1pPr>
          </a:lstStyle>
          <a:p>
            <a:r>
              <a:rPr lang="en-GB" noProof="0"/>
              <a:t>Click to edit Master title style</a:t>
            </a:r>
          </a:p>
        </p:txBody>
      </p:sp>
      <p:pic>
        <p:nvPicPr>
          <p:cNvPr id="4" name="Bilde 3">
            <a:extLst>
              <a:ext uri="{FF2B5EF4-FFF2-40B4-BE49-F238E27FC236}">
                <a16:creationId xmlns:a16="http://schemas.microsoft.com/office/drawing/2014/main" id="{346DB335-1FBA-47A6-A198-403FA75B3D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52521" y="6430245"/>
            <a:ext cx="1825937" cy="319232"/>
          </a:xfrm>
          <a:prstGeom prst="rect">
            <a:avLst/>
          </a:prstGeom>
        </p:spPr>
      </p:pic>
    </p:spTree>
    <p:extLst>
      <p:ext uri="{BB962C8B-B14F-4D97-AF65-F5344CB8AC3E}">
        <p14:creationId xmlns:p14="http://schemas.microsoft.com/office/powerpoint/2010/main" val="18635726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Blanc with logo 1">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8A7F36D4-7537-4D46-B416-5E096FF07DF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749" y="409861"/>
            <a:ext cx="1825937" cy="319232"/>
          </a:xfrm>
          <a:prstGeom prst="rect">
            <a:avLst/>
          </a:prstGeom>
        </p:spPr>
      </p:pic>
    </p:spTree>
    <p:extLst>
      <p:ext uri="{BB962C8B-B14F-4D97-AF65-F5344CB8AC3E}">
        <p14:creationId xmlns:p14="http://schemas.microsoft.com/office/powerpoint/2010/main" val="29120536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Text without headlin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300163" y="602470"/>
            <a:ext cx="9658350" cy="4409440"/>
          </a:xfrm>
          <a:prstGeom prst="rect">
            <a:avLst/>
          </a:prstGeom>
        </p:spPr>
        <p:txBody>
          <a:bodyPr anchor="ctr">
            <a:normAutofit/>
          </a:bodyPr>
          <a:lstStyle>
            <a:lvl1pPr marL="0" indent="0" algn="ctr">
              <a:buNone/>
              <a:defRPr sz="4400" b="0" i="0">
                <a:solidFill>
                  <a:schemeClr val="accent5"/>
                </a:solidFill>
                <a:latin typeface="Helvetica Light" panose="020B0403020202020204" pitchFamily="34" charset="0"/>
                <a:cs typeface="Arial" panose="020B0604020202020204" pitchFamily="34" charset="0"/>
              </a:defRPr>
            </a:lvl1pPr>
            <a:lvl2pPr algn="ctr">
              <a:defRPr sz="2400"/>
            </a:lvl2pPr>
            <a:lvl3pPr algn="ctr">
              <a:defRPr sz="2000"/>
            </a:lvl3pPr>
            <a:lvl4pPr algn="ctr">
              <a:defRPr sz="1800"/>
            </a:lvl4pPr>
            <a:lvl5pPr algn="ctr">
              <a:defRPr sz="1800"/>
            </a:lvl5pPr>
          </a:lstStyle>
          <a:p>
            <a:pPr lvl="0"/>
            <a:r>
              <a:rPr lang="en-GB" noProof="0"/>
              <a:t>Click to edit Master text styles</a:t>
            </a:r>
          </a:p>
        </p:txBody>
      </p:sp>
      <p:pic>
        <p:nvPicPr>
          <p:cNvPr id="5" name="Bilde 4">
            <a:extLst>
              <a:ext uri="{FF2B5EF4-FFF2-40B4-BE49-F238E27FC236}">
                <a16:creationId xmlns:a16="http://schemas.microsoft.com/office/drawing/2014/main" id="{BD3625BD-0F11-4BE2-9CED-1CFE1DB823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52521" y="6430245"/>
            <a:ext cx="1825937" cy="319232"/>
          </a:xfrm>
          <a:prstGeom prst="rect">
            <a:avLst/>
          </a:prstGeom>
        </p:spPr>
      </p:pic>
    </p:spTree>
    <p:extLst>
      <p:ext uri="{BB962C8B-B14F-4D97-AF65-F5344CB8AC3E}">
        <p14:creationId xmlns:p14="http://schemas.microsoft.com/office/powerpoint/2010/main" val="37665381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6" name="Rectangle 25">
            <a:extLst>
              <a:ext uri="{FF2B5EF4-FFF2-40B4-BE49-F238E27FC236}">
                <a16:creationId xmlns:a16="http://schemas.microsoft.com/office/drawing/2014/main" id="{964B2FCB-A9B0-4145-B29B-AD456C94D7C2}"/>
              </a:ext>
            </a:extLst>
          </p:cNvPr>
          <p:cNvSpPr/>
          <p:nvPr/>
        </p:nvSpPr>
        <p:spPr>
          <a:xfrm>
            <a:off x="741777" y="2706095"/>
            <a:ext cx="5234480" cy="3070681"/>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8" name="Straight Connector 27">
            <a:extLst>
              <a:ext uri="{FF2B5EF4-FFF2-40B4-BE49-F238E27FC236}">
                <a16:creationId xmlns:a16="http://schemas.microsoft.com/office/drawing/2014/main" id="{17FD8ADB-B041-7841-B1C3-28DBA168A7C7}"/>
              </a:ext>
            </a:extLst>
          </p:cNvPr>
          <p:cNvCxnSpPr>
            <a:cxnSpLocks/>
          </p:cNvCxnSpPr>
          <p:nvPr/>
        </p:nvCxnSpPr>
        <p:spPr>
          <a:xfrm>
            <a:off x="741777" y="2695911"/>
            <a:ext cx="523448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50" name="Text Placeholder 20">
            <a:extLst>
              <a:ext uri="{FF2B5EF4-FFF2-40B4-BE49-F238E27FC236}">
                <a16:creationId xmlns:a16="http://schemas.microsoft.com/office/drawing/2014/main" id="{0AB8628E-6620-874B-85B8-393DA4676167}"/>
              </a:ext>
            </a:extLst>
          </p:cNvPr>
          <p:cNvSpPr>
            <a:spLocks noGrp="1"/>
          </p:cNvSpPr>
          <p:nvPr userDrawn="1">
            <p:ph type="body" sz="quarter" idx="19" hasCustomPrompt="1"/>
          </p:nvPr>
        </p:nvSpPr>
        <p:spPr>
          <a:xfrm>
            <a:off x="916646" y="2866046"/>
            <a:ext cx="4831011" cy="2731120"/>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ext Placeholder 20">
            <a:extLst>
              <a:ext uri="{FF2B5EF4-FFF2-40B4-BE49-F238E27FC236}">
                <a16:creationId xmlns:a16="http://schemas.microsoft.com/office/drawing/2014/main" id="{1CA6145D-0C72-F541-BE9A-355F095B9528}"/>
              </a:ext>
            </a:extLst>
          </p:cNvPr>
          <p:cNvSpPr>
            <a:spLocks noGrp="1"/>
          </p:cNvSpPr>
          <p:nvPr userDrawn="1">
            <p:ph type="body" sz="quarter" idx="22" hasCustomPrompt="1"/>
          </p:nvPr>
        </p:nvSpPr>
        <p:spPr>
          <a:xfrm>
            <a:off x="916646" y="1964633"/>
            <a:ext cx="483101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6" name="Rectangle 45">
            <a:extLst>
              <a:ext uri="{FF2B5EF4-FFF2-40B4-BE49-F238E27FC236}">
                <a16:creationId xmlns:a16="http://schemas.microsoft.com/office/drawing/2014/main" id="{A3D10291-5127-FF2D-DB99-A8BC7A6A2DD7}"/>
              </a:ext>
            </a:extLst>
          </p:cNvPr>
          <p:cNvSpPr/>
          <p:nvPr/>
        </p:nvSpPr>
        <p:spPr>
          <a:xfrm>
            <a:off x="6179192" y="2706095"/>
            <a:ext cx="5234480" cy="3070681"/>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47" name="Straight Connector 46">
            <a:extLst>
              <a:ext uri="{FF2B5EF4-FFF2-40B4-BE49-F238E27FC236}">
                <a16:creationId xmlns:a16="http://schemas.microsoft.com/office/drawing/2014/main" id="{11529A5D-199F-9F29-A51F-7EB14E5F39A4}"/>
              </a:ext>
            </a:extLst>
          </p:cNvPr>
          <p:cNvCxnSpPr>
            <a:cxnSpLocks/>
          </p:cNvCxnSpPr>
          <p:nvPr/>
        </p:nvCxnSpPr>
        <p:spPr>
          <a:xfrm>
            <a:off x="6179192" y="2695911"/>
            <a:ext cx="523448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49" name="Text Placeholder 20">
            <a:extLst>
              <a:ext uri="{FF2B5EF4-FFF2-40B4-BE49-F238E27FC236}">
                <a16:creationId xmlns:a16="http://schemas.microsoft.com/office/drawing/2014/main" id="{53F9C245-C049-7212-1741-F3CF7A9166B4}"/>
              </a:ext>
            </a:extLst>
          </p:cNvPr>
          <p:cNvSpPr>
            <a:spLocks noGrp="1"/>
          </p:cNvSpPr>
          <p:nvPr userDrawn="1">
            <p:ph type="body" sz="quarter" idx="23" hasCustomPrompt="1"/>
          </p:nvPr>
        </p:nvSpPr>
        <p:spPr>
          <a:xfrm>
            <a:off x="6354061" y="2866046"/>
            <a:ext cx="4831011" cy="2731120"/>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1" name="Text Placeholder 20">
            <a:extLst>
              <a:ext uri="{FF2B5EF4-FFF2-40B4-BE49-F238E27FC236}">
                <a16:creationId xmlns:a16="http://schemas.microsoft.com/office/drawing/2014/main" id="{DB1A1BE0-6496-E44D-5A1D-6067B555908A}"/>
              </a:ext>
            </a:extLst>
          </p:cNvPr>
          <p:cNvSpPr>
            <a:spLocks noGrp="1"/>
          </p:cNvSpPr>
          <p:nvPr userDrawn="1">
            <p:ph type="body" sz="quarter" idx="24" hasCustomPrompt="1"/>
          </p:nvPr>
        </p:nvSpPr>
        <p:spPr>
          <a:xfrm>
            <a:off x="6354061" y="1964633"/>
            <a:ext cx="483101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2" name="Title 1">
            <a:extLst>
              <a:ext uri="{FF2B5EF4-FFF2-40B4-BE49-F238E27FC236}">
                <a16:creationId xmlns:a16="http://schemas.microsoft.com/office/drawing/2014/main" id="{B47A2599-5FAF-9034-E375-BAE6412058E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6" name="Bilde 3">
            <a:extLst>
              <a:ext uri="{FF2B5EF4-FFF2-40B4-BE49-F238E27FC236}">
                <a16:creationId xmlns:a16="http://schemas.microsoft.com/office/drawing/2014/main" id="{26F30CAA-FF03-C96A-502E-FF88C11C47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7" name="Date Placeholder 2">
            <a:extLst>
              <a:ext uri="{FF2B5EF4-FFF2-40B4-BE49-F238E27FC236}">
                <a16:creationId xmlns:a16="http://schemas.microsoft.com/office/drawing/2014/main" id="{FCE1B1D8-3C46-DA56-7783-6203653E2315}"/>
              </a:ext>
            </a:extLst>
          </p:cNvPr>
          <p:cNvSpPr>
            <a:spLocks noGrp="1"/>
          </p:cNvSpPr>
          <p:nvPr>
            <p:ph type="dt" sz="half" idx="16"/>
          </p:nvPr>
        </p:nvSpPr>
        <p:spPr>
          <a:xfrm>
            <a:off x="2303627" y="6492875"/>
            <a:ext cx="528585" cy="365125"/>
          </a:xfrm>
        </p:spPr>
        <p:txBody>
          <a:bodyPr/>
          <a:lstStyle/>
          <a:p>
            <a:fld id="{AF8818A4-AA76-D348-9FF4-3F6639B967E8}" type="datetime1">
              <a:rPr lang="nb-NO" smtClean="0"/>
              <a:t>20.08.2024</a:t>
            </a:fld>
            <a:endParaRPr lang="en-US"/>
          </a:p>
        </p:txBody>
      </p:sp>
      <p:sp>
        <p:nvSpPr>
          <p:cNvPr id="19" name="Footer Placeholder 3">
            <a:extLst>
              <a:ext uri="{FF2B5EF4-FFF2-40B4-BE49-F238E27FC236}">
                <a16:creationId xmlns:a16="http://schemas.microsoft.com/office/drawing/2014/main" id="{7A65BB47-36D4-FED3-14E1-32016471939C}"/>
              </a:ext>
            </a:extLst>
          </p:cNvPr>
          <p:cNvSpPr>
            <a:spLocks noGrp="1"/>
          </p:cNvSpPr>
          <p:nvPr>
            <p:ph type="ftr" sz="quarter" idx="17"/>
          </p:nvPr>
        </p:nvSpPr>
        <p:spPr>
          <a:xfrm>
            <a:off x="175116" y="6492875"/>
            <a:ext cx="2107096" cy="365125"/>
          </a:xfrm>
        </p:spPr>
        <p:txBody>
          <a:bodyPr/>
          <a:lstStyle/>
          <a:p>
            <a:r>
              <a:rPr lang="en-US"/>
              <a:t>© StrongPoint 2022</a:t>
            </a:r>
          </a:p>
        </p:txBody>
      </p:sp>
      <p:sp>
        <p:nvSpPr>
          <p:cNvPr id="20" name="Slide Number Placeholder 4">
            <a:extLst>
              <a:ext uri="{FF2B5EF4-FFF2-40B4-BE49-F238E27FC236}">
                <a16:creationId xmlns:a16="http://schemas.microsoft.com/office/drawing/2014/main" id="{F1C9FB8A-BD98-C6EA-1693-3C82E226D1DE}"/>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41210004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userDrawn="1">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3_Blanc with logo 1">
    <p:spTree>
      <p:nvGrpSpPr>
        <p:cNvPr id="1" name=""/>
        <p:cNvGrpSpPr/>
        <p:nvPr/>
      </p:nvGrpSpPr>
      <p:grpSpPr>
        <a:xfrm>
          <a:off x="0" y="0"/>
          <a:ext cx="0" cy="0"/>
          <a:chOff x="0" y="0"/>
          <a:chExt cx="0" cy="0"/>
        </a:xfrm>
      </p:grpSpPr>
      <p:sp>
        <p:nvSpPr>
          <p:cNvPr id="11" name="Plassholder for bilde 10">
            <a:extLst>
              <a:ext uri="{FF2B5EF4-FFF2-40B4-BE49-F238E27FC236}">
                <a16:creationId xmlns:a16="http://schemas.microsoft.com/office/drawing/2014/main" id="{59F8AE11-E06E-436F-96C7-F71AFAA57FFF}"/>
              </a:ext>
            </a:extLst>
          </p:cNvPr>
          <p:cNvSpPr>
            <a:spLocks noGrp="1"/>
          </p:cNvSpPr>
          <p:nvPr>
            <p:ph type="pic" sz="quarter" idx="10" hasCustomPrompt="1"/>
          </p:nvPr>
        </p:nvSpPr>
        <p:spPr>
          <a:xfrm>
            <a:off x="0" y="982755"/>
            <a:ext cx="6016212" cy="5219923"/>
          </a:xfrm>
          <a:prstGeom prst="rect">
            <a:avLst/>
          </a:prstGeom>
        </p:spPr>
        <p:txBody>
          <a:bodyPr anchor="ctr"/>
          <a:lstStyle>
            <a:lvl1pPr marL="0" indent="0" algn="ctr">
              <a:buNone/>
              <a:defRPr b="0" i="0">
                <a:latin typeface="Helvetica" pitchFamily="2" charset="0"/>
              </a:defRPr>
            </a:lvl1pPr>
          </a:lstStyle>
          <a:p>
            <a:r>
              <a:rPr lang="en-GB" noProof="0"/>
              <a:t>Picture</a:t>
            </a:r>
          </a:p>
        </p:txBody>
      </p:sp>
      <p:sp>
        <p:nvSpPr>
          <p:cNvPr id="9" name="!!Blue">
            <a:extLst>
              <a:ext uri="{FF2B5EF4-FFF2-40B4-BE49-F238E27FC236}">
                <a16:creationId xmlns:a16="http://schemas.microsoft.com/office/drawing/2014/main" id="{907138BB-FD71-4DDA-9F55-1FF4CDA5543D}"/>
              </a:ext>
            </a:extLst>
          </p:cNvPr>
          <p:cNvSpPr/>
          <p:nvPr userDrawn="1"/>
        </p:nvSpPr>
        <p:spPr>
          <a:xfrm>
            <a:off x="6016596" y="982416"/>
            <a:ext cx="182593" cy="52202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 name="Rectangle 7">
            <a:extLst>
              <a:ext uri="{FF2B5EF4-FFF2-40B4-BE49-F238E27FC236}">
                <a16:creationId xmlns:a16="http://schemas.microsoft.com/office/drawing/2014/main" id="{6103F436-6829-4D28-B07F-F2B65F705AFE}"/>
              </a:ext>
            </a:extLst>
          </p:cNvPr>
          <p:cNvSpPr/>
          <p:nvPr userDrawn="1"/>
        </p:nvSpPr>
        <p:spPr>
          <a:xfrm>
            <a:off x="6199573" y="975656"/>
            <a:ext cx="5992427" cy="52270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13" name="Plassholder for tekst 12">
            <a:extLst>
              <a:ext uri="{FF2B5EF4-FFF2-40B4-BE49-F238E27FC236}">
                <a16:creationId xmlns:a16="http://schemas.microsoft.com/office/drawing/2014/main" id="{E457044F-02F3-455A-A33C-E43CB2EAE94C}"/>
              </a:ext>
            </a:extLst>
          </p:cNvPr>
          <p:cNvSpPr>
            <a:spLocks noGrp="1"/>
          </p:cNvSpPr>
          <p:nvPr>
            <p:ph type="body" sz="quarter" idx="11" hasCustomPrompt="1"/>
          </p:nvPr>
        </p:nvSpPr>
        <p:spPr>
          <a:xfrm>
            <a:off x="6812155" y="1644200"/>
            <a:ext cx="4767262" cy="120015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3600" b="1" i="0" cap="all" baseline="0">
                <a:solidFill>
                  <a:schemeClr val="accent1"/>
                </a:solidFill>
                <a:latin typeface="Helvetica" pitchFamily="2" charset="0"/>
              </a:defRPr>
            </a:lvl1pPr>
          </a:lstStyle>
          <a:p>
            <a:pPr lvl="0"/>
            <a:r>
              <a:rPr lang="en-GB" noProof="0"/>
              <a:t>PRESENTATION TITLE HERE</a:t>
            </a:r>
          </a:p>
          <a:p>
            <a:pPr lvl="0"/>
            <a:endParaRPr lang="en-GB" noProof="0"/>
          </a:p>
        </p:txBody>
      </p:sp>
      <p:sp>
        <p:nvSpPr>
          <p:cNvPr id="17" name="Plassholder for tekst 16">
            <a:extLst>
              <a:ext uri="{FF2B5EF4-FFF2-40B4-BE49-F238E27FC236}">
                <a16:creationId xmlns:a16="http://schemas.microsoft.com/office/drawing/2014/main" id="{15724569-D2C2-48A0-9B43-28E456B68EC9}"/>
              </a:ext>
            </a:extLst>
          </p:cNvPr>
          <p:cNvSpPr>
            <a:spLocks noGrp="1"/>
          </p:cNvSpPr>
          <p:nvPr>
            <p:ph type="body" sz="quarter" idx="13" hasCustomPrompt="1"/>
          </p:nvPr>
        </p:nvSpPr>
        <p:spPr>
          <a:xfrm>
            <a:off x="6812155" y="3589168"/>
            <a:ext cx="4767262" cy="40005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000" b="0" i="0">
                <a:latin typeface="Helvetica Light" panose="020B0403020202020204" pitchFamily="34" charset="0"/>
                <a:cs typeface="Arial" panose="020B0604020202020204" pitchFamily="34" charset="0"/>
              </a:defRPr>
            </a:lvl1pPr>
          </a:lstStyle>
          <a:p>
            <a:pPr lvl="0"/>
            <a:r>
              <a:rPr lang="en-GB" noProof="0" err="1"/>
              <a:t>Expertice</a:t>
            </a:r>
            <a:r>
              <a:rPr lang="en-GB" noProof="0"/>
              <a:t> you need. Service deserved!</a:t>
            </a:r>
          </a:p>
        </p:txBody>
      </p:sp>
      <p:pic>
        <p:nvPicPr>
          <p:cNvPr id="24" name="Bilde 23">
            <a:extLst>
              <a:ext uri="{FF2B5EF4-FFF2-40B4-BE49-F238E27FC236}">
                <a16:creationId xmlns:a16="http://schemas.microsoft.com/office/drawing/2014/main" id="{037B8367-F3A2-4AD3-83BE-6E150F3918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749" y="412922"/>
            <a:ext cx="1825937" cy="319232"/>
          </a:xfrm>
          <a:prstGeom prst="rect">
            <a:avLst/>
          </a:prstGeom>
        </p:spPr>
      </p:pic>
      <p:sp>
        <p:nvSpPr>
          <p:cNvPr id="3" name="Plassholder for tekst 2">
            <a:extLst>
              <a:ext uri="{FF2B5EF4-FFF2-40B4-BE49-F238E27FC236}">
                <a16:creationId xmlns:a16="http://schemas.microsoft.com/office/drawing/2014/main" id="{41C4059B-2100-4BD2-8E98-9BBE48FD6F20}"/>
              </a:ext>
            </a:extLst>
          </p:cNvPr>
          <p:cNvSpPr>
            <a:spLocks noGrp="1"/>
          </p:cNvSpPr>
          <p:nvPr>
            <p:ph type="body" sz="quarter" idx="14" hasCustomPrompt="1"/>
          </p:nvPr>
        </p:nvSpPr>
        <p:spPr>
          <a:xfrm>
            <a:off x="6811963" y="4178300"/>
            <a:ext cx="4791075" cy="1774825"/>
          </a:xfrm>
          <a:prstGeom prst="rect">
            <a:avLst/>
          </a:prstGeom>
        </p:spPr>
        <p:txBody>
          <a:bodyPr/>
          <a:lstStyle>
            <a:lvl1pPr marL="0" indent="0">
              <a:buNone/>
              <a:defRPr sz="1400" b="0" i="0">
                <a:latin typeface="Helvetica Light" panose="020B0403020202020204" pitchFamily="34" charset="0"/>
              </a:defRPr>
            </a:lvl1pPr>
          </a:lstStyle>
          <a:p>
            <a:pPr lvl="0"/>
            <a:r>
              <a:rPr lang="en-GB" noProof="0"/>
              <a:t>Lorem ipsum </a:t>
            </a:r>
            <a:r>
              <a:rPr lang="en-GB" noProof="0" err="1"/>
              <a:t>dolor</a:t>
            </a:r>
            <a:r>
              <a:rPr lang="en-GB" noProof="0"/>
              <a:t> sit </a:t>
            </a:r>
            <a:r>
              <a:rPr lang="en-GB" noProof="0" err="1"/>
              <a:t>amet</a:t>
            </a:r>
            <a:r>
              <a:rPr lang="en-GB" noProof="0"/>
              <a:t>, </a:t>
            </a:r>
            <a:r>
              <a:rPr lang="en-GB" noProof="0" err="1"/>
              <a:t>consectetur</a:t>
            </a:r>
            <a:r>
              <a:rPr lang="en-GB" noProof="0"/>
              <a:t> </a:t>
            </a:r>
            <a:r>
              <a:rPr lang="en-GB" noProof="0" err="1"/>
              <a:t>adipiscing</a:t>
            </a:r>
            <a:r>
              <a:rPr lang="en-GB" noProof="0"/>
              <a:t> </a:t>
            </a:r>
            <a:r>
              <a:rPr lang="en-GB" noProof="0" err="1"/>
              <a:t>elit</a:t>
            </a:r>
            <a:r>
              <a:rPr lang="en-GB" noProof="0"/>
              <a:t>. </a:t>
            </a:r>
            <a:r>
              <a:rPr lang="en-GB" noProof="0" err="1"/>
              <a:t>Pellentesque</a:t>
            </a:r>
            <a:r>
              <a:rPr lang="en-GB" noProof="0"/>
              <a:t> </a:t>
            </a:r>
            <a:r>
              <a:rPr lang="en-GB" noProof="0" err="1"/>
              <a:t>scelerisque</a:t>
            </a:r>
            <a:r>
              <a:rPr lang="en-GB" noProof="0"/>
              <a:t> </a:t>
            </a:r>
            <a:r>
              <a:rPr lang="en-GB" noProof="0" err="1"/>
              <a:t>malesuada</a:t>
            </a:r>
            <a:r>
              <a:rPr lang="en-GB" noProof="0"/>
              <a:t> libero a </a:t>
            </a:r>
            <a:r>
              <a:rPr lang="en-GB" noProof="0" err="1"/>
              <a:t>pellentesque</a:t>
            </a:r>
            <a:r>
              <a:rPr lang="en-GB" noProof="0"/>
              <a:t>. Morbi </a:t>
            </a:r>
            <a:r>
              <a:rPr lang="en-GB" noProof="0" err="1"/>
              <a:t>orci</a:t>
            </a:r>
            <a:r>
              <a:rPr lang="en-GB" noProof="0"/>
              <a:t> dui, fermentum </a:t>
            </a:r>
            <a:r>
              <a:rPr lang="en-GB" noProof="0" err="1"/>
              <a:t>eget</a:t>
            </a:r>
            <a:r>
              <a:rPr lang="en-GB" noProof="0"/>
              <a:t> </a:t>
            </a:r>
            <a:r>
              <a:rPr lang="en-GB" noProof="0" err="1"/>
              <a:t>lectus</a:t>
            </a:r>
            <a:r>
              <a:rPr lang="en-GB" noProof="0"/>
              <a:t> </a:t>
            </a:r>
            <a:r>
              <a:rPr lang="en-GB" noProof="0" err="1"/>
              <a:t>ornare</a:t>
            </a:r>
            <a:r>
              <a:rPr lang="en-GB" noProof="0"/>
              <a:t>, </a:t>
            </a:r>
            <a:r>
              <a:rPr lang="en-GB" noProof="0" err="1"/>
              <a:t>viverra</a:t>
            </a:r>
            <a:r>
              <a:rPr lang="en-GB" noProof="0"/>
              <a:t> </a:t>
            </a:r>
            <a:r>
              <a:rPr lang="en-GB" noProof="0" err="1"/>
              <a:t>dignissim</a:t>
            </a:r>
            <a:r>
              <a:rPr lang="en-GB" noProof="0"/>
              <a:t> </a:t>
            </a:r>
            <a:r>
              <a:rPr lang="en-GB" noProof="0" err="1"/>
              <a:t>risus</a:t>
            </a:r>
            <a:r>
              <a:rPr lang="en-GB" noProof="0"/>
              <a:t>. </a:t>
            </a:r>
            <a:r>
              <a:rPr lang="en-GB" noProof="0" err="1"/>
              <a:t>Donec</a:t>
            </a:r>
            <a:r>
              <a:rPr lang="en-GB" noProof="0"/>
              <a:t> lacinia </a:t>
            </a:r>
            <a:r>
              <a:rPr lang="en-GB" noProof="0" err="1"/>
              <a:t>neque</a:t>
            </a:r>
            <a:r>
              <a:rPr lang="en-GB" noProof="0"/>
              <a:t> non </a:t>
            </a:r>
            <a:r>
              <a:rPr lang="en-GB" noProof="0" err="1"/>
              <a:t>velit</a:t>
            </a:r>
            <a:r>
              <a:rPr lang="en-GB" noProof="0"/>
              <a:t> dictum </a:t>
            </a:r>
            <a:r>
              <a:rPr lang="en-GB" noProof="0" err="1"/>
              <a:t>tincidunt</a:t>
            </a:r>
            <a:r>
              <a:rPr lang="en-GB" noProof="0"/>
              <a:t>. </a:t>
            </a:r>
            <a:r>
              <a:rPr lang="en-GB" noProof="0" err="1"/>
              <a:t>Etiam</a:t>
            </a:r>
            <a:r>
              <a:rPr lang="en-GB" noProof="0"/>
              <a:t> </a:t>
            </a:r>
            <a:r>
              <a:rPr lang="en-GB" noProof="0" err="1"/>
              <a:t>lacus</a:t>
            </a:r>
            <a:r>
              <a:rPr lang="en-GB" noProof="0"/>
              <a:t> </a:t>
            </a:r>
            <a:r>
              <a:rPr lang="en-GB" noProof="0" err="1"/>
              <a:t>neque</a:t>
            </a:r>
            <a:r>
              <a:rPr lang="en-GB" noProof="0"/>
              <a:t>, </a:t>
            </a:r>
            <a:r>
              <a:rPr lang="en-GB" noProof="0" err="1"/>
              <a:t>mattis</a:t>
            </a:r>
            <a:r>
              <a:rPr lang="en-GB" noProof="0"/>
              <a:t> </a:t>
            </a:r>
            <a:r>
              <a:rPr lang="en-GB" noProof="0" err="1"/>
              <a:t>ut</a:t>
            </a:r>
            <a:r>
              <a:rPr lang="en-GB" noProof="0"/>
              <a:t> </a:t>
            </a:r>
            <a:r>
              <a:rPr lang="en-GB" noProof="0" err="1"/>
              <a:t>sem</a:t>
            </a:r>
            <a:r>
              <a:rPr lang="en-GB" noProof="0"/>
              <a:t> sit </a:t>
            </a:r>
            <a:r>
              <a:rPr lang="en-GB" noProof="0" err="1"/>
              <a:t>amet</a:t>
            </a:r>
            <a:r>
              <a:rPr lang="en-GB" noProof="0"/>
              <a:t>, </a:t>
            </a:r>
            <a:r>
              <a:rPr lang="en-GB" noProof="0" err="1"/>
              <a:t>accumsan</a:t>
            </a:r>
            <a:r>
              <a:rPr lang="en-GB" noProof="0"/>
              <a:t> </a:t>
            </a:r>
            <a:r>
              <a:rPr lang="en-GB" noProof="0" err="1"/>
              <a:t>egestas</a:t>
            </a:r>
            <a:r>
              <a:rPr lang="en-GB" noProof="0"/>
              <a:t> </a:t>
            </a:r>
            <a:r>
              <a:rPr lang="en-GB" noProof="0" err="1"/>
              <a:t>nulla</a:t>
            </a:r>
            <a:r>
              <a:rPr lang="en-GB" noProof="0"/>
              <a:t>. </a:t>
            </a:r>
            <a:r>
              <a:rPr lang="en-GB" noProof="0" err="1"/>
              <a:t>Nulla</a:t>
            </a:r>
            <a:r>
              <a:rPr lang="en-GB" noProof="0"/>
              <a:t> sit </a:t>
            </a:r>
            <a:r>
              <a:rPr lang="en-GB" noProof="0" err="1"/>
              <a:t>amet</a:t>
            </a:r>
            <a:r>
              <a:rPr lang="en-GB" noProof="0"/>
              <a:t> </a:t>
            </a:r>
            <a:r>
              <a:rPr lang="en-GB" noProof="0" err="1"/>
              <a:t>nulla</a:t>
            </a:r>
            <a:r>
              <a:rPr lang="en-GB" noProof="0"/>
              <a:t> </a:t>
            </a:r>
            <a:r>
              <a:rPr lang="en-GB" noProof="0" err="1"/>
              <a:t>commodo</a:t>
            </a:r>
            <a:r>
              <a:rPr lang="en-GB" noProof="0"/>
              <a:t>, </a:t>
            </a:r>
            <a:r>
              <a:rPr lang="en-GB" noProof="0" err="1"/>
              <a:t>elementum</a:t>
            </a:r>
            <a:r>
              <a:rPr lang="en-GB" noProof="0"/>
              <a:t> </a:t>
            </a:r>
            <a:r>
              <a:rPr lang="en-GB" noProof="0" err="1"/>
              <a:t>sapien</a:t>
            </a:r>
            <a:r>
              <a:rPr lang="en-GB" noProof="0"/>
              <a:t> </a:t>
            </a:r>
            <a:r>
              <a:rPr lang="en-GB" noProof="0" err="1"/>
              <a:t>eu</a:t>
            </a:r>
            <a:r>
              <a:rPr lang="en-GB" noProof="0"/>
              <a:t>, </a:t>
            </a:r>
            <a:r>
              <a:rPr lang="en-GB" noProof="0" err="1"/>
              <a:t>egestas</a:t>
            </a:r>
            <a:r>
              <a:rPr lang="en-GB" noProof="0"/>
              <a:t> </a:t>
            </a:r>
            <a:r>
              <a:rPr lang="en-GB" noProof="0" err="1"/>
              <a:t>purus</a:t>
            </a:r>
            <a:r>
              <a:rPr lang="en-GB" noProof="0"/>
              <a:t>. </a:t>
            </a:r>
          </a:p>
        </p:txBody>
      </p:sp>
    </p:spTree>
    <p:extLst>
      <p:ext uri="{BB962C8B-B14F-4D97-AF65-F5344CB8AC3E}">
        <p14:creationId xmlns:p14="http://schemas.microsoft.com/office/powerpoint/2010/main" val="24426638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Background">
    <p:spTree>
      <p:nvGrpSpPr>
        <p:cNvPr id="1" name=""/>
        <p:cNvGrpSpPr/>
        <p:nvPr/>
      </p:nvGrpSpPr>
      <p:grpSpPr>
        <a:xfrm>
          <a:off x="0" y="0"/>
          <a:ext cx="0" cy="0"/>
          <a:chOff x="0" y="0"/>
          <a:chExt cx="0" cy="0"/>
        </a:xfrm>
      </p:grpSpPr>
      <p:pic>
        <p:nvPicPr>
          <p:cNvPr id="4" name="Bilde 3" descr="Et bilde som inneholder bygning, person, kvinne, ung&#10;&#10;Automatisk generert beskrivelse">
            <a:extLst>
              <a:ext uri="{FF2B5EF4-FFF2-40B4-BE49-F238E27FC236}">
                <a16:creationId xmlns:a16="http://schemas.microsoft.com/office/drawing/2014/main" id="{347B0E7C-4579-4576-AF68-7E36524526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100" y="0"/>
            <a:ext cx="12230100" cy="6858000"/>
          </a:xfrm>
          <a:prstGeom prst="rect">
            <a:avLst/>
          </a:prstGeom>
        </p:spPr>
      </p:pic>
      <p:pic>
        <p:nvPicPr>
          <p:cNvPr id="5" name="Bilde 4">
            <a:extLst>
              <a:ext uri="{FF2B5EF4-FFF2-40B4-BE49-F238E27FC236}">
                <a16:creationId xmlns:a16="http://schemas.microsoft.com/office/drawing/2014/main" id="{A558EB16-3382-4CE3-BB9E-79B883585A7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52521" y="6429313"/>
            <a:ext cx="1825937" cy="319232"/>
          </a:xfrm>
          <a:prstGeom prst="rect">
            <a:avLst/>
          </a:prstGeom>
        </p:spPr>
      </p:pic>
      <p:sp>
        <p:nvSpPr>
          <p:cNvPr id="6" name="Title 1">
            <a:extLst>
              <a:ext uri="{FF2B5EF4-FFF2-40B4-BE49-F238E27FC236}">
                <a16:creationId xmlns:a16="http://schemas.microsoft.com/office/drawing/2014/main" id="{850311F6-6889-4595-A4A8-04606161AADD}"/>
              </a:ext>
            </a:extLst>
          </p:cNvPr>
          <p:cNvSpPr>
            <a:spLocks noGrp="1"/>
          </p:cNvSpPr>
          <p:nvPr>
            <p:ph type="title" hasCustomPrompt="1"/>
          </p:nvPr>
        </p:nvSpPr>
        <p:spPr>
          <a:xfrm>
            <a:off x="-38100" y="2154630"/>
            <a:ext cx="12230100" cy="2120054"/>
          </a:xfrm>
          <a:prstGeom prst="rect">
            <a:avLst/>
          </a:prstGeom>
          <a:solidFill>
            <a:schemeClr val="bg1">
              <a:lumMod val="50000"/>
              <a:alpha val="63000"/>
            </a:schemeClr>
          </a:solidFill>
        </p:spPr>
        <p:txBody>
          <a:bodyPr>
            <a:normAutofit/>
          </a:bodyPr>
          <a:lstStyle>
            <a:lvl1pPr algn="ctr">
              <a:defRPr sz="4400" b="1" i="0">
                <a:solidFill>
                  <a:schemeClr val="accent1"/>
                </a:solidFill>
                <a:latin typeface="Helvetica" pitchFamily="2" charset="0"/>
                <a:cs typeface="Arial" panose="020B0604020202020204" pitchFamily="34" charset="0"/>
              </a:defRPr>
            </a:lvl1pPr>
          </a:lstStyle>
          <a:p>
            <a:r>
              <a:rPr lang="en-GB" noProof="0"/>
              <a:t>Click to edit Master title style</a:t>
            </a:r>
          </a:p>
        </p:txBody>
      </p:sp>
    </p:spTree>
    <p:extLst>
      <p:ext uri="{BB962C8B-B14F-4D97-AF65-F5344CB8AC3E}">
        <p14:creationId xmlns:p14="http://schemas.microsoft.com/office/powerpoint/2010/main" val="23370606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Blue Texture">
    <p:bg>
      <p:bgPr>
        <a:blipFill>
          <a:blip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11500"/>
                    </a14:imgEffect>
                    <a14:imgEffect>
                      <a14:saturation sat="330000"/>
                    </a14:imgEffect>
                  </a14:imgLayer>
                </a14:imgProps>
              </a:ext>
            </a:extLst>
          </a:blip>
          <a:tile tx="0" ty="0" sx="100000" sy="100000" flip="none" algn="tl"/>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5642505" y="1771920"/>
            <a:ext cx="4978082" cy="1964372"/>
          </a:xfrm>
          <a:prstGeom prst="rect">
            <a:avLst/>
          </a:prstGeom>
        </p:spPr>
        <p:txBody>
          <a:bodyPr anchor="b">
            <a:normAutofit/>
          </a:bodyPr>
          <a:lstStyle>
            <a:lvl1pPr marL="0" indent="0">
              <a:buNone/>
              <a:defRPr sz="4000" b="0" i="0">
                <a:solidFill>
                  <a:schemeClr val="accent2"/>
                </a:solidFill>
                <a:latin typeface="Helvetica Light" panose="020B0403020202020204" pitchFamily="34" charset="0"/>
                <a:cs typeface="Arial" panose="020B0604020202020204" pitchFamily="34" charset="0"/>
              </a:defRPr>
            </a:lvl1pPr>
            <a:lvl2pPr>
              <a:defRPr b="1">
                <a:solidFill>
                  <a:schemeClr val="bg1"/>
                </a:solidFill>
                <a:latin typeface="Franklin Gothic Medium" panose="020B0603020102020204" pitchFamily="34" charset="0"/>
              </a:defRPr>
            </a:lvl2pPr>
            <a:lvl3pPr>
              <a:defRPr b="1">
                <a:solidFill>
                  <a:schemeClr val="bg1"/>
                </a:solidFill>
                <a:latin typeface="Franklin Gothic Medium" panose="020B0603020102020204" pitchFamily="34" charset="0"/>
              </a:defRPr>
            </a:lvl3pPr>
            <a:lvl4pPr>
              <a:defRPr b="1">
                <a:solidFill>
                  <a:schemeClr val="bg1"/>
                </a:solidFill>
                <a:latin typeface="Franklin Gothic Medium" panose="020B0603020102020204" pitchFamily="34" charset="0"/>
              </a:defRPr>
            </a:lvl4pPr>
            <a:lvl5pPr>
              <a:defRPr b="1">
                <a:solidFill>
                  <a:schemeClr val="bg1"/>
                </a:solidFill>
                <a:latin typeface="Franklin Gothic Medium" panose="020B0603020102020204" pitchFamily="34" charset="0"/>
              </a:defRPr>
            </a:lvl5pPr>
          </a:lstStyle>
          <a:p>
            <a:pPr lvl="0"/>
            <a:r>
              <a:rPr lang="en-GB" noProof="0"/>
              <a:t>Edit Master text styles</a:t>
            </a:r>
          </a:p>
        </p:txBody>
      </p:sp>
      <p:sp>
        <p:nvSpPr>
          <p:cNvPr id="9" name="Text Placeholder 8"/>
          <p:cNvSpPr>
            <a:spLocks noGrp="1"/>
          </p:cNvSpPr>
          <p:nvPr>
            <p:ph type="body" sz="quarter" idx="11" hasCustomPrompt="1"/>
          </p:nvPr>
        </p:nvSpPr>
        <p:spPr>
          <a:xfrm>
            <a:off x="5642610" y="3843970"/>
            <a:ext cx="5018088" cy="1404937"/>
          </a:xfrm>
          <a:prstGeom prst="rect">
            <a:avLst/>
          </a:prstGeom>
        </p:spPr>
        <p:txBody>
          <a:bodyPr>
            <a:normAutofit/>
          </a:bodyPr>
          <a:lstStyle>
            <a:lvl1pPr marL="0" indent="0">
              <a:buNone/>
              <a:defRPr sz="2400" b="0" i="0">
                <a:solidFill>
                  <a:schemeClr val="bg1"/>
                </a:solidFill>
                <a:latin typeface="Helvetica Light" panose="020B0403020202020204" pitchFamily="34" charset="0"/>
                <a:cs typeface="Arial" panose="020B0604020202020204" pitchFamily="34" charset="0"/>
              </a:defRPr>
            </a:lvl1pPr>
            <a:lvl2pPr>
              <a:defRPr>
                <a:solidFill>
                  <a:schemeClr val="bg1"/>
                </a:solidFill>
                <a:latin typeface="Franklin Gothic Medium" panose="020B0603020102020204" pitchFamily="34" charset="0"/>
              </a:defRPr>
            </a:lvl2pPr>
            <a:lvl3pPr>
              <a:defRPr>
                <a:solidFill>
                  <a:schemeClr val="bg1"/>
                </a:solidFill>
                <a:latin typeface="Franklin Gothic Medium" panose="020B0603020102020204" pitchFamily="34" charset="0"/>
              </a:defRPr>
            </a:lvl3pPr>
            <a:lvl4pPr>
              <a:defRPr>
                <a:solidFill>
                  <a:schemeClr val="bg1"/>
                </a:solidFill>
                <a:latin typeface="Franklin Gothic Medium" panose="020B0603020102020204" pitchFamily="34" charset="0"/>
              </a:defRPr>
            </a:lvl4pPr>
            <a:lvl5pPr>
              <a:defRPr>
                <a:solidFill>
                  <a:schemeClr val="bg1"/>
                </a:solidFill>
                <a:latin typeface="Franklin Gothic Medium" panose="020B0603020102020204" pitchFamily="34" charset="0"/>
              </a:defRPr>
            </a:lvl5pPr>
          </a:lstStyle>
          <a:p>
            <a:pPr lvl="0"/>
            <a:r>
              <a:rPr lang="en-GB" noProof="0"/>
              <a:t>Edit Master text styles</a:t>
            </a:r>
          </a:p>
        </p:txBody>
      </p:sp>
      <p:pic>
        <p:nvPicPr>
          <p:cNvPr id="5" name="Bilde 4">
            <a:extLst>
              <a:ext uri="{FF2B5EF4-FFF2-40B4-BE49-F238E27FC236}">
                <a16:creationId xmlns:a16="http://schemas.microsoft.com/office/drawing/2014/main" id="{3A07580A-3D59-446E-AF02-EE9B1C03A1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74077" y="1771920"/>
            <a:ext cx="3923340" cy="2542905"/>
          </a:xfrm>
          <a:prstGeom prst="rect">
            <a:avLst/>
          </a:prstGeom>
        </p:spPr>
      </p:pic>
    </p:spTree>
    <p:extLst>
      <p:ext uri="{BB962C8B-B14F-4D97-AF65-F5344CB8AC3E}">
        <p14:creationId xmlns:p14="http://schemas.microsoft.com/office/powerpoint/2010/main" val="19488659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85_Custom Layou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5D4AB-B803-4643-BCDF-D6393E1CDC9B}"/>
              </a:ext>
            </a:extLst>
          </p:cNvPr>
          <p:cNvSpPr>
            <a:spLocks noGrp="1"/>
          </p:cNvSpPr>
          <p:nvPr>
            <p:ph type="title"/>
          </p:nvPr>
        </p:nvSpPr>
        <p:spPr>
          <a:xfrm>
            <a:off x="1218623" y="913943"/>
            <a:ext cx="8567928" cy="1325563"/>
          </a:xfrm>
          <a:prstGeom prst="rect">
            <a:avLst/>
          </a:prstGeom>
        </p:spPr>
        <p:txBody>
          <a:bodyPr/>
          <a:lstStyle>
            <a:lvl1pPr>
              <a:defRPr b="0" i="0">
                <a:solidFill>
                  <a:schemeClr val="bg1"/>
                </a:solidFill>
                <a:latin typeface="Helvetica Light" panose="020B0403020202020204" pitchFamily="34" charset="0"/>
              </a:defRPr>
            </a:lvl1pPr>
          </a:lstStyle>
          <a:p>
            <a:r>
              <a:rPr lang="en-GB"/>
              <a:t>Click to edit Master title style</a:t>
            </a:r>
            <a:endParaRPr lang="en-US"/>
          </a:p>
        </p:txBody>
      </p:sp>
      <p:pic>
        <p:nvPicPr>
          <p:cNvPr id="5" name="Bilde 5">
            <a:extLst>
              <a:ext uri="{FF2B5EF4-FFF2-40B4-BE49-F238E27FC236}">
                <a16:creationId xmlns:a16="http://schemas.microsoft.com/office/drawing/2014/main" id="{826408B4-1F28-DA4C-9BD1-39058BB264B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218623" y="5599967"/>
            <a:ext cx="2822031" cy="493381"/>
          </a:xfrm>
          <a:prstGeom prst="rect">
            <a:avLst/>
          </a:prstGeom>
        </p:spPr>
      </p:pic>
      <p:cxnSp>
        <p:nvCxnSpPr>
          <p:cNvPr id="6" name="Straight Connector 5">
            <a:extLst>
              <a:ext uri="{FF2B5EF4-FFF2-40B4-BE49-F238E27FC236}">
                <a16:creationId xmlns:a16="http://schemas.microsoft.com/office/drawing/2014/main" id="{2982B310-7E67-7C47-9E67-4430CA714644}"/>
              </a:ext>
            </a:extLst>
          </p:cNvPr>
          <p:cNvCxnSpPr>
            <a:cxnSpLocks/>
          </p:cNvCxnSpPr>
          <p:nvPr userDrawn="1"/>
        </p:nvCxnSpPr>
        <p:spPr>
          <a:xfrm>
            <a:off x="1315186" y="4964483"/>
            <a:ext cx="92835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20">
            <a:extLst>
              <a:ext uri="{FF2B5EF4-FFF2-40B4-BE49-F238E27FC236}">
                <a16:creationId xmlns:a16="http://schemas.microsoft.com/office/drawing/2014/main" id="{1D537A84-0006-344B-B900-FF658484079B}"/>
              </a:ext>
            </a:extLst>
          </p:cNvPr>
          <p:cNvSpPr>
            <a:spLocks noGrp="1"/>
          </p:cNvSpPr>
          <p:nvPr>
            <p:ph type="body" sz="quarter" idx="25"/>
          </p:nvPr>
        </p:nvSpPr>
        <p:spPr>
          <a:xfrm>
            <a:off x="1218623" y="3529464"/>
            <a:ext cx="5145898" cy="1227888"/>
          </a:xfrm>
          <a:prstGeom prst="rect">
            <a:avLst/>
          </a:prstGeom>
        </p:spPr>
        <p:txBody>
          <a:bodyPr anchor="t">
            <a:noAutofit/>
          </a:bodyPr>
          <a:lstStyle>
            <a:lvl1pPr marL="0" indent="0">
              <a:buNone/>
              <a:defRPr sz="14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Click to edit Master text styles</a:t>
            </a:r>
          </a:p>
        </p:txBody>
      </p:sp>
    </p:spTree>
    <p:extLst>
      <p:ext uri="{BB962C8B-B14F-4D97-AF65-F5344CB8AC3E}">
        <p14:creationId xmlns:p14="http://schemas.microsoft.com/office/powerpoint/2010/main" val="29990988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84_Custom Layout">
    <p:bg>
      <p:bgPr>
        <a:solidFill>
          <a:schemeClr val="accent1"/>
        </a:solidFill>
        <a:effectLst/>
      </p:bgPr>
    </p:bg>
    <p:spTree>
      <p:nvGrpSpPr>
        <p:cNvPr id="1" name=""/>
        <p:cNvGrpSpPr/>
        <p:nvPr/>
      </p:nvGrpSpPr>
      <p:grpSpPr>
        <a:xfrm>
          <a:off x="0" y="0"/>
          <a:ext cx="0" cy="0"/>
          <a:chOff x="0" y="0"/>
          <a:chExt cx="0" cy="0"/>
        </a:xfrm>
      </p:grpSpPr>
      <p:pic>
        <p:nvPicPr>
          <p:cNvPr id="8" name="object 4">
            <a:extLst>
              <a:ext uri="{FF2B5EF4-FFF2-40B4-BE49-F238E27FC236}">
                <a16:creationId xmlns:a16="http://schemas.microsoft.com/office/drawing/2014/main" id="{266DE70F-23E3-3D7B-545C-3A919B538BC9}"/>
              </a:ext>
            </a:extLst>
          </p:cNvPr>
          <p:cNvPicPr/>
          <p:nvPr userDrawn="1"/>
        </p:nvPicPr>
        <p:blipFill rotWithShape="1">
          <a:blip r:embed="rId2" cstate="screen">
            <a:alphaModFix amt="19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F65D4AB-B803-4643-BCDF-D6393E1CDC9B}"/>
              </a:ext>
            </a:extLst>
          </p:cNvPr>
          <p:cNvSpPr>
            <a:spLocks noGrp="1"/>
          </p:cNvSpPr>
          <p:nvPr>
            <p:ph type="title"/>
          </p:nvPr>
        </p:nvSpPr>
        <p:spPr>
          <a:xfrm>
            <a:off x="1218623" y="2778070"/>
            <a:ext cx="8567928" cy="1325563"/>
          </a:xfrm>
          <a:prstGeom prst="rect">
            <a:avLst/>
          </a:prstGeom>
        </p:spPr>
        <p:txBody>
          <a:bodyPr/>
          <a:lstStyle>
            <a:lvl1pPr>
              <a:defRPr sz="4800" b="1" i="0">
                <a:solidFill>
                  <a:schemeClr val="bg1"/>
                </a:solidFill>
                <a:latin typeface="Helvetica" pitchFamily="2" charset="0"/>
              </a:defRPr>
            </a:lvl1pPr>
          </a:lstStyle>
          <a:p>
            <a:r>
              <a:rPr lang="en-GB"/>
              <a:t>Click to edit Master title style</a:t>
            </a:r>
            <a:endParaRPr lang="en-US"/>
          </a:p>
        </p:txBody>
      </p:sp>
      <p:pic>
        <p:nvPicPr>
          <p:cNvPr id="5" name="Bilde 5">
            <a:extLst>
              <a:ext uri="{FF2B5EF4-FFF2-40B4-BE49-F238E27FC236}">
                <a16:creationId xmlns:a16="http://schemas.microsoft.com/office/drawing/2014/main" id="{826408B4-1F28-DA4C-9BD1-39058BB264B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8623" y="1564372"/>
            <a:ext cx="2822031" cy="493381"/>
          </a:xfrm>
          <a:prstGeom prst="rect">
            <a:avLst/>
          </a:prstGeom>
        </p:spPr>
      </p:pic>
      <p:sp>
        <p:nvSpPr>
          <p:cNvPr id="7" name="Text Placeholder 20">
            <a:extLst>
              <a:ext uri="{FF2B5EF4-FFF2-40B4-BE49-F238E27FC236}">
                <a16:creationId xmlns:a16="http://schemas.microsoft.com/office/drawing/2014/main" id="{1D537A84-0006-344B-B900-FF658484079B}"/>
              </a:ext>
            </a:extLst>
          </p:cNvPr>
          <p:cNvSpPr>
            <a:spLocks noGrp="1"/>
          </p:cNvSpPr>
          <p:nvPr>
            <p:ph type="body" sz="quarter" idx="25"/>
          </p:nvPr>
        </p:nvSpPr>
        <p:spPr>
          <a:xfrm>
            <a:off x="1218623" y="4679684"/>
            <a:ext cx="5145898" cy="1227888"/>
          </a:xfrm>
          <a:prstGeom prst="rect">
            <a:avLst/>
          </a:prstGeom>
        </p:spPr>
        <p:txBody>
          <a:bodyPr anchor="t">
            <a:noAutofit/>
          </a:bodyPr>
          <a:lstStyle>
            <a:lvl1pPr marL="0" indent="0">
              <a:buNone/>
              <a:defRPr sz="20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Click to edit Master text styles</a:t>
            </a:r>
          </a:p>
        </p:txBody>
      </p:sp>
    </p:spTree>
    <p:extLst>
      <p:ext uri="{BB962C8B-B14F-4D97-AF65-F5344CB8AC3E}">
        <p14:creationId xmlns:p14="http://schemas.microsoft.com/office/powerpoint/2010/main" val="27352655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83_Custom Layout">
    <p:bg>
      <p:bgPr>
        <a:solidFill>
          <a:schemeClr val="accent1"/>
        </a:solidFill>
        <a:effectLst/>
      </p:bgPr>
    </p:bg>
    <p:spTree>
      <p:nvGrpSpPr>
        <p:cNvPr id="1" name=""/>
        <p:cNvGrpSpPr/>
        <p:nvPr/>
      </p:nvGrpSpPr>
      <p:grpSpPr>
        <a:xfrm>
          <a:off x="0" y="0"/>
          <a:ext cx="0" cy="0"/>
          <a:chOff x="0" y="0"/>
          <a:chExt cx="0" cy="0"/>
        </a:xfrm>
      </p:grpSpPr>
      <p:pic>
        <p:nvPicPr>
          <p:cNvPr id="6" name="object 2">
            <a:extLst>
              <a:ext uri="{FF2B5EF4-FFF2-40B4-BE49-F238E27FC236}">
                <a16:creationId xmlns:a16="http://schemas.microsoft.com/office/drawing/2014/main" id="{3E06A675-647C-40C5-6399-B642063039A4}"/>
              </a:ext>
            </a:extLst>
          </p:cNvPr>
          <p:cNvPicPr/>
          <p:nvPr userDrawn="1"/>
        </p:nvPicPr>
        <p:blipFill rotWithShape="1">
          <a:blip r:embed="rId2" cstate="screen">
            <a:alphaModFix amt="27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a:extLst>
              <a:ext uri="{FF2B5EF4-FFF2-40B4-BE49-F238E27FC236}">
                <a16:creationId xmlns:a16="http://schemas.microsoft.com/office/drawing/2014/main" id="{52C1C368-503A-C622-6FDE-E0060070AE50}"/>
              </a:ext>
            </a:extLst>
          </p:cNvPr>
          <p:cNvSpPr>
            <a:spLocks noGrp="1"/>
          </p:cNvSpPr>
          <p:nvPr>
            <p:ph type="title"/>
          </p:nvPr>
        </p:nvSpPr>
        <p:spPr>
          <a:xfrm>
            <a:off x="1218622" y="3429000"/>
            <a:ext cx="9418875" cy="1325563"/>
          </a:xfrm>
          <a:prstGeom prst="rect">
            <a:avLst/>
          </a:prstGeom>
        </p:spPr>
        <p:txBody>
          <a:bodyPr/>
          <a:lstStyle>
            <a:lvl1pPr>
              <a:defRPr b="0" i="0">
                <a:solidFill>
                  <a:schemeClr val="bg1"/>
                </a:solidFill>
                <a:latin typeface="Helvetica Light" panose="020B0403020202020204" pitchFamily="34" charset="0"/>
              </a:defRPr>
            </a:lvl1pPr>
          </a:lstStyle>
          <a:p>
            <a:r>
              <a:rPr lang="en-GB"/>
              <a:t>Click to edit Master title style</a:t>
            </a:r>
            <a:endParaRPr lang="en-US"/>
          </a:p>
        </p:txBody>
      </p:sp>
      <p:pic>
        <p:nvPicPr>
          <p:cNvPr id="10" name="Bilde 5">
            <a:extLst>
              <a:ext uri="{FF2B5EF4-FFF2-40B4-BE49-F238E27FC236}">
                <a16:creationId xmlns:a16="http://schemas.microsoft.com/office/drawing/2014/main" id="{7DCA0359-8D81-843C-70E8-4571A42EA7A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12031" y="5389851"/>
            <a:ext cx="2822031" cy="493381"/>
          </a:xfrm>
          <a:prstGeom prst="rect">
            <a:avLst/>
          </a:prstGeom>
        </p:spPr>
      </p:pic>
      <p:cxnSp>
        <p:nvCxnSpPr>
          <p:cNvPr id="11" name="Straight Connector 10">
            <a:extLst>
              <a:ext uri="{FF2B5EF4-FFF2-40B4-BE49-F238E27FC236}">
                <a16:creationId xmlns:a16="http://schemas.microsoft.com/office/drawing/2014/main" id="{D2B4E9CF-53FB-6A14-C29B-FB79E254B303}"/>
              </a:ext>
            </a:extLst>
          </p:cNvPr>
          <p:cNvCxnSpPr>
            <a:cxnSpLocks/>
          </p:cNvCxnSpPr>
          <p:nvPr userDrawn="1"/>
        </p:nvCxnSpPr>
        <p:spPr>
          <a:xfrm>
            <a:off x="1315186" y="4964483"/>
            <a:ext cx="941887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0BD676DD-16C3-41CC-2353-A2227D88BB3E}"/>
              </a:ext>
            </a:extLst>
          </p:cNvPr>
          <p:cNvSpPr>
            <a:spLocks noGrp="1"/>
          </p:cNvSpPr>
          <p:nvPr>
            <p:ph type="body" sz="quarter" idx="25"/>
          </p:nvPr>
        </p:nvSpPr>
        <p:spPr>
          <a:xfrm>
            <a:off x="1218622" y="5269288"/>
            <a:ext cx="5730817" cy="1227888"/>
          </a:xfrm>
          <a:prstGeom prst="rect">
            <a:avLst/>
          </a:prstGeom>
        </p:spPr>
        <p:txBody>
          <a:bodyPr anchor="t">
            <a:noAutofit/>
          </a:bodyPr>
          <a:lstStyle>
            <a:lvl1pPr marL="0" indent="0">
              <a:buNone/>
              <a:defRPr sz="14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Click to edit Master text styles</a:t>
            </a:r>
          </a:p>
        </p:txBody>
      </p:sp>
    </p:spTree>
    <p:extLst>
      <p:ext uri="{BB962C8B-B14F-4D97-AF65-F5344CB8AC3E}">
        <p14:creationId xmlns:p14="http://schemas.microsoft.com/office/powerpoint/2010/main" val="12772671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82_Custom Layout">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727CFE4-BB94-62BB-5760-A8B1421E05C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CF619745-182C-DF4B-F195-0187CE408F41}"/>
              </a:ext>
            </a:extLst>
          </p:cNvPr>
          <p:cNvSpPr/>
          <p:nvPr userDrawn="1"/>
        </p:nvSpPr>
        <p:spPr>
          <a:xfrm>
            <a:off x="0" y="0"/>
            <a:ext cx="12192000" cy="6858000"/>
          </a:xfrm>
          <a:prstGeom prst="rect">
            <a:avLst/>
          </a:prstGeom>
          <a:solidFill>
            <a:schemeClr val="accent3">
              <a:lumMod val="75000"/>
              <a:alpha val="858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a:solidFill>
                <a:schemeClr val="bg1"/>
              </a:solidFill>
            </a:endParaRPr>
          </a:p>
        </p:txBody>
      </p:sp>
      <p:pic>
        <p:nvPicPr>
          <p:cNvPr id="11" name="Bilde 3">
            <a:extLst>
              <a:ext uri="{FF2B5EF4-FFF2-40B4-BE49-F238E27FC236}">
                <a16:creationId xmlns:a16="http://schemas.microsoft.com/office/drawing/2014/main" id="{40FA1915-9788-1617-FA70-2C66B40267B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98209" y="5506718"/>
            <a:ext cx="2395583" cy="418826"/>
          </a:xfrm>
          <a:prstGeom prst="rect">
            <a:avLst/>
          </a:prstGeom>
        </p:spPr>
      </p:pic>
      <p:sp>
        <p:nvSpPr>
          <p:cNvPr id="2" name="Title 1">
            <a:extLst>
              <a:ext uri="{FF2B5EF4-FFF2-40B4-BE49-F238E27FC236}">
                <a16:creationId xmlns:a16="http://schemas.microsoft.com/office/drawing/2014/main" id="{4F65D4AB-B803-4643-BCDF-D6393E1CDC9B}"/>
              </a:ext>
            </a:extLst>
          </p:cNvPr>
          <p:cNvSpPr>
            <a:spLocks noGrp="1"/>
          </p:cNvSpPr>
          <p:nvPr>
            <p:ph type="title"/>
          </p:nvPr>
        </p:nvSpPr>
        <p:spPr>
          <a:xfrm>
            <a:off x="1588770" y="1833762"/>
            <a:ext cx="9014460" cy="1595238"/>
          </a:xfrm>
          <a:prstGeom prst="rect">
            <a:avLst/>
          </a:prstGeom>
        </p:spPr>
        <p:txBody>
          <a:bodyPr/>
          <a:lstStyle>
            <a:lvl1pPr algn="ctr">
              <a:defRPr sz="5400" b="0" i="0">
                <a:solidFill>
                  <a:schemeClr val="accent2"/>
                </a:solidFill>
                <a:latin typeface="Helvetica Light" panose="020B0403020202020204" pitchFamily="34" charset="0"/>
              </a:defRPr>
            </a:lvl1pPr>
          </a:lstStyle>
          <a:p>
            <a:r>
              <a:rPr lang="en-GB"/>
              <a:t>Click to edit Master title style</a:t>
            </a:r>
            <a:endParaRPr lang="en-US"/>
          </a:p>
        </p:txBody>
      </p:sp>
      <p:sp>
        <p:nvSpPr>
          <p:cNvPr id="7" name="Text Placeholder 20">
            <a:extLst>
              <a:ext uri="{FF2B5EF4-FFF2-40B4-BE49-F238E27FC236}">
                <a16:creationId xmlns:a16="http://schemas.microsoft.com/office/drawing/2014/main" id="{1D537A84-0006-344B-B900-FF658484079B}"/>
              </a:ext>
            </a:extLst>
          </p:cNvPr>
          <p:cNvSpPr>
            <a:spLocks noGrp="1"/>
          </p:cNvSpPr>
          <p:nvPr>
            <p:ph type="body" sz="quarter" idx="25"/>
          </p:nvPr>
        </p:nvSpPr>
        <p:spPr>
          <a:xfrm>
            <a:off x="2351973" y="3707820"/>
            <a:ext cx="7488055" cy="1227888"/>
          </a:xfrm>
          <a:prstGeom prst="rect">
            <a:avLst/>
          </a:prstGeom>
        </p:spPr>
        <p:txBody>
          <a:bodyPr anchor="t">
            <a:noAutofit/>
          </a:bodyPr>
          <a:lstStyle>
            <a:lvl1pPr marL="0" indent="0" algn="ctr">
              <a:buNone/>
              <a:defRPr sz="20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Click to edit Master text styles</a:t>
            </a:r>
          </a:p>
        </p:txBody>
      </p:sp>
    </p:spTree>
    <p:extLst>
      <p:ext uri="{BB962C8B-B14F-4D97-AF65-F5344CB8AC3E}">
        <p14:creationId xmlns:p14="http://schemas.microsoft.com/office/powerpoint/2010/main" val="34953354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grpSp>
        <p:nvGrpSpPr>
          <p:cNvPr id="25" name="Group 24">
            <a:extLst>
              <a:ext uri="{FF2B5EF4-FFF2-40B4-BE49-F238E27FC236}">
                <a16:creationId xmlns:a16="http://schemas.microsoft.com/office/drawing/2014/main" id="{6DEF82C5-480D-954F-B095-FD483D7FEEB4}"/>
              </a:ext>
            </a:extLst>
          </p:cNvPr>
          <p:cNvGrpSpPr/>
          <p:nvPr/>
        </p:nvGrpSpPr>
        <p:grpSpPr>
          <a:xfrm>
            <a:off x="731838" y="4085429"/>
            <a:ext cx="5202388" cy="1070771"/>
            <a:chOff x="558332" y="2312872"/>
            <a:chExt cx="5202388" cy="756000"/>
          </a:xfrm>
        </p:grpSpPr>
        <p:sp>
          <p:nvSpPr>
            <p:cNvPr id="26" name="Rectangle 25">
              <a:extLst>
                <a:ext uri="{FF2B5EF4-FFF2-40B4-BE49-F238E27FC236}">
                  <a16:creationId xmlns:a16="http://schemas.microsoft.com/office/drawing/2014/main" id="{7E68816F-8ED8-F14C-9463-BC5BE746F915}"/>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4813DECF-DB9F-1D41-BF9F-AB28D2D0FFA9}"/>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86060DA3-1C3F-574A-B441-7E66952FAF26}"/>
              </a:ext>
            </a:extLst>
          </p:cNvPr>
          <p:cNvGrpSpPr/>
          <p:nvPr/>
        </p:nvGrpSpPr>
        <p:grpSpPr>
          <a:xfrm>
            <a:off x="731838" y="2892118"/>
            <a:ext cx="5202388" cy="1070771"/>
            <a:chOff x="558332" y="2312872"/>
            <a:chExt cx="5202388" cy="756000"/>
          </a:xfrm>
        </p:grpSpPr>
        <p:sp>
          <p:nvSpPr>
            <p:cNvPr id="30" name="Rectangle 29">
              <a:extLst>
                <a:ext uri="{FF2B5EF4-FFF2-40B4-BE49-F238E27FC236}">
                  <a16:creationId xmlns:a16="http://schemas.microsoft.com/office/drawing/2014/main" id="{6B36066D-F13C-AE43-8952-9366B8A0D7AC}"/>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Straight Connector 30">
              <a:extLst>
                <a:ext uri="{FF2B5EF4-FFF2-40B4-BE49-F238E27FC236}">
                  <a16:creationId xmlns:a16="http://schemas.microsoft.com/office/drawing/2014/main" id="{BFC7F9BA-6C49-4740-A870-49B6EC480963}"/>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5" name="Text Placeholder 20">
            <a:extLst>
              <a:ext uri="{FF2B5EF4-FFF2-40B4-BE49-F238E27FC236}">
                <a16:creationId xmlns:a16="http://schemas.microsoft.com/office/drawing/2014/main" id="{8B979C09-D13C-7246-A315-CB1F91820224}"/>
              </a:ext>
            </a:extLst>
          </p:cNvPr>
          <p:cNvSpPr>
            <a:spLocks noGrp="1"/>
          </p:cNvSpPr>
          <p:nvPr>
            <p:ph type="body" sz="quarter" idx="14" hasCustomPrompt="1"/>
          </p:nvPr>
        </p:nvSpPr>
        <p:spPr>
          <a:xfrm>
            <a:off x="817639" y="4138343"/>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92CE0F41-7E9E-3148-9463-F5580DB7B873}"/>
              </a:ext>
            </a:extLst>
          </p:cNvPr>
          <p:cNvSpPr>
            <a:spLocks noGrp="1"/>
          </p:cNvSpPr>
          <p:nvPr>
            <p:ph type="body" sz="quarter" idx="15" hasCustomPrompt="1"/>
          </p:nvPr>
        </p:nvSpPr>
        <p:spPr>
          <a:xfrm>
            <a:off x="817639" y="2968372"/>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18" name="Bilde 3">
            <a:extLst>
              <a:ext uri="{FF2B5EF4-FFF2-40B4-BE49-F238E27FC236}">
                <a16:creationId xmlns:a16="http://schemas.microsoft.com/office/drawing/2014/main" id="{1BD9195B-80E5-6AC0-01C9-D82C02ED118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9" name="Date Placeholder 2">
            <a:extLst>
              <a:ext uri="{FF2B5EF4-FFF2-40B4-BE49-F238E27FC236}">
                <a16:creationId xmlns:a16="http://schemas.microsoft.com/office/drawing/2014/main" id="{6B7C66F6-643D-31ED-8414-0874C0375E13}"/>
              </a:ext>
            </a:extLst>
          </p:cNvPr>
          <p:cNvSpPr>
            <a:spLocks noGrp="1"/>
          </p:cNvSpPr>
          <p:nvPr>
            <p:ph type="dt" sz="half" idx="16"/>
          </p:nvPr>
        </p:nvSpPr>
        <p:spPr>
          <a:xfrm>
            <a:off x="2303627" y="6492875"/>
            <a:ext cx="528585" cy="365125"/>
          </a:xfrm>
        </p:spPr>
        <p:txBody>
          <a:bodyPr/>
          <a:lstStyle/>
          <a:p>
            <a:fld id="{F6F3811D-79FE-3D4D-BD27-3F46504353D4}" type="datetime1">
              <a:rPr lang="nb-NO" smtClean="0"/>
              <a:t>20.08.2024</a:t>
            </a:fld>
            <a:endParaRPr lang="en-US"/>
          </a:p>
        </p:txBody>
      </p:sp>
      <p:sp>
        <p:nvSpPr>
          <p:cNvPr id="20" name="Footer Placeholder 3">
            <a:extLst>
              <a:ext uri="{FF2B5EF4-FFF2-40B4-BE49-F238E27FC236}">
                <a16:creationId xmlns:a16="http://schemas.microsoft.com/office/drawing/2014/main" id="{39A2C9C4-B763-96E0-2166-3E5E140F1670}"/>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21" name="Slide Number Placeholder 4">
            <a:extLst>
              <a:ext uri="{FF2B5EF4-FFF2-40B4-BE49-F238E27FC236}">
                <a16:creationId xmlns:a16="http://schemas.microsoft.com/office/drawing/2014/main" id="{4B3ECF92-0715-0968-72F1-075744B6594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8908700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sp>
        <p:nvSpPr>
          <p:cNvPr id="26" name="Rectangle 25">
            <a:extLst>
              <a:ext uri="{FF2B5EF4-FFF2-40B4-BE49-F238E27FC236}">
                <a16:creationId xmlns:a16="http://schemas.microsoft.com/office/drawing/2014/main" id="{7E68816F-8ED8-F14C-9463-BC5BE746F915}"/>
              </a:ext>
            </a:extLst>
          </p:cNvPr>
          <p:cNvSpPr/>
          <p:nvPr/>
        </p:nvSpPr>
        <p:spPr>
          <a:xfrm>
            <a:off x="731838" y="4085429"/>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4813DECF-DB9F-1D41-BF9F-AB28D2D0FFA9}"/>
              </a:ext>
            </a:extLst>
          </p:cNvPr>
          <p:cNvCxnSpPr>
            <a:cxnSpLocks/>
          </p:cNvCxnSpPr>
          <p:nvPr/>
        </p:nvCxnSpPr>
        <p:spPr>
          <a:xfrm>
            <a:off x="808013" y="4085429"/>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B36066D-F13C-AE43-8952-9366B8A0D7AC}"/>
              </a:ext>
            </a:extLst>
          </p:cNvPr>
          <p:cNvSpPr/>
          <p:nvPr/>
        </p:nvSpPr>
        <p:spPr>
          <a:xfrm>
            <a:off x="731838" y="2892118"/>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Straight Connector 30">
            <a:extLst>
              <a:ext uri="{FF2B5EF4-FFF2-40B4-BE49-F238E27FC236}">
                <a16:creationId xmlns:a16="http://schemas.microsoft.com/office/drawing/2014/main" id="{BFC7F9BA-6C49-4740-A870-49B6EC480963}"/>
              </a:ext>
            </a:extLst>
          </p:cNvPr>
          <p:cNvCxnSpPr>
            <a:cxnSpLocks/>
          </p:cNvCxnSpPr>
          <p:nvPr/>
        </p:nvCxnSpPr>
        <p:spPr>
          <a:xfrm>
            <a:off x="808013" y="2892118"/>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5" name="Text Placeholder 20">
            <a:extLst>
              <a:ext uri="{FF2B5EF4-FFF2-40B4-BE49-F238E27FC236}">
                <a16:creationId xmlns:a16="http://schemas.microsoft.com/office/drawing/2014/main" id="{8B979C09-D13C-7246-A315-CB1F91820224}"/>
              </a:ext>
            </a:extLst>
          </p:cNvPr>
          <p:cNvSpPr>
            <a:spLocks noGrp="1"/>
          </p:cNvSpPr>
          <p:nvPr>
            <p:ph type="body" sz="quarter" idx="14" hasCustomPrompt="1"/>
          </p:nvPr>
        </p:nvSpPr>
        <p:spPr>
          <a:xfrm>
            <a:off x="1088020" y="4138343"/>
            <a:ext cx="4710674"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92CE0F41-7E9E-3148-9463-F5580DB7B873}"/>
              </a:ext>
            </a:extLst>
          </p:cNvPr>
          <p:cNvSpPr>
            <a:spLocks noGrp="1"/>
          </p:cNvSpPr>
          <p:nvPr>
            <p:ph type="body" sz="quarter" idx="15" hasCustomPrompt="1"/>
          </p:nvPr>
        </p:nvSpPr>
        <p:spPr>
          <a:xfrm>
            <a:off x="1088020" y="2968372"/>
            <a:ext cx="4710674"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18" name="Bilde 3">
            <a:extLst>
              <a:ext uri="{FF2B5EF4-FFF2-40B4-BE49-F238E27FC236}">
                <a16:creationId xmlns:a16="http://schemas.microsoft.com/office/drawing/2014/main" id="{1BD9195B-80E5-6AC0-01C9-D82C02ED118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9" name="Date Placeholder 2">
            <a:extLst>
              <a:ext uri="{FF2B5EF4-FFF2-40B4-BE49-F238E27FC236}">
                <a16:creationId xmlns:a16="http://schemas.microsoft.com/office/drawing/2014/main" id="{6B7C66F6-643D-31ED-8414-0874C0375E13}"/>
              </a:ext>
            </a:extLst>
          </p:cNvPr>
          <p:cNvSpPr>
            <a:spLocks noGrp="1"/>
          </p:cNvSpPr>
          <p:nvPr>
            <p:ph type="dt" sz="half" idx="16"/>
          </p:nvPr>
        </p:nvSpPr>
        <p:spPr>
          <a:xfrm>
            <a:off x="2303627" y="6492875"/>
            <a:ext cx="528585" cy="365125"/>
          </a:xfrm>
        </p:spPr>
        <p:txBody>
          <a:bodyPr/>
          <a:lstStyle/>
          <a:p>
            <a:fld id="{D53E2B2E-B83E-9041-8D38-730B67129A7C}" type="datetime1">
              <a:rPr lang="nb-NO" smtClean="0"/>
              <a:t>20.08.2024</a:t>
            </a:fld>
            <a:endParaRPr lang="en-US"/>
          </a:p>
        </p:txBody>
      </p:sp>
      <p:sp>
        <p:nvSpPr>
          <p:cNvPr id="20" name="Footer Placeholder 3">
            <a:extLst>
              <a:ext uri="{FF2B5EF4-FFF2-40B4-BE49-F238E27FC236}">
                <a16:creationId xmlns:a16="http://schemas.microsoft.com/office/drawing/2014/main" id="{39A2C9C4-B763-96E0-2166-3E5E140F1670}"/>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21" name="Slide Number Placeholder 4">
            <a:extLst>
              <a:ext uri="{FF2B5EF4-FFF2-40B4-BE49-F238E27FC236}">
                <a16:creationId xmlns:a16="http://schemas.microsoft.com/office/drawing/2014/main" id="{4B3ECF92-0715-0968-72F1-075744B6594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6832177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81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grpSp>
        <p:nvGrpSpPr>
          <p:cNvPr id="15" name="Group 14">
            <a:extLst>
              <a:ext uri="{FF2B5EF4-FFF2-40B4-BE49-F238E27FC236}">
                <a16:creationId xmlns:a16="http://schemas.microsoft.com/office/drawing/2014/main" id="{695E2979-A264-70BD-555D-9C31C89B99C2}"/>
              </a:ext>
            </a:extLst>
          </p:cNvPr>
          <p:cNvGrpSpPr/>
          <p:nvPr userDrawn="1"/>
        </p:nvGrpSpPr>
        <p:grpSpPr>
          <a:xfrm>
            <a:off x="731838" y="4768603"/>
            <a:ext cx="5202388" cy="1070771"/>
            <a:chOff x="558332" y="2312872"/>
            <a:chExt cx="5202388" cy="756000"/>
          </a:xfrm>
        </p:grpSpPr>
        <p:sp>
          <p:nvSpPr>
            <p:cNvPr id="16" name="Rectangle 15">
              <a:extLst>
                <a:ext uri="{FF2B5EF4-FFF2-40B4-BE49-F238E27FC236}">
                  <a16:creationId xmlns:a16="http://schemas.microsoft.com/office/drawing/2014/main" id="{5A95CCCA-102E-EF68-04F2-04CF2EC0D71D}"/>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3EE749C5-12C4-D619-3255-42F84C1B0073}"/>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8" name="Text Placeholder 20">
            <a:extLst>
              <a:ext uri="{FF2B5EF4-FFF2-40B4-BE49-F238E27FC236}">
                <a16:creationId xmlns:a16="http://schemas.microsoft.com/office/drawing/2014/main" id="{2D990C2F-6E86-3D57-71A9-0EC247EF1E73}"/>
              </a:ext>
            </a:extLst>
          </p:cNvPr>
          <p:cNvSpPr>
            <a:spLocks noGrp="1"/>
          </p:cNvSpPr>
          <p:nvPr>
            <p:ph type="body" sz="quarter" idx="13" hasCustomPrompt="1"/>
          </p:nvPr>
        </p:nvSpPr>
        <p:spPr>
          <a:xfrm>
            <a:off x="817639" y="4832982"/>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19" name="Group 18">
            <a:extLst>
              <a:ext uri="{FF2B5EF4-FFF2-40B4-BE49-F238E27FC236}">
                <a16:creationId xmlns:a16="http://schemas.microsoft.com/office/drawing/2014/main" id="{650D11A3-D263-14DD-3733-CD4D2938DB81}"/>
              </a:ext>
            </a:extLst>
          </p:cNvPr>
          <p:cNvGrpSpPr/>
          <p:nvPr userDrawn="1"/>
        </p:nvGrpSpPr>
        <p:grpSpPr>
          <a:xfrm>
            <a:off x="731838" y="3575292"/>
            <a:ext cx="5202388" cy="1070771"/>
            <a:chOff x="558332" y="2312872"/>
            <a:chExt cx="5202388" cy="756000"/>
          </a:xfrm>
        </p:grpSpPr>
        <p:sp>
          <p:nvSpPr>
            <p:cNvPr id="20" name="Rectangle 19">
              <a:extLst>
                <a:ext uri="{FF2B5EF4-FFF2-40B4-BE49-F238E27FC236}">
                  <a16:creationId xmlns:a16="http://schemas.microsoft.com/office/drawing/2014/main" id="{9D1217C1-C2C0-3651-3A4C-AD62443C809C}"/>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E77A3BA5-0BF4-57C8-4CDA-B3213523080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23C11601-452E-0C34-0222-E299865A8A59}"/>
              </a:ext>
            </a:extLst>
          </p:cNvPr>
          <p:cNvGrpSpPr/>
          <p:nvPr userDrawn="1"/>
        </p:nvGrpSpPr>
        <p:grpSpPr>
          <a:xfrm>
            <a:off x="731838" y="2381981"/>
            <a:ext cx="5202388" cy="1070771"/>
            <a:chOff x="558332" y="2312872"/>
            <a:chExt cx="5202388" cy="756000"/>
          </a:xfrm>
        </p:grpSpPr>
        <p:sp>
          <p:nvSpPr>
            <p:cNvPr id="33" name="Rectangle 32">
              <a:extLst>
                <a:ext uri="{FF2B5EF4-FFF2-40B4-BE49-F238E27FC236}">
                  <a16:creationId xmlns:a16="http://schemas.microsoft.com/office/drawing/2014/main" id="{3A29BEAE-EEB8-A485-0568-1CCF8FA3E2BC}"/>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BF79195B-E970-3457-F0DB-6DE3AB238E3E}"/>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5" name="Text Placeholder 20">
            <a:extLst>
              <a:ext uri="{FF2B5EF4-FFF2-40B4-BE49-F238E27FC236}">
                <a16:creationId xmlns:a16="http://schemas.microsoft.com/office/drawing/2014/main" id="{46450FDC-9A98-3624-3A28-C4C680E51476}"/>
              </a:ext>
            </a:extLst>
          </p:cNvPr>
          <p:cNvSpPr>
            <a:spLocks noGrp="1"/>
          </p:cNvSpPr>
          <p:nvPr>
            <p:ph type="body" sz="quarter" idx="14" hasCustomPrompt="1"/>
          </p:nvPr>
        </p:nvSpPr>
        <p:spPr>
          <a:xfrm>
            <a:off x="817639" y="3628206"/>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6" name="Text Placeholder 20">
            <a:extLst>
              <a:ext uri="{FF2B5EF4-FFF2-40B4-BE49-F238E27FC236}">
                <a16:creationId xmlns:a16="http://schemas.microsoft.com/office/drawing/2014/main" id="{49CBE21D-FBDF-140E-6D35-005ADF870536}"/>
              </a:ext>
            </a:extLst>
          </p:cNvPr>
          <p:cNvSpPr>
            <a:spLocks noGrp="1"/>
          </p:cNvSpPr>
          <p:nvPr>
            <p:ph type="body" sz="quarter" idx="15" hasCustomPrompt="1"/>
          </p:nvPr>
        </p:nvSpPr>
        <p:spPr>
          <a:xfrm>
            <a:off x="817639" y="2458235"/>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25" name="Bilde 3">
            <a:extLst>
              <a:ext uri="{FF2B5EF4-FFF2-40B4-BE49-F238E27FC236}">
                <a16:creationId xmlns:a16="http://schemas.microsoft.com/office/drawing/2014/main" id="{424BDAF4-D422-3AC5-47B1-4F05D60BB9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70BDCB77-5919-9FD6-02AD-705B6BAD4FF3}"/>
              </a:ext>
            </a:extLst>
          </p:cNvPr>
          <p:cNvSpPr>
            <a:spLocks noGrp="1"/>
          </p:cNvSpPr>
          <p:nvPr>
            <p:ph type="dt" sz="half" idx="16"/>
          </p:nvPr>
        </p:nvSpPr>
        <p:spPr>
          <a:xfrm>
            <a:off x="2303627" y="6492875"/>
            <a:ext cx="528585" cy="365125"/>
          </a:xfrm>
        </p:spPr>
        <p:txBody>
          <a:bodyPr/>
          <a:lstStyle/>
          <a:p>
            <a:fld id="{9109A8F1-81EA-0A47-BC88-31DA3ECD2A8B}" type="datetime1">
              <a:rPr lang="nb-NO" smtClean="0"/>
              <a:t>20.08.2024</a:t>
            </a:fld>
            <a:endParaRPr lang="en-US"/>
          </a:p>
        </p:txBody>
      </p:sp>
      <p:sp>
        <p:nvSpPr>
          <p:cNvPr id="26" name="Footer Placeholder 3">
            <a:extLst>
              <a:ext uri="{FF2B5EF4-FFF2-40B4-BE49-F238E27FC236}">
                <a16:creationId xmlns:a16="http://schemas.microsoft.com/office/drawing/2014/main" id="{3BE94EF0-077E-7A72-B08A-C1C403280FDF}"/>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27" name="Slide Number Placeholder 4">
            <a:extLst>
              <a:ext uri="{FF2B5EF4-FFF2-40B4-BE49-F238E27FC236}">
                <a16:creationId xmlns:a16="http://schemas.microsoft.com/office/drawing/2014/main" id="{30D922FC-A49B-FD69-6391-505A8FE74E59}"/>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3649548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9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6" name="Rectangle 25">
            <a:extLst>
              <a:ext uri="{FF2B5EF4-FFF2-40B4-BE49-F238E27FC236}">
                <a16:creationId xmlns:a16="http://schemas.microsoft.com/office/drawing/2014/main" id="{964B2FCB-A9B0-4145-B29B-AD456C94D7C2}"/>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8" name="Straight Connector 27">
            <a:extLst>
              <a:ext uri="{FF2B5EF4-FFF2-40B4-BE49-F238E27FC236}">
                <a16:creationId xmlns:a16="http://schemas.microsoft.com/office/drawing/2014/main" id="{17FD8ADB-B041-7841-B1C3-28DBA168A7C7}"/>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30" name="Rectangle 29">
            <a:extLst>
              <a:ext uri="{FF2B5EF4-FFF2-40B4-BE49-F238E27FC236}">
                <a16:creationId xmlns:a16="http://schemas.microsoft.com/office/drawing/2014/main" id="{BEA4711D-5FB9-1140-ACF9-77B5A0C68D53}"/>
              </a:ext>
            </a:extLst>
          </p:cNvPr>
          <p:cNvSpPr/>
          <p:nvPr/>
        </p:nvSpPr>
        <p:spPr>
          <a:xfrm>
            <a:off x="4253915"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2" name="Straight Connector 31">
            <a:extLst>
              <a:ext uri="{FF2B5EF4-FFF2-40B4-BE49-F238E27FC236}">
                <a16:creationId xmlns:a16="http://schemas.microsoft.com/office/drawing/2014/main" id="{52130800-D63A-3843-B550-B3C820A89816}"/>
              </a:ext>
            </a:extLst>
          </p:cNvPr>
          <p:cNvCxnSpPr>
            <a:cxnSpLocks/>
          </p:cNvCxnSpPr>
          <p:nvPr/>
        </p:nvCxnSpPr>
        <p:spPr>
          <a:xfrm>
            <a:off x="4253915"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37" name="Rectangle 36">
            <a:extLst>
              <a:ext uri="{FF2B5EF4-FFF2-40B4-BE49-F238E27FC236}">
                <a16:creationId xmlns:a16="http://schemas.microsoft.com/office/drawing/2014/main" id="{0C98384D-7BB5-5C48-A5ED-327B4184534B}"/>
              </a:ext>
            </a:extLst>
          </p:cNvPr>
          <p:cNvSpPr/>
          <p:nvPr/>
        </p:nvSpPr>
        <p:spPr>
          <a:xfrm>
            <a:off x="775949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48" name="Straight Connector 47">
            <a:extLst>
              <a:ext uri="{FF2B5EF4-FFF2-40B4-BE49-F238E27FC236}">
                <a16:creationId xmlns:a16="http://schemas.microsoft.com/office/drawing/2014/main" id="{DE9F925F-0CBA-BF4C-9DFE-2CF31B40A496}"/>
              </a:ext>
            </a:extLst>
          </p:cNvPr>
          <p:cNvCxnSpPr>
            <a:cxnSpLocks/>
          </p:cNvCxnSpPr>
          <p:nvPr/>
        </p:nvCxnSpPr>
        <p:spPr>
          <a:xfrm>
            <a:off x="775949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50" name="Text Placeholder 20">
            <a:extLst>
              <a:ext uri="{FF2B5EF4-FFF2-40B4-BE49-F238E27FC236}">
                <a16:creationId xmlns:a16="http://schemas.microsoft.com/office/drawing/2014/main" id="{0AB8628E-6620-874B-85B8-393DA4676167}"/>
              </a:ext>
            </a:extLst>
          </p:cNvPr>
          <p:cNvSpPr>
            <a:spLocks noGrp="1"/>
          </p:cNvSpPr>
          <p:nvPr>
            <p:ph type="body" sz="quarter" idx="19" hasCustomPrompt="1"/>
          </p:nvPr>
        </p:nvSpPr>
        <p:spPr>
          <a:xfrm>
            <a:off x="916646" y="3179823"/>
            <a:ext cx="2774041" cy="2372109"/>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9" name="Text Placeholder 20">
            <a:extLst>
              <a:ext uri="{FF2B5EF4-FFF2-40B4-BE49-F238E27FC236}">
                <a16:creationId xmlns:a16="http://schemas.microsoft.com/office/drawing/2014/main" id="{A56B007D-AE67-314F-AB2F-B2CB4787DDFB}"/>
              </a:ext>
            </a:extLst>
          </p:cNvPr>
          <p:cNvSpPr>
            <a:spLocks noGrp="1"/>
          </p:cNvSpPr>
          <p:nvPr>
            <p:ph type="body" sz="quarter" idx="20" hasCustomPrompt="1"/>
          </p:nvPr>
        </p:nvSpPr>
        <p:spPr>
          <a:xfrm>
            <a:off x="4450894" y="3185748"/>
            <a:ext cx="2774041" cy="2372109"/>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60" name="Text Placeholder 20">
            <a:extLst>
              <a:ext uri="{FF2B5EF4-FFF2-40B4-BE49-F238E27FC236}">
                <a16:creationId xmlns:a16="http://schemas.microsoft.com/office/drawing/2014/main" id="{8F5D6E2F-7511-1C4E-BCEA-BE59A10E6B55}"/>
              </a:ext>
            </a:extLst>
          </p:cNvPr>
          <p:cNvSpPr>
            <a:spLocks noGrp="1"/>
          </p:cNvSpPr>
          <p:nvPr>
            <p:ph type="body" sz="quarter" idx="21" hasCustomPrompt="1"/>
          </p:nvPr>
        </p:nvSpPr>
        <p:spPr>
          <a:xfrm>
            <a:off x="7956476" y="3195932"/>
            <a:ext cx="2774041" cy="2372109"/>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ext Placeholder 20">
            <a:extLst>
              <a:ext uri="{FF2B5EF4-FFF2-40B4-BE49-F238E27FC236}">
                <a16:creationId xmlns:a16="http://schemas.microsoft.com/office/drawing/2014/main" id="{1CA6145D-0C72-F541-BE9A-355F095B9528}"/>
              </a:ext>
            </a:extLst>
          </p:cNvPr>
          <p:cNvSpPr>
            <a:spLocks noGrp="1"/>
          </p:cNvSpPr>
          <p:nvPr>
            <p:ph type="body" sz="quarter" idx="22" hasCustomPrompt="1"/>
          </p:nvPr>
        </p:nvSpPr>
        <p:spPr>
          <a:xfrm>
            <a:off x="916646" y="2278410"/>
            <a:ext cx="277404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9" name="Text Placeholder 20">
            <a:extLst>
              <a:ext uri="{FF2B5EF4-FFF2-40B4-BE49-F238E27FC236}">
                <a16:creationId xmlns:a16="http://schemas.microsoft.com/office/drawing/2014/main" id="{CD8BDA50-ABD7-723D-FFC8-3A1EF3BE0050}"/>
              </a:ext>
            </a:extLst>
          </p:cNvPr>
          <p:cNvSpPr>
            <a:spLocks noGrp="1"/>
          </p:cNvSpPr>
          <p:nvPr>
            <p:ph type="body" sz="quarter" idx="23" hasCustomPrompt="1"/>
          </p:nvPr>
        </p:nvSpPr>
        <p:spPr>
          <a:xfrm>
            <a:off x="4450894" y="2284335"/>
            <a:ext cx="277404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20" name="Text Placeholder 20">
            <a:extLst>
              <a:ext uri="{FF2B5EF4-FFF2-40B4-BE49-F238E27FC236}">
                <a16:creationId xmlns:a16="http://schemas.microsoft.com/office/drawing/2014/main" id="{A675B563-EEF3-5077-3650-299FDCF523BE}"/>
              </a:ext>
            </a:extLst>
          </p:cNvPr>
          <p:cNvSpPr>
            <a:spLocks noGrp="1"/>
          </p:cNvSpPr>
          <p:nvPr>
            <p:ph type="body" sz="quarter" idx="24" hasCustomPrompt="1"/>
          </p:nvPr>
        </p:nvSpPr>
        <p:spPr>
          <a:xfrm>
            <a:off x="7956476" y="2294519"/>
            <a:ext cx="277404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21" name="Title 1">
            <a:extLst>
              <a:ext uri="{FF2B5EF4-FFF2-40B4-BE49-F238E27FC236}">
                <a16:creationId xmlns:a16="http://schemas.microsoft.com/office/drawing/2014/main" id="{FBC1BB7D-600D-3086-600E-967C8E38E39A}"/>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4" name="Bilde 3">
            <a:extLst>
              <a:ext uri="{FF2B5EF4-FFF2-40B4-BE49-F238E27FC236}">
                <a16:creationId xmlns:a16="http://schemas.microsoft.com/office/drawing/2014/main" id="{9CD177BF-FF5D-5C7A-316D-6DDD63B3FFF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B26D9874-3CD2-94C0-D547-2A64FD3F17BF}"/>
              </a:ext>
            </a:extLst>
          </p:cNvPr>
          <p:cNvSpPr>
            <a:spLocks noGrp="1"/>
          </p:cNvSpPr>
          <p:nvPr>
            <p:ph type="dt" sz="half" idx="16"/>
          </p:nvPr>
        </p:nvSpPr>
        <p:spPr>
          <a:xfrm>
            <a:off x="2303627" y="6492875"/>
            <a:ext cx="528585" cy="365125"/>
          </a:xfrm>
        </p:spPr>
        <p:txBody>
          <a:bodyPr/>
          <a:lstStyle/>
          <a:p>
            <a:fld id="{16A3E675-F891-BC41-86A7-AC42E0EBA8C0}" type="datetime1">
              <a:rPr lang="nb-NO" smtClean="0"/>
              <a:t>20.08.2024</a:t>
            </a:fld>
            <a:endParaRPr lang="en-US"/>
          </a:p>
        </p:txBody>
      </p:sp>
      <p:sp>
        <p:nvSpPr>
          <p:cNvPr id="25" name="Footer Placeholder 3">
            <a:extLst>
              <a:ext uri="{FF2B5EF4-FFF2-40B4-BE49-F238E27FC236}">
                <a16:creationId xmlns:a16="http://schemas.microsoft.com/office/drawing/2014/main" id="{4D5AC9D7-1147-F331-F642-24F580EC7E33}"/>
              </a:ext>
            </a:extLst>
          </p:cNvPr>
          <p:cNvSpPr>
            <a:spLocks noGrp="1"/>
          </p:cNvSpPr>
          <p:nvPr>
            <p:ph type="ftr" sz="quarter" idx="17"/>
          </p:nvPr>
        </p:nvSpPr>
        <p:spPr>
          <a:xfrm>
            <a:off x="175116" y="6492875"/>
            <a:ext cx="2107096" cy="365125"/>
          </a:xfrm>
        </p:spPr>
        <p:txBody>
          <a:bodyPr/>
          <a:lstStyle/>
          <a:p>
            <a:r>
              <a:rPr lang="en-US"/>
              <a:t>© StrongPoint 2022</a:t>
            </a:r>
          </a:p>
        </p:txBody>
      </p:sp>
      <p:sp>
        <p:nvSpPr>
          <p:cNvPr id="27" name="Slide Number Placeholder 4">
            <a:extLst>
              <a:ext uri="{FF2B5EF4-FFF2-40B4-BE49-F238E27FC236}">
                <a16:creationId xmlns:a16="http://schemas.microsoft.com/office/drawing/2014/main" id="{EA107953-00EC-C977-6B85-65310C640CF0}"/>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42111582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userDrawn="1">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80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sp>
        <p:nvSpPr>
          <p:cNvPr id="16" name="Rectangle 15">
            <a:extLst>
              <a:ext uri="{FF2B5EF4-FFF2-40B4-BE49-F238E27FC236}">
                <a16:creationId xmlns:a16="http://schemas.microsoft.com/office/drawing/2014/main" id="{5A95CCCA-102E-EF68-04F2-04CF2EC0D71D}"/>
              </a:ext>
            </a:extLst>
          </p:cNvPr>
          <p:cNvSpPr/>
          <p:nvPr/>
        </p:nvSpPr>
        <p:spPr>
          <a:xfrm>
            <a:off x="731838" y="4768603"/>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3EE749C5-12C4-D619-3255-42F84C1B0073}"/>
              </a:ext>
            </a:extLst>
          </p:cNvPr>
          <p:cNvCxnSpPr>
            <a:cxnSpLocks/>
          </p:cNvCxnSpPr>
          <p:nvPr/>
        </p:nvCxnSpPr>
        <p:spPr>
          <a:xfrm>
            <a:off x="817639" y="4768603"/>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Text Placeholder 20">
            <a:extLst>
              <a:ext uri="{FF2B5EF4-FFF2-40B4-BE49-F238E27FC236}">
                <a16:creationId xmlns:a16="http://schemas.microsoft.com/office/drawing/2014/main" id="{2D990C2F-6E86-3D57-71A9-0EC247EF1E73}"/>
              </a:ext>
            </a:extLst>
          </p:cNvPr>
          <p:cNvSpPr>
            <a:spLocks noGrp="1"/>
          </p:cNvSpPr>
          <p:nvPr userDrawn="1">
            <p:ph type="body" sz="quarter" idx="13" hasCustomPrompt="1"/>
          </p:nvPr>
        </p:nvSpPr>
        <p:spPr>
          <a:xfrm>
            <a:off x="1033669" y="4832982"/>
            <a:ext cx="4765025"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20" name="Rectangle 19">
            <a:extLst>
              <a:ext uri="{FF2B5EF4-FFF2-40B4-BE49-F238E27FC236}">
                <a16:creationId xmlns:a16="http://schemas.microsoft.com/office/drawing/2014/main" id="{9D1217C1-C2C0-3651-3A4C-AD62443C809C}"/>
              </a:ext>
            </a:extLst>
          </p:cNvPr>
          <p:cNvSpPr/>
          <p:nvPr/>
        </p:nvSpPr>
        <p:spPr>
          <a:xfrm>
            <a:off x="731838" y="3575292"/>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E77A3BA5-0BF4-57C8-4CDA-B3213523080F}"/>
              </a:ext>
            </a:extLst>
          </p:cNvPr>
          <p:cNvCxnSpPr>
            <a:cxnSpLocks/>
          </p:cNvCxnSpPr>
          <p:nvPr/>
        </p:nvCxnSpPr>
        <p:spPr>
          <a:xfrm>
            <a:off x="817639" y="3575292"/>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3A29BEAE-EEB8-A485-0568-1CCF8FA3E2BC}"/>
              </a:ext>
            </a:extLst>
          </p:cNvPr>
          <p:cNvSpPr/>
          <p:nvPr/>
        </p:nvSpPr>
        <p:spPr>
          <a:xfrm>
            <a:off x="731838" y="2381981"/>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BF79195B-E970-3457-F0DB-6DE3AB238E3E}"/>
              </a:ext>
            </a:extLst>
          </p:cNvPr>
          <p:cNvCxnSpPr>
            <a:cxnSpLocks/>
          </p:cNvCxnSpPr>
          <p:nvPr/>
        </p:nvCxnSpPr>
        <p:spPr>
          <a:xfrm>
            <a:off x="817639" y="2381981"/>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46450FDC-9A98-3624-3A28-C4C680E51476}"/>
              </a:ext>
            </a:extLst>
          </p:cNvPr>
          <p:cNvSpPr>
            <a:spLocks noGrp="1"/>
          </p:cNvSpPr>
          <p:nvPr userDrawn="1">
            <p:ph type="body" sz="quarter" idx="14" hasCustomPrompt="1"/>
          </p:nvPr>
        </p:nvSpPr>
        <p:spPr>
          <a:xfrm>
            <a:off x="1033669" y="3628206"/>
            <a:ext cx="4765025"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6" name="Text Placeholder 20">
            <a:extLst>
              <a:ext uri="{FF2B5EF4-FFF2-40B4-BE49-F238E27FC236}">
                <a16:creationId xmlns:a16="http://schemas.microsoft.com/office/drawing/2014/main" id="{49CBE21D-FBDF-140E-6D35-005ADF870536}"/>
              </a:ext>
            </a:extLst>
          </p:cNvPr>
          <p:cNvSpPr>
            <a:spLocks noGrp="1"/>
          </p:cNvSpPr>
          <p:nvPr userDrawn="1">
            <p:ph type="body" sz="quarter" idx="15" hasCustomPrompt="1"/>
          </p:nvPr>
        </p:nvSpPr>
        <p:spPr>
          <a:xfrm>
            <a:off x="1033669" y="2458235"/>
            <a:ext cx="4765025"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25" name="Bilde 3">
            <a:extLst>
              <a:ext uri="{FF2B5EF4-FFF2-40B4-BE49-F238E27FC236}">
                <a16:creationId xmlns:a16="http://schemas.microsoft.com/office/drawing/2014/main" id="{424BDAF4-D422-3AC5-47B1-4F05D60BB9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70BDCB77-5919-9FD6-02AD-705B6BAD4FF3}"/>
              </a:ext>
            </a:extLst>
          </p:cNvPr>
          <p:cNvSpPr>
            <a:spLocks noGrp="1"/>
          </p:cNvSpPr>
          <p:nvPr userDrawn="1">
            <p:ph type="dt" sz="half" idx="16"/>
          </p:nvPr>
        </p:nvSpPr>
        <p:spPr>
          <a:xfrm>
            <a:off x="2303627" y="6492875"/>
            <a:ext cx="528585" cy="365125"/>
          </a:xfrm>
        </p:spPr>
        <p:txBody>
          <a:bodyPr/>
          <a:lstStyle/>
          <a:p>
            <a:fld id="{7CCF9775-665F-7C4F-8C2C-36E2CBAA3CD1}" type="datetime1">
              <a:rPr lang="nb-NO" smtClean="0"/>
              <a:t>20.08.2024</a:t>
            </a:fld>
            <a:endParaRPr lang="en-US"/>
          </a:p>
        </p:txBody>
      </p:sp>
      <p:sp>
        <p:nvSpPr>
          <p:cNvPr id="26" name="Footer Placeholder 3">
            <a:extLst>
              <a:ext uri="{FF2B5EF4-FFF2-40B4-BE49-F238E27FC236}">
                <a16:creationId xmlns:a16="http://schemas.microsoft.com/office/drawing/2014/main" id="{3BE94EF0-077E-7A72-B08A-C1C403280FDF}"/>
              </a:ext>
            </a:extLst>
          </p:cNvPr>
          <p:cNvSpPr>
            <a:spLocks noGrp="1"/>
          </p:cNvSpPr>
          <p:nvPr userDrawn="1">
            <p:ph type="ftr" sz="quarter" idx="17"/>
          </p:nvPr>
        </p:nvSpPr>
        <p:spPr>
          <a:xfrm>
            <a:off x="175116" y="6492875"/>
            <a:ext cx="2107096" cy="365125"/>
          </a:xfrm>
        </p:spPr>
        <p:txBody>
          <a:bodyPr/>
          <a:lstStyle/>
          <a:p>
            <a:r>
              <a:rPr lang="en-US"/>
              <a:t>© StrongPoint 2022. All rights reserved.</a:t>
            </a:r>
          </a:p>
        </p:txBody>
      </p:sp>
      <p:sp>
        <p:nvSpPr>
          <p:cNvPr id="27" name="Slide Number Placeholder 4">
            <a:extLst>
              <a:ext uri="{FF2B5EF4-FFF2-40B4-BE49-F238E27FC236}">
                <a16:creationId xmlns:a16="http://schemas.microsoft.com/office/drawing/2014/main" id="{30D922FC-A49B-FD69-6391-505A8FE74E59}"/>
              </a:ext>
            </a:extLst>
          </p:cNvPr>
          <p:cNvSpPr>
            <a:spLocks noGrp="1"/>
          </p:cNvSpPr>
          <p:nvPr userDrawn="1">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8784637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79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grpSp>
        <p:nvGrpSpPr>
          <p:cNvPr id="25" name="Group 24">
            <a:extLst>
              <a:ext uri="{FF2B5EF4-FFF2-40B4-BE49-F238E27FC236}">
                <a16:creationId xmlns:a16="http://schemas.microsoft.com/office/drawing/2014/main" id="{37A582FD-82EE-E788-AF1A-D5B8F27F4843}"/>
              </a:ext>
            </a:extLst>
          </p:cNvPr>
          <p:cNvGrpSpPr/>
          <p:nvPr userDrawn="1"/>
        </p:nvGrpSpPr>
        <p:grpSpPr>
          <a:xfrm>
            <a:off x="731838" y="2360372"/>
            <a:ext cx="5202388" cy="756000"/>
            <a:chOff x="558332" y="2312872"/>
            <a:chExt cx="5202388" cy="756000"/>
          </a:xfrm>
        </p:grpSpPr>
        <p:sp>
          <p:nvSpPr>
            <p:cNvPr id="26" name="Rectangle 25">
              <a:extLst>
                <a:ext uri="{FF2B5EF4-FFF2-40B4-BE49-F238E27FC236}">
                  <a16:creationId xmlns:a16="http://schemas.microsoft.com/office/drawing/2014/main" id="{E366F876-8570-297F-035B-0DE6C6600DEB}"/>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E1B9C562-3D2C-2F2B-9171-1A792DDF93D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9" name="Text Placeholder 20">
            <a:extLst>
              <a:ext uri="{FF2B5EF4-FFF2-40B4-BE49-F238E27FC236}">
                <a16:creationId xmlns:a16="http://schemas.microsoft.com/office/drawing/2014/main" id="{E449B1A2-F732-EF88-13A4-8EDA8436E445}"/>
              </a:ext>
            </a:extLst>
          </p:cNvPr>
          <p:cNvSpPr>
            <a:spLocks noGrp="1"/>
          </p:cNvSpPr>
          <p:nvPr>
            <p:ph type="body" sz="quarter" idx="10" hasCustomPrompt="1"/>
          </p:nvPr>
        </p:nvSpPr>
        <p:spPr>
          <a:xfrm>
            <a:off x="817639" y="2449447"/>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30" name="Group 29">
            <a:extLst>
              <a:ext uri="{FF2B5EF4-FFF2-40B4-BE49-F238E27FC236}">
                <a16:creationId xmlns:a16="http://schemas.microsoft.com/office/drawing/2014/main" id="{D6FCE257-7D18-875A-CD9E-90F3822B1E6E}"/>
              </a:ext>
            </a:extLst>
          </p:cNvPr>
          <p:cNvGrpSpPr/>
          <p:nvPr userDrawn="1"/>
        </p:nvGrpSpPr>
        <p:grpSpPr>
          <a:xfrm>
            <a:off x="731838" y="3246651"/>
            <a:ext cx="5202388" cy="756000"/>
            <a:chOff x="558332" y="2312872"/>
            <a:chExt cx="5202388" cy="756000"/>
          </a:xfrm>
        </p:grpSpPr>
        <p:sp>
          <p:nvSpPr>
            <p:cNvPr id="31" name="Rectangle 30">
              <a:extLst>
                <a:ext uri="{FF2B5EF4-FFF2-40B4-BE49-F238E27FC236}">
                  <a16:creationId xmlns:a16="http://schemas.microsoft.com/office/drawing/2014/main" id="{4F0F38EE-E67F-FBED-A126-C22FC09800EC}"/>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7F21480C-2573-EE0E-911E-11FF4E962E2D}"/>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2C4533ED-65E2-0C4A-E8A3-20EAC0CFC98F}"/>
              </a:ext>
            </a:extLst>
          </p:cNvPr>
          <p:cNvGrpSpPr/>
          <p:nvPr userDrawn="1"/>
        </p:nvGrpSpPr>
        <p:grpSpPr>
          <a:xfrm>
            <a:off x="731838" y="4132930"/>
            <a:ext cx="5202388" cy="756000"/>
            <a:chOff x="558332" y="2312872"/>
            <a:chExt cx="5202388" cy="756000"/>
          </a:xfrm>
        </p:grpSpPr>
        <p:sp>
          <p:nvSpPr>
            <p:cNvPr id="39" name="Rectangle 38">
              <a:extLst>
                <a:ext uri="{FF2B5EF4-FFF2-40B4-BE49-F238E27FC236}">
                  <a16:creationId xmlns:a16="http://schemas.microsoft.com/office/drawing/2014/main" id="{118BC62C-526B-BBEF-8DEC-5FD2D9E478AB}"/>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668DEA18-A608-B503-491A-179887B02603}"/>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C4291E4D-E220-C66B-2873-894507738DCE}"/>
              </a:ext>
            </a:extLst>
          </p:cNvPr>
          <p:cNvGrpSpPr/>
          <p:nvPr userDrawn="1"/>
        </p:nvGrpSpPr>
        <p:grpSpPr>
          <a:xfrm>
            <a:off x="731838" y="5019208"/>
            <a:ext cx="5202388" cy="756000"/>
            <a:chOff x="558332" y="2312872"/>
            <a:chExt cx="5202388" cy="756000"/>
          </a:xfrm>
        </p:grpSpPr>
        <p:sp>
          <p:nvSpPr>
            <p:cNvPr id="42" name="Rectangle 41">
              <a:extLst>
                <a:ext uri="{FF2B5EF4-FFF2-40B4-BE49-F238E27FC236}">
                  <a16:creationId xmlns:a16="http://schemas.microsoft.com/office/drawing/2014/main" id="{0D17DF68-02BE-0BBD-A1D3-2F8300DF1C12}"/>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3" name="Straight Connector 42">
              <a:extLst>
                <a:ext uri="{FF2B5EF4-FFF2-40B4-BE49-F238E27FC236}">
                  <a16:creationId xmlns:a16="http://schemas.microsoft.com/office/drawing/2014/main" id="{9CD4D8F9-14BF-CA58-F7A4-FC3AC4163018}"/>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4" name="Text Placeholder 20">
            <a:extLst>
              <a:ext uri="{FF2B5EF4-FFF2-40B4-BE49-F238E27FC236}">
                <a16:creationId xmlns:a16="http://schemas.microsoft.com/office/drawing/2014/main" id="{5E08B787-23FB-55C5-00E1-BC2440525D70}"/>
              </a:ext>
            </a:extLst>
          </p:cNvPr>
          <p:cNvSpPr>
            <a:spLocks noGrp="1"/>
          </p:cNvSpPr>
          <p:nvPr>
            <p:ph type="body" sz="quarter" idx="12" hasCustomPrompt="1"/>
          </p:nvPr>
        </p:nvSpPr>
        <p:spPr>
          <a:xfrm>
            <a:off x="817639" y="3329886"/>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5" name="Text Placeholder 20">
            <a:extLst>
              <a:ext uri="{FF2B5EF4-FFF2-40B4-BE49-F238E27FC236}">
                <a16:creationId xmlns:a16="http://schemas.microsoft.com/office/drawing/2014/main" id="{CCF4088B-D715-137F-2F33-CC96578BAC53}"/>
              </a:ext>
            </a:extLst>
          </p:cNvPr>
          <p:cNvSpPr>
            <a:spLocks noGrp="1"/>
          </p:cNvSpPr>
          <p:nvPr>
            <p:ph type="body" sz="quarter" idx="13" hasCustomPrompt="1"/>
          </p:nvPr>
        </p:nvSpPr>
        <p:spPr>
          <a:xfrm>
            <a:off x="817639" y="4210325"/>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758A94F3-F9EE-52AA-4B7B-B799FEE37001}"/>
              </a:ext>
            </a:extLst>
          </p:cNvPr>
          <p:cNvSpPr>
            <a:spLocks noGrp="1"/>
          </p:cNvSpPr>
          <p:nvPr>
            <p:ph type="body" sz="quarter" idx="14" hasCustomPrompt="1"/>
          </p:nvPr>
        </p:nvSpPr>
        <p:spPr>
          <a:xfrm>
            <a:off x="817639" y="5090765"/>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32" name="Bilde 3">
            <a:extLst>
              <a:ext uri="{FF2B5EF4-FFF2-40B4-BE49-F238E27FC236}">
                <a16:creationId xmlns:a16="http://schemas.microsoft.com/office/drawing/2014/main" id="{98EEFC5F-05DB-267E-00D0-0824C7B567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3" name="Date Placeholder 2">
            <a:extLst>
              <a:ext uri="{FF2B5EF4-FFF2-40B4-BE49-F238E27FC236}">
                <a16:creationId xmlns:a16="http://schemas.microsoft.com/office/drawing/2014/main" id="{EAB28A51-C4C2-D978-4B27-3F1ABED430BF}"/>
              </a:ext>
            </a:extLst>
          </p:cNvPr>
          <p:cNvSpPr>
            <a:spLocks noGrp="1"/>
          </p:cNvSpPr>
          <p:nvPr>
            <p:ph type="dt" sz="half" idx="16"/>
          </p:nvPr>
        </p:nvSpPr>
        <p:spPr>
          <a:xfrm>
            <a:off x="2303627" y="6492875"/>
            <a:ext cx="528585" cy="365125"/>
          </a:xfrm>
        </p:spPr>
        <p:txBody>
          <a:bodyPr/>
          <a:lstStyle/>
          <a:p>
            <a:fld id="{241DED62-5E07-9E4B-A13E-58BAE0D3D84F}" type="datetime1">
              <a:rPr lang="nb-NO" smtClean="0"/>
              <a:t>20.08.2024</a:t>
            </a:fld>
            <a:endParaRPr lang="en-US"/>
          </a:p>
        </p:txBody>
      </p:sp>
      <p:sp>
        <p:nvSpPr>
          <p:cNvPr id="34" name="Footer Placeholder 3">
            <a:extLst>
              <a:ext uri="{FF2B5EF4-FFF2-40B4-BE49-F238E27FC236}">
                <a16:creationId xmlns:a16="http://schemas.microsoft.com/office/drawing/2014/main" id="{FD8A2425-82AA-A745-317B-1D51C4065284}"/>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35" name="Slide Number Placeholder 4">
            <a:extLst>
              <a:ext uri="{FF2B5EF4-FFF2-40B4-BE49-F238E27FC236}">
                <a16:creationId xmlns:a16="http://schemas.microsoft.com/office/drawing/2014/main" id="{19C9AE7C-9103-2E0C-B1C2-2F7C060BB04C}"/>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7422065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78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sp>
        <p:nvSpPr>
          <p:cNvPr id="26" name="Rectangle 25">
            <a:extLst>
              <a:ext uri="{FF2B5EF4-FFF2-40B4-BE49-F238E27FC236}">
                <a16:creationId xmlns:a16="http://schemas.microsoft.com/office/drawing/2014/main" id="{E366F876-8570-297F-035B-0DE6C6600DEB}"/>
              </a:ext>
            </a:extLst>
          </p:cNvPr>
          <p:cNvSpPr/>
          <p:nvPr/>
        </p:nvSpPr>
        <p:spPr>
          <a:xfrm>
            <a:off x="731838" y="23603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E1B9C562-3D2C-2F2B-9171-1A792DDF93DF}"/>
              </a:ext>
            </a:extLst>
          </p:cNvPr>
          <p:cNvCxnSpPr>
            <a:cxnSpLocks/>
          </p:cNvCxnSpPr>
          <p:nvPr/>
        </p:nvCxnSpPr>
        <p:spPr>
          <a:xfrm>
            <a:off x="827256" y="2360372"/>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Text Placeholder 20">
            <a:extLst>
              <a:ext uri="{FF2B5EF4-FFF2-40B4-BE49-F238E27FC236}">
                <a16:creationId xmlns:a16="http://schemas.microsoft.com/office/drawing/2014/main" id="{E449B1A2-F732-EF88-13A4-8EDA8436E445}"/>
              </a:ext>
            </a:extLst>
          </p:cNvPr>
          <p:cNvSpPr>
            <a:spLocks noGrp="1"/>
          </p:cNvSpPr>
          <p:nvPr userDrawn="1">
            <p:ph type="body" sz="quarter" idx="10" hasCustomPrompt="1"/>
          </p:nvPr>
        </p:nvSpPr>
        <p:spPr>
          <a:xfrm>
            <a:off x="1009815" y="2449447"/>
            <a:ext cx="478887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1" name="Rectangle 30">
            <a:extLst>
              <a:ext uri="{FF2B5EF4-FFF2-40B4-BE49-F238E27FC236}">
                <a16:creationId xmlns:a16="http://schemas.microsoft.com/office/drawing/2014/main" id="{4F0F38EE-E67F-FBED-A126-C22FC09800EC}"/>
              </a:ext>
            </a:extLst>
          </p:cNvPr>
          <p:cNvSpPr/>
          <p:nvPr/>
        </p:nvSpPr>
        <p:spPr>
          <a:xfrm>
            <a:off x="731838" y="3246651"/>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7F21480C-2573-EE0E-911E-11FF4E962E2D}"/>
              </a:ext>
            </a:extLst>
          </p:cNvPr>
          <p:cNvCxnSpPr>
            <a:cxnSpLocks/>
          </p:cNvCxnSpPr>
          <p:nvPr/>
        </p:nvCxnSpPr>
        <p:spPr>
          <a:xfrm>
            <a:off x="827256" y="3246651"/>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118BC62C-526B-BBEF-8DEC-5FD2D9E478AB}"/>
              </a:ext>
            </a:extLst>
          </p:cNvPr>
          <p:cNvSpPr/>
          <p:nvPr/>
        </p:nvSpPr>
        <p:spPr>
          <a:xfrm>
            <a:off x="731838" y="4132930"/>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668DEA18-A608-B503-491A-179887B02603}"/>
              </a:ext>
            </a:extLst>
          </p:cNvPr>
          <p:cNvCxnSpPr>
            <a:cxnSpLocks/>
          </p:cNvCxnSpPr>
          <p:nvPr/>
        </p:nvCxnSpPr>
        <p:spPr>
          <a:xfrm>
            <a:off x="827256" y="4132930"/>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0D17DF68-02BE-0BBD-A1D3-2F8300DF1C12}"/>
              </a:ext>
            </a:extLst>
          </p:cNvPr>
          <p:cNvSpPr/>
          <p:nvPr/>
        </p:nvSpPr>
        <p:spPr>
          <a:xfrm>
            <a:off x="731838" y="5019208"/>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3" name="Straight Connector 42">
            <a:extLst>
              <a:ext uri="{FF2B5EF4-FFF2-40B4-BE49-F238E27FC236}">
                <a16:creationId xmlns:a16="http://schemas.microsoft.com/office/drawing/2014/main" id="{9CD4D8F9-14BF-CA58-F7A4-FC3AC4163018}"/>
              </a:ext>
            </a:extLst>
          </p:cNvPr>
          <p:cNvCxnSpPr>
            <a:cxnSpLocks/>
          </p:cNvCxnSpPr>
          <p:nvPr/>
        </p:nvCxnSpPr>
        <p:spPr>
          <a:xfrm>
            <a:off x="827256" y="5019208"/>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Text Placeholder 20">
            <a:extLst>
              <a:ext uri="{FF2B5EF4-FFF2-40B4-BE49-F238E27FC236}">
                <a16:creationId xmlns:a16="http://schemas.microsoft.com/office/drawing/2014/main" id="{5E08B787-23FB-55C5-00E1-BC2440525D70}"/>
              </a:ext>
            </a:extLst>
          </p:cNvPr>
          <p:cNvSpPr>
            <a:spLocks noGrp="1"/>
          </p:cNvSpPr>
          <p:nvPr userDrawn="1">
            <p:ph type="body" sz="quarter" idx="12" hasCustomPrompt="1"/>
          </p:nvPr>
        </p:nvSpPr>
        <p:spPr>
          <a:xfrm>
            <a:off x="1009815" y="3329886"/>
            <a:ext cx="478887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5" name="Text Placeholder 20">
            <a:extLst>
              <a:ext uri="{FF2B5EF4-FFF2-40B4-BE49-F238E27FC236}">
                <a16:creationId xmlns:a16="http://schemas.microsoft.com/office/drawing/2014/main" id="{CCF4088B-D715-137F-2F33-CC96578BAC53}"/>
              </a:ext>
            </a:extLst>
          </p:cNvPr>
          <p:cNvSpPr>
            <a:spLocks noGrp="1"/>
          </p:cNvSpPr>
          <p:nvPr userDrawn="1">
            <p:ph type="body" sz="quarter" idx="13" hasCustomPrompt="1"/>
          </p:nvPr>
        </p:nvSpPr>
        <p:spPr>
          <a:xfrm>
            <a:off x="1009815" y="4210325"/>
            <a:ext cx="478887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758A94F3-F9EE-52AA-4B7B-B799FEE37001}"/>
              </a:ext>
            </a:extLst>
          </p:cNvPr>
          <p:cNvSpPr>
            <a:spLocks noGrp="1"/>
          </p:cNvSpPr>
          <p:nvPr userDrawn="1">
            <p:ph type="body" sz="quarter" idx="14" hasCustomPrompt="1"/>
          </p:nvPr>
        </p:nvSpPr>
        <p:spPr>
          <a:xfrm>
            <a:off x="1009815" y="5090765"/>
            <a:ext cx="478887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32" name="Bilde 3">
            <a:extLst>
              <a:ext uri="{FF2B5EF4-FFF2-40B4-BE49-F238E27FC236}">
                <a16:creationId xmlns:a16="http://schemas.microsoft.com/office/drawing/2014/main" id="{98EEFC5F-05DB-267E-00D0-0824C7B567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3" name="Date Placeholder 2">
            <a:extLst>
              <a:ext uri="{FF2B5EF4-FFF2-40B4-BE49-F238E27FC236}">
                <a16:creationId xmlns:a16="http://schemas.microsoft.com/office/drawing/2014/main" id="{EAB28A51-C4C2-D978-4B27-3F1ABED430BF}"/>
              </a:ext>
            </a:extLst>
          </p:cNvPr>
          <p:cNvSpPr>
            <a:spLocks noGrp="1"/>
          </p:cNvSpPr>
          <p:nvPr userDrawn="1">
            <p:ph type="dt" sz="half" idx="16"/>
          </p:nvPr>
        </p:nvSpPr>
        <p:spPr>
          <a:xfrm>
            <a:off x="2303627" y="6492875"/>
            <a:ext cx="528585" cy="365125"/>
          </a:xfrm>
        </p:spPr>
        <p:txBody>
          <a:bodyPr/>
          <a:lstStyle/>
          <a:p>
            <a:fld id="{8D7FD13E-4F38-8B4A-9D2A-03305D85591C}" type="datetime1">
              <a:rPr lang="nb-NO" smtClean="0"/>
              <a:t>20.08.2024</a:t>
            </a:fld>
            <a:endParaRPr lang="en-US"/>
          </a:p>
        </p:txBody>
      </p:sp>
      <p:sp>
        <p:nvSpPr>
          <p:cNvPr id="34" name="Footer Placeholder 3">
            <a:extLst>
              <a:ext uri="{FF2B5EF4-FFF2-40B4-BE49-F238E27FC236}">
                <a16:creationId xmlns:a16="http://schemas.microsoft.com/office/drawing/2014/main" id="{FD8A2425-82AA-A745-317B-1D51C4065284}"/>
              </a:ext>
            </a:extLst>
          </p:cNvPr>
          <p:cNvSpPr>
            <a:spLocks noGrp="1"/>
          </p:cNvSpPr>
          <p:nvPr userDrawn="1">
            <p:ph type="ftr" sz="quarter" idx="17"/>
          </p:nvPr>
        </p:nvSpPr>
        <p:spPr>
          <a:xfrm>
            <a:off x="175116" y="6492875"/>
            <a:ext cx="2107096" cy="365125"/>
          </a:xfrm>
        </p:spPr>
        <p:txBody>
          <a:bodyPr/>
          <a:lstStyle/>
          <a:p>
            <a:r>
              <a:rPr lang="en-US"/>
              <a:t>© StrongPoint 2022. All rights reserved.</a:t>
            </a:r>
          </a:p>
        </p:txBody>
      </p:sp>
      <p:sp>
        <p:nvSpPr>
          <p:cNvPr id="35" name="Slide Number Placeholder 4">
            <a:extLst>
              <a:ext uri="{FF2B5EF4-FFF2-40B4-BE49-F238E27FC236}">
                <a16:creationId xmlns:a16="http://schemas.microsoft.com/office/drawing/2014/main" id="{19C9AE7C-9103-2E0C-B1C2-2F7C060BB04C}"/>
              </a:ext>
            </a:extLst>
          </p:cNvPr>
          <p:cNvSpPr>
            <a:spLocks noGrp="1"/>
          </p:cNvSpPr>
          <p:nvPr userDrawn="1">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5469202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77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504683"/>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grpSp>
        <p:nvGrpSpPr>
          <p:cNvPr id="32" name="Group 31">
            <a:extLst>
              <a:ext uri="{FF2B5EF4-FFF2-40B4-BE49-F238E27FC236}">
                <a16:creationId xmlns:a16="http://schemas.microsoft.com/office/drawing/2014/main" id="{9E4B393B-5C8D-DB20-7965-7736D1FD5F57}"/>
              </a:ext>
            </a:extLst>
          </p:cNvPr>
          <p:cNvGrpSpPr/>
          <p:nvPr userDrawn="1"/>
        </p:nvGrpSpPr>
        <p:grpSpPr>
          <a:xfrm>
            <a:off x="734070" y="2072928"/>
            <a:ext cx="5202388" cy="756000"/>
            <a:chOff x="558332" y="2312872"/>
            <a:chExt cx="5202388" cy="756000"/>
          </a:xfrm>
        </p:grpSpPr>
        <p:sp>
          <p:nvSpPr>
            <p:cNvPr id="33" name="Rectangle 32">
              <a:extLst>
                <a:ext uri="{FF2B5EF4-FFF2-40B4-BE49-F238E27FC236}">
                  <a16:creationId xmlns:a16="http://schemas.microsoft.com/office/drawing/2014/main" id="{0DA3DEA2-7333-4492-1044-D7EB7386727A}"/>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7F35A7AB-6104-5231-735C-5AE5EF809F71}"/>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5" name="Text Placeholder 20">
            <a:extLst>
              <a:ext uri="{FF2B5EF4-FFF2-40B4-BE49-F238E27FC236}">
                <a16:creationId xmlns:a16="http://schemas.microsoft.com/office/drawing/2014/main" id="{5A2AB5B1-2ECF-5F24-EF62-2BEC48D11679}"/>
              </a:ext>
            </a:extLst>
          </p:cNvPr>
          <p:cNvSpPr>
            <a:spLocks noGrp="1"/>
          </p:cNvSpPr>
          <p:nvPr>
            <p:ph type="body" sz="quarter" idx="10" hasCustomPrompt="1"/>
          </p:nvPr>
        </p:nvSpPr>
        <p:spPr>
          <a:xfrm>
            <a:off x="819871" y="2162003"/>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36" name="Group 35">
            <a:extLst>
              <a:ext uri="{FF2B5EF4-FFF2-40B4-BE49-F238E27FC236}">
                <a16:creationId xmlns:a16="http://schemas.microsoft.com/office/drawing/2014/main" id="{BDB68336-1BE8-7ED3-11EB-37C4F5570633}"/>
              </a:ext>
            </a:extLst>
          </p:cNvPr>
          <p:cNvGrpSpPr/>
          <p:nvPr userDrawn="1"/>
        </p:nvGrpSpPr>
        <p:grpSpPr>
          <a:xfrm>
            <a:off x="734070" y="2915116"/>
            <a:ext cx="5202388" cy="756000"/>
            <a:chOff x="558332" y="2312872"/>
            <a:chExt cx="5202388" cy="756000"/>
          </a:xfrm>
        </p:grpSpPr>
        <p:sp>
          <p:nvSpPr>
            <p:cNvPr id="47" name="Rectangle 46">
              <a:extLst>
                <a:ext uri="{FF2B5EF4-FFF2-40B4-BE49-F238E27FC236}">
                  <a16:creationId xmlns:a16="http://schemas.microsoft.com/office/drawing/2014/main" id="{6F9DD9A6-9D82-99B8-94E5-51FB18A35AFF}"/>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8" name="Straight Connector 47">
              <a:extLst>
                <a:ext uri="{FF2B5EF4-FFF2-40B4-BE49-F238E27FC236}">
                  <a16:creationId xmlns:a16="http://schemas.microsoft.com/office/drawing/2014/main" id="{6BAF944F-5074-63E2-A5E3-2B5F0E5C3D07}"/>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E2E53277-CE50-28C3-C929-98DE8F5E4205}"/>
              </a:ext>
            </a:extLst>
          </p:cNvPr>
          <p:cNvGrpSpPr/>
          <p:nvPr userDrawn="1"/>
        </p:nvGrpSpPr>
        <p:grpSpPr>
          <a:xfrm>
            <a:off x="734070" y="3757304"/>
            <a:ext cx="5202388" cy="756000"/>
            <a:chOff x="558332" y="2312872"/>
            <a:chExt cx="5202388" cy="756000"/>
          </a:xfrm>
        </p:grpSpPr>
        <p:sp>
          <p:nvSpPr>
            <p:cNvPr id="50" name="Rectangle 49">
              <a:extLst>
                <a:ext uri="{FF2B5EF4-FFF2-40B4-BE49-F238E27FC236}">
                  <a16:creationId xmlns:a16="http://schemas.microsoft.com/office/drawing/2014/main" id="{18CC2C82-EAA6-63E4-031C-FC42706250B7}"/>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891DA805-F299-AE45-6235-E1100FC431C5}"/>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CB76BFD8-9678-F7C0-1053-6572ACA36044}"/>
              </a:ext>
            </a:extLst>
          </p:cNvPr>
          <p:cNvGrpSpPr/>
          <p:nvPr userDrawn="1"/>
        </p:nvGrpSpPr>
        <p:grpSpPr>
          <a:xfrm>
            <a:off x="734070" y="4599492"/>
            <a:ext cx="5202388" cy="756000"/>
            <a:chOff x="558332" y="2312872"/>
            <a:chExt cx="5202388" cy="756000"/>
          </a:xfrm>
        </p:grpSpPr>
        <p:sp>
          <p:nvSpPr>
            <p:cNvPr id="53" name="Rectangle 52">
              <a:extLst>
                <a:ext uri="{FF2B5EF4-FFF2-40B4-BE49-F238E27FC236}">
                  <a16:creationId xmlns:a16="http://schemas.microsoft.com/office/drawing/2014/main" id="{83E2BD2D-2C57-54CC-2ECB-DDF1AEF80DCB}"/>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E1648AD5-C028-FBF1-597A-79A21158DE93}"/>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55" name="Text Placeholder 20">
            <a:extLst>
              <a:ext uri="{FF2B5EF4-FFF2-40B4-BE49-F238E27FC236}">
                <a16:creationId xmlns:a16="http://schemas.microsoft.com/office/drawing/2014/main" id="{B1A0D399-AD63-C8F6-A79B-CA49BE109A06}"/>
              </a:ext>
            </a:extLst>
          </p:cNvPr>
          <p:cNvSpPr>
            <a:spLocks noGrp="1"/>
          </p:cNvSpPr>
          <p:nvPr>
            <p:ph type="body" sz="quarter" idx="12" hasCustomPrompt="1"/>
          </p:nvPr>
        </p:nvSpPr>
        <p:spPr>
          <a:xfrm>
            <a:off x="819871" y="3004191"/>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6" name="Text Placeholder 20">
            <a:extLst>
              <a:ext uri="{FF2B5EF4-FFF2-40B4-BE49-F238E27FC236}">
                <a16:creationId xmlns:a16="http://schemas.microsoft.com/office/drawing/2014/main" id="{CCC12247-8BAB-4AE4-DDFB-5CB8B7006906}"/>
              </a:ext>
            </a:extLst>
          </p:cNvPr>
          <p:cNvSpPr>
            <a:spLocks noGrp="1"/>
          </p:cNvSpPr>
          <p:nvPr>
            <p:ph type="body" sz="quarter" idx="13" hasCustomPrompt="1"/>
          </p:nvPr>
        </p:nvSpPr>
        <p:spPr>
          <a:xfrm>
            <a:off x="819871" y="3846379"/>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7" name="Text Placeholder 20">
            <a:extLst>
              <a:ext uri="{FF2B5EF4-FFF2-40B4-BE49-F238E27FC236}">
                <a16:creationId xmlns:a16="http://schemas.microsoft.com/office/drawing/2014/main" id="{2FEA113A-604B-5532-6772-443DEC02D830}"/>
              </a:ext>
            </a:extLst>
          </p:cNvPr>
          <p:cNvSpPr>
            <a:spLocks noGrp="1"/>
          </p:cNvSpPr>
          <p:nvPr>
            <p:ph type="body" sz="quarter" idx="14" hasCustomPrompt="1"/>
          </p:nvPr>
        </p:nvSpPr>
        <p:spPr>
          <a:xfrm>
            <a:off x="819871" y="4688567"/>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58" name="Group 57">
            <a:extLst>
              <a:ext uri="{FF2B5EF4-FFF2-40B4-BE49-F238E27FC236}">
                <a16:creationId xmlns:a16="http://schemas.microsoft.com/office/drawing/2014/main" id="{1749022F-2D24-3B7B-4935-CDF421E1AA27}"/>
              </a:ext>
            </a:extLst>
          </p:cNvPr>
          <p:cNvGrpSpPr/>
          <p:nvPr userDrawn="1"/>
        </p:nvGrpSpPr>
        <p:grpSpPr>
          <a:xfrm>
            <a:off x="752577" y="5441680"/>
            <a:ext cx="5202388" cy="756000"/>
            <a:chOff x="558332" y="2312872"/>
            <a:chExt cx="5202388" cy="756000"/>
          </a:xfrm>
        </p:grpSpPr>
        <p:sp>
          <p:nvSpPr>
            <p:cNvPr id="59" name="Rectangle 58">
              <a:extLst>
                <a:ext uri="{FF2B5EF4-FFF2-40B4-BE49-F238E27FC236}">
                  <a16:creationId xmlns:a16="http://schemas.microsoft.com/office/drawing/2014/main" id="{74C29AE8-19AA-C1C7-9021-ACCC5B30EBA8}"/>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0" name="Straight Connector 59">
              <a:extLst>
                <a:ext uri="{FF2B5EF4-FFF2-40B4-BE49-F238E27FC236}">
                  <a16:creationId xmlns:a16="http://schemas.microsoft.com/office/drawing/2014/main" id="{D1AF8B10-77B7-994C-26DA-98606625369C}"/>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61" name="Text Placeholder 20">
            <a:extLst>
              <a:ext uri="{FF2B5EF4-FFF2-40B4-BE49-F238E27FC236}">
                <a16:creationId xmlns:a16="http://schemas.microsoft.com/office/drawing/2014/main" id="{EBC6E672-A248-2ABD-D4D1-033D6C57FC5E}"/>
              </a:ext>
            </a:extLst>
          </p:cNvPr>
          <p:cNvSpPr>
            <a:spLocks noGrp="1"/>
          </p:cNvSpPr>
          <p:nvPr>
            <p:ph type="body" sz="quarter" idx="15" hasCustomPrompt="1"/>
          </p:nvPr>
        </p:nvSpPr>
        <p:spPr>
          <a:xfrm>
            <a:off x="838378" y="5530755"/>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27" name="Bilde 3">
            <a:extLst>
              <a:ext uri="{FF2B5EF4-FFF2-40B4-BE49-F238E27FC236}">
                <a16:creationId xmlns:a16="http://schemas.microsoft.com/office/drawing/2014/main" id="{A5B0FA5C-4366-EE3B-6258-1E103A7EB7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9" name="Date Placeholder 2">
            <a:extLst>
              <a:ext uri="{FF2B5EF4-FFF2-40B4-BE49-F238E27FC236}">
                <a16:creationId xmlns:a16="http://schemas.microsoft.com/office/drawing/2014/main" id="{52A88FDD-AA4C-DAEE-7C94-F7149BE52E2C}"/>
              </a:ext>
            </a:extLst>
          </p:cNvPr>
          <p:cNvSpPr>
            <a:spLocks noGrp="1"/>
          </p:cNvSpPr>
          <p:nvPr>
            <p:ph type="dt" sz="half" idx="16"/>
          </p:nvPr>
        </p:nvSpPr>
        <p:spPr>
          <a:xfrm>
            <a:off x="2303627" y="6492875"/>
            <a:ext cx="528585" cy="365125"/>
          </a:xfrm>
        </p:spPr>
        <p:txBody>
          <a:bodyPr/>
          <a:lstStyle/>
          <a:p>
            <a:fld id="{47545123-108E-7840-8F97-0D799CAD06D0}" type="datetime1">
              <a:rPr lang="nb-NO" smtClean="0"/>
              <a:t>20.08.2024</a:t>
            </a:fld>
            <a:endParaRPr lang="en-US"/>
          </a:p>
        </p:txBody>
      </p:sp>
      <p:sp>
        <p:nvSpPr>
          <p:cNvPr id="30" name="Footer Placeholder 3">
            <a:extLst>
              <a:ext uri="{FF2B5EF4-FFF2-40B4-BE49-F238E27FC236}">
                <a16:creationId xmlns:a16="http://schemas.microsoft.com/office/drawing/2014/main" id="{D2BFB3AC-A2B8-F5EF-B14F-1D7D4A7611CA}"/>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31" name="Slide Number Placeholder 4">
            <a:extLst>
              <a:ext uri="{FF2B5EF4-FFF2-40B4-BE49-F238E27FC236}">
                <a16:creationId xmlns:a16="http://schemas.microsoft.com/office/drawing/2014/main" id="{463286B1-D26D-3F1D-B5F5-8A0CF9299383}"/>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5864103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76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504683"/>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sp>
        <p:nvSpPr>
          <p:cNvPr id="33" name="Rectangle 32">
            <a:extLst>
              <a:ext uri="{FF2B5EF4-FFF2-40B4-BE49-F238E27FC236}">
                <a16:creationId xmlns:a16="http://schemas.microsoft.com/office/drawing/2014/main" id="{0DA3DEA2-7333-4492-1044-D7EB7386727A}"/>
              </a:ext>
            </a:extLst>
          </p:cNvPr>
          <p:cNvSpPr/>
          <p:nvPr/>
        </p:nvSpPr>
        <p:spPr>
          <a:xfrm>
            <a:off x="734070" y="2072928"/>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7F35A7AB-6104-5231-735C-5AE5EF809F71}"/>
              </a:ext>
            </a:extLst>
          </p:cNvPr>
          <p:cNvCxnSpPr>
            <a:cxnSpLocks/>
          </p:cNvCxnSpPr>
          <p:nvPr/>
        </p:nvCxnSpPr>
        <p:spPr>
          <a:xfrm>
            <a:off x="829487" y="2072928"/>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5A2AB5B1-2ECF-5F24-EF62-2BEC48D11679}"/>
              </a:ext>
            </a:extLst>
          </p:cNvPr>
          <p:cNvSpPr>
            <a:spLocks noGrp="1"/>
          </p:cNvSpPr>
          <p:nvPr userDrawn="1">
            <p:ph type="body" sz="quarter" idx="10" hasCustomPrompt="1"/>
          </p:nvPr>
        </p:nvSpPr>
        <p:spPr>
          <a:xfrm>
            <a:off x="983357" y="2162003"/>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7" name="Rectangle 46">
            <a:extLst>
              <a:ext uri="{FF2B5EF4-FFF2-40B4-BE49-F238E27FC236}">
                <a16:creationId xmlns:a16="http://schemas.microsoft.com/office/drawing/2014/main" id="{6F9DD9A6-9D82-99B8-94E5-51FB18A35AFF}"/>
              </a:ext>
            </a:extLst>
          </p:cNvPr>
          <p:cNvSpPr/>
          <p:nvPr/>
        </p:nvSpPr>
        <p:spPr>
          <a:xfrm>
            <a:off x="734070" y="2915116"/>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8" name="Straight Connector 47">
            <a:extLst>
              <a:ext uri="{FF2B5EF4-FFF2-40B4-BE49-F238E27FC236}">
                <a16:creationId xmlns:a16="http://schemas.microsoft.com/office/drawing/2014/main" id="{6BAF944F-5074-63E2-A5E3-2B5F0E5C3D07}"/>
              </a:ext>
            </a:extLst>
          </p:cNvPr>
          <p:cNvCxnSpPr>
            <a:cxnSpLocks/>
          </p:cNvCxnSpPr>
          <p:nvPr/>
        </p:nvCxnSpPr>
        <p:spPr>
          <a:xfrm>
            <a:off x="829487" y="2915116"/>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18CC2C82-EAA6-63E4-031C-FC42706250B7}"/>
              </a:ext>
            </a:extLst>
          </p:cNvPr>
          <p:cNvSpPr/>
          <p:nvPr/>
        </p:nvSpPr>
        <p:spPr>
          <a:xfrm>
            <a:off x="734070" y="3757304"/>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891DA805-F299-AE45-6235-E1100FC431C5}"/>
              </a:ext>
            </a:extLst>
          </p:cNvPr>
          <p:cNvCxnSpPr>
            <a:cxnSpLocks/>
          </p:cNvCxnSpPr>
          <p:nvPr/>
        </p:nvCxnSpPr>
        <p:spPr>
          <a:xfrm>
            <a:off x="829487" y="3757304"/>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3E2BD2D-2C57-54CC-2ECB-DDF1AEF80DCB}"/>
              </a:ext>
            </a:extLst>
          </p:cNvPr>
          <p:cNvSpPr/>
          <p:nvPr/>
        </p:nvSpPr>
        <p:spPr>
          <a:xfrm>
            <a:off x="734070" y="459949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E1648AD5-C028-FBF1-597A-79A21158DE93}"/>
              </a:ext>
            </a:extLst>
          </p:cNvPr>
          <p:cNvCxnSpPr>
            <a:cxnSpLocks/>
          </p:cNvCxnSpPr>
          <p:nvPr/>
        </p:nvCxnSpPr>
        <p:spPr>
          <a:xfrm>
            <a:off x="829487" y="4599492"/>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Text Placeholder 20">
            <a:extLst>
              <a:ext uri="{FF2B5EF4-FFF2-40B4-BE49-F238E27FC236}">
                <a16:creationId xmlns:a16="http://schemas.microsoft.com/office/drawing/2014/main" id="{B1A0D399-AD63-C8F6-A79B-CA49BE109A06}"/>
              </a:ext>
            </a:extLst>
          </p:cNvPr>
          <p:cNvSpPr>
            <a:spLocks noGrp="1"/>
          </p:cNvSpPr>
          <p:nvPr userDrawn="1">
            <p:ph type="body" sz="quarter" idx="12" hasCustomPrompt="1"/>
          </p:nvPr>
        </p:nvSpPr>
        <p:spPr>
          <a:xfrm>
            <a:off x="983357" y="3004191"/>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6" name="Text Placeholder 20">
            <a:extLst>
              <a:ext uri="{FF2B5EF4-FFF2-40B4-BE49-F238E27FC236}">
                <a16:creationId xmlns:a16="http://schemas.microsoft.com/office/drawing/2014/main" id="{CCC12247-8BAB-4AE4-DDFB-5CB8B7006906}"/>
              </a:ext>
            </a:extLst>
          </p:cNvPr>
          <p:cNvSpPr>
            <a:spLocks noGrp="1"/>
          </p:cNvSpPr>
          <p:nvPr userDrawn="1">
            <p:ph type="body" sz="quarter" idx="13" hasCustomPrompt="1"/>
          </p:nvPr>
        </p:nvSpPr>
        <p:spPr>
          <a:xfrm>
            <a:off x="983357" y="3846379"/>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7" name="Text Placeholder 20">
            <a:extLst>
              <a:ext uri="{FF2B5EF4-FFF2-40B4-BE49-F238E27FC236}">
                <a16:creationId xmlns:a16="http://schemas.microsoft.com/office/drawing/2014/main" id="{2FEA113A-604B-5532-6772-443DEC02D830}"/>
              </a:ext>
            </a:extLst>
          </p:cNvPr>
          <p:cNvSpPr>
            <a:spLocks noGrp="1"/>
          </p:cNvSpPr>
          <p:nvPr userDrawn="1">
            <p:ph type="body" sz="quarter" idx="14" hasCustomPrompt="1"/>
          </p:nvPr>
        </p:nvSpPr>
        <p:spPr>
          <a:xfrm>
            <a:off x="983357" y="4688567"/>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9" name="Rectangle 58">
            <a:extLst>
              <a:ext uri="{FF2B5EF4-FFF2-40B4-BE49-F238E27FC236}">
                <a16:creationId xmlns:a16="http://schemas.microsoft.com/office/drawing/2014/main" id="{74C29AE8-19AA-C1C7-9021-ACCC5B30EBA8}"/>
              </a:ext>
            </a:extLst>
          </p:cNvPr>
          <p:cNvSpPr/>
          <p:nvPr/>
        </p:nvSpPr>
        <p:spPr>
          <a:xfrm>
            <a:off x="752577" y="5441680"/>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0" name="Straight Connector 59">
            <a:extLst>
              <a:ext uri="{FF2B5EF4-FFF2-40B4-BE49-F238E27FC236}">
                <a16:creationId xmlns:a16="http://schemas.microsoft.com/office/drawing/2014/main" id="{D1AF8B10-77B7-994C-26DA-98606625369C}"/>
              </a:ext>
            </a:extLst>
          </p:cNvPr>
          <p:cNvCxnSpPr>
            <a:cxnSpLocks/>
          </p:cNvCxnSpPr>
          <p:nvPr/>
        </p:nvCxnSpPr>
        <p:spPr>
          <a:xfrm>
            <a:off x="847994" y="5441680"/>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Text Placeholder 20">
            <a:extLst>
              <a:ext uri="{FF2B5EF4-FFF2-40B4-BE49-F238E27FC236}">
                <a16:creationId xmlns:a16="http://schemas.microsoft.com/office/drawing/2014/main" id="{EBC6E672-A248-2ABD-D4D1-033D6C57FC5E}"/>
              </a:ext>
            </a:extLst>
          </p:cNvPr>
          <p:cNvSpPr>
            <a:spLocks noGrp="1"/>
          </p:cNvSpPr>
          <p:nvPr userDrawn="1">
            <p:ph type="body" sz="quarter" idx="15" hasCustomPrompt="1"/>
          </p:nvPr>
        </p:nvSpPr>
        <p:spPr>
          <a:xfrm>
            <a:off x="1001864" y="5530755"/>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27" name="Bilde 3">
            <a:extLst>
              <a:ext uri="{FF2B5EF4-FFF2-40B4-BE49-F238E27FC236}">
                <a16:creationId xmlns:a16="http://schemas.microsoft.com/office/drawing/2014/main" id="{A5B0FA5C-4366-EE3B-6258-1E103A7EB7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9" name="Date Placeholder 2">
            <a:extLst>
              <a:ext uri="{FF2B5EF4-FFF2-40B4-BE49-F238E27FC236}">
                <a16:creationId xmlns:a16="http://schemas.microsoft.com/office/drawing/2014/main" id="{52A88FDD-AA4C-DAEE-7C94-F7149BE52E2C}"/>
              </a:ext>
            </a:extLst>
          </p:cNvPr>
          <p:cNvSpPr>
            <a:spLocks noGrp="1"/>
          </p:cNvSpPr>
          <p:nvPr userDrawn="1">
            <p:ph type="dt" sz="half" idx="16"/>
          </p:nvPr>
        </p:nvSpPr>
        <p:spPr>
          <a:xfrm>
            <a:off x="2303627" y="6492875"/>
            <a:ext cx="528585" cy="365125"/>
          </a:xfrm>
        </p:spPr>
        <p:txBody>
          <a:bodyPr/>
          <a:lstStyle/>
          <a:p>
            <a:fld id="{EF62846D-3C60-164A-A1A7-FC77803E8843}" type="datetime1">
              <a:rPr lang="nb-NO" smtClean="0"/>
              <a:t>20.08.2024</a:t>
            </a:fld>
            <a:endParaRPr lang="en-US"/>
          </a:p>
        </p:txBody>
      </p:sp>
      <p:sp>
        <p:nvSpPr>
          <p:cNvPr id="30" name="Footer Placeholder 3">
            <a:extLst>
              <a:ext uri="{FF2B5EF4-FFF2-40B4-BE49-F238E27FC236}">
                <a16:creationId xmlns:a16="http://schemas.microsoft.com/office/drawing/2014/main" id="{D2BFB3AC-A2B8-F5EF-B14F-1D7D4A7611CA}"/>
              </a:ext>
            </a:extLst>
          </p:cNvPr>
          <p:cNvSpPr>
            <a:spLocks noGrp="1"/>
          </p:cNvSpPr>
          <p:nvPr userDrawn="1">
            <p:ph type="ftr" sz="quarter" idx="17"/>
          </p:nvPr>
        </p:nvSpPr>
        <p:spPr>
          <a:xfrm>
            <a:off x="175116" y="6492875"/>
            <a:ext cx="2107096" cy="365125"/>
          </a:xfrm>
        </p:spPr>
        <p:txBody>
          <a:bodyPr/>
          <a:lstStyle/>
          <a:p>
            <a:r>
              <a:rPr lang="en-US"/>
              <a:t>© StrongPoint 2022. All rights reserved.</a:t>
            </a:r>
          </a:p>
        </p:txBody>
      </p:sp>
      <p:sp>
        <p:nvSpPr>
          <p:cNvPr id="31" name="Slide Number Placeholder 4">
            <a:extLst>
              <a:ext uri="{FF2B5EF4-FFF2-40B4-BE49-F238E27FC236}">
                <a16:creationId xmlns:a16="http://schemas.microsoft.com/office/drawing/2014/main" id="{463286B1-D26D-3F1D-B5F5-8A0CF9299383}"/>
              </a:ext>
            </a:extLst>
          </p:cNvPr>
          <p:cNvSpPr>
            <a:spLocks noGrp="1"/>
          </p:cNvSpPr>
          <p:nvPr userDrawn="1">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0530589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6" name="Rectangle 25">
            <a:extLst>
              <a:ext uri="{FF2B5EF4-FFF2-40B4-BE49-F238E27FC236}">
                <a16:creationId xmlns:a16="http://schemas.microsoft.com/office/drawing/2014/main" id="{964B2FCB-A9B0-4145-B29B-AD456C94D7C2}"/>
              </a:ext>
            </a:extLst>
          </p:cNvPr>
          <p:cNvSpPr/>
          <p:nvPr/>
        </p:nvSpPr>
        <p:spPr>
          <a:xfrm>
            <a:off x="741777" y="2706095"/>
            <a:ext cx="5234480" cy="3070681"/>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8" name="Straight Connector 27">
            <a:extLst>
              <a:ext uri="{FF2B5EF4-FFF2-40B4-BE49-F238E27FC236}">
                <a16:creationId xmlns:a16="http://schemas.microsoft.com/office/drawing/2014/main" id="{17FD8ADB-B041-7841-B1C3-28DBA168A7C7}"/>
              </a:ext>
            </a:extLst>
          </p:cNvPr>
          <p:cNvCxnSpPr>
            <a:cxnSpLocks/>
          </p:cNvCxnSpPr>
          <p:nvPr/>
        </p:nvCxnSpPr>
        <p:spPr>
          <a:xfrm>
            <a:off x="741777" y="2695911"/>
            <a:ext cx="523448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50" name="Text Placeholder 20">
            <a:extLst>
              <a:ext uri="{FF2B5EF4-FFF2-40B4-BE49-F238E27FC236}">
                <a16:creationId xmlns:a16="http://schemas.microsoft.com/office/drawing/2014/main" id="{0AB8628E-6620-874B-85B8-393DA4676167}"/>
              </a:ext>
            </a:extLst>
          </p:cNvPr>
          <p:cNvSpPr>
            <a:spLocks noGrp="1"/>
          </p:cNvSpPr>
          <p:nvPr userDrawn="1">
            <p:ph type="body" sz="quarter" idx="19" hasCustomPrompt="1"/>
          </p:nvPr>
        </p:nvSpPr>
        <p:spPr>
          <a:xfrm>
            <a:off x="916646" y="2866046"/>
            <a:ext cx="4831011" cy="2731120"/>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ext Placeholder 20">
            <a:extLst>
              <a:ext uri="{FF2B5EF4-FFF2-40B4-BE49-F238E27FC236}">
                <a16:creationId xmlns:a16="http://schemas.microsoft.com/office/drawing/2014/main" id="{1CA6145D-0C72-F541-BE9A-355F095B9528}"/>
              </a:ext>
            </a:extLst>
          </p:cNvPr>
          <p:cNvSpPr>
            <a:spLocks noGrp="1"/>
          </p:cNvSpPr>
          <p:nvPr userDrawn="1">
            <p:ph type="body" sz="quarter" idx="22" hasCustomPrompt="1"/>
          </p:nvPr>
        </p:nvSpPr>
        <p:spPr>
          <a:xfrm>
            <a:off x="916646" y="1964633"/>
            <a:ext cx="483101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6" name="Rectangle 45">
            <a:extLst>
              <a:ext uri="{FF2B5EF4-FFF2-40B4-BE49-F238E27FC236}">
                <a16:creationId xmlns:a16="http://schemas.microsoft.com/office/drawing/2014/main" id="{A3D10291-5127-FF2D-DB99-A8BC7A6A2DD7}"/>
              </a:ext>
            </a:extLst>
          </p:cNvPr>
          <p:cNvSpPr/>
          <p:nvPr/>
        </p:nvSpPr>
        <p:spPr>
          <a:xfrm>
            <a:off x="6179192" y="2706095"/>
            <a:ext cx="5234480" cy="3070681"/>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47" name="Straight Connector 46">
            <a:extLst>
              <a:ext uri="{FF2B5EF4-FFF2-40B4-BE49-F238E27FC236}">
                <a16:creationId xmlns:a16="http://schemas.microsoft.com/office/drawing/2014/main" id="{11529A5D-199F-9F29-A51F-7EB14E5F39A4}"/>
              </a:ext>
            </a:extLst>
          </p:cNvPr>
          <p:cNvCxnSpPr>
            <a:cxnSpLocks/>
          </p:cNvCxnSpPr>
          <p:nvPr/>
        </p:nvCxnSpPr>
        <p:spPr>
          <a:xfrm>
            <a:off x="6179192" y="2695911"/>
            <a:ext cx="523448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49" name="Text Placeholder 20">
            <a:extLst>
              <a:ext uri="{FF2B5EF4-FFF2-40B4-BE49-F238E27FC236}">
                <a16:creationId xmlns:a16="http://schemas.microsoft.com/office/drawing/2014/main" id="{53F9C245-C049-7212-1741-F3CF7A9166B4}"/>
              </a:ext>
            </a:extLst>
          </p:cNvPr>
          <p:cNvSpPr>
            <a:spLocks noGrp="1"/>
          </p:cNvSpPr>
          <p:nvPr userDrawn="1">
            <p:ph type="body" sz="quarter" idx="23" hasCustomPrompt="1"/>
          </p:nvPr>
        </p:nvSpPr>
        <p:spPr>
          <a:xfrm>
            <a:off x="6354061" y="2866046"/>
            <a:ext cx="4831011" cy="2731120"/>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1" name="Text Placeholder 20">
            <a:extLst>
              <a:ext uri="{FF2B5EF4-FFF2-40B4-BE49-F238E27FC236}">
                <a16:creationId xmlns:a16="http://schemas.microsoft.com/office/drawing/2014/main" id="{DB1A1BE0-6496-E44D-5A1D-6067B555908A}"/>
              </a:ext>
            </a:extLst>
          </p:cNvPr>
          <p:cNvSpPr>
            <a:spLocks noGrp="1"/>
          </p:cNvSpPr>
          <p:nvPr userDrawn="1">
            <p:ph type="body" sz="quarter" idx="24" hasCustomPrompt="1"/>
          </p:nvPr>
        </p:nvSpPr>
        <p:spPr>
          <a:xfrm>
            <a:off x="6354061" y="1964633"/>
            <a:ext cx="483101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2" name="Title 1">
            <a:extLst>
              <a:ext uri="{FF2B5EF4-FFF2-40B4-BE49-F238E27FC236}">
                <a16:creationId xmlns:a16="http://schemas.microsoft.com/office/drawing/2014/main" id="{B47A2599-5FAF-9034-E375-BAE6412058E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6" name="Bilde 3">
            <a:extLst>
              <a:ext uri="{FF2B5EF4-FFF2-40B4-BE49-F238E27FC236}">
                <a16:creationId xmlns:a16="http://schemas.microsoft.com/office/drawing/2014/main" id="{26F30CAA-FF03-C96A-502E-FF88C11C47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7" name="Date Placeholder 2">
            <a:extLst>
              <a:ext uri="{FF2B5EF4-FFF2-40B4-BE49-F238E27FC236}">
                <a16:creationId xmlns:a16="http://schemas.microsoft.com/office/drawing/2014/main" id="{FCE1B1D8-3C46-DA56-7783-6203653E2315}"/>
              </a:ext>
            </a:extLst>
          </p:cNvPr>
          <p:cNvSpPr>
            <a:spLocks noGrp="1"/>
          </p:cNvSpPr>
          <p:nvPr>
            <p:ph type="dt" sz="half" idx="16"/>
          </p:nvPr>
        </p:nvSpPr>
        <p:spPr>
          <a:xfrm>
            <a:off x="2303627" y="6492875"/>
            <a:ext cx="528585" cy="365125"/>
          </a:xfrm>
        </p:spPr>
        <p:txBody>
          <a:bodyPr/>
          <a:lstStyle/>
          <a:p>
            <a:fld id="{39FF43BF-720B-F842-B3FC-CC92B0E75ECD}" type="datetime1">
              <a:rPr lang="nb-NO" smtClean="0"/>
              <a:t>20.08.2024</a:t>
            </a:fld>
            <a:endParaRPr lang="en-US"/>
          </a:p>
        </p:txBody>
      </p:sp>
      <p:sp>
        <p:nvSpPr>
          <p:cNvPr id="19" name="Footer Placeholder 3">
            <a:extLst>
              <a:ext uri="{FF2B5EF4-FFF2-40B4-BE49-F238E27FC236}">
                <a16:creationId xmlns:a16="http://schemas.microsoft.com/office/drawing/2014/main" id="{7A65BB47-36D4-FED3-14E1-32016471939C}"/>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20" name="Slide Number Placeholder 4">
            <a:extLst>
              <a:ext uri="{FF2B5EF4-FFF2-40B4-BE49-F238E27FC236}">
                <a16:creationId xmlns:a16="http://schemas.microsoft.com/office/drawing/2014/main" id="{F1C9FB8A-BD98-C6EA-1693-3C82E226D1DE}"/>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6968138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75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6" name="Rectangle 25">
            <a:extLst>
              <a:ext uri="{FF2B5EF4-FFF2-40B4-BE49-F238E27FC236}">
                <a16:creationId xmlns:a16="http://schemas.microsoft.com/office/drawing/2014/main" id="{964B2FCB-A9B0-4145-B29B-AD456C94D7C2}"/>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8" name="Straight Connector 27">
            <a:extLst>
              <a:ext uri="{FF2B5EF4-FFF2-40B4-BE49-F238E27FC236}">
                <a16:creationId xmlns:a16="http://schemas.microsoft.com/office/drawing/2014/main" id="{17FD8ADB-B041-7841-B1C3-28DBA168A7C7}"/>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30" name="Rectangle 29">
            <a:extLst>
              <a:ext uri="{FF2B5EF4-FFF2-40B4-BE49-F238E27FC236}">
                <a16:creationId xmlns:a16="http://schemas.microsoft.com/office/drawing/2014/main" id="{BEA4711D-5FB9-1140-ACF9-77B5A0C68D53}"/>
              </a:ext>
            </a:extLst>
          </p:cNvPr>
          <p:cNvSpPr/>
          <p:nvPr/>
        </p:nvSpPr>
        <p:spPr>
          <a:xfrm>
            <a:off x="4253915"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2" name="Straight Connector 31">
            <a:extLst>
              <a:ext uri="{FF2B5EF4-FFF2-40B4-BE49-F238E27FC236}">
                <a16:creationId xmlns:a16="http://schemas.microsoft.com/office/drawing/2014/main" id="{52130800-D63A-3843-B550-B3C820A89816}"/>
              </a:ext>
            </a:extLst>
          </p:cNvPr>
          <p:cNvCxnSpPr>
            <a:cxnSpLocks/>
          </p:cNvCxnSpPr>
          <p:nvPr/>
        </p:nvCxnSpPr>
        <p:spPr>
          <a:xfrm>
            <a:off x="4253915"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37" name="Rectangle 36">
            <a:extLst>
              <a:ext uri="{FF2B5EF4-FFF2-40B4-BE49-F238E27FC236}">
                <a16:creationId xmlns:a16="http://schemas.microsoft.com/office/drawing/2014/main" id="{0C98384D-7BB5-5C48-A5ED-327B4184534B}"/>
              </a:ext>
            </a:extLst>
          </p:cNvPr>
          <p:cNvSpPr/>
          <p:nvPr/>
        </p:nvSpPr>
        <p:spPr>
          <a:xfrm>
            <a:off x="775949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48" name="Straight Connector 47">
            <a:extLst>
              <a:ext uri="{FF2B5EF4-FFF2-40B4-BE49-F238E27FC236}">
                <a16:creationId xmlns:a16="http://schemas.microsoft.com/office/drawing/2014/main" id="{DE9F925F-0CBA-BF4C-9DFE-2CF31B40A496}"/>
              </a:ext>
            </a:extLst>
          </p:cNvPr>
          <p:cNvCxnSpPr>
            <a:cxnSpLocks/>
          </p:cNvCxnSpPr>
          <p:nvPr/>
        </p:nvCxnSpPr>
        <p:spPr>
          <a:xfrm>
            <a:off x="775949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50" name="Text Placeholder 20">
            <a:extLst>
              <a:ext uri="{FF2B5EF4-FFF2-40B4-BE49-F238E27FC236}">
                <a16:creationId xmlns:a16="http://schemas.microsoft.com/office/drawing/2014/main" id="{0AB8628E-6620-874B-85B8-393DA4676167}"/>
              </a:ext>
            </a:extLst>
          </p:cNvPr>
          <p:cNvSpPr>
            <a:spLocks noGrp="1"/>
          </p:cNvSpPr>
          <p:nvPr>
            <p:ph type="body" sz="quarter" idx="19" hasCustomPrompt="1"/>
          </p:nvPr>
        </p:nvSpPr>
        <p:spPr>
          <a:xfrm>
            <a:off x="916646" y="3179823"/>
            <a:ext cx="2774041" cy="2372109"/>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9" name="Text Placeholder 20">
            <a:extLst>
              <a:ext uri="{FF2B5EF4-FFF2-40B4-BE49-F238E27FC236}">
                <a16:creationId xmlns:a16="http://schemas.microsoft.com/office/drawing/2014/main" id="{A56B007D-AE67-314F-AB2F-B2CB4787DDFB}"/>
              </a:ext>
            </a:extLst>
          </p:cNvPr>
          <p:cNvSpPr>
            <a:spLocks noGrp="1"/>
          </p:cNvSpPr>
          <p:nvPr>
            <p:ph type="body" sz="quarter" idx="20" hasCustomPrompt="1"/>
          </p:nvPr>
        </p:nvSpPr>
        <p:spPr>
          <a:xfrm>
            <a:off x="4450894" y="3185748"/>
            <a:ext cx="2774041" cy="2372109"/>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60" name="Text Placeholder 20">
            <a:extLst>
              <a:ext uri="{FF2B5EF4-FFF2-40B4-BE49-F238E27FC236}">
                <a16:creationId xmlns:a16="http://schemas.microsoft.com/office/drawing/2014/main" id="{8F5D6E2F-7511-1C4E-BCEA-BE59A10E6B55}"/>
              </a:ext>
            </a:extLst>
          </p:cNvPr>
          <p:cNvSpPr>
            <a:spLocks noGrp="1"/>
          </p:cNvSpPr>
          <p:nvPr>
            <p:ph type="body" sz="quarter" idx="21" hasCustomPrompt="1"/>
          </p:nvPr>
        </p:nvSpPr>
        <p:spPr>
          <a:xfrm>
            <a:off x="7956476" y="3195932"/>
            <a:ext cx="2774041" cy="2372109"/>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ext Placeholder 20">
            <a:extLst>
              <a:ext uri="{FF2B5EF4-FFF2-40B4-BE49-F238E27FC236}">
                <a16:creationId xmlns:a16="http://schemas.microsoft.com/office/drawing/2014/main" id="{1CA6145D-0C72-F541-BE9A-355F095B9528}"/>
              </a:ext>
            </a:extLst>
          </p:cNvPr>
          <p:cNvSpPr>
            <a:spLocks noGrp="1"/>
          </p:cNvSpPr>
          <p:nvPr>
            <p:ph type="body" sz="quarter" idx="22" hasCustomPrompt="1"/>
          </p:nvPr>
        </p:nvSpPr>
        <p:spPr>
          <a:xfrm>
            <a:off x="916646" y="2278410"/>
            <a:ext cx="277404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9" name="Text Placeholder 20">
            <a:extLst>
              <a:ext uri="{FF2B5EF4-FFF2-40B4-BE49-F238E27FC236}">
                <a16:creationId xmlns:a16="http://schemas.microsoft.com/office/drawing/2014/main" id="{CD8BDA50-ABD7-723D-FFC8-3A1EF3BE0050}"/>
              </a:ext>
            </a:extLst>
          </p:cNvPr>
          <p:cNvSpPr>
            <a:spLocks noGrp="1"/>
          </p:cNvSpPr>
          <p:nvPr>
            <p:ph type="body" sz="quarter" idx="23" hasCustomPrompt="1"/>
          </p:nvPr>
        </p:nvSpPr>
        <p:spPr>
          <a:xfrm>
            <a:off x="4450894" y="2284335"/>
            <a:ext cx="277404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20" name="Text Placeholder 20">
            <a:extLst>
              <a:ext uri="{FF2B5EF4-FFF2-40B4-BE49-F238E27FC236}">
                <a16:creationId xmlns:a16="http://schemas.microsoft.com/office/drawing/2014/main" id="{A675B563-EEF3-5077-3650-299FDCF523BE}"/>
              </a:ext>
            </a:extLst>
          </p:cNvPr>
          <p:cNvSpPr>
            <a:spLocks noGrp="1"/>
          </p:cNvSpPr>
          <p:nvPr>
            <p:ph type="body" sz="quarter" idx="24" hasCustomPrompt="1"/>
          </p:nvPr>
        </p:nvSpPr>
        <p:spPr>
          <a:xfrm>
            <a:off x="7956476" y="2294519"/>
            <a:ext cx="277404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21" name="Title 1">
            <a:extLst>
              <a:ext uri="{FF2B5EF4-FFF2-40B4-BE49-F238E27FC236}">
                <a16:creationId xmlns:a16="http://schemas.microsoft.com/office/drawing/2014/main" id="{FBC1BB7D-600D-3086-600E-967C8E38E39A}"/>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4" name="Bilde 3">
            <a:extLst>
              <a:ext uri="{FF2B5EF4-FFF2-40B4-BE49-F238E27FC236}">
                <a16:creationId xmlns:a16="http://schemas.microsoft.com/office/drawing/2014/main" id="{9CD177BF-FF5D-5C7A-316D-6DDD63B3FFF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B26D9874-3CD2-94C0-D547-2A64FD3F17BF}"/>
              </a:ext>
            </a:extLst>
          </p:cNvPr>
          <p:cNvSpPr>
            <a:spLocks noGrp="1"/>
          </p:cNvSpPr>
          <p:nvPr>
            <p:ph type="dt" sz="half" idx="16"/>
          </p:nvPr>
        </p:nvSpPr>
        <p:spPr>
          <a:xfrm>
            <a:off x="2303627" y="6492875"/>
            <a:ext cx="528585" cy="365125"/>
          </a:xfrm>
        </p:spPr>
        <p:txBody>
          <a:bodyPr/>
          <a:lstStyle/>
          <a:p>
            <a:fld id="{7EEBB14C-947B-1F42-8A07-E376D9ED73E6}" type="datetime1">
              <a:rPr lang="nb-NO" smtClean="0"/>
              <a:t>20.08.2024</a:t>
            </a:fld>
            <a:endParaRPr lang="en-US"/>
          </a:p>
        </p:txBody>
      </p:sp>
      <p:sp>
        <p:nvSpPr>
          <p:cNvPr id="25" name="Footer Placeholder 3">
            <a:extLst>
              <a:ext uri="{FF2B5EF4-FFF2-40B4-BE49-F238E27FC236}">
                <a16:creationId xmlns:a16="http://schemas.microsoft.com/office/drawing/2014/main" id="{4D5AC9D7-1147-F331-F642-24F580EC7E33}"/>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27" name="Slide Number Placeholder 4">
            <a:extLst>
              <a:ext uri="{FF2B5EF4-FFF2-40B4-BE49-F238E27FC236}">
                <a16:creationId xmlns:a16="http://schemas.microsoft.com/office/drawing/2014/main" id="{EA107953-00EC-C977-6B85-65310C640CF0}"/>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7752386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74_Custom Layou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011D626-3DE3-B061-399E-A199D5C50ED2}"/>
              </a:ext>
            </a:extLst>
          </p:cNvPr>
          <p:cNvGrpSpPr/>
          <p:nvPr userDrawn="1"/>
        </p:nvGrpSpPr>
        <p:grpSpPr>
          <a:xfrm>
            <a:off x="741777" y="2466299"/>
            <a:ext cx="2568674" cy="3483187"/>
            <a:chOff x="741777" y="3009688"/>
            <a:chExt cx="3168000" cy="2705311"/>
          </a:xfrm>
        </p:grpSpPr>
        <p:sp>
          <p:nvSpPr>
            <p:cNvPr id="26" name="Rectangle 25">
              <a:extLst>
                <a:ext uri="{FF2B5EF4-FFF2-40B4-BE49-F238E27FC236}">
                  <a16:creationId xmlns:a16="http://schemas.microsoft.com/office/drawing/2014/main" id="{964B2FCB-A9B0-4145-B29B-AD456C94D7C2}"/>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8" name="Straight Connector 27">
              <a:extLst>
                <a:ext uri="{FF2B5EF4-FFF2-40B4-BE49-F238E27FC236}">
                  <a16:creationId xmlns:a16="http://schemas.microsoft.com/office/drawing/2014/main" id="{17FD8ADB-B041-7841-B1C3-28DBA168A7C7}"/>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50" name="Text Placeholder 20">
            <a:extLst>
              <a:ext uri="{FF2B5EF4-FFF2-40B4-BE49-F238E27FC236}">
                <a16:creationId xmlns:a16="http://schemas.microsoft.com/office/drawing/2014/main" id="{0AB8628E-6620-874B-85B8-393DA4676167}"/>
              </a:ext>
            </a:extLst>
          </p:cNvPr>
          <p:cNvSpPr>
            <a:spLocks noGrp="1"/>
          </p:cNvSpPr>
          <p:nvPr>
            <p:ph type="body" sz="quarter" idx="19" hasCustomPrompt="1"/>
          </p:nvPr>
        </p:nvSpPr>
        <p:spPr>
          <a:xfrm>
            <a:off x="916647" y="2636434"/>
            <a:ext cx="2218440" cy="3165235"/>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ext Placeholder 20">
            <a:extLst>
              <a:ext uri="{FF2B5EF4-FFF2-40B4-BE49-F238E27FC236}">
                <a16:creationId xmlns:a16="http://schemas.microsoft.com/office/drawing/2014/main" id="{1CA6145D-0C72-F541-BE9A-355F095B9528}"/>
              </a:ext>
            </a:extLst>
          </p:cNvPr>
          <p:cNvSpPr>
            <a:spLocks noGrp="1"/>
          </p:cNvSpPr>
          <p:nvPr>
            <p:ph type="body" sz="quarter" idx="22" hasCustomPrompt="1"/>
          </p:nvPr>
        </p:nvSpPr>
        <p:spPr>
          <a:xfrm>
            <a:off x="916647" y="1655697"/>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grpSp>
        <p:nvGrpSpPr>
          <p:cNvPr id="36" name="Group 35">
            <a:extLst>
              <a:ext uri="{FF2B5EF4-FFF2-40B4-BE49-F238E27FC236}">
                <a16:creationId xmlns:a16="http://schemas.microsoft.com/office/drawing/2014/main" id="{10FCA0BF-9E4E-438D-86BD-D6CE1C6532F4}"/>
              </a:ext>
            </a:extLst>
          </p:cNvPr>
          <p:cNvGrpSpPr/>
          <p:nvPr userDrawn="1"/>
        </p:nvGrpSpPr>
        <p:grpSpPr>
          <a:xfrm>
            <a:off x="3419661" y="2466299"/>
            <a:ext cx="2568674" cy="3483187"/>
            <a:chOff x="741777" y="3009688"/>
            <a:chExt cx="3168000" cy="2705311"/>
          </a:xfrm>
        </p:grpSpPr>
        <p:sp>
          <p:nvSpPr>
            <p:cNvPr id="38" name="Rectangle 37">
              <a:extLst>
                <a:ext uri="{FF2B5EF4-FFF2-40B4-BE49-F238E27FC236}">
                  <a16:creationId xmlns:a16="http://schemas.microsoft.com/office/drawing/2014/main" id="{9371083E-173B-64B6-90DB-3932E95AE3CE}"/>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9" name="Straight Connector 38">
              <a:extLst>
                <a:ext uri="{FF2B5EF4-FFF2-40B4-BE49-F238E27FC236}">
                  <a16:creationId xmlns:a16="http://schemas.microsoft.com/office/drawing/2014/main" id="{50410FC9-B8E7-3F8D-595B-42FB6FEA213B}"/>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40" name="Text Placeholder 20">
            <a:extLst>
              <a:ext uri="{FF2B5EF4-FFF2-40B4-BE49-F238E27FC236}">
                <a16:creationId xmlns:a16="http://schemas.microsoft.com/office/drawing/2014/main" id="{81692953-2040-E900-7B7B-F1391A6919F4}"/>
              </a:ext>
            </a:extLst>
          </p:cNvPr>
          <p:cNvSpPr>
            <a:spLocks noGrp="1"/>
          </p:cNvSpPr>
          <p:nvPr>
            <p:ph type="body" sz="quarter" idx="23" hasCustomPrompt="1"/>
          </p:nvPr>
        </p:nvSpPr>
        <p:spPr>
          <a:xfrm>
            <a:off x="3594531" y="2636434"/>
            <a:ext cx="2218440" cy="3165235"/>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1" name="Text Placeholder 20">
            <a:extLst>
              <a:ext uri="{FF2B5EF4-FFF2-40B4-BE49-F238E27FC236}">
                <a16:creationId xmlns:a16="http://schemas.microsoft.com/office/drawing/2014/main" id="{99CAF562-9E6C-E9A1-8784-3B5643C9B56C}"/>
              </a:ext>
            </a:extLst>
          </p:cNvPr>
          <p:cNvSpPr>
            <a:spLocks noGrp="1"/>
          </p:cNvSpPr>
          <p:nvPr>
            <p:ph type="body" sz="quarter" idx="24" hasCustomPrompt="1"/>
          </p:nvPr>
        </p:nvSpPr>
        <p:spPr>
          <a:xfrm>
            <a:off x="3594531" y="1655697"/>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grpSp>
        <p:nvGrpSpPr>
          <p:cNvPr id="42" name="Group 41">
            <a:extLst>
              <a:ext uri="{FF2B5EF4-FFF2-40B4-BE49-F238E27FC236}">
                <a16:creationId xmlns:a16="http://schemas.microsoft.com/office/drawing/2014/main" id="{3BC38829-0CB0-DAC5-3FD3-5F83FAD74D25}"/>
              </a:ext>
            </a:extLst>
          </p:cNvPr>
          <p:cNvGrpSpPr/>
          <p:nvPr userDrawn="1"/>
        </p:nvGrpSpPr>
        <p:grpSpPr>
          <a:xfrm>
            <a:off x="6097545" y="2466299"/>
            <a:ext cx="2568674" cy="3483187"/>
            <a:chOff x="741777" y="3009688"/>
            <a:chExt cx="3168000" cy="2705311"/>
          </a:xfrm>
        </p:grpSpPr>
        <p:sp>
          <p:nvSpPr>
            <p:cNvPr id="43" name="Rectangle 42">
              <a:extLst>
                <a:ext uri="{FF2B5EF4-FFF2-40B4-BE49-F238E27FC236}">
                  <a16:creationId xmlns:a16="http://schemas.microsoft.com/office/drawing/2014/main" id="{934B1946-4432-7FE4-DB63-2FEDA29EC05B}"/>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44" name="Straight Connector 43">
              <a:extLst>
                <a:ext uri="{FF2B5EF4-FFF2-40B4-BE49-F238E27FC236}">
                  <a16:creationId xmlns:a16="http://schemas.microsoft.com/office/drawing/2014/main" id="{947D6BC6-595C-82B9-6399-4E27F2A595EC}"/>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45" name="Text Placeholder 20">
            <a:extLst>
              <a:ext uri="{FF2B5EF4-FFF2-40B4-BE49-F238E27FC236}">
                <a16:creationId xmlns:a16="http://schemas.microsoft.com/office/drawing/2014/main" id="{F8FE9088-EF4C-3223-9561-5AA13C2DA0BC}"/>
              </a:ext>
            </a:extLst>
          </p:cNvPr>
          <p:cNvSpPr>
            <a:spLocks noGrp="1"/>
          </p:cNvSpPr>
          <p:nvPr>
            <p:ph type="body" sz="quarter" idx="25" hasCustomPrompt="1"/>
          </p:nvPr>
        </p:nvSpPr>
        <p:spPr>
          <a:xfrm>
            <a:off x="6272415" y="2636434"/>
            <a:ext cx="2218440" cy="3165235"/>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FDAFBEA9-6483-A006-3BCE-3E336865EB86}"/>
              </a:ext>
            </a:extLst>
          </p:cNvPr>
          <p:cNvSpPr>
            <a:spLocks noGrp="1"/>
          </p:cNvSpPr>
          <p:nvPr>
            <p:ph type="body" sz="quarter" idx="26" hasCustomPrompt="1"/>
          </p:nvPr>
        </p:nvSpPr>
        <p:spPr>
          <a:xfrm>
            <a:off x="6272415" y="1655697"/>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grpSp>
        <p:nvGrpSpPr>
          <p:cNvPr id="47" name="Group 46">
            <a:extLst>
              <a:ext uri="{FF2B5EF4-FFF2-40B4-BE49-F238E27FC236}">
                <a16:creationId xmlns:a16="http://schemas.microsoft.com/office/drawing/2014/main" id="{B49072DD-A0AB-BA37-188D-A6CBE2760790}"/>
              </a:ext>
            </a:extLst>
          </p:cNvPr>
          <p:cNvGrpSpPr/>
          <p:nvPr userDrawn="1"/>
        </p:nvGrpSpPr>
        <p:grpSpPr>
          <a:xfrm>
            <a:off x="8775429" y="2466299"/>
            <a:ext cx="2568674" cy="3483187"/>
            <a:chOff x="741777" y="3009688"/>
            <a:chExt cx="3168000" cy="2705311"/>
          </a:xfrm>
        </p:grpSpPr>
        <p:sp>
          <p:nvSpPr>
            <p:cNvPr id="49" name="Rectangle 48">
              <a:extLst>
                <a:ext uri="{FF2B5EF4-FFF2-40B4-BE49-F238E27FC236}">
                  <a16:creationId xmlns:a16="http://schemas.microsoft.com/office/drawing/2014/main" id="{43226A65-F603-7E9F-1818-EB37E0ADFE01}"/>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51" name="Straight Connector 50">
              <a:extLst>
                <a:ext uri="{FF2B5EF4-FFF2-40B4-BE49-F238E27FC236}">
                  <a16:creationId xmlns:a16="http://schemas.microsoft.com/office/drawing/2014/main" id="{72CD8099-2E22-CF35-A54D-8A6B45292651}"/>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52" name="Text Placeholder 20">
            <a:extLst>
              <a:ext uri="{FF2B5EF4-FFF2-40B4-BE49-F238E27FC236}">
                <a16:creationId xmlns:a16="http://schemas.microsoft.com/office/drawing/2014/main" id="{D2A91264-00E1-4BD3-293E-BE40AAD98C5F}"/>
              </a:ext>
            </a:extLst>
          </p:cNvPr>
          <p:cNvSpPr>
            <a:spLocks noGrp="1"/>
          </p:cNvSpPr>
          <p:nvPr>
            <p:ph type="body" sz="quarter" idx="27" hasCustomPrompt="1"/>
          </p:nvPr>
        </p:nvSpPr>
        <p:spPr>
          <a:xfrm>
            <a:off x="8950299" y="2636434"/>
            <a:ext cx="2218440" cy="3165235"/>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3" name="Text Placeholder 20">
            <a:extLst>
              <a:ext uri="{FF2B5EF4-FFF2-40B4-BE49-F238E27FC236}">
                <a16:creationId xmlns:a16="http://schemas.microsoft.com/office/drawing/2014/main" id="{7AE9B17A-9DE8-3C9E-DDDC-CA860B6819B3}"/>
              </a:ext>
            </a:extLst>
          </p:cNvPr>
          <p:cNvSpPr>
            <a:spLocks noGrp="1"/>
          </p:cNvSpPr>
          <p:nvPr>
            <p:ph type="body" sz="quarter" idx="28" hasCustomPrompt="1"/>
          </p:nvPr>
        </p:nvSpPr>
        <p:spPr>
          <a:xfrm>
            <a:off x="8950299" y="1655697"/>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4" name="Title 1">
            <a:extLst>
              <a:ext uri="{FF2B5EF4-FFF2-40B4-BE49-F238E27FC236}">
                <a16:creationId xmlns:a16="http://schemas.microsoft.com/office/drawing/2014/main" id="{4CBCEBE8-4452-D323-6817-17EE7B63E7D9}"/>
              </a:ext>
            </a:extLst>
          </p:cNvPr>
          <p:cNvSpPr>
            <a:spLocks noGrp="1"/>
          </p:cNvSpPr>
          <p:nvPr>
            <p:ph type="title" hasCustomPrompt="1"/>
          </p:nvPr>
        </p:nvSpPr>
        <p:spPr>
          <a:xfrm>
            <a:off x="741777" y="365126"/>
            <a:ext cx="10671895" cy="1072413"/>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9" name="Bilde 3">
            <a:extLst>
              <a:ext uri="{FF2B5EF4-FFF2-40B4-BE49-F238E27FC236}">
                <a16:creationId xmlns:a16="http://schemas.microsoft.com/office/drawing/2014/main" id="{83CBD614-335B-27CF-E780-42F6959997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0" name="Date Placeholder 2">
            <a:extLst>
              <a:ext uri="{FF2B5EF4-FFF2-40B4-BE49-F238E27FC236}">
                <a16:creationId xmlns:a16="http://schemas.microsoft.com/office/drawing/2014/main" id="{E001BFB9-41A9-46E7-0739-121E9A9F8FD7}"/>
              </a:ext>
            </a:extLst>
          </p:cNvPr>
          <p:cNvSpPr>
            <a:spLocks noGrp="1"/>
          </p:cNvSpPr>
          <p:nvPr>
            <p:ph type="dt" sz="half" idx="16"/>
          </p:nvPr>
        </p:nvSpPr>
        <p:spPr>
          <a:xfrm>
            <a:off x="2303627" y="6492875"/>
            <a:ext cx="528585" cy="365125"/>
          </a:xfrm>
        </p:spPr>
        <p:txBody>
          <a:bodyPr/>
          <a:lstStyle/>
          <a:p>
            <a:fld id="{9B91ABCD-B26F-5544-96F5-EC2A13A635C3}" type="datetime1">
              <a:rPr lang="nb-NO" smtClean="0"/>
              <a:t>20.08.2024</a:t>
            </a:fld>
            <a:endParaRPr lang="en-US"/>
          </a:p>
        </p:txBody>
      </p:sp>
      <p:sp>
        <p:nvSpPr>
          <p:cNvPr id="31" name="Footer Placeholder 3">
            <a:extLst>
              <a:ext uri="{FF2B5EF4-FFF2-40B4-BE49-F238E27FC236}">
                <a16:creationId xmlns:a16="http://schemas.microsoft.com/office/drawing/2014/main" id="{F8DD2AE9-39A5-3C89-9B7E-E313A23E435B}"/>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32" name="Slide Number Placeholder 4">
            <a:extLst>
              <a:ext uri="{FF2B5EF4-FFF2-40B4-BE49-F238E27FC236}">
                <a16:creationId xmlns:a16="http://schemas.microsoft.com/office/drawing/2014/main" id="{CF06A512-AED3-A481-0B29-F7227D9E7699}"/>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6206251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73_Custom Layou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64B2FCB-A9B0-4145-B29B-AD456C94D7C2}"/>
              </a:ext>
            </a:extLst>
          </p:cNvPr>
          <p:cNvSpPr/>
          <p:nvPr/>
        </p:nvSpPr>
        <p:spPr>
          <a:xfrm>
            <a:off x="741777" y="2294769"/>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8" name="Straight Connector 27">
            <a:extLst>
              <a:ext uri="{FF2B5EF4-FFF2-40B4-BE49-F238E27FC236}">
                <a16:creationId xmlns:a16="http://schemas.microsoft.com/office/drawing/2014/main" id="{17FD8ADB-B041-7841-B1C3-28DBA168A7C7}"/>
              </a:ext>
            </a:extLst>
          </p:cNvPr>
          <p:cNvCxnSpPr>
            <a:cxnSpLocks/>
          </p:cNvCxnSpPr>
          <p:nvPr/>
        </p:nvCxnSpPr>
        <p:spPr>
          <a:xfrm>
            <a:off x="741777" y="2281656"/>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22" name="Rektangel 2">
            <a:extLst>
              <a:ext uri="{FF2B5EF4-FFF2-40B4-BE49-F238E27FC236}">
                <a16:creationId xmlns:a16="http://schemas.microsoft.com/office/drawing/2014/main" id="{D40A3AB9-ABBE-2444-B58D-F892A304954B}"/>
              </a:ext>
            </a:extLst>
          </p:cNvPr>
          <p:cNvSpPr/>
          <p:nvPr userDrawn="1"/>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50" name="Text Placeholder 20">
            <a:extLst>
              <a:ext uri="{FF2B5EF4-FFF2-40B4-BE49-F238E27FC236}">
                <a16:creationId xmlns:a16="http://schemas.microsoft.com/office/drawing/2014/main" id="{0AB8628E-6620-874B-85B8-393DA4676167}"/>
              </a:ext>
            </a:extLst>
          </p:cNvPr>
          <p:cNvSpPr>
            <a:spLocks noGrp="1"/>
          </p:cNvSpPr>
          <p:nvPr userDrawn="1">
            <p:ph type="body" sz="quarter" idx="19" hasCustomPrompt="1"/>
          </p:nvPr>
        </p:nvSpPr>
        <p:spPr>
          <a:xfrm>
            <a:off x="916647" y="2451792"/>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ext Placeholder 20">
            <a:extLst>
              <a:ext uri="{FF2B5EF4-FFF2-40B4-BE49-F238E27FC236}">
                <a16:creationId xmlns:a16="http://schemas.microsoft.com/office/drawing/2014/main" id="{1CA6145D-0C72-F541-BE9A-355F095B9528}"/>
              </a:ext>
            </a:extLst>
          </p:cNvPr>
          <p:cNvSpPr>
            <a:spLocks noGrp="1"/>
          </p:cNvSpPr>
          <p:nvPr userDrawn="1">
            <p:ph type="body" sz="quarter" idx="22" hasCustomPrompt="1"/>
          </p:nvPr>
        </p:nvSpPr>
        <p:spPr>
          <a:xfrm>
            <a:off x="916647" y="1471054"/>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8" name="Rectangle 37">
            <a:extLst>
              <a:ext uri="{FF2B5EF4-FFF2-40B4-BE49-F238E27FC236}">
                <a16:creationId xmlns:a16="http://schemas.microsoft.com/office/drawing/2014/main" id="{9371083E-173B-64B6-90DB-3932E95AE3CE}"/>
              </a:ext>
            </a:extLst>
          </p:cNvPr>
          <p:cNvSpPr/>
          <p:nvPr/>
        </p:nvSpPr>
        <p:spPr>
          <a:xfrm>
            <a:off x="3419661" y="2294769"/>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9" name="Straight Connector 38">
            <a:extLst>
              <a:ext uri="{FF2B5EF4-FFF2-40B4-BE49-F238E27FC236}">
                <a16:creationId xmlns:a16="http://schemas.microsoft.com/office/drawing/2014/main" id="{50410FC9-B8E7-3F8D-595B-42FB6FEA213B}"/>
              </a:ext>
            </a:extLst>
          </p:cNvPr>
          <p:cNvCxnSpPr>
            <a:cxnSpLocks/>
          </p:cNvCxnSpPr>
          <p:nvPr/>
        </p:nvCxnSpPr>
        <p:spPr>
          <a:xfrm>
            <a:off x="3419661" y="2281656"/>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40" name="Text Placeholder 20">
            <a:extLst>
              <a:ext uri="{FF2B5EF4-FFF2-40B4-BE49-F238E27FC236}">
                <a16:creationId xmlns:a16="http://schemas.microsoft.com/office/drawing/2014/main" id="{81692953-2040-E900-7B7B-F1391A6919F4}"/>
              </a:ext>
            </a:extLst>
          </p:cNvPr>
          <p:cNvSpPr>
            <a:spLocks noGrp="1"/>
          </p:cNvSpPr>
          <p:nvPr userDrawn="1">
            <p:ph type="body" sz="quarter" idx="23" hasCustomPrompt="1"/>
          </p:nvPr>
        </p:nvSpPr>
        <p:spPr>
          <a:xfrm>
            <a:off x="3594531" y="2451792"/>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1" name="Text Placeholder 20">
            <a:extLst>
              <a:ext uri="{FF2B5EF4-FFF2-40B4-BE49-F238E27FC236}">
                <a16:creationId xmlns:a16="http://schemas.microsoft.com/office/drawing/2014/main" id="{99CAF562-9E6C-E9A1-8784-3B5643C9B56C}"/>
              </a:ext>
            </a:extLst>
          </p:cNvPr>
          <p:cNvSpPr>
            <a:spLocks noGrp="1"/>
          </p:cNvSpPr>
          <p:nvPr userDrawn="1">
            <p:ph type="body" sz="quarter" idx="24" hasCustomPrompt="1"/>
          </p:nvPr>
        </p:nvSpPr>
        <p:spPr>
          <a:xfrm>
            <a:off x="3594531" y="1471054"/>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3" name="Rectangle 42">
            <a:extLst>
              <a:ext uri="{FF2B5EF4-FFF2-40B4-BE49-F238E27FC236}">
                <a16:creationId xmlns:a16="http://schemas.microsoft.com/office/drawing/2014/main" id="{934B1946-4432-7FE4-DB63-2FEDA29EC05B}"/>
              </a:ext>
            </a:extLst>
          </p:cNvPr>
          <p:cNvSpPr/>
          <p:nvPr/>
        </p:nvSpPr>
        <p:spPr>
          <a:xfrm>
            <a:off x="6097545" y="2294769"/>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44" name="Straight Connector 43">
            <a:extLst>
              <a:ext uri="{FF2B5EF4-FFF2-40B4-BE49-F238E27FC236}">
                <a16:creationId xmlns:a16="http://schemas.microsoft.com/office/drawing/2014/main" id="{947D6BC6-595C-82B9-6399-4E27F2A595EC}"/>
              </a:ext>
            </a:extLst>
          </p:cNvPr>
          <p:cNvCxnSpPr>
            <a:cxnSpLocks/>
          </p:cNvCxnSpPr>
          <p:nvPr/>
        </p:nvCxnSpPr>
        <p:spPr>
          <a:xfrm>
            <a:off x="6097545" y="2281656"/>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45" name="Text Placeholder 20">
            <a:extLst>
              <a:ext uri="{FF2B5EF4-FFF2-40B4-BE49-F238E27FC236}">
                <a16:creationId xmlns:a16="http://schemas.microsoft.com/office/drawing/2014/main" id="{F8FE9088-EF4C-3223-9561-5AA13C2DA0BC}"/>
              </a:ext>
            </a:extLst>
          </p:cNvPr>
          <p:cNvSpPr>
            <a:spLocks noGrp="1"/>
          </p:cNvSpPr>
          <p:nvPr userDrawn="1">
            <p:ph type="body" sz="quarter" idx="25" hasCustomPrompt="1"/>
          </p:nvPr>
        </p:nvSpPr>
        <p:spPr>
          <a:xfrm>
            <a:off x="6272415" y="2451792"/>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FDAFBEA9-6483-A006-3BCE-3E336865EB86}"/>
              </a:ext>
            </a:extLst>
          </p:cNvPr>
          <p:cNvSpPr>
            <a:spLocks noGrp="1"/>
          </p:cNvSpPr>
          <p:nvPr userDrawn="1">
            <p:ph type="body" sz="quarter" idx="26" hasCustomPrompt="1"/>
          </p:nvPr>
        </p:nvSpPr>
        <p:spPr>
          <a:xfrm>
            <a:off x="6272415" y="1471054"/>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9" name="Rectangle 48">
            <a:extLst>
              <a:ext uri="{FF2B5EF4-FFF2-40B4-BE49-F238E27FC236}">
                <a16:creationId xmlns:a16="http://schemas.microsoft.com/office/drawing/2014/main" id="{43226A65-F603-7E9F-1818-EB37E0ADFE01}"/>
              </a:ext>
            </a:extLst>
          </p:cNvPr>
          <p:cNvSpPr/>
          <p:nvPr/>
        </p:nvSpPr>
        <p:spPr>
          <a:xfrm>
            <a:off x="8775429" y="2294769"/>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51" name="Straight Connector 50">
            <a:extLst>
              <a:ext uri="{FF2B5EF4-FFF2-40B4-BE49-F238E27FC236}">
                <a16:creationId xmlns:a16="http://schemas.microsoft.com/office/drawing/2014/main" id="{72CD8099-2E22-CF35-A54D-8A6B45292651}"/>
              </a:ext>
            </a:extLst>
          </p:cNvPr>
          <p:cNvCxnSpPr>
            <a:cxnSpLocks/>
          </p:cNvCxnSpPr>
          <p:nvPr/>
        </p:nvCxnSpPr>
        <p:spPr>
          <a:xfrm>
            <a:off x="8775429" y="2281656"/>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52" name="Text Placeholder 20">
            <a:extLst>
              <a:ext uri="{FF2B5EF4-FFF2-40B4-BE49-F238E27FC236}">
                <a16:creationId xmlns:a16="http://schemas.microsoft.com/office/drawing/2014/main" id="{D2A91264-00E1-4BD3-293E-BE40AAD98C5F}"/>
              </a:ext>
            </a:extLst>
          </p:cNvPr>
          <p:cNvSpPr>
            <a:spLocks noGrp="1"/>
          </p:cNvSpPr>
          <p:nvPr userDrawn="1">
            <p:ph type="body" sz="quarter" idx="27" hasCustomPrompt="1"/>
          </p:nvPr>
        </p:nvSpPr>
        <p:spPr>
          <a:xfrm>
            <a:off x="8950299" y="2451792"/>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3" name="Text Placeholder 20">
            <a:extLst>
              <a:ext uri="{FF2B5EF4-FFF2-40B4-BE49-F238E27FC236}">
                <a16:creationId xmlns:a16="http://schemas.microsoft.com/office/drawing/2014/main" id="{7AE9B17A-9DE8-3C9E-DDDC-CA860B6819B3}"/>
              </a:ext>
            </a:extLst>
          </p:cNvPr>
          <p:cNvSpPr>
            <a:spLocks noGrp="1"/>
          </p:cNvSpPr>
          <p:nvPr userDrawn="1">
            <p:ph type="body" sz="quarter" idx="28" hasCustomPrompt="1"/>
          </p:nvPr>
        </p:nvSpPr>
        <p:spPr>
          <a:xfrm>
            <a:off x="8950299" y="1471054"/>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25" name="Rectangle 24">
            <a:extLst>
              <a:ext uri="{FF2B5EF4-FFF2-40B4-BE49-F238E27FC236}">
                <a16:creationId xmlns:a16="http://schemas.microsoft.com/office/drawing/2014/main" id="{771DEEDC-8187-24ED-7E42-DAF4D52C68F0}"/>
              </a:ext>
            </a:extLst>
          </p:cNvPr>
          <p:cNvSpPr/>
          <p:nvPr userDrawn="1"/>
        </p:nvSpPr>
        <p:spPr>
          <a:xfrm>
            <a:off x="741777" y="4673718"/>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7" name="Straight Connector 26">
            <a:extLst>
              <a:ext uri="{FF2B5EF4-FFF2-40B4-BE49-F238E27FC236}">
                <a16:creationId xmlns:a16="http://schemas.microsoft.com/office/drawing/2014/main" id="{6FEC3663-E96C-EB19-6441-42F6D2DC96EB}"/>
              </a:ext>
            </a:extLst>
          </p:cNvPr>
          <p:cNvCxnSpPr>
            <a:cxnSpLocks/>
          </p:cNvCxnSpPr>
          <p:nvPr userDrawn="1"/>
        </p:nvCxnSpPr>
        <p:spPr>
          <a:xfrm>
            <a:off x="741777" y="4660605"/>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29" name="Text Placeholder 20">
            <a:extLst>
              <a:ext uri="{FF2B5EF4-FFF2-40B4-BE49-F238E27FC236}">
                <a16:creationId xmlns:a16="http://schemas.microsoft.com/office/drawing/2014/main" id="{213A7298-F970-E6B0-83A2-28DA87BFD348}"/>
              </a:ext>
            </a:extLst>
          </p:cNvPr>
          <p:cNvSpPr>
            <a:spLocks noGrp="1"/>
          </p:cNvSpPr>
          <p:nvPr>
            <p:ph type="body" sz="quarter" idx="29" hasCustomPrompt="1"/>
          </p:nvPr>
        </p:nvSpPr>
        <p:spPr>
          <a:xfrm>
            <a:off x="916647" y="4830741"/>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0" name="Text Placeholder 20">
            <a:extLst>
              <a:ext uri="{FF2B5EF4-FFF2-40B4-BE49-F238E27FC236}">
                <a16:creationId xmlns:a16="http://schemas.microsoft.com/office/drawing/2014/main" id="{14C5DD45-1491-CE4C-68D4-8537C20243BA}"/>
              </a:ext>
            </a:extLst>
          </p:cNvPr>
          <p:cNvSpPr>
            <a:spLocks noGrp="1"/>
          </p:cNvSpPr>
          <p:nvPr>
            <p:ph type="body" sz="quarter" idx="30" hasCustomPrompt="1"/>
          </p:nvPr>
        </p:nvSpPr>
        <p:spPr>
          <a:xfrm>
            <a:off x="916647" y="3850003"/>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1" name="Rectangle 30">
            <a:extLst>
              <a:ext uri="{FF2B5EF4-FFF2-40B4-BE49-F238E27FC236}">
                <a16:creationId xmlns:a16="http://schemas.microsoft.com/office/drawing/2014/main" id="{64127DA2-9D94-3342-77FA-829E376A2AAB}"/>
              </a:ext>
            </a:extLst>
          </p:cNvPr>
          <p:cNvSpPr/>
          <p:nvPr userDrawn="1"/>
        </p:nvSpPr>
        <p:spPr>
          <a:xfrm>
            <a:off x="3419661" y="4673718"/>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2" name="Straight Connector 31">
            <a:extLst>
              <a:ext uri="{FF2B5EF4-FFF2-40B4-BE49-F238E27FC236}">
                <a16:creationId xmlns:a16="http://schemas.microsoft.com/office/drawing/2014/main" id="{94459CC2-233A-3DEB-79C8-F3938E2874EA}"/>
              </a:ext>
            </a:extLst>
          </p:cNvPr>
          <p:cNvCxnSpPr>
            <a:cxnSpLocks/>
          </p:cNvCxnSpPr>
          <p:nvPr userDrawn="1"/>
        </p:nvCxnSpPr>
        <p:spPr>
          <a:xfrm>
            <a:off x="3419661" y="4660605"/>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33" name="Text Placeholder 20">
            <a:extLst>
              <a:ext uri="{FF2B5EF4-FFF2-40B4-BE49-F238E27FC236}">
                <a16:creationId xmlns:a16="http://schemas.microsoft.com/office/drawing/2014/main" id="{0CF42145-CC43-0481-2346-A89427045E01}"/>
              </a:ext>
            </a:extLst>
          </p:cNvPr>
          <p:cNvSpPr>
            <a:spLocks noGrp="1"/>
          </p:cNvSpPr>
          <p:nvPr>
            <p:ph type="body" sz="quarter" idx="31" hasCustomPrompt="1"/>
          </p:nvPr>
        </p:nvSpPr>
        <p:spPr>
          <a:xfrm>
            <a:off x="3594531" y="4830741"/>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4" name="Text Placeholder 20">
            <a:extLst>
              <a:ext uri="{FF2B5EF4-FFF2-40B4-BE49-F238E27FC236}">
                <a16:creationId xmlns:a16="http://schemas.microsoft.com/office/drawing/2014/main" id="{769DBB9D-40B5-FDB7-C647-56DDDA0858C3}"/>
              </a:ext>
            </a:extLst>
          </p:cNvPr>
          <p:cNvSpPr>
            <a:spLocks noGrp="1"/>
          </p:cNvSpPr>
          <p:nvPr>
            <p:ph type="body" sz="quarter" idx="32" hasCustomPrompt="1"/>
          </p:nvPr>
        </p:nvSpPr>
        <p:spPr>
          <a:xfrm>
            <a:off x="3594531" y="3850003"/>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5" name="Rectangle 34">
            <a:extLst>
              <a:ext uri="{FF2B5EF4-FFF2-40B4-BE49-F238E27FC236}">
                <a16:creationId xmlns:a16="http://schemas.microsoft.com/office/drawing/2014/main" id="{54BCF977-5C7F-3DF5-226C-277F16D4A6FF}"/>
              </a:ext>
            </a:extLst>
          </p:cNvPr>
          <p:cNvSpPr/>
          <p:nvPr userDrawn="1"/>
        </p:nvSpPr>
        <p:spPr>
          <a:xfrm>
            <a:off x="6097545" y="4673718"/>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7" name="Straight Connector 36">
            <a:extLst>
              <a:ext uri="{FF2B5EF4-FFF2-40B4-BE49-F238E27FC236}">
                <a16:creationId xmlns:a16="http://schemas.microsoft.com/office/drawing/2014/main" id="{61D22BE9-B0C4-9A41-C5B2-58F43FE7CDAA}"/>
              </a:ext>
            </a:extLst>
          </p:cNvPr>
          <p:cNvCxnSpPr>
            <a:cxnSpLocks/>
          </p:cNvCxnSpPr>
          <p:nvPr userDrawn="1"/>
        </p:nvCxnSpPr>
        <p:spPr>
          <a:xfrm>
            <a:off x="6097545" y="4660605"/>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48" name="Text Placeholder 20">
            <a:extLst>
              <a:ext uri="{FF2B5EF4-FFF2-40B4-BE49-F238E27FC236}">
                <a16:creationId xmlns:a16="http://schemas.microsoft.com/office/drawing/2014/main" id="{31A2F491-F043-7829-889E-CC01ADD3DF5F}"/>
              </a:ext>
            </a:extLst>
          </p:cNvPr>
          <p:cNvSpPr>
            <a:spLocks noGrp="1"/>
          </p:cNvSpPr>
          <p:nvPr>
            <p:ph type="body" sz="quarter" idx="33" hasCustomPrompt="1"/>
          </p:nvPr>
        </p:nvSpPr>
        <p:spPr>
          <a:xfrm>
            <a:off x="6272415" y="4830741"/>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4" name="Text Placeholder 20">
            <a:extLst>
              <a:ext uri="{FF2B5EF4-FFF2-40B4-BE49-F238E27FC236}">
                <a16:creationId xmlns:a16="http://schemas.microsoft.com/office/drawing/2014/main" id="{450FF938-86F3-41D1-C772-3BB3B837341F}"/>
              </a:ext>
            </a:extLst>
          </p:cNvPr>
          <p:cNvSpPr>
            <a:spLocks noGrp="1"/>
          </p:cNvSpPr>
          <p:nvPr>
            <p:ph type="body" sz="quarter" idx="34" hasCustomPrompt="1"/>
          </p:nvPr>
        </p:nvSpPr>
        <p:spPr>
          <a:xfrm>
            <a:off x="6272415" y="3850003"/>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5" name="Rectangle 54">
            <a:extLst>
              <a:ext uri="{FF2B5EF4-FFF2-40B4-BE49-F238E27FC236}">
                <a16:creationId xmlns:a16="http://schemas.microsoft.com/office/drawing/2014/main" id="{F8392C24-170F-C3C9-8554-7D2FF1E002D9}"/>
              </a:ext>
            </a:extLst>
          </p:cNvPr>
          <p:cNvSpPr/>
          <p:nvPr userDrawn="1"/>
        </p:nvSpPr>
        <p:spPr>
          <a:xfrm>
            <a:off x="8775429" y="4673718"/>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56" name="Straight Connector 55">
            <a:extLst>
              <a:ext uri="{FF2B5EF4-FFF2-40B4-BE49-F238E27FC236}">
                <a16:creationId xmlns:a16="http://schemas.microsoft.com/office/drawing/2014/main" id="{9B9E750F-A21C-FCB9-4EFC-7BEA8BFE35C0}"/>
              </a:ext>
            </a:extLst>
          </p:cNvPr>
          <p:cNvCxnSpPr>
            <a:cxnSpLocks/>
          </p:cNvCxnSpPr>
          <p:nvPr userDrawn="1"/>
        </p:nvCxnSpPr>
        <p:spPr>
          <a:xfrm>
            <a:off x="8775429" y="4660605"/>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57" name="Text Placeholder 20">
            <a:extLst>
              <a:ext uri="{FF2B5EF4-FFF2-40B4-BE49-F238E27FC236}">
                <a16:creationId xmlns:a16="http://schemas.microsoft.com/office/drawing/2014/main" id="{DB2B63C6-9F13-A41E-F5D4-B1F419019F2E}"/>
              </a:ext>
            </a:extLst>
          </p:cNvPr>
          <p:cNvSpPr>
            <a:spLocks noGrp="1"/>
          </p:cNvSpPr>
          <p:nvPr>
            <p:ph type="body" sz="quarter" idx="35" hasCustomPrompt="1"/>
          </p:nvPr>
        </p:nvSpPr>
        <p:spPr>
          <a:xfrm>
            <a:off x="8950299" y="4830741"/>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8" name="Text Placeholder 20">
            <a:extLst>
              <a:ext uri="{FF2B5EF4-FFF2-40B4-BE49-F238E27FC236}">
                <a16:creationId xmlns:a16="http://schemas.microsoft.com/office/drawing/2014/main" id="{A121C4C7-0C16-A825-2C55-2F10B1BA2063}"/>
              </a:ext>
            </a:extLst>
          </p:cNvPr>
          <p:cNvSpPr>
            <a:spLocks noGrp="1"/>
          </p:cNvSpPr>
          <p:nvPr>
            <p:ph type="body" sz="quarter" idx="36" hasCustomPrompt="1"/>
          </p:nvPr>
        </p:nvSpPr>
        <p:spPr>
          <a:xfrm>
            <a:off x="8950299" y="3850003"/>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9" name="Title 1">
            <a:extLst>
              <a:ext uri="{FF2B5EF4-FFF2-40B4-BE49-F238E27FC236}">
                <a16:creationId xmlns:a16="http://schemas.microsoft.com/office/drawing/2014/main" id="{9B587442-3116-C0A0-18F9-7A897267D819}"/>
              </a:ext>
            </a:extLst>
          </p:cNvPr>
          <p:cNvSpPr>
            <a:spLocks noGrp="1"/>
          </p:cNvSpPr>
          <p:nvPr>
            <p:ph type="title" hasCustomPrompt="1"/>
          </p:nvPr>
        </p:nvSpPr>
        <p:spPr>
          <a:xfrm>
            <a:off x="741777" y="365126"/>
            <a:ext cx="10671895" cy="99368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42" name="Bilde 3">
            <a:extLst>
              <a:ext uri="{FF2B5EF4-FFF2-40B4-BE49-F238E27FC236}">
                <a16:creationId xmlns:a16="http://schemas.microsoft.com/office/drawing/2014/main" id="{1E180836-C789-8619-DB8A-CE3F0915A7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47" name="Date Placeholder 2">
            <a:extLst>
              <a:ext uri="{FF2B5EF4-FFF2-40B4-BE49-F238E27FC236}">
                <a16:creationId xmlns:a16="http://schemas.microsoft.com/office/drawing/2014/main" id="{40EC078F-DB36-1601-92FF-770899727D07}"/>
              </a:ext>
            </a:extLst>
          </p:cNvPr>
          <p:cNvSpPr>
            <a:spLocks noGrp="1"/>
          </p:cNvSpPr>
          <p:nvPr>
            <p:ph type="dt" sz="half" idx="16"/>
          </p:nvPr>
        </p:nvSpPr>
        <p:spPr>
          <a:xfrm>
            <a:off x="2303627" y="6492875"/>
            <a:ext cx="528585" cy="365125"/>
          </a:xfrm>
        </p:spPr>
        <p:txBody>
          <a:bodyPr/>
          <a:lstStyle/>
          <a:p>
            <a:fld id="{7ACC4505-86D6-EB4A-AFD1-DFF583DE9CB9}" type="datetime1">
              <a:rPr lang="nb-NO" smtClean="0"/>
              <a:t>20.08.2024</a:t>
            </a:fld>
            <a:endParaRPr lang="en-US"/>
          </a:p>
        </p:txBody>
      </p:sp>
      <p:sp>
        <p:nvSpPr>
          <p:cNvPr id="60" name="Footer Placeholder 3">
            <a:extLst>
              <a:ext uri="{FF2B5EF4-FFF2-40B4-BE49-F238E27FC236}">
                <a16:creationId xmlns:a16="http://schemas.microsoft.com/office/drawing/2014/main" id="{39F40227-679D-0B79-92F0-5999FCFA70E5}"/>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61" name="Slide Number Placeholder 4">
            <a:extLst>
              <a:ext uri="{FF2B5EF4-FFF2-40B4-BE49-F238E27FC236}">
                <a16:creationId xmlns:a16="http://schemas.microsoft.com/office/drawing/2014/main" id="{29A40919-D39A-66B3-F03F-0EBE8A9FA2A3}"/>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7943256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72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8" name="Title 1">
            <a:extLst>
              <a:ext uri="{FF2B5EF4-FFF2-40B4-BE49-F238E27FC236}">
                <a16:creationId xmlns:a16="http://schemas.microsoft.com/office/drawing/2014/main" id="{24C98934-0BC0-6144-9BC0-31616D8C2519}"/>
              </a:ext>
            </a:extLst>
          </p:cNvPr>
          <p:cNvSpPr>
            <a:spLocks noGrp="1"/>
          </p:cNvSpPr>
          <p:nvPr>
            <p:ph type="title" hasCustomPrompt="1"/>
          </p:nvPr>
        </p:nvSpPr>
        <p:spPr>
          <a:xfrm>
            <a:off x="741777" y="365126"/>
            <a:ext cx="10671895" cy="1036620"/>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0" name="Bilde 3">
            <a:extLst>
              <a:ext uri="{FF2B5EF4-FFF2-40B4-BE49-F238E27FC236}">
                <a16:creationId xmlns:a16="http://schemas.microsoft.com/office/drawing/2014/main" id="{8F41D518-6784-585C-BEDA-150EF2A499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1" name="Text Placeholder 20">
            <a:extLst>
              <a:ext uri="{FF2B5EF4-FFF2-40B4-BE49-F238E27FC236}">
                <a16:creationId xmlns:a16="http://schemas.microsoft.com/office/drawing/2014/main" id="{0D31FB67-27C8-9D49-44F1-EDEDC8A9FD23}"/>
              </a:ext>
            </a:extLst>
          </p:cNvPr>
          <p:cNvSpPr>
            <a:spLocks noGrp="1"/>
          </p:cNvSpPr>
          <p:nvPr>
            <p:ph type="body" sz="quarter" idx="22" hasCustomPrompt="1"/>
          </p:nvPr>
        </p:nvSpPr>
        <p:spPr>
          <a:xfrm>
            <a:off x="731837" y="1555199"/>
            <a:ext cx="10559013" cy="314610"/>
          </a:xfrm>
          <a:prstGeom prst="rect">
            <a:avLst/>
          </a:prstGeom>
        </p:spPr>
        <p:txBody>
          <a:bodyPr anchor="t">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2" name="Text Placeholder 20">
            <a:extLst>
              <a:ext uri="{FF2B5EF4-FFF2-40B4-BE49-F238E27FC236}">
                <a16:creationId xmlns:a16="http://schemas.microsoft.com/office/drawing/2014/main" id="{69679182-FAE3-13C5-B33C-B5EB0EE5763E}"/>
              </a:ext>
            </a:extLst>
          </p:cNvPr>
          <p:cNvSpPr>
            <a:spLocks noGrp="1"/>
          </p:cNvSpPr>
          <p:nvPr>
            <p:ph type="body" sz="quarter" idx="15" hasCustomPrompt="1"/>
          </p:nvPr>
        </p:nvSpPr>
        <p:spPr>
          <a:xfrm>
            <a:off x="741776" y="2017226"/>
            <a:ext cx="10549075" cy="4035704"/>
          </a:xfrm>
          <a:prstGeom prst="rect">
            <a:avLst/>
          </a:prstGeom>
        </p:spPr>
        <p:txBody>
          <a:bodyPr anchor="t">
            <a:noAutofit/>
          </a:bodyPr>
          <a:lstStyle>
            <a:lvl1pPr marL="0" indent="0">
              <a:buNone/>
              <a:defRPr sz="12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3" name="Date Placeholder 2">
            <a:extLst>
              <a:ext uri="{FF2B5EF4-FFF2-40B4-BE49-F238E27FC236}">
                <a16:creationId xmlns:a16="http://schemas.microsoft.com/office/drawing/2014/main" id="{DD2C5759-92AC-9F4E-F31D-6058BE479403}"/>
              </a:ext>
            </a:extLst>
          </p:cNvPr>
          <p:cNvSpPr>
            <a:spLocks noGrp="1"/>
          </p:cNvSpPr>
          <p:nvPr>
            <p:ph type="dt" sz="half" idx="16"/>
          </p:nvPr>
        </p:nvSpPr>
        <p:spPr>
          <a:xfrm>
            <a:off x="2303627" y="6492875"/>
            <a:ext cx="528585" cy="365125"/>
          </a:xfrm>
        </p:spPr>
        <p:txBody>
          <a:bodyPr/>
          <a:lstStyle/>
          <a:p>
            <a:fld id="{80E417B3-1F46-B84E-88AB-5642ACE06235}" type="datetime1">
              <a:rPr lang="nb-NO" smtClean="0"/>
              <a:t>20.08.2024</a:t>
            </a:fld>
            <a:endParaRPr lang="en-US"/>
          </a:p>
        </p:txBody>
      </p:sp>
      <p:sp>
        <p:nvSpPr>
          <p:cNvPr id="14" name="Footer Placeholder 3">
            <a:extLst>
              <a:ext uri="{FF2B5EF4-FFF2-40B4-BE49-F238E27FC236}">
                <a16:creationId xmlns:a16="http://schemas.microsoft.com/office/drawing/2014/main" id="{B9BAD17B-B40E-C4E1-1CDA-75F73720EFCA}"/>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15" name="Slide Number Placeholder 4">
            <a:extLst>
              <a:ext uri="{FF2B5EF4-FFF2-40B4-BE49-F238E27FC236}">
                <a16:creationId xmlns:a16="http://schemas.microsoft.com/office/drawing/2014/main" id="{4FE82372-A133-AD73-D04A-C2CFD2C25714}"/>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5976007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guide id="2" pos="660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0_Custom Layou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011D626-3DE3-B061-399E-A199D5C50ED2}"/>
              </a:ext>
            </a:extLst>
          </p:cNvPr>
          <p:cNvGrpSpPr/>
          <p:nvPr userDrawn="1"/>
        </p:nvGrpSpPr>
        <p:grpSpPr>
          <a:xfrm>
            <a:off x="741777" y="2466299"/>
            <a:ext cx="2568674" cy="3483187"/>
            <a:chOff x="741777" y="3009688"/>
            <a:chExt cx="3168000" cy="2705311"/>
          </a:xfrm>
        </p:grpSpPr>
        <p:sp>
          <p:nvSpPr>
            <p:cNvPr id="26" name="Rectangle 25">
              <a:extLst>
                <a:ext uri="{FF2B5EF4-FFF2-40B4-BE49-F238E27FC236}">
                  <a16:creationId xmlns:a16="http://schemas.microsoft.com/office/drawing/2014/main" id="{964B2FCB-A9B0-4145-B29B-AD456C94D7C2}"/>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8" name="Straight Connector 27">
              <a:extLst>
                <a:ext uri="{FF2B5EF4-FFF2-40B4-BE49-F238E27FC236}">
                  <a16:creationId xmlns:a16="http://schemas.microsoft.com/office/drawing/2014/main" id="{17FD8ADB-B041-7841-B1C3-28DBA168A7C7}"/>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50" name="Text Placeholder 20">
            <a:extLst>
              <a:ext uri="{FF2B5EF4-FFF2-40B4-BE49-F238E27FC236}">
                <a16:creationId xmlns:a16="http://schemas.microsoft.com/office/drawing/2014/main" id="{0AB8628E-6620-874B-85B8-393DA4676167}"/>
              </a:ext>
            </a:extLst>
          </p:cNvPr>
          <p:cNvSpPr>
            <a:spLocks noGrp="1"/>
          </p:cNvSpPr>
          <p:nvPr>
            <p:ph type="body" sz="quarter" idx="19" hasCustomPrompt="1"/>
          </p:nvPr>
        </p:nvSpPr>
        <p:spPr>
          <a:xfrm>
            <a:off x="916647" y="2636434"/>
            <a:ext cx="2218440" cy="3165235"/>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ext Placeholder 20">
            <a:extLst>
              <a:ext uri="{FF2B5EF4-FFF2-40B4-BE49-F238E27FC236}">
                <a16:creationId xmlns:a16="http://schemas.microsoft.com/office/drawing/2014/main" id="{1CA6145D-0C72-F541-BE9A-355F095B9528}"/>
              </a:ext>
            </a:extLst>
          </p:cNvPr>
          <p:cNvSpPr>
            <a:spLocks noGrp="1"/>
          </p:cNvSpPr>
          <p:nvPr>
            <p:ph type="body" sz="quarter" idx="22" hasCustomPrompt="1"/>
          </p:nvPr>
        </p:nvSpPr>
        <p:spPr>
          <a:xfrm>
            <a:off x="916647" y="1655697"/>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grpSp>
        <p:nvGrpSpPr>
          <p:cNvPr id="36" name="Group 35">
            <a:extLst>
              <a:ext uri="{FF2B5EF4-FFF2-40B4-BE49-F238E27FC236}">
                <a16:creationId xmlns:a16="http://schemas.microsoft.com/office/drawing/2014/main" id="{10FCA0BF-9E4E-438D-86BD-D6CE1C6532F4}"/>
              </a:ext>
            </a:extLst>
          </p:cNvPr>
          <p:cNvGrpSpPr/>
          <p:nvPr userDrawn="1"/>
        </p:nvGrpSpPr>
        <p:grpSpPr>
          <a:xfrm>
            <a:off x="3419661" y="2466299"/>
            <a:ext cx="2568674" cy="3483187"/>
            <a:chOff x="741777" y="3009688"/>
            <a:chExt cx="3168000" cy="2705311"/>
          </a:xfrm>
        </p:grpSpPr>
        <p:sp>
          <p:nvSpPr>
            <p:cNvPr id="38" name="Rectangle 37">
              <a:extLst>
                <a:ext uri="{FF2B5EF4-FFF2-40B4-BE49-F238E27FC236}">
                  <a16:creationId xmlns:a16="http://schemas.microsoft.com/office/drawing/2014/main" id="{9371083E-173B-64B6-90DB-3932E95AE3CE}"/>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9" name="Straight Connector 38">
              <a:extLst>
                <a:ext uri="{FF2B5EF4-FFF2-40B4-BE49-F238E27FC236}">
                  <a16:creationId xmlns:a16="http://schemas.microsoft.com/office/drawing/2014/main" id="{50410FC9-B8E7-3F8D-595B-42FB6FEA213B}"/>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40" name="Text Placeholder 20">
            <a:extLst>
              <a:ext uri="{FF2B5EF4-FFF2-40B4-BE49-F238E27FC236}">
                <a16:creationId xmlns:a16="http://schemas.microsoft.com/office/drawing/2014/main" id="{81692953-2040-E900-7B7B-F1391A6919F4}"/>
              </a:ext>
            </a:extLst>
          </p:cNvPr>
          <p:cNvSpPr>
            <a:spLocks noGrp="1"/>
          </p:cNvSpPr>
          <p:nvPr>
            <p:ph type="body" sz="quarter" idx="23" hasCustomPrompt="1"/>
          </p:nvPr>
        </p:nvSpPr>
        <p:spPr>
          <a:xfrm>
            <a:off x="3594531" y="2636434"/>
            <a:ext cx="2218440" cy="3165235"/>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1" name="Text Placeholder 20">
            <a:extLst>
              <a:ext uri="{FF2B5EF4-FFF2-40B4-BE49-F238E27FC236}">
                <a16:creationId xmlns:a16="http://schemas.microsoft.com/office/drawing/2014/main" id="{99CAF562-9E6C-E9A1-8784-3B5643C9B56C}"/>
              </a:ext>
            </a:extLst>
          </p:cNvPr>
          <p:cNvSpPr>
            <a:spLocks noGrp="1"/>
          </p:cNvSpPr>
          <p:nvPr>
            <p:ph type="body" sz="quarter" idx="24" hasCustomPrompt="1"/>
          </p:nvPr>
        </p:nvSpPr>
        <p:spPr>
          <a:xfrm>
            <a:off x="3594531" y="1655697"/>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grpSp>
        <p:nvGrpSpPr>
          <p:cNvPr id="42" name="Group 41">
            <a:extLst>
              <a:ext uri="{FF2B5EF4-FFF2-40B4-BE49-F238E27FC236}">
                <a16:creationId xmlns:a16="http://schemas.microsoft.com/office/drawing/2014/main" id="{3BC38829-0CB0-DAC5-3FD3-5F83FAD74D25}"/>
              </a:ext>
            </a:extLst>
          </p:cNvPr>
          <p:cNvGrpSpPr/>
          <p:nvPr userDrawn="1"/>
        </p:nvGrpSpPr>
        <p:grpSpPr>
          <a:xfrm>
            <a:off x="6097545" y="2466299"/>
            <a:ext cx="2568674" cy="3483187"/>
            <a:chOff x="741777" y="3009688"/>
            <a:chExt cx="3168000" cy="2705311"/>
          </a:xfrm>
        </p:grpSpPr>
        <p:sp>
          <p:nvSpPr>
            <p:cNvPr id="43" name="Rectangle 42">
              <a:extLst>
                <a:ext uri="{FF2B5EF4-FFF2-40B4-BE49-F238E27FC236}">
                  <a16:creationId xmlns:a16="http://schemas.microsoft.com/office/drawing/2014/main" id="{934B1946-4432-7FE4-DB63-2FEDA29EC05B}"/>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44" name="Straight Connector 43">
              <a:extLst>
                <a:ext uri="{FF2B5EF4-FFF2-40B4-BE49-F238E27FC236}">
                  <a16:creationId xmlns:a16="http://schemas.microsoft.com/office/drawing/2014/main" id="{947D6BC6-595C-82B9-6399-4E27F2A595EC}"/>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45" name="Text Placeholder 20">
            <a:extLst>
              <a:ext uri="{FF2B5EF4-FFF2-40B4-BE49-F238E27FC236}">
                <a16:creationId xmlns:a16="http://schemas.microsoft.com/office/drawing/2014/main" id="{F8FE9088-EF4C-3223-9561-5AA13C2DA0BC}"/>
              </a:ext>
            </a:extLst>
          </p:cNvPr>
          <p:cNvSpPr>
            <a:spLocks noGrp="1"/>
          </p:cNvSpPr>
          <p:nvPr>
            <p:ph type="body" sz="quarter" idx="25" hasCustomPrompt="1"/>
          </p:nvPr>
        </p:nvSpPr>
        <p:spPr>
          <a:xfrm>
            <a:off x="6272415" y="2636434"/>
            <a:ext cx="2218440" cy="3165235"/>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FDAFBEA9-6483-A006-3BCE-3E336865EB86}"/>
              </a:ext>
            </a:extLst>
          </p:cNvPr>
          <p:cNvSpPr>
            <a:spLocks noGrp="1"/>
          </p:cNvSpPr>
          <p:nvPr>
            <p:ph type="body" sz="quarter" idx="26" hasCustomPrompt="1"/>
          </p:nvPr>
        </p:nvSpPr>
        <p:spPr>
          <a:xfrm>
            <a:off x="6272415" y="1655697"/>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grpSp>
        <p:nvGrpSpPr>
          <p:cNvPr id="47" name="Group 46">
            <a:extLst>
              <a:ext uri="{FF2B5EF4-FFF2-40B4-BE49-F238E27FC236}">
                <a16:creationId xmlns:a16="http://schemas.microsoft.com/office/drawing/2014/main" id="{B49072DD-A0AB-BA37-188D-A6CBE2760790}"/>
              </a:ext>
            </a:extLst>
          </p:cNvPr>
          <p:cNvGrpSpPr/>
          <p:nvPr userDrawn="1"/>
        </p:nvGrpSpPr>
        <p:grpSpPr>
          <a:xfrm>
            <a:off x="8775429" y="2466299"/>
            <a:ext cx="2568674" cy="3483187"/>
            <a:chOff x="741777" y="3009688"/>
            <a:chExt cx="3168000" cy="2705311"/>
          </a:xfrm>
        </p:grpSpPr>
        <p:sp>
          <p:nvSpPr>
            <p:cNvPr id="49" name="Rectangle 48">
              <a:extLst>
                <a:ext uri="{FF2B5EF4-FFF2-40B4-BE49-F238E27FC236}">
                  <a16:creationId xmlns:a16="http://schemas.microsoft.com/office/drawing/2014/main" id="{43226A65-F603-7E9F-1818-EB37E0ADFE01}"/>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51" name="Straight Connector 50">
              <a:extLst>
                <a:ext uri="{FF2B5EF4-FFF2-40B4-BE49-F238E27FC236}">
                  <a16:creationId xmlns:a16="http://schemas.microsoft.com/office/drawing/2014/main" id="{72CD8099-2E22-CF35-A54D-8A6B45292651}"/>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52" name="Text Placeholder 20">
            <a:extLst>
              <a:ext uri="{FF2B5EF4-FFF2-40B4-BE49-F238E27FC236}">
                <a16:creationId xmlns:a16="http://schemas.microsoft.com/office/drawing/2014/main" id="{D2A91264-00E1-4BD3-293E-BE40AAD98C5F}"/>
              </a:ext>
            </a:extLst>
          </p:cNvPr>
          <p:cNvSpPr>
            <a:spLocks noGrp="1"/>
          </p:cNvSpPr>
          <p:nvPr>
            <p:ph type="body" sz="quarter" idx="27" hasCustomPrompt="1"/>
          </p:nvPr>
        </p:nvSpPr>
        <p:spPr>
          <a:xfrm>
            <a:off x="8950299" y="2636434"/>
            <a:ext cx="2218440" cy="3165235"/>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3" name="Text Placeholder 20">
            <a:extLst>
              <a:ext uri="{FF2B5EF4-FFF2-40B4-BE49-F238E27FC236}">
                <a16:creationId xmlns:a16="http://schemas.microsoft.com/office/drawing/2014/main" id="{7AE9B17A-9DE8-3C9E-DDDC-CA860B6819B3}"/>
              </a:ext>
            </a:extLst>
          </p:cNvPr>
          <p:cNvSpPr>
            <a:spLocks noGrp="1"/>
          </p:cNvSpPr>
          <p:nvPr>
            <p:ph type="body" sz="quarter" idx="28" hasCustomPrompt="1"/>
          </p:nvPr>
        </p:nvSpPr>
        <p:spPr>
          <a:xfrm>
            <a:off x="8950299" y="1655697"/>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4" name="Title 1">
            <a:extLst>
              <a:ext uri="{FF2B5EF4-FFF2-40B4-BE49-F238E27FC236}">
                <a16:creationId xmlns:a16="http://schemas.microsoft.com/office/drawing/2014/main" id="{4CBCEBE8-4452-D323-6817-17EE7B63E7D9}"/>
              </a:ext>
            </a:extLst>
          </p:cNvPr>
          <p:cNvSpPr>
            <a:spLocks noGrp="1"/>
          </p:cNvSpPr>
          <p:nvPr>
            <p:ph type="title" hasCustomPrompt="1"/>
          </p:nvPr>
        </p:nvSpPr>
        <p:spPr>
          <a:xfrm>
            <a:off x="741777" y="365126"/>
            <a:ext cx="10671895" cy="1072413"/>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9" name="Bilde 3">
            <a:extLst>
              <a:ext uri="{FF2B5EF4-FFF2-40B4-BE49-F238E27FC236}">
                <a16:creationId xmlns:a16="http://schemas.microsoft.com/office/drawing/2014/main" id="{83CBD614-335B-27CF-E780-42F6959997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0" name="Date Placeholder 2">
            <a:extLst>
              <a:ext uri="{FF2B5EF4-FFF2-40B4-BE49-F238E27FC236}">
                <a16:creationId xmlns:a16="http://schemas.microsoft.com/office/drawing/2014/main" id="{E001BFB9-41A9-46E7-0739-121E9A9F8FD7}"/>
              </a:ext>
            </a:extLst>
          </p:cNvPr>
          <p:cNvSpPr>
            <a:spLocks noGrp="1"/>
          </p:cNvSpPr>
          <p:nvPr>
            <p:ph type="dt" sz="half" idx="16"/>
          </p:nvPr>
        </p:nvSpPr>
        <p:spPr>
          <a:xfrm>
            <a:off x="2303627" y="6492875"/>
            <a:ext cx="528585" cy="365125"/>
          </a:xfrm>
        </p:spPr>
        <p:txBody>
          <a:bodyPr/>
          <a:lstStyle/>
          <a:p>
            <a:fld id="{FC931471-FC46-5A45-8137-E390DF811DF3}" type="datetime1">
              <a:rPr lang="nb-NO" smtClean="0"/>
              <a:t>20.08.2024</a:t>
            </a:fld>
            <a:endParaRPr lang="en-US"/>
          </a:p>
        </p:txBody>
      </p:sp>
      <p:sp>
        <p:nvSpPr>
          <p:cNvPr id="31" name="Footer Placeholder 3">
            <a:extLst>
              <a:ext uri="{FF2B5EF4-FFF2-40B4-BE49-F238E27FC236}">
                <a16:creationId xmlns:a16="http://schemas.microsoft.com/office/drawing/2014/main" id="{F8DD2AE9-39A5-3C89-9B7E-E313A23E435B}"/>
              </a:ext>
            </a:extLst>
          </p:cNvPr>
          <p:cNvSpPr>
            <a:spLocks noGrp="1"/>
          </p:cNvSpPr>
          <p:nvPr>
            <p:ph type="ftr" sz="quarter" idx="17"/>
          </p:nvPr>
        </p:nvSpPr>
        <p:spPr>
          <a:xfrm>
            <a:off x="175116" y="6492875"/>
            <a:ext cx="2107096" cy="365125"/>
          </a:xfrm>
        </p:spPr>
        <p:txBody>
          <a:bodyPr/>
          <a:lstStyle/>
          <a:p>
            <a:r>
              <a:rPr lang="en-US"/>
              <a:t>© StrongPoint 2022</a:t>
            </a:r>
          </a:p>
        </p:txBody>
      </p:sp>
      <p:sp>
        <p:nvSpPr>
          <p:cNvPr id="32" name="Slide Number Placeholder 4">
            <a:extLst>
              <a:ext uri="{FF2B5EF4-FFF2-40B4-BE49-F238E27FC236}">
                <a16:creationId xmlns:a16="http://schemas.microsoft.com/office/drawing/2014/main" id="{CF06A512-AED3-A481-0B29-F7227D9E7699}"/>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6043253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userDrawn="1">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71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6" name="Title 1">
            <a:extLst>
              <a:ext uri="{FF2B5EF4-FFF2-40B4-BE49-F238E27FC236}">
                <a16:creationId xmlns:a16="http://schemas.microsoft.com/office/drawing/2014/main" id="{B4A3ECC9-8F4D-E101-59A0-077077FE57B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8" name="Bilde 3">
            <a:extLst>
              <a:ext uri="{FF2B5EF4-FFF2-40B4-BE49-F238E27FC236}">
                <a16:creationId xmlns:a16="http://schemas.microsoft.com/office/drawing/2014/main" id="{3420C06F-BD3E-F705-FE57-5A3BA80667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9" name="Date Placeholder 2">
            <a:extLst>
              <a:ext uri="{FF2B5EF4-FFF2-40B4-BE49-F238E27FC236}">
                <a16:creationId xmlns:a16="http://schemas.microsoft.com/office/drawing/2014/main" id="{3715DC52-4B33-BE62-CDE3-71452BD46731}"/>
              </a:ext>
            </a:extLst>
          </p:cNvPr>
          <p:cNvSpPr>
            <a:spLocks noGrp="1"/>
          </p:cNvSpPr>
          <p:nvPr>
            <p:ph type="dt" sz="half" idx="16"/>
          </p:nvPr>
        </p:nvSpPr>
        <p:spPr>
          <a:xfrm>
            <a:off x="2303627" y="6492875"/>
            <a:ext cx="528585" cy="365125"/>
          </a:xfrm>
        </p:spPr>
        <p:txBody>
          <a:bodyPr/>
          <a:lstStyle/>
          <a:p>
            <a:fld id="{BFBA4834-A04D-3746-9956-FB85C35CCB93}" type="datetime1">
              <a:rPr lang="nb-NO" smtClean="0"/>
              <a:t>20.08.2024</a:t>
            </a:fld>
            <a:endParaRPr lang="en-US"/>
          </a:p>
        </p:txBody>
      </p:sp>
      <p:sp>
        <p:nvSpPr>
          <p:cNvPr id="10" name="Footer Placeholder 3">
            <a:extLst>
              <a:ext uri="{FF2B5EF4-FFF2-40B4-BE49-F238E27FC236}">
                <a16:creationId xmlns:a16="http://schemas.microsoft.com/office/drawing/2014/main" id="{1C77C9C1-3D73-870B-D81D-B51E5E3A470C}"/>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11" name="Slide Number Placeholder 4">
            <a:extLst>
              <a:ext uri="{FF2B5EF4-FFF2-40B4-BE49-F238E27FC236}">
                <a16:creationId xmlns:a16="http://schemas.microsoft.com/office/drawing/2014/main" id="{67F64C78-F787-DDB6-45BD-07EC8DE8E7D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908717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guide id="2" pos="6607">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70_Custom Layout">
    <p:bg>
      <p:bgPr>
        <a:solidFill>
          <a:schemeClr val="accent3"/>
        </a:solidFill>
        <a:effectLst/>
      </p:bgPr>
    </p:bg>
    <p:spTree>
      <p:nvGrpSpPr>
        <p:cNvPr id="1" name=""/>
        <p:cNvGrpSpPr/>
        <p:nvPr/>
      </p:nvGrpSpPr>
      <p:grpSpPr>
        <a:xfrm>
          <a:off x="0" y="0"/>
          <a:ext cx="0" cy="0"/>
          <a:chOff x="0" y="0"/>
          <a:chExt cx="0" cy="0"/>
        </a:xfrm>
      </p:grpSpPr>
      <p:pic>
        <p:nvPicPr>
          <p:cNvPr id="23" name="Bilde 3">
            <a:extLst>
              <a:ext uri="{FF2B5EF4-FFF2-40B4-BE49-F238E27FC236}">
                <a16:creationId xmlns:a16="http://schemas.microsoft.com/office/drawing/2014/main" id="{D00E2AFF-DEA5-0D40-A283-8310B81ED59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6" name="Title 1">
            <a:extLst>
              <a:ext uri="{FF2B5EF4-FFF2-40B4-BE49-F238E27FC236}">
                <a16:creationId xmlns:a16="http://schemas.microsoft.com/office/drawing/2014/main" id="{B4A3ECC9-8F4D-E101-59A0-077077FE57B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bg1"/>
                </a:solidFill>
                <a:latin typeface="Helvetica Light" panose="020B0403020202020204" pitchFamily="34" charset="0"/>
              </a:defRPr>
            </a:lvl1pPr>
          </a:lstStyle>
          <a:p>
            <a:r>
              <a:rPr lang="en-GB"/>
              <a:t>Slide title here</a:t>
            </a:r>
            <a:endParaRPr lang="en-US"/>
          </a:p>
        </p:txBody>
      </p:sp>
      <p:cxnSp>
        <p:nvCxnSpPr>
          <p:cNvPr id="7" name="Straight Connector 6">
            <a:extLst>
              <a:ext uri="{FF2B5EF4-FFF2-40B4-BE49-F238E27FC236}">
                <a16:creationId xmlns:a16="http://schemas.microsoft.com/office/drawing/2014/main" id="{795D36FA-32FE-D914-4600-645D7F8B4F09}"/>
              </a:ext>
            </a:extLst>
          </p:cNvPr>
          <p:cNvCxnSpPr>
            <a:cxnSpLocks/>
          </p:cNvCxnSpPr>
          <p:nvPr userDrawn="1"/>
        </p:nvCxnSpPr>
        <p:spPr>
          <a:xfrm>
            <a:off x="259644" y="6415094"/>
            <a:ext cx="1165729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Date Placeholder 2">
            <a:extLst>
              <a:ext uri="{FF2B5EF4-FFF2-40B4-BE49-F238E27FC236}">
                <a16:creationId xmlns:a16="http://schemas.microsoft.com/office/drawing/2014/main" id="{215FB111-AAF3-6032-3C9E-731E726A2869}"/>
              </a:ext>
            </a:extLst>
          </p:cNvPr>
          <p:cNvSpPr>
            <a:spLocks noGrp="1"/>
          </p:cNvSpPr>
          <p:nvPr>
            <p:ph type="dt" sz="half" idx="16"/>
          </p:nvPr>
        </p:nvSpPr>
        <p:spPr>
          <a:xfrm>
            <a:off x="2303627" y="6492875"/>
            <a:ext cx="528585" cy="365125"/>
          </a:xfrm>
        </p:spPr>
        <p:txBody>
          <a:bodyPr/>
          <a:lstStyle/>
          <a:p>
            <a:fld id="{FEC27428-B2BF-F043-8AA8-12CAD9E9F693}" type="datetime1">
              <a:rPr lang="nb-NO" smtClean="0"/>
              <a:t>20.08.2024</a:t>
            </a:fld>
            <a:endParaRPr lang="en-US"/>
          </a:p>
        </p:txBody>
      </p:sp>
      <p:sp>
        <p:nvSpPr>
          <p:cNvPr id="12" name="Footer Placeholder 3">
            <a:extLst>
              <a:ext uri="{FF2B5EF4-FFF2-40B4-BE49-F238E27FC236}">
                <a16:creationId xmlns:a16="http://schemas.microsoft.com/office/drawing/2014/main" id="{C9CF8A18-7C8B-000D-F346-39DC81A61DB3}"/>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13" name="Slide Number Placeholder 4">
            <a:extLst>
              <a:ext uri="{FF2B5EF4-FFF2-40B4-BE49-F238E27FC236}">
                <a16:creationId xmlns:a16="http://schemas.microsoft.com/office/drawing/2014/main" id="{E583F702-8D79-7A26-D8A6-4AA71B0DFC52}"/>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75162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guide id="2" pos="6607">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grpSp>
        <p:nvGrpSpPr>
          <p:cNvPr id="19" name="Group 18">
            <a:extLst>
              <a:ext uri="{FF2B5EF4-FFF2-40B4-BE49-F238E27FC236}">
                <a16:creationId xmlns:a16="http://schemas.microsoft.com/office/drawing/2014/main" id="{B2E54100-83F6-3840-9740-66AEE324BF5D}"/>
              </a:ext>
            </a:extLst>
          </p:cNvPr>
          <p:cNvGrpSpPr/>
          <p:nvPr/>
        </p:nvGrpSpPr>
        <p:grpSpPr>
          <a:xfrm>
            <a:off x="1187723" y="1964633"/>
            <a:ext cx="9298521" cy="1070771"/>
            <a:chOff x="558331" y="2312872"/>
            <a:chExt cx="9298521" cy="756000"/>
          </a:xfrm>
        </p:grpSpPr>
        <p:sp>
          <p:nvSpPr>
            <p:cNvPr id="20" name="Rectangle 19">
              <a:extLst>
                <a:ext uri="{FF2B5EF4-FFF2-40B4-BE49-F238E27FC236}">
                  <a16:creationId xmlns:a16="http://schemas.microsoft.com/office/drawing/2014/main" id="{68E4597E-D37D-6D49-A946-1A166440BD7E}"/>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1273524" y="2040887"/>
            <a:ext cx="8988074" cy="942012"/>
          </a:xfrm>
          <a:prstGeom prst="rect">
            <a:avLst/>
          </a:prstGeom>
        </p:spPr>
        <p:txBody>
          <a:bodyPr anchor="ctr">
            <a:noAutofit/>
          </a:bodyPr>
          <a:lstStyle>
            <a:lvl1pPr>
              <a:defRPr sz="16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33" name="Group 32">
            <a:extLst>
              <a:ext uri="{FF2B5EF4-FFF2-40B4-BE49-F238E27FC236}">
                <a16:creationId xmlns:a16="http://schemas.microsoft.com/office/drawing/2014/main" id="{8CF6493A-85E1-3947-8DFF-8992C3EB5575}"/>
              </a:ext>
            </a:extLst>
          </p:cNvPr>
          <p:cNvGrpSpPr/>
          <p:nvPr/>
        </p:nvGrpSpPr>
        <p:grpSpPr>
          <a:xfrm>
            <a:off x="1187723" y="3221669"/>
            <a:ext cx="9298521" cy="1070771"/>
            <a:chOff x="558331" y="2312872"/>
            <a:chExt cx="9298521" cy="756000"/>
          </a:xfrm>
        </p:grpSpPr>
        <p:sp>
          <p:nvSpPr>
            <p:cNvPr id="34" name="Rectangle 33">
              <a:extLst>
                <a:ext uri="{FF2B5EF4-FFF2-40B4-BE49-F238E27FC236}">
                  <a16:creationId xmlns:a16="http://schemas.microsoft.com/office/drawing/2014/main" id="{5E8ECC9D-C46B-2A4B-BE5F-C9E1BCA7AAB3}"/>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5" name="Straight Connector 34">
              <a:extLst>
                <a:ext uri="{FF2B5EF4-FFF2-40B4-BE49-F238E27FC236}">
                  <a16:creationId xmlns:a16="http://schemas.microsoft.com/office/drawing/2014/main" id="{43F1115C-F8E4-1A46-B855-3890FC0AD164}"/>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9" name="Text Placeholder 20">
            <a:extLst>
              <a:ext uri="{FF2B5EF4-FFF2-40B4-BE49-F238E27FC236}">
                <a16:creationId xmlns:a16="http://schemas.microsoft.com/office/drawing/2014/main" id="{8AA3BD84-2566-4A4F-935C-DC90EF27B068}"/>
              </a:ext>
            </a:extLst>
          </p:cNvPr>
          <p:cNvSpPr>
            <a:spLocks noGrp="1"/>
          </p:cNvSpPr>
          <p:nvPr>
            <p:ph type="body" sz="quarter" idx="16" hasCustomPrompt="1"/>
          </p:nvPr>
        </p:nvSpPr>
        <p:spPr>
          <a:xfrm>
            <a:off x="1273524" y="3297923"/>
            <a:ext cx="8988074" cy="942012"/>
          </a:xfrm>
          <a:prstGeom prst="rect">
            <a:avLst/>
          </a:prstGeom>
        </p:spPr>
        <p:txBody>
          <a:bodyPr anchor="ctr">
            <a:noAutofit/>
          </a:bodyPr>
          <a:lstStyle>
            <a:lvl1pPr>
              <a:defRPr sz="16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40" name="Group 39">
            <a:extLst>
              <a:ext uri="{FF2B5EF4-FFF2-40B4-BE49-F238E27FC236}">
                <a16:creationId xmlns:a16="http://schemas.microsoft.com/office/drawing/2014/main" id="{988AB194-4E6C-E643-89BB-F483B519222E}"/>
              </a:ext>
            </a:extLst>
          </p:cNvPr>
          <p:cNvGrpSpPr/>
          <p:nvPr/>
        </p:nvGrpSpPr>
        <p:grpSpPr>
          <a:xfrm>
            <a:off x="1187723" y="4476771"/>
            <a:ext cx="9298521" cy="1070771"/>
            <a:chOff x="558331" y="2312872"/>
            <a:chExt cx="9298521" cy="756000"/>
          </a:xfrm>
        </p:grpSpPr>
        <p:sp>
          <p:nvSpPr>
            <p:cNvPr id="41" name="Rectangle 40">
              <a:extLst>
                <a:ext uri="{FF2B5EF4-FFF2-40B4-BE49-F238E27FC236}">
                  <a16:creationId xmlns:a16="http://schemas.microsoft.com/office/drawing/2014/main" id="{7B794547-A81B-B146-9F79-83EF1310EF3B}"/>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2" name="Straight Connector 41">
              <a:extLst>
                <a:ext uri="{FF2B5EF4-FFF2-40B4-BE49-F238E27FC236}">
                  <a16:creationId xmlns:a16="http://schemas.microsoft.com/office/drawing/2014/main" id="{1281F5AA-DC43-4A4F-9B6D-F2524A03C140}"/>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4" name="Text Placeholder 20">
            <a:extLst>
              <a:ext uri="{FF2B5EF4-FFF2-40B4-BE49-F238E27FC236}">
                <a16:creationId xmlns:a16="http://schemas.microsoft.com/office/drawing/2014/main" id="{BFEE6F6E-0ACE-CB4C-AE62-AD392FEF8D6B}"/>
              </a:ext>
            </a:extLst>
          </p:cNvPr>
          <p:cNvSpPr>
            <a:spLocks noGrp="1"/>
          </p:cNvSpPr>
          <p:nvPr>
            <p:ph type="body" sz="quarter" idx="17" hasCustomPrompt="1"/>
          </p:nvPr>
        </p:nvSpPr>
        <p:spPr>
          <a:xfrm>
            <a:off x="1273524" y="4553025"/>
            <a:ext cx="8988074" cy="942012"/>
          </a:xfrm>
          <a:prstGeom prst="rect">
            <a:avLst/>
          </a:prstGeom>
        </p:spPr>
        <p:txBody>
          <a:bodyPr anchor="ctr">
            <a:noAutofit/>
          </a:bodyPr>
          <a:lstStyle>
            <a:lvl1pPr>
              <a:defRPr sz="16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itle 1">
            <a:extLst>
              <a:ext uri="{FF2B5EF4-FFF2-40B4-BE49-F238E27FC236}">
                <a16:creationId xmlns:a16="http://schemas.microsoft.com/office/drawing/2014/main" id="{5A8ED574-45A5-BA5F-83D9-501C74743261}"/>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4" name="Bilde 3">
            <a:extLst>
              <a:ext uri="{FF2B5EF4-FFF2-40B4-BE49-F238E27FC236}">
                <a16:creationId xmlns:a16="http://schemas.microsoft.com/office/drawing/2014/main" id="{A611CCAD-80C3-06B4-705B-1B5115DACC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F9946F15-B6F1-AD65-1F0F-84F361170B27}"/>
              </a:ext>
            </a:extLst>
          </p:cNvPr>
          <p:cNvSpPr>
            <a:spLocks noGrp="1"/>
          </p:cNvSpPr>
          <p:nvPr>
            <p:ph type="dt" sz="half" idx="18"/>
          </p:nvPr>
        </p:nvSpPr>
        <p:spPr>
          <a:xfrm>
            <a:off x="2303627" y="6492875"/>
            <a:ext cx="528585" cy="365125"/>
          </a:xfrm>
        </p:spPr>
        <p:txBody>
          <a:bodyPr/>
          <a:lstStyle/>
          <a:p>
            <a:fld id="{7264E493-7B21-DD46-B5EB-9BB6E6710B58}" type="datetime1">
              <a:rPr lang="nb-NO" smtClean="0"/>
              <a:t>20.08.2024</a:t>
            </a:fld>
            <a:endParaRPr lang="en-US"/>
          </a:p>
        </p:txBody>
      </p:sp>
      <p:sp>
        <p:nvSpPr>
          <p:cNvPr id="25" name="Footer Placeholder 3">
            <a:extLst>
              <a:ext uri="{FF2B5EF4-FFF2-40B4-BE49-F238E27FC236}">
                <a16:creationId xmlns:a16="http://schemas.microsoft.com/office/drawing/2014/main" id="{D3677154-2D1D-755A-7A98-B9A188F49124}"/>
              </a:ext>
            </a:extLst>
          </p:cNvPr>
          <p:cNvSpPr>
            <a:spLocks noGrp="1"/>
          </p:cNvSpPr>
          <p:nvPr>
            <p:ph type="ftr" sz="quarter" idx="19"/>
          </p:nvPr>
        </p:nvSpPr>
        <p:spPr>
          <a:xfrm>
            <a:off x="175116" y="6492875"/>
            <a:ext cx="2107096" cy="365125"/>
          </a:xfrm>
        </p:spPr>
        <p:txBody>
          <a:bodyPr/>
          <a:lstStyle/>
          <a:p>
            <a:r>
              <a:rPr lang="en-US"/>
              <a:t>© StrongPoint 2022. All rights reserved.</a:t>
            </a:r>
          </a:p>
        </p:txBody>
      </p:sp>
      <p:sp>
        <p:nvSpPr>
          <p:cNvPr id="26" name="Slide Number Placeholder 4">
            <a:extLst>
              <a:ext uri="{FF2B5EF4-FFF2-40B4-BE49-F238E27FC236}">
                <a16:creationId xmlns:a16="http://schemas.microsoft.com/office/drawing/2014/main" id="{DC439C8F-6268-A04D-43C5-37B3E15F0B04}"/>
              </a:ext>
            </a:extLst>
          </p:cNvPr>
          <p:cNvSpPr>
            <a:spLocks noGrp="1"/>
          </p:cNvSpPr>
          <p:nvPr>
            <p:ph type="sldNum" sz="quarter" idx="20"/>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5138020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grpSp>
        <p:nvGrpSpPr>
          <p:cNvPr id="19" name="Group 18">
            <a:extLst>
              <a:ext uri="{FF2B5EF4-FFF2-40B4-BE49-F238E27FC236}">
                <a16:creationId xmlns:a16="http://schemas.microsoft.com/office/drawing/2014/main" id="{B2E54100-83F6-3840-9740-66AEE324BF5D}"/>
              </a:ext>
            </a:extLst>
          </p:cNvPr>
          <p:cNvGrpSpPr/>
          <p:nvPr/>
        </p:nvGrpSpPr>
        <p:grpSpPr>
          <a:xfrm>
            <a:off x="1187723" y="1869808"/>
            <a:ext cx="9298521" cy="863468"/>
            <a:chOff x="558331" y="2312872"/>
            <a:chExt cx="9298521" cy="756000"/>
          </a:xfrm>
        </p:grpSpPr>
        <p:sp>
          <p:nvSpPr>
            <p:cNvPr id="20" name="Rectangle 19">
              <a:extLst>
                <a:ext uri="{FF2B5EF4-FFF2-40B4-BE49-F238E27FC236}">
                  <a16:creationId xmlns:a16="http://schemas.microsoft.com/office/drawing/2014/main" id="{68E4597E-D37D-6D49-A946-1A166440BD7E}"/>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1273524" y="1946061"/>
            <a:ext cx="8988074"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17" name="Group 16">
            <a:extLst>
              <a:ext uri="{FF2B5EF4-FFF2-40B4-BE49-F238E27FC236}">
                <a16:creationId xmlns:a16="http://schemas.microsoft.com/office/drawing/2014/main" id="{3C27F867-309D-EA46-8C0F-93359D32C6CB}"/>
              </a:ext>
            </a:extLst>
          </p:cNvPr>
          <p:cNvGrpSpPr/>
          <p:nvPr/>
        </p:nvGrpSpPr>
        <p:grpSpPr>
          <a:xfrm>
            <a:off x="1187723" y="2835884"/>
            <a:ext cx="9298521" cy="863468"/>
            <a:chOff x="558331" y="2312872"/>
            <a:chExt cx="9298521" cy="756000"/>
          </a:xfrm>
        </p:grpSpPr>
        <p:sp>
          <p:nvSpPr>
            <p:cNvPr id="18" name="Rectangle 17">
              <a:extLst>
                <a:ext uri="{FF2B5EF4-FFF2-40B4-BE49-F238E27FC236}">
                  <a16:creationId xmlns:a16="http://schemas.microsoft.com/office/drawing/2014/main" id="{99E19D7A-E6A9-054C-AB01-00DB0026F10D}"/>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82A16F31-8845-CC4C-9AD4-2BC372F49F8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5" name="Text Placeholder 20">
            <a:extLst>
              <a:ext uri="{FF2B5EF4-FFF2-40B4-BE49-F238E27FC236}">
                <a16:creationId xmlns:a16="http://schemas.microsoft.com/office/drawing/2014/main" id="{FC0F6143-34C5-944F-BEB1-CDAB609C4E6E}"/>
              </a:ext>
            </a:extLst>
          </p:cNvPr>
          <p:cNvSpPr>
            <a:spLocks noGrp="1"/>
          </p:cNvSpPr>
          <p:nvPr>
            <p:ph type="body" sz="quarter" idx="16" hasCustomPrompt="1"/>
          </p:nvPr>
        </p:nvSpPr>
        <p:spPr>
          <a:xfrm>
            <a:off x="1273524" y="2912137"/>
            <a:ext cx="8988074"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26" name="Group 25">
            <a:extLst>
              <a:ext uri="{FF2B5EF4-FFF2-40B4-BE49-F238E27FC236}">
                <a16:creationId xmlns:a16="http://schemas.microsoft.com/office/drawing/2014/main" id="{B34B0E98-BDEB-A143-938B-9D5929ECC2A1}"/>
              </a:ext>
            </a:extLst>
          </p:cNvPr>
          <p:cNvGrpSpPr/>
          <p:nvPr/>
        </p:nvGrpSpPr>
        <p:grpSpPr>
          <a:xfrm>
            <a:off x="1187723" y="3801960"/>
            <a:ext cx="9298521" cy="863468"/>
            <a:chOff x="558331" y="2312872"/>
            <a:chExt cx="9298521" cy="756000"/>
          </a:xfrm>
        </p:grpSpPr>
        <p:sp>
          <p:nvSpPr>
            <p:cNvPr id="27" name="Rectangle 26">
              <a:extLst>
                <a:ext uri="{FF2B5EF4-FFF2-40B4-BE49-F238E27FC236}">
                  <a16:creationId xmlns:a16="http://schemas.microsoft.com/office/drawing/2014/main" id="{154CD58A-8677-9545-B209-DF3C50FFCE03}"/>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CDD90E82-23AD-3E41-AFF1-C14FF24768FB}"/>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9" name="Text Placeholder 20">
            <a:extLst>
              <a:ext uri="{FF2B5EF4-FFF2-40B4-BE49-F238E27FC236}">
                <a16:creationId xmlns:a16="http://schemas.microsoft.com/office/drawing/2014/main" id="{CBE9FA2F-6631-2348-B5E8-CB1404D78870}"/>
              </a:ext>
            </a:extLst>
          </p:cNvPr>
          <p:cNvSpPr>
            <a:spLocks noGrp="1"/>
          </p:cNvSpPr>
          <p:nvPr>
            <p:ph type="body" sz="quarter" idx="17" hasCustomPrompt="1"/>
          </p:nvPr>
        </p:nvSpPr>
        <p:spPr>
          <a:xfrm>
            <a:off x="1273524" y="3878213"/>
            <a:ext cx="8988074"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30" name="Group 29">
            <a:extLst>
              <a:ext uri="{FF2B5EF4-FFF2-40B4-BE49-F238E27FC236}">
                <a16:creationId xmlns:a16="http://schemas.microsoft.com/office/drawing/2014/main" id="{2FEE898A-C06A-E34F-A972-FD3103EE3129}"/>
              </a:ext>
            </a:extLst>
          </p:cNvPr>
          <p:cNvGrpSpPr/>
          <p:nvPr/>
        </p:nvGrpSpPr>
        <p:grpSpPr>
          <a:xfrm>
            <a:off x="1194774" y="4768036"/>
            <a:ext cx="9298521" cy="863468"/>
            <a:chOff x="558331" y="2312872"/>
            <a:chExt cx="9298521" cy="756000"/>
          </a:xfrm>
        </p:grpSpPr>
        <p:sp>
          <p:nvSpPr>
            <p:cNvPr id="31" name="Rectangle 30">
              <a:extLst>
                <a:ext uri="{FF2B5EF4-FFF2-40B4-BE49-F238E27FC236}">
                  <a16:creationId xmlns:a16="http://schemas.microsoft.com/office/drawing/2014/main" id="{DA81EE83-C4CA-464B-95C0-5BA7057E8005}"/>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Connector 35">
              <a:extLst>
                <a:ext uri="{FF2B5EF4-FFF2-40B4-BE49-F238E27FC236}">
                  <a16:creationId xmlns:a16="http://schemas.microsoft.com/office/drawing/2014/main" id="{30F7734C-D965-A94B-944D-9E59C1C659A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7" name="Text Placeholder 20">
            <a:extLst>
              <a:ext uri="{FF2B5EF4-FFF2-40B4-BE49-F238E27FC236}">
                <a16:creationId xmlns:a16="http://schemas.microsoft.com/office/drawing/2014/main" id="{2E0AC1D5-7922-AD4E-9F76-639646857156}"/>
              </a:ext>
            </a:extLst>
          </p:cNvPr>
          <p:cNvSpPr>
            <a:spLocks noGrp="1"/>
          </p:cNvSpPr>
          <p:nvPr>
            <p:ph type="body" sz="quarter" idx="18" hasCustomPrompt="1"/>
          </p:nvPr>
        </p:nvSpPr>
        <p:spPr>
          <a:xfrm>
            <a:off x="1280575" y="4844289"/>
            <a:ext cx="8988074"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4" name="Title 1">
            <a:extLst>
              <a:ext uri="{FF2B5EF4-FFF2-40B4-BE49-F238E27FC236}">
                <a16:creationId xmlns:a16="http://schemas.microsoft.com/office/drawing/2014/main" id="{3D98C387-A2A9-7ECF-B58A-43D17D41B545}"/>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33" name="Bilde 3">
            <a:extLst>
              <a:ext uri="{FF2B5EF4-FFF2-40B4-BE49-F238E27FC236}">
                <a16:creationId xmlns:a16="http://schemas.microsoft.com/office/drawing/2014/main" id="{5A493850-0919-73DC-4660-940F19B6928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5" name="Date Placeholder 2">
            <a:extLst>
              <a:ext uri="{FF2B5EF4-FFF2-40B4-BE49-F238E27FC236}">
                <a16:creationId xmlns:a16="http://schemas.microsoft.com/office/drawing/2014/main" id="{CD3C5EDB-8EF3-32E0-4CB6-0B791BC79CDC}"/>
              </a:ext>
            </a:extLst>
          </p:cNvPr>
          <p:cNvSpPr>
            <a:spLocks noGrp="1"/>
          </p:cNvSpPr>
          <p:nvPr>
            <p:ph type="dt" sz="half" idx="19"/>
          </p:nvPr>
        </p:nvSpPr>
        <p:spPr>
          <a:xfrm>
            <a:off x="2303627" y="6492875"/>
            <a:ext cx="528585" cy="365125"/>
          </a:xfrm>
        </p:spPr>
        <p:txBody>
          <a:bodyPr/>
          <a:lstStyle/>
          <a:p>
            <a:fld id="{E8A4517C-C961-0A4F-8CB0-D119509D7505}" type="datetime1">
              <a:rPr lang="nb-NO" smtClean="0"/>
              <a:t>20.08.2024</a:t>
            </a:fld>
            <a:endParaRPr lang="en-US"/>
          </a:p>
        </p:txBody>
      </p:sp>
      <p:sp>
        <p:nvSpPr>
          <p:cNvPr id="38" name="Footer Placeholder 3">
            <a:extLst>
              <a:ext uri="{FF2B5EF4-FFF2-40B4-BE49-F238E27FC236}">
                <a16:creationId xmlns:a16="http://schemas.microsoft.com/office/drawing/2014/main" id="{14E8C576-3009-3581-06ED-C2DA5B0955E0}"/>
              </a:ext>
            </a:extLst>
          </p:cNvPr>
          <p:cNvSpPr>
            <a:spLocks noGrp="1"/>
          </p:cNvSpPr>
          <p:nvPr>
            <p:ph type="ftr" sz="quarter" idx="20"/>
          </p:nvPr>
        </p:nvSpPr>
        <p:spPr>
          <a:xfrm>
            <a:off x="175116" y="6492875"/>
            <a:ext cx="2107096" cy="365125"/>
          </a:xfrm>
        </p:spPr>
        <p:txBody>
          <a:bodyPr/>
          <a:lstStyle/>
          <a:p>
            <a:r>
              <a:rPr lang="en-US"/>
              <a:t>© StrongPoint 2022. All rights reserved.</a:t>
            </a:r>
          </a:p>
        </p:txBody>
      </p:sp>
      <p:sp>
        <p:nvSpPr>
          <p:cNvPr id="39" name="Slide Number Placeholder 4">
            <a:extLst>
              <a:ext uri="{FF2B5EF4-FFF2-40B4-BE49-F238E27FC236}">
                <a16:creationId xmlns:a16="http://schemas.microsoft.com/office/drawing/2014/main" id="{BCCE60F8-4242-58AF-4166-CEDF8927560F}"/>
              </a:ext>
            </a:extLst>
          </p:cNvPr>
          <p:cNvSpPr>
            <a:spLocks noGrp="1"/>
          </p:cNvSpPr>
          <p:nvPr>
            <p:ph type="sldNum" sz="quarter" idx="21"/>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7721448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7" y="1980018"/>
            <a:ext cx="5629107" cy="37616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920607" y="2173414"/>
            <a:ext cx="5189583" cy="3418494"/>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cxnSp>
        <p:nvCxnSpPr>
          <p:cNvPr id="38" name="Straight Connector 37">
            <a:extLst>
              <a:ext uri="{FF2B5EF4-FFF2-40B4-BE49-F238E27FC236}">
                <a16:creationId xmlns:a16="http://schemas.microsoft.com/office/drawing/2014/main" id="{50BA0497-110B-3B4D-9B26-9615B579AE79}"/>
              </a:ext>
            </a:extLst>
          </p:cNvPr>
          <p:cNvCxnSpPr>
            <a:cxnSpLocks/>
          </p:cNvCxnSpPr>
          <p:nvPr/>
        </p:nvCxnSpPr>
        <p:spPr>
          <a:xfrm>
            <a:off x="6764797" y="1968295"/>
            <a:ext cx="0" cy="377341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C4E265A3-E59C-4BC7-CBFB-20219EE3DCE7}"/>
              </a:ext>
            </a:extLst>
          </p:cNvPr>
          <p:cNvSpPr>
            <a:spLocks noGrp="1"/>
          </p:cNvSpPr>
          <p:nvPr>
            <p:ph type="body" sz="quarter" idx="20"/>
          </p:nvPr>
        </p:nvSpPr>
        <p:spPr>
          <a:xfrm>
            <a:off x="6961306" y="2732861"/>
            <a:ext cx="4520840" cy="2859047"/>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Click to edit Master text styles</a:t>
            </a:r>
          </a:p>
        </p:txBody>
      </p:sp>
      <p:sp>
        <p:nvSpPr>
          <p:cNvPr id="39" name="Text Placeholder 20">
            <a:extLst>
              <a:ext uri="{FF2B5EF4-FFF2-40B4-BE49-F238E27FC236}">
                <a16:creationId xmlns:a16="http://schemas.microsoft.com/office/drawing/2014/main" id="{0620665D-BB66-4164-1374-A28DAD6902DA}"/>
              </a:ext>
            </a:extLst>
          </p:cNvPr>
          <p:cNvSpPr>
            <a:spLocks noGrp="1"/>
          </p:cNvSpPr>
          <p:nvPr>
            <p:ph type="body" sz="quarter" idx="28" hasCustomPrompt="1"/>
          </p:nvPr>
        </p:nvSpPr>
        <p:spPr>
          <a:xfrm>
            <a:off x="6961306" y="1986725"/>
            <a:ext cx="4520835" cy="629219"/>
          </a:xfrm>
          <a:prstGeom prst="rect">
            <a:avLst/>
          </a:prstGeom>
        </p:spPr>
        <p:txBody>
          <a:bodyPr anchor="t">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0" name="Title 1">
            <a:extLst>
              <a:ext uri="{FF2B5EF4-FFF2-40B4-BE49-F238E27FC236}">
                <a16:creationId xmlns:a16="http://schemas.microsoft.com/office/drawing/2014/main" id="{51F252D0-5EDA-7351-60DB-CC72A28D7A48}"/>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3" name="Bilde 3">
            <a:extLst>
              <a:ext uri="{FF2B5EF4-FFF2-40B4-BE49-F238E27FC236}">
                <a16:creationId xmlns:a16="http://schemas.microsoft.com/office/drawing/2014/main" id="{94408A45-5155-B048-3606-450C4DFB675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4" name="Date Placeholder 2">
            <a:extLst>
              <a:ext uri="{FF2B5EF4-FFF2-40B4-BE49-F238E27FC236}">
                <a16:creationId xmlns:a16="http://schemas.microsoft.com/office/drawing/2014/main" id="{3C9C0C90-AE8A-48F2-1EBA-7E27ACD7BA9F}"/>
              </a:ext>
            </a:extLst>
          </p:cNvPr>
          <p:cNvSpPr>
            <a:spLocks noGrp="1"/>
          </p:cNvSpPr>
          <p:nvPr>
            <p:ph type="dt" sz="half" idx="16"/>
          </p:nvPr>
        </p:nvSpPr>
        <p:spPr>
          <a:xfrm>
            <a:off x="2303627" y="6492875"/>
            <a:ext cx="528585" cy="365125"/>
          </a:xfrm>
        </p:spPr>
        <p:txBody>
          <a:bodyPr/>
          <a:lstStyle/>
          <a:p>
            <a:fld id="{F3EA187A-DB05-BE4A-B45F-B6D5A0BADF2C}" type="datetime1">
              <a:rPr lang="nb-NO" smtClean="0"/>
              <a:t>20.08.2024</a:t>
            </a:fld>
            <a:endParaRPr lang="en-US"/>
          </a:p>
        </p:txBody>
      </p:sp>
      <p:sp>
        <p:nvSpPr>
          <p:cNvPr id="15" name="Footer Placeholder 3">
            <a:extLst>
              <a:ext uri="{FF2B5EF4-FFF2-40B4-BE49-F238E27FC236}">
                <a16:creationId xmlns:a16="http://schemas.microsoft.com/office/drawing/2014/main" id="{E26AB59A-D5D9-39F1-D704-0AFB2691E90A}"/>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16" name="Slide Number Placeholder 4">
            <a:extLst>
              <a:ext uri="{FF2B5EF4-FFF2-40B4-BE49-F238E27FC236}">
                <a16:creationId xmlns:a16="http://schemas.microsoft.com/office/drawing/2014/main" id="{8FA05EBA-527C-CFCE-E5AE-2CA4589D5691}"/>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6620649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69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grpSp>
        <p:nvGrpSpPr>
          <p:cNvPr id="19" name="Group 18">
            <a:extLst>
              <a:ext uri="{FF2B5EF4-FFF2-40B4-BE49-F238E27FC236}">
                <a16:creationId xmlns:a16="http://schemas.microsoft.com/office/drawing/2014/main" id="{B2E54100-83F6-3840-9740-66AEE324BF5D}"/>
              </a:ext>
            </a:extLst>
          </p:cNvPr>
          <p:cNvGrpSpPr/>
          <p:nvPr/>
        </p:nvGrpSpPr>
        <p:grpSpPr>
          <a:xfrm>
            <a:off x="741777" y="1980018"/>
            <a:ext cx="5629107" cy="863468"/>
            <a:chOff x="558331" y="2312872"/>
            <a:chExt cx="9298521" cy="756000"/>
          </a:xfrm>
        </p:grpSpPr>
        <p:sp>
          <p:nvSpPr>
            <p:cNvPr id="20" name="Rectangle 19">
              <a:extLst>
                <a:ext uri="{FF2B5EF4-FFF2-40B4-BE49-F238E27FC236}">
                  <a16:creationId xmlns:a16="http://schemas.microsoft.com/office/drawing/2014/main" id="{68E4597E-D37D-6D49-A946-1A166440BD7E}"/>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7578" y="2056271"/>
            <a:ext cx="5189583"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grpSp>
        <p:nvGrpSpPr>
          <p:cNvPr id="17" name="Group 16">
            <a:extLst>
              <a:ext uri="{FF2B5EF4-FFF2-40B4-BE49-F238E27FC236}">
                <a16:creationId xmlns:a16="http://schemas.microsoft.com/office/drawing/2014/main" id="{3C27F867-309D-EA46-8C0F-93359D32C6CB}"/>
              </a:ext>
            </a:extLst>
          </p:cNvPr>
          <p:cNvGrpSpPr/>
          <p:nvPr/>
        </p:nvGrpSpPr>
        <p:grpSpPr>
          <a:xfrm>
            <a:off x="741777" y="2946094"/>
            <a:ext cx="5629107" cy="863468"/>
            <a:chOff x="558331" y="2312872"/>
            <a:chExt cx="9298521" cy="756000"/>
          </a:xfrm>
        </p:grpSpPr>
        <p:sp>
          <p:nvSpPr>
            <p:cNvPr id="18" name="Rectangle 17">
              <a:extLst>
                <a:ext uri="{FF2B5EF4-FFF2-40B4-BE49-F238E27FC236}">
                  <a16:creationId xmlns:a16="http://schemas.microsoft.com/office/drawing/2014/main" id="{99E19D7A-E6A9-054C-AB01-00DB0026F10D}"/>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82A16F31-8845-CC4C-9AD4-2BC372F49F8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5" name="Text Placeholder 20">
            <a:extLst>
              <a:ext uri="{FF2B5EF4-FFF2-40B4-BE49-F238E27FC236}">
                <a16:creationId xmlns:a16="http://schemas.microsoft.com/office/drawing/2014/main" id="{FC0F6143-34C5-944F-BEB1-CDAB609C4E6E}"/>
              </a:ext>
            </a:extLst>
          </p:cNvPr>
          <p:cNvSpPr>
            <a:spLocks noGrp="1"/>
          </p:cNvSpPr>
          <p:nvPr>
            <p:ph type="body" sz="quarter" idx="16" hasCustomPrompt="1"/>
          </p:nvPr>
        </p:nvSpPr>
        <p:spPr>
          <a:xfrm>
            <a:off x="827578" y="3022347"/>
            <a:ext cx="5189583" cy="710960"/>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grpSp>
        <p:nvGrpSpPr>
          <p:cNvPr id="26" name="Group 25">
            <a:extLst>
              <a:ext uri="{FF2B5EF4-FFF2-40B4-BE49-F238E27FC236}">
                <a16:creationId xmlns:a16="http://schemas.microsoft.com/office/drawing/2014/main" id="{B34B0E98-BDEB-A143-938B-9D5929ECC2A1}"/>
              </a:ext>
            </a:extLst>
          </p:cNvPr>
          <p:cNvGrpSpPr/>
          <p:nvPr/>
        </p:nvGrpSpPr>
        <p:grpSpPr>
          <a:xfrm>
            <a:off x="741777" y="3912170"/>
            <a:ext cx="5629107" cy="863468"/>
            <a:chOff x="558331" y="2312872"/>
            <a:chExt cx="9298521" cy="756000"/>
          </a:xfrm>
        </p:grpSpPr>
        <p:sp>
          <p:nvSpPr>
            <p:cNvPr id="27" name="Rectangle 26">
              <a:extLst>
                <a:ext uri="{FF2B5EF4-FFF2-40B4-BE49-F238E27FC236}">
                  <a16:creationId xmlns:a16="http://schemas.microsoft.com/office/drawing/2014/main" id="{154CD58A-8677-9545-B209-DF3C50FFCE03}"/>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CDD90E82-23AD-3E41-AFF1-C14FF24768FB}"/>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9" name="Text Placeholder 20">
            <a:extLst>
              <a:ext uri="{FF2B5EF4-FFF2-40B4-BE49-F238E27FC236}">
                <a16:creationId xmlns:a16="http://schemas.microsoft.com/office/drawing/2014/main" id="{CBE9FA2F-6631-2348-B5E8-CB1404D78870}"/>
              </a:ext>
            </a:extLst>
          </p:cNvPr>
          <p:cNvSpPr>
            <a:spLocks noGrp="1"/>
          </p:cNvSpPr>
          <p:nvPr>
            <p:ph type="body" sz="quarter" idx="17" hasCustomPrompt="1"/>
          </p:nvPr>
        </p:nvSpPr>
        <p:spPr>
          <a:xfrm>
            <a:off x="827578" y="3988423"/>
            <a:ext cx="5189583" cy="710960"/>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grpSp>
        <p:nvGrpSpPr>
          <p:cNvPr id="30" name="Group 29">
            <a:extLst>
              <a:ext uri="{FF2B5EF4-FFF2-40B4-BE49-F238E27FC236}">
                <a16:creationId xmlns:a16="http://schemas.microsoft.com/office/drawing/2014/main" id="{2FEE898A-C06A-E34F-A972-FD3103EE3129}"/>
              </a:ext>
            </a:extLst>
          </p:cNvPr>
          <p:cNvGrpSpPr/>
          <p:nvPr/>
        </p:nvGrpSpPr>
        <p:grpSpPr>
          <a:xfrm>
            <a:off x="748828" y="4878246"/>
            <a:ext cx="5629107" cy="863468"/>
            <a:chOff x="558331" y="2312872"/>
            <a:chExt cx="9298521" cy="756000"/>
          </a:xfrm>
        </p:grpSpPr>
        <p:sp>
          <p:nvSpPr>
            <p:cNvPr id="31" name="Rectangle 30">
              <a:extLst>
                <a:ext uri="{FF2B5EF4-FFF2-40B4-BE49-F238E27FC236}">
                  <a16:creationId xmlns:a16="http://schemas.microsoft.com/office/drawing/2014/main" id="{DA81EE83-C4CA-464B-95C0-5BA7057E8005}"/>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Connector 35">
              <a:extLst>
                <a:ext uri="{FF2B5EF4-FFF2-40B4-BE49-F238E27FC236}">
                  <a16:creationId xmlns:a16="http://schemas.microsoft.com/office/drawing/2014/main" id="{30F7734C-D965-A94B-944D-9E59C1C659A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7" name="Text Placeholder 20">
            <a:extLst>
              <a:ext uri="{FF2B5EF4-FFF2-40B4-BE49-F238E27FC236}">
                <a16:creationId xmlns:a16="http://schemas.microsoft.com/office/drawing/2014/main" id="{2E0AC1D5-7922-AD4E-9F76-639646857156}"/>
              </a:ext>
            </a:extLst>
          </p:cNvPr>
          <p:cNvSpPr>
            <a:spLocks noGrp="1"/>
          </p:cNvSpPr>
          <p:nvPr>
            <p:ph type="body" sz="quarter" idx="18" hasCustomPrompt="1"/>
          </p:nvPr>
        </p:nvSpPr>
        <p:spPr>
          <a:xfrm>
            <a:off x="834629" y="4954499"/>
            <a:ext cx="5189583" cy="710960"/>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cxnSp>
        <p:nvCxnSpPr>
          <p:cNvPr id="38" name="Straight Connector 37">
            <a:extLst>
              <a:ext uri="{FF2B5EF4-FFF2-40B4-BE49-F238E27FC236}">
                <a16:creationId xmlns:a16="http://schemas.microsoft.com/office/drawing/2014/main" id="{50BA0497-110B-3B4D-9B26-9615B579AE79}"/>
              </a:ext>
            </a:extLst>
          </p:cNvPr>
          <p:cNvCxnSpPr>
            <a:cxnSpLocks/>
          </p:cNvCxnSpPr>
          <p:nvPr userDrawn="1"/>
        </p:nvCxnSpPr>
        <p:spPr>
          <a:xfrm>
            <a:off x="6764797" y="1968295"/>
            <a:ext cx="0" cy="377341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48532500-70E3-56B8-5408-3B19292DC938}"/>
              </a:ext>
            </a:extLst>
          </p:cNvPr>
          <p:cNvSpPr>
            <a:spLocks noGrp="1"/>
          </p:cNvSpPr>
          <p:nvPr>
            <p:ph type="body" sz="quarter" idx="20"/>
          </p:nvPr>
        </p:nvSpPr>
        <p:spPr>
          <a:xfrm>
            <a:off x="6961306" y="2732861"/>
            <a:ext cx="4520840" cy="2859047"/>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Click to edit Master text styles</a:t>
            </a:r>
          </a:p>
        </p:txBody>
      </p:sp>
      <p:sp>
        <p:nvSpPr>
          <p:cNvPr id="39" name="Text Placeholder 20">
            <a:extLst>
              <a:ext uri="{FF2B5EF4-FFF2-40B4-BE49-F238E27FC236}">
                <a16:creationId xmlns:a16="http://schemas.microsoft.com/office/drawing/2014/main" id="{70055568-A992-C0C3-247D-12598FCCA433}"/>
              </a:ext>
            </a:extLst>
          </p:cNvPr>
          <p:cNvSpPr>
            <a:spLocks noGrp="1"/>
          </p:cNvSpPr>
          <p:nvPr>
            <p:ph type="body" sz="quarter" idx="28" hasCustomPrompt="1"/>
          </p:nvPr>
        </p:nvSpPr>
        <p:spPr>
          <a:xfrm>
            <a:off x="6961306" y="1986725"/>
            <a:ext cx="4520835" cy="629219"/>
          </a:xfrm>
          <a:prstGeom prst="rect">
            <a:avLst/>
          </a:prstGeom>
        </p:spPr>
        <p:txBody>
          <a:bodyPr anchor="t">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0" name="Title 1">
            <a:extLst>
              <a:ext uri="{FF2B5EF4-FFF2-40B4-BE49-F238E27FC236}">
                <a16:creationId xmlns:a16="http://schemas.microsoft.com/office/drawing/2014/main" id="{A6F30889-31DB-9A6C-379C-3B0014AD5F04}"/>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33" name="Bilde 3">
            <a:extLst>
              <a:ext uri="{FF2B5EF4-FFF2-40B4-BE49-F238E27FC236}">
                <a16:creationId xmlns:a16="http://schemas.microsoft.com/office/drawing/2014/main" id="{7F36F31A-B85F-ECCC-EE19-25B832DA9B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4" name="Date Placeholder 2">
            <a:extLst>
              <a:ext uri="{FF2B5EF4-FFF2-40B4-BE49-F238E27FC236}">
                <a16:creationId xmlns:a16="http://schemas.microsoft.com/office/drawing/2014/main" id="{11A5783A-4D89-B982-66F2-1C55D2A4FF15}"/>
              </a:ext>
            </a:extLst>
          </p:cNvPr>
          <p:cNvSpPr>
            <a:spLocks noGrp="1"/>
          </p:cNvSpPr>
          <p:nvPr>
            <p:ph type="dt" sz="half" idx="29"/>
          </p:nvPr>
        </p:nvSpPr>
        <p:spPr>
          <a:xfrm>
            <a:off x="2303627" y="6492875"/>
            <a:ext cx="528585" cy="365125"/>
          </a:xfrm>
        </p:spPr>
        <p:txBody>
          <a:bodyPr/>
          <a:lstStyle/>
          <a:p>
            <a:fld id="{9EF34DC9-2DD0-B24E-9890-EB5A535300C3}" type="datetime1">
              <a:rPr lang="nb-NO" smtClean="0"/>
              <a:t>20.08.2024</a:t>
            </a:fld>
            <a:endParaRPr lang="en-US"/>
          </a:p>
        </p:txBody>
      </p:sp>
      <p:sp>
        <p:nvSpPr>
          <p:cNvPr id="41" name="Footer Placeholder 3">
            <a:extLst>
              <a:ext uri="{FF2B5EF4-FFF2-40B4-BE49-F238E27FC236}">
                <a16:creationId xmlns:a16="http://schemas.microsoft.com/office/drawing/2014/main" id="{E43AA8C9-01E7-D4A7-9845-3A5D50C9A1D1}"/>
              </a:ext>
            </a:extLst>
          </p:cNvPr>
          <p:cNvSpPr>
            <a:spLocks noGrp="1"/>
          </p:cNvSpPr>
          <p:nvPr>
            <p:ph type="ftr" sz="quarter" idx="30"/>
          </p:nvPr>
        </p:nvSpPr>
        <p:spPr>
          <a:xfrm>
            <a:off x="175116" y="6492875"/>
            <a:ext cx="2107096" cy="365125"/>
          </a:xfrm>
        </p:spPr>
        <p:txBody>
          <a:bodyPr/>
          <a:lstStyle/>
          <a:p>
            <a:r>
              <a:rPr lang="en-US"/>
              <a:t>© StrongPoint 2022. All rights reserved.</a:t>
            </a:r>
          </a:p>
        </p:txBody>
      </p:sp>
      <p:sp>
        <p:nvSpPr>
          <p:cNvPr id="42" name="Slide Number Placeholder 4">
            <a:extLst>
              <a:ext uri="{FF2B5EF4-FFF2-40B4-BE49-F238E27FC236}">
                <a16:creationId xmlns:a16="http://schemas.microsoft.com/office/drawing/2014/main" id="{26E63F40-F6DA-BE09-86BD-4CDD968104DB}"/>
              </a:ext>
            </a:extLst>
          </p:cNvPr>
          <p:cNvSpPr>
            <a:spLocks noGrp="1"/>
          </p:cNvSpPr>
          <p:nvPr>
            <p:ph type="sldNum" sz="quarter" idx="31"/>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8894656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7" y="1606947"/>
            <a:ext cx="9063966"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41777"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84024" y="1850244"/>
            <a:ext cx="6770384" cy="3804619"/>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34" name="Bilde 13" descr="Et bilde som inneholder innendørs, datamaskin, leke, bord&#10;&#10;Automatisk generert beskrivelse">
            <a:extLst>
              <a:ext uri="{FF2B5EF4-FFF2-40B4-BE49-F238E27FC236}">
                <a16:creationId xmlns:a16="http://schemas.microsoft.com/office/drawing/2014/main" id="{82ADC36C-C5B4-5446-B311-0999748BC0A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597963" y="2054672"/>
            <a:ext cx="4594037" cy="4254591"/>
          </a:xfrm>
          <a:prstGeom prst="rect">
            <a:avLst/>
          </a:prstGeom>
        </p:spPr>
      </p:pic>
      <p:sp>
        <p:nvSpPr>
          <p:cNvPr id="9" name="Title 1">
            <a:extLst>
              <a:ext uri="{FF2B5EF4-FFF2-40B4-BE49-F238E27FC236}">
                <a16:creationId xmlns:a16="http://schemas.microsoft.com/office/drawing/2014/main" id="{E57EA93B-AC9E-03E8-D91C-19CF2DA6B9C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2" name="Bilde 3">
            <a:extLst>
              <a:ext uri="{FF2B5EF4-FFF2-40B4-BE49-F238E27FC236}">
                <a16:creationId xmlns:a16="http://schemas.microsoft.com/office/drawing/2014/main" id="{63E4AE8C-7FC8-B6DB-17CB-A62427F9C80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3" name="Date Placeholder 2">
            <a:extLst>
              <a:ext uri="{FF2B5EF4-FFF2-40B4-BE49-F238E27FC236}">
                <a16:creationId xmlns:a16="http://schemas.microsoft.com/office/drawing/2014/main" id="{601DC5CA-617F-ECD5-4035-EC54D988924A}"/>
              </a:ext>
            </a:extLst>
          </p:cNvPr>
          <p:cNvSpPr>
            <a:spLocks noGrp="1"/>
          </p:cNvSpPr>
          <p:nvPr>
            <p:ph type="dt" sz="half" idx="16"/>
          </p:nvPr>
        </p:nvSpPr>
        <p:spPr>
          <a:xfrm>
            <a:off x="2303627" y="6492875"/>
            <a:ext cx="528585" cy="365125"/>
          </a:xfrm>
        </p:spPr>
        <p:txBody>
          <a:bodyPr/>
          <a:lstStyle/>
          <a:p>
            <a:fld id="{F290BC89-2BCA-394D-AE29-D3C8BD3100C2}" type="datetime1">
              <a:rPr lang="nb-NO" smtClean="0"/>
              <a:t>20.08.2024</a:t>
            </a:fld>
            <a:endParaRPr lang="en-US"/>
          </a:p>
        </p:txBody>
      </p:sp>
      <p:sp>
        <p:nvSpPr>
          <p:cNvPr id="14" name="Footer Placeholder 3">
            <a:extLst>
              <a:ext uri="{FF2B5EF4-FFF2-40B4-BE49-F238E27FC236}">
                <a16:creationId xmlns:a16="http://schemas.microsoft.com/office/drawing/2014/main" id="{D69B4FC8-AC6B-54DD-EAE6-85D02AD3BF20}"/>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15" name="Slide Number Placeholder 4">
            <a:extLst>
              <a:ext uri="{FF2B5EF4-FFF2-40B4-BE49-F238E27FC236}">
                <a16:creationId xmlns:a16="http://schemas.microsoft.com/office/drawing/2014/main" id="{BBE056E2-6CC0-262C-7F2E-B95D44CED5BA}"/>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40002350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67_Custom Layout">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038D6646-E4D2-DD44-A139-EB42716908C7}"/>
              </a:ext>
            </a:extLst>
          </p:cNvPr>
          <p:cNvSpPr>
            <a:spLocks noGrp="1"/>
          </p:cNvSpPr>
          <p:nvPr>
            <p:ph type="pic" sz="quarter" idx="16"/>
          </p:nvPr>
        </p:nvSpPr>
        <p:spPr>
          <a:xfrm>
            <a:off x="4674124" y="1635371"/>
            <a:ext cx="6739548" cy="4226168"/>
          </a:xfrm>
          <a:prstGeom prst="rect">
            <a:avLst/>
          </a:prstGeom>
        </p:spPr>
        <p:txBody>
          <a:bodyPr anchor="ctr"/>
          <a:lstStyle>
            <a:lvl1pPr marL="0" indent="0" algn="ctr">
              <a:buNone/>
              <a:defRPr b="0" i="0">
                <a:solidFill>
                  <a:schemeClr val="accent1"/>
                </a:solidFill>
                <a:latin typeface="Helvetica Light" panose="020B0403020202020204" pitchFamily="34" charset="0"/>
              </a:defRPr>
            </a:lvl1pPr>
          </a:lstStyle>
          <a:p>
            <a:r>
              <a:rPr lang="en-GB"/>
              <a:t>Click icon to add picture</a:t>
            </a:r>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8" y="1606947"/>
            <a:ext cx="3846545"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41777"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7579" y="1699192"/>
            <a:ext cx="3597460" cy="4068562"/>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 name="Title 1">
            <a:extLst>
              <a:ext uri="{FF2B5EF4-FFF2-40B4-BE49-F238E27FC236}">
                <a16:creationId xmlns:a16="http://schemas.microsoft.com/office/drawing/2014/main" id="{1E4EE4EB-D8A2-2E64-5C7C-82412718B6BF}"/>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2" name="Bilde 3">
            <a:extLst>
              <a:ext uri="{FF2B5EF4-FFF2-40B4-BE49-F238E27FC236}">
                <a16:creationId xmlns:a16="http://schemas.microsoft.com/office/drawing/2014/main" id="{0327E981-B6C3-CD4C-0EF0-126DBFD1988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3" name="Date Placeholder 2">
            <a:extLst>
              <a:ext uri="{FF2B5EF4-FFF2-40B4-BE49-F238E27FC236}">
                <a16:creationId xmlns:a16="http://schemas.microsoft.com/office/drawing/2014/main" id="{DC9AEC75-ADB7-C1ED-BDB5-2C7758DE421F}"/>
              </a:ext>
            </a:extLst>
          </p:cNvPr>
          <p:cNvSpPr>
            <a:spLocks noGrp="1"/>
          </p:cNvSpPr>
          <p:nvPr>
            <p:ph type="dt" sz="half" idx="17"/>
          </p:nvPr>
        </p:nvSpPr>
        <p:spPr>
          <a:xfrm>
            <a:off x="2303627" y="6492875"/>
            <a:ext cx="528585" cy="365125"/>
          </a:xfrm>
        </p:spPr>
        <p:txBody>
          <a:bodyPr/>
          <a:lstStyle/>
          <a:p>
            <a:fld id="{A6E4F9D0-67E2-FF49-9CED-2C810D5EE4D0}" type="datetime1">
              <a:rPr lang="nb-NO" smtClean="0"/>
              <a:t>20.08.2024</a:t>
            </a:fld>
            <a:endParaRPr lang="en-US"/>
          </a:p>
        </p:txBody>
      </p:sp>
      <p:sp>
        <p:nvSpPr>
          <p:cNvPr id="14" name="Footer Placeholder 3">
            <a:extLst>
              <a:ext uri="{FF2B5EF4-FFF2-40B4-BE49-F238E27FC236}">
                <a16:creationId xmlns:a16="http://schemas.microsoft.com/office/drawing/2014/main" id="{737E5B01-DCF8-EE11-DF60-D46A5131CF87}"/>
              </a:ext>
            </a:extLst>
          </p:cNvPr>
          <p:cNvSpPr>
            <a:spLocks noGrp="1"/>
          </p:cNvSpPr>
          <p:nvPr>
            <p:ph type="ftr" sz="quarter" idx="18"/>
          </p:nvPr>
        </p:nvSpPr>
        <p:spPr>
          <a:xfrm>
            <a:off x="175116" y="6492875"/>
            <a:ext cx="2107096" cy="365125"/>
          </a:xfrm>
        </p:spPr>
        <p:txBody>
          <a:bodyPr/>
          <a:lstStyle/>
          <a:p>
            <a:r>
              <a:rPr lang="en-US"/>
              <a:t>© StrongPoint 2022. All rights reserved.</a:t>
            </a:r>
          </a:p>
        </p:txBody>
      </p:sp>
      <p:sp>
        <p:nvSpPr>
          <p:cNvPr id="15" name="Slide Number Placeholder 4">
            <a:extLst>
              <a:ext uri="{FF2B5EF4-FFF2-40B4-BE49-F238E27FC236}">
                <a16:creationId xmlns:a16="http://schemas.microsoft.com/office/drawing/2014/main" id="{6DBBC043-34AD-A698-EA2B-CF6680B72D21}"/>
              </a:ext>
            </a:extLst>
          </p:cNvPr>
          <p:cNvSpPr>
            <a:spLocks noGrp="1"/>
          </p:cNvSpPr>
          <p:nvPr>
            <p:ph type="sldNum" sz="quarter" idx="19"/>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9099381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66_Custom Layout">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038D6646-E4D2-DD44-A139-EB42716908C7}"/>
              </a:ext>
            </a:extLst>
          </p:cNvPr>
          <p:cNvSpPr>
            <a:spLocks noGrp="1"/>
          </p:cNvSpPr>
          <p:nvPr>
            <p:ph type="pic" sz="quarter" idx="16"/>
          </p:nvPr>
        </p:nvSpPr>
        <p:spPr>
          <a:xfrm>
            <a:off x="8271590" y="1635371"/>
            <a:ext cx="3142081" cy="4226168"/>
          </a:xfrm>
          <a:prstGeom prst="rect">
            <a:avLst/>
          </a:prstGeom>
        </p:spPr>
        <p:txBody>
          <a:bodyPr anchor="ctr"/>
          <a:lstStyle>
            <a:lvl1pPr marL="0" indent="0" algn="ctr">
              <a:buNone/>
              <a:defRPr b="0" i="0">
                <a:solidFill>
                  <a:schemeClr val="accent1"/>
                </a:solidFill>
                <a:latin typeface="Helvetica Light" panose="020B0403020202020204" pitchFamily="34" charset="0"/>
              </a:defRPr>
            </a:lvl1pPr>
          </a:lstStyle>
          <a:p>
            <a:r>
              <a:rPr lang="en-GB"/>
              <a:t>Click icon to add picture</a:t>
            </a:r>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8" y="1606947"/>
            <a:ext cx="3896132"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41777"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7578" y="1699192"/>
            <a:ext cx="3680615" cy="4068562"/>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 name="Title 1">
            <a:extLst>
              <a:ext uri="{FF2B5EF4-FFF2-40B4-BE49-F238E27FC236}">
                <a16:creationId xmlns:a16="http://schemas.microsoft.com/office/drawing/2014/main" id="{1E4EE4EB-D8A2-2E64-5C7C-82412718B6BF}"/>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11" name="Picture Placeholder 3">
            <a:extLst>
              <a:ext uri="{FF2B5EF4-FFF2-40B4-BE49-F238E27FC236}">
                <a16:creationId xmlns:a16="http://schemas.microsoft.com/office/drawing/2014/main" id="{3CC9F20E-3553-313F-ADE6-7FAB12C7B417}"/>
              </a:ext>
            </a:extLst>
          </p:cNvPr>
          <p:cNvSpPr>
            <a:spLocks noGrp="1"/>
          </p:cNvSpPr>
          <p:nvPr>
            <p:ph type="pic" sz="quarter" idx="17"/>
          </p:nvPr>
        </p:nvSpPr>
        <p:spPr>
          <a:xfrm>
            <a:off x="4764746" y="1635371"/>
            <a:ext cx="3380014" cy="4226168"/>
          </a:xfrm>
          <a:prstGeom prst="rect">
            <a:avLst/>
          </a:prstGeom>
        </p:spPr>
        <p:txBody>
          <a:bodyPr anchor="ctr"/>
          <a:lstStyle>
            <a:lvl1pPr marL="0" indent="0" algn="ctr">
              <a:buNone/>
              <a:defRPr b="0" i="0">
                <a:solidFill>
                  <a:schemeClr val="accent1"/>
                </a:solidFill>
                <a:latin typeface="Helvetica Light" panose="020B0403020202020204" pitchFamily="34" charset="0"/>
              </a:defRPr>
            </a:lvl1pPr>
          </a:lstStyle>
          <a:p>
            <a:r>
              <a:rPr lang="en-GB"/>
              <a:t>Click icon to add picture</a:t>
            </a:r>
          </a:p>
        </p:txBody>
      </p:sp>
      <p:pic>
        <p:nvPicPr>
          <p:cNvPr id="13" name="Bilde 3">
            <a:extLst>
              <a:ext uri="{FF2B5EF4-FFF2-40B4-BE49-F238E27FC236}">
                <a16:creationId xmlns:a16="http://schemas.microsoft.com/office/drawing/2014/main" id="{5F1C00DC-FD44-9124-9788-8918143E08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4" name="Date Placeholder 2">
            <a:extLst>
              <a:ext uri="{FF2B5EF4-FFF2-40B4-BE49-F238E27FC236}">
                <a16:creationId xmlns:a16="http://schemas.microsoft.com/office/drawing/2014/main" id="{E7111538-68AD-F0AD-97EF-F3CFFC032DA1}"/>
              </a:ext>
            </a:extLst>
          </p:cNvPr>
          <p:cNvSpPr>
            <a:spLocks noGrp="1"/>
          </p:cNvSpPr>
          <p:nvPr>
            <p:ph type="dt" sz="half" idx="18"/>
          </p:nvPr>
        </p:nvSpPr>
        <p:spPr>
          <a:xfrm>
            <a:off x="2303627" y="6492875"/>
            <a:ext cx="528585" cy="365125"/>
          </a:xfrm>
        </p:spPr>
        <p:txBody>
          <a:bodyPr/>
          <a:lstStyle/>
          <a:p>
            <a:fld id="{ACC9502E-AED7-AC4F-A364-5EE8F199DAB9}" type="datetime1">
              <a:rPr lang="nb-NO" smtClean="0"/>
              <a:t>20.08.2024</a:t>
            </a:fld>
            <a:endParaRPr lang="en-US"/>
          </a:p>
        </p:txBody>
      </p:sp>
      <p:sp>
        <p:nvSpPr>
          <p:cNvPr id="15" name="Footer Placeholder 3">
            <a:extLst>
              <a:ext uri="{FF2B5EF4-FFF2-40B4-BE49-F238E27FC236}">
                <a16:creationId xmlns:a16="http://schemas.microsoft.com/office/drawing/2014/main" id="{01142E11-F214-36F3-8C13-CB4805DA263C}"/>
              </a:ext>
            </a:extLst>
          </p:cNvPr>
          <p:cNvSpPr>
            <a:spLocks noGrp="1"/>
          </p:cNvSpPr>
          <p:nvPr>
            <p:ph type="ftr" sz="quarter" idx="19"/>
          </p:nvPr>
        </p:nvSpPr>
        <p:spPr>
          <a:xfrm>
            <a:off x="175116" y="6492875"/>
            <a:ext cx="2107096" cy="365125"/>
          </a:xfrm>
        </p:spPr>
        <p:txBody>
          <a:bodyPr/>
          <a:lstStyle/>
          <a:p>
            <a:r>
              <a:rPr lang="en-US"/>
              <a:t>© StrongPoint 2022. All rights reserved.</a:t>
            </a:r>
          </a:p>
        </p:txBody>
      </p:sp>
      <p:sp>
        <p:nvSpPr>
          <p:cNvPr id="16" name="Slide Number Placeholder 4">
            <a:extLst>
              <a:ext uri="{FF2B5EF4-FFF2-40B4-BE49-F238E27FC236}">
                <a16:creationId xmlns:a16="http://schemas.microsoft.com/office/drawing/2014/main" id="{6FB8189E-9F09-A4BD-84B5-48D52AF3348E}"/>
              </a:ext>
            </a:extLst>
          </p:cNvPr>
          <p:cNvSpPr>
            <a:spLocks noGrp="1"/>
          </p:cNvSpPr>
          <p:nvPr>
            <p:ph type="sldNum" sz="quarter" idx="20"/>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8042637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37741" y="1606947"/>
            <a:ext cx="10630718"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37741"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3542" y="1699192"/>
            <a:ext cx="10338438" cy="4068562"/>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8" name="Title 1">
            <a:extLst>
              <a:ext uri="{FF2B5EF4-FFF2-40B4-BE49-F238E27FC236}">
                <a16:creationId xmlns:a16="http://schemas.microsoft.com/office/drawing/2014/main" id="{750EA6DB-7BE5-46DA-7D39-CE1BBA16615F}"/>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1" name="Bilde 3">
            <a:extLst>
              <a:ext uri="{FF2B5EF4-FFF2-40B4-BE49-F238E27FC236}">
                <a16:creationId xmlns:a16="http://schemas.microsoft.com/office/drawing/2014/main" id="{30247BF6-FA19-7552-D334-E3C9D9D6DF4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2" name="Date Placeholder 2">
            <a:extLst>
              <a:ext uri="{FF2B5EF4-FFF2-40B4-BE49-F238E27FC236}">
                <a16:creationId xmlns:a16="http://schemas.microsoft.com/office/drawing/2014/main" id="{8A1D8C01-17C6-A91E-6D56-51CD8050B615}"/>
              </a:ext>
            </a:extLst>
          </p:cNvPr>
          <p:cNvSpPr>
            <a:spLocks noGrp="1"/>
          </p:cNvSpPr>
          <p:nvPr>
            <p:ph type="dt" sz="half" idx="16"/>
          </p:nvPr>
        </p:nvSpPr>
        <p:spPr>
          <a:xfrm>
            <a:off x="2303627" y="6492875"/>
            <a:ext cx="528585" cy="365125"/>
          </a:xfrm>
        </p:spPr>
        <p:txBody>
          <a:bodyPr/>
          <a:lstStyle/>
          <a:p>
            <a:fld id="{874D328D-6607-0046-95C2-00DCF639C094}" type="datetime1">
              <a:rPr lang="nb-NO" smtClean="0"/>
              <a:t>20.08.2024</a:t>
            </a:fld>
            <a:endParaRPr lang="en-US"/>
          </a:p>
        </p:txBody>
      </p:sp>
      <p:sp>
        <p:nvSpPr>
          <p:cNvPr id="13" name="Footer Placeholder 3">
            <a:extLst>
              <a:ext uri="{FF2B5EF4-FFF2-40B4-BE49-F238E27FC236}">
                <a16:creationId xmlns:a16="http://schemas.microsoft.com/office/drawing/2014/main" id="{6B02DFB0-2518-39B7-471B-1FD6736FDFAA}"/>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14" name="Slide Number Placeholder 4">
            <a:extLst>
              <a:ext uri="{FF2B5EF4-FFF2-40B4-BE49-F238E27FC236}">
                <a16:creationId xmlns:a16="http://schemas.microsoft.com/office/drawing/2014/main" id="{A7D45FAD-36C9-58C2-B818-7F227551A5A8}"/>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1260941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1_Custom Layou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64B2FCB-A9B0-4145-B29B-AD456C94D7C2}"/>
              </a:ext>
            </a:extLst>
          </p:cNvPr>
          <p:cNvSpPr/>
          <p:nvPr/>
        </p:nvSpPr>
        <p:spPr>
          <a:xfrm>
            <a:off x="741777" y="2294769"/>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8" name="Straight Connector 27">
            <a:extLst>
              <a:ext uri="{FF2B5EF4-FFF2-40B4-BE49-F238E27FC236}">
                <a16:creationId xmlns:a16="http://schemas.microsoft.com/office/drawing/2014/main" id="{17FD8ADB-B041-7841-B1C3-28DBA168A7C7}"/>
              </a:ext>
            </a:extLst>
          </p:cNvPr>
          <p:cNvCxnSpPr>
            <a:cxnSpLocks/>
          </p:cNvCxnSpPr>
          <p:nvPr/>
        </p:nvCxnSpPr>
        <p:spPr>
          <a:xfrm>
            <a:off x="741777" y="2281656"/>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22" name="Rektangel 2">
            <a:extLst>
              <a:ext uri="{FF2B5EF4-FFF2-40B4-BE49-F238E27FC236}">
                <a16:creationId xmlns:a16="http://schemas.microsoft.com/office/drawing/2014/main" id="{D40A3AB9-ABBE-2444-B58D-F892A304954B}"/>
              </a:ext>
            </a:extLst>
          </p:cNvPr>
          <p:cNvSpPr/>
          <p:nvPr userDrawn="1"/>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50" name="Text Placeholder 20">
            <a:extLst>
              <a:ext uri="{FF2B5EF4-FFF2-40B4-BE49-F238E27FC236}">
                <a16:creationId xmlns:a16="http://schemas.microsoft.com/office/drawing/2014/main" id="{0AB8628E-6620-874B-85B8-393DA4676167}"/>
              </a:ext>
            </a:extLst>
          </p:cNvPr>
          <p:cNvSpPr>
            <a:spLocks noGrp="1"/>
          </p:cNvSpPr>
          <p:nvPr userDrawn="1">
            <p:ph type="body" sz="quarter" idx="19" hasCustomPrompt="1"/>
          </p:nvPr>
        </p:nvSpPr>
        <p:spPr>
          <a:xfrm>
            <a:off x="916647" y="2451792"/>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ext Placeholder 20">
            <a:extLst>
              <a:ext uri="{FF2B5EF4-FFF2-40B4-BE49-F238E27FC236}">
                <a16:creationId xmlns:a16="http://schemas.microsoft.com/office/drawing/2014/main" id="{1CA6145D-0C72-F541-BE9A-355F095B9528}"/>
              </a:ext>
            </a:extLst>
          </p:cNvPr>
          <p:cNvSpPr>
            <a:spLocks noGrp="1"/>
          </p:cNvSpPr>
          <p:nvPr userDrawn="1">
            <p:ph type="body" sz="quarter" idx="22" hasCustomPrompt="1"/>
          </p:nvPr>
        </p:nvSpPr>
        <p:spPr>
          <a:xfrm>
            <a:off x="916647" y="1471054"/>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8" name="Rectangle 37">
            <a:extLst>
              <a:ext uri="{FF2B5EF4-FFF2-40B4-BE49-F238E27FC236}">
                <a16:creationId xmlns:a16="http://schemas.microsoft.com/office/drawing/2014/main" id="{9371083E-173B-64B6-90DB-3932E95AE3CE}"/>
              </a:ext>
            </a:extLst>
          </p:cNvPr>
          <p:cNvSpPr/>
          <p:nvPr/>
        </p:nvSpPr>
        <p:spPr>
          <a:xfrm>
            <a:off x="3419661" y="2294769"/>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9" name="Straight Connector 38">
            <a:extLst>
              <a:ext uri="{FF2B5EF4-FFF2-40B4-BE49-F238E27FC236}">
                <a16:creationId xmlns:a16="http://schemas.microsoft.com/office/drawing/2014/main" id="{50410FC9-B8E7-3F8D-595B-42FB6FEA213B}"/>
              </a:ext>
            </a:extLst>
          </p:cNvPr>
          <p:cNvCxnSpPr>
            <a:cxnSpLocks/>
          </p:cNvCxnSpPr>
          <p:nvPr/>
        </p:nvCxnSpPr>
        <p:spPr>
          <a:xfrm>
            <a:off x="3419661" y="2281656"/>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40" name="Text Placeholder 20">
            <a:extLst>
              <a:ext uri="{FF2B5EF4-FFF2-40B4-BE49-F238E27FC236}">
                <a16:creationId xmlns:a16="http://schemas.microsoft.com/office/drawing/2014/main" id="{81692953-2040-E900-7B7B-F1391A6919F4}"/>
              </a:ext>
            </a:extLst>
          </p:cNvPr>
          <p:cNvSpPr>
            <a:spLocks noGrp="1"/>
          </p:cNvSpPr>
          <p:nvPr userDrawn="1">
            <p:ph type="body" sz="quarter" idx="23" hasCustomPrompt="1"/>
          </p:nvPr>
        </p:nvSpPr>
        <p:spPr>
          <a:xfrm>
            <a:off x="3594531" y="2451792"/>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1" name="Text Placeholder 20">
            <a:extLst>
              <a:ext uri="{FF2B5EF4-FFF2-40B4-BE49-F238E27FC236}">
                <a16:creationId xmlns:a16="http://schemas.microsoft.com/office/drawing/2014/main" id="{99CAF562-9E6C-E9A1-8784-3B5643C9B56C}"/>
              </a:ext>
            </a:extLst>
          </p:cNvPr>
          <p:cNvSpPr>
            <a:spLocks noGrp="1"/>
          </p:cNvSpPr>
          <p:nvPr userDrawn="1">
            <p:ph type="body" sz="quarter" idx="24" hasCustomPrompt="1"/>
          </p:nvPr>
        </p:nvSpPr>
        <p:spPr>
          <a:xfrm>
            <a:off x="3594531" y="1471054"/>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3" name="Rectangle 42">
            <a:extLst>
              <a:ext uri="{FF2B5EF4-FFF2-40B4-BE49-F238E27FC236}">
                <a16:creationId xmlns:a16="http://schemas.microsoft.com/office/drawing/2014/main" id="{934B1946-4432-7FE4-DB63-2FEDA29EC05B}"/>
              </a:ext>
            </a:extLst>
          </p:cNvPr>
          <p:cNvSpPr/>
          <p:nvPr/>
        </p:nvSpPr>
        <p:spPr>
          <a:xfrm>
            <a:off x="6097545" y="2294769"/>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44" name="Straight Connector 43">
            <a:extLst>
              <a:ext uri="{FF2B5EF4-FFF2-40B4-BE49-F238E27FC236}">
                <a16:creationId xmlns:a16="http://schemas.microsoft.com/office/drawing/2014/main" id="{947D6BC6-595C-82B9-6399-4E27F2A595EC}"/>
              </a:ext>
            </a:extLst>
          </p:cNvPr>
          <p:cNvCxnSpPr>
            <a:cxnSpLocks/>
          </p:cNvCxnSpPr>
          <p:nvPr/>
        </p:nvCxnSpPr>
        <p:spPr>
          <a:xfrm>
            <a:off x="6097545" y="2281656"/>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45" name="Text Placeholder 20">
            <a:extLst>
              <a:ext uri="{FF2B5EF4-FFF2-40B4-BE49-F238E27FC236}">
                <a16:creationId xmlns:a16="http://schemas.microsoft.com/office/drawing/2014/main" id="{F8FE9088-EF4C-3223-9561-5AA13C2DA0BC}"/>
              </a:ext>
            </a:extLst>
          </p:cNvPr>
          <p:cNvSpPr>
            <a:spLocks noGrp="1"/>
          </p:cNvSpPr>
          <p:nvPr userDrawn="1">
            <p:ph type="body" sz="quarter" idx="25" hasCustomPrompt="1"/>
          </p:nvPr>
        </p:nvSpPr>
        <p:spPr>
          <a:xfrm>
            <a:off x="6272415" y="2451792"/>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FDAFBEA9-6483-A006-3BCE-3E336865EB86}"/>
              </a:ext>
            </a:extLst>
          </p:cNvPr>
          <p:cNvSpPr>
            <a:spLocks noGrp="1"/>
          </p:cNvSpPr>
          <p:nvPr userDrawn="1">
            <p:ph type="body" sz="quarter" idx="26" hasCustomPrompt="1"/>
          </p:nvPr>
        </p:nvSpPr>
        <p:spPr>
          <a:xfrm>
            <a:off x="6272415" y="1471054"/>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9" name="Rectangle 48">
            <a:extLst>
              <a:ext uri="{FF2B5EF4-FFF2-40B4-BE49-F238E27FC236}">
                <a16:creationId xmlns:a16="http://schemas.microsoft.com/office/drawing/2014/main" id="{43226A65-F603-7E9F-1818-EB37E0ADFE01}"/>
              </a:ext>
            </a:extLst>
          </p:cNvPr>
          <p:cNvSpPr/>
          <p:nvPr/>
        </p:nvSpPr>
        <p:spPr>
          <a:xfrm>
            <a:off x="8775429" y="2294769"/>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51" name="Straight Connector 50">
            <a:extLst>
              <a:ext uri="{FF2B5EF4-FFF2-40B4-BE49-F238E27FC236}">
                <a16:creationId xmlns:a16="http://schemas.microsoft.com/office/drawing/2014/main" id="{72CD8099-2E22-CF35-A54D-8A6B45292651}"/>
              </a:ext>
            </a:extLst>
          </p:cNvPr>
          <p:cNvCxnSpPr>
            <a:cxnSpLocks/>
          </p:cNvCxnSpPr>
          <p:nvPr/>
        </p:nvCxnSpPr>
        <p:spPr>
          <a:xfrm>
            <a:off x="8775429" y="2281656"/>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52" name="Text Placeholder 20">
            <a:extLst>
              <a:ext uri="{FF2B5EF4-FFF2-40B4-BE49-F238E27FC236}">
                <a16:creationId xmlns:a16="http://schemas.microsoft.com/office/drawing/2014/main" id="{D2A91264-00E1-4BD3-293E-BE40AAD98C5F}"/>
              </a:ext>
            </a:extLst>
          </p:cNvPr>
          <p:cNvSpPr>
            <a:spLocks noGrp="1"/>
          </p:cNvSpPr>
          <p:nvPr userDrawn="1">
            <p:ph type="body" sz="quarter" idx="27" hasCustomPrompt="1"/>
          </p:nvPr>
        </p:nvSpPr>
        <p:spPr>
          <a:xfrm>
            <a:off x="8950299" y="2451792"/>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3" name="Text Placeholder 20">
            <a:extLst>
              <a:ext uri="{FF2B5EF4-FFF2-40B4-BE49-F238E27FC236}">
                <a16:creationId xmlns:a16="http://schemas.microsoft.com/office/drawing/2014/main" id="{7AE9B17A-9DE8-3C9E-DDDC-CA860B6819B3}"/>
              </a:ext>
            </a:extLst>
          </p:cNvPr>
          <p:cNvSpPr>
            <a:spLocks noGrp="1"/>
          </p:cNvSpPr>
          <p:nvPr userDrawn="1">
            <p:ph type="body" sz="quarter" idx="28" hasCustomPrompt="1"/>
          </p:nvPr>
        </p:nvSpPr>
        <p:spPr>
          <a:xfrm>
            <a:off x="8950299" y="1471054"/>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25" name="Rectangle 24">
            <a:extLst>
              <a:ext uri="{FF2B5EF4-FFF2-40B4-BE49-F238E27FC236}">
                <a16:creationId xmlns:a16="http://schemas.microsoft.com/office/drawing/2014/main" id="{771DEEDC-8187-24ED-7E42-DAF4D52C68F0}"/>
              </a:ext>
            </a:extLst>
          </p:cNvPr>
          <p:cNvSpPr/>
          <p:nvPr userDrawn="1"/>
        </p:nvSpPr>
        <p:spPr>
          <a:xfrm>
            <a:off x="741777" y="4673718"/>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7" name="Straight Connector 26">
            <a:extLst>
              <a:ext uri="{FF2B5EF4-FFF2-40B4-BE49-F238E27FC236}">
                <a16:creationId xmlns:a16="http://schemas.microsoft.com/office/drawing/2014/main" id="{6FEC3663-E96C-EB19-6441-42F6D2DC96EB}"/>
              </a:ext>
            </a:extLst>
          </p:cNvPr>
          <p:cNvCxnSpPr>
            <a:cxnSpLocks/>
          </p:cNvCxnSpPr>
          <p:nvPr userDrawn="1"/>
        </p:nvCxnSpPr>
        <p:spPr>
          <a:xfrm>
            <a:off x="741777" y="4660605"/>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29" name="Text Placeholder 20">
            <a:extLst>
              <a:ext uri="{FF2B5EF4-FFF2-40B4-BE49-F238E27FC236}">
                <a16:creationId xmlns:a16="http://schemas.microsoft.com/office/drawing/2014/main" id="{213A7298-F970-E6B0-83A2-28DA87BFD348}"/>
              </a:ext>
            </a:extLst>
          </p:cNvPr>
          <p:cNvSpPr>
            <a:spLocks noGrp="1"/>
          </p:cNvSpPr>
          <p:nvPr>
            <p:ph type="body" sz="quarter" idx="29" hasCustomPrompt="1"/>
          </p:nvPr>
        </p:nvSpPr>
        <p:spPr>
          <a:xfrm>
            <a:off x="916647" y="4830741"/>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0" name="Text Placeholder 20">
            <a:extLst>
              <a:ext uri="{FF2B5EF4-FFF2-40B4-BE49-F238E27FC236}">
                <a16:creationId xmlns:a16="http://schemas.microsoft.com/office/drawing/2014/main" id="{14C5DD45-1491-CE4C-68D4-8537C20243BA}"/>
              </a:ext>
            </a:extLst>
          </p:cNvPr>
          <p:cNvSpPr>
            <a:spLocks noGrp="1"/>
          </p:cNvSpPr>
          <p:nvPr>
            <p:ph type="body" sz="quarter" idx="30" hasCustomPrompt="1"/>
          </p:nvPr>
        </p:nvSpPr>
        <p:spPr>
          <a:xfrm>
            <a:off x="916647" y="3850003"/>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1" name="Rectangle 30">
            <a:extLst>
              <a:ext uri="{FF2B5EF4-FFF2-40B4-BE49-F238E27FC236}">
                <a16:creationId xmlns:a16="http://schemas.microsoft.com/office/drawing/2014/main" id="{64127DA2-9D94-3342-77FA-829E376A2AAB}"/>
              </a:ext>
            </a:extLst>
          </p:cNvPr>
          <p:cNvSpPr/>
          <p:nvPr userDrawn="1"/>
        </p:nvSpPr>
        <p:spPr>
          <a:xfrm>
            <a:off x="3419661" y="4673718"/>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2" name="Straight Connector 31">
            <a:extLst>
              <a:ext uri="{FF2B5EF4-FFF2-40B4-BE49-F238E27FC236}">
                <a16:creationId xmlns:a16="http://schemas.microsoft.com/office/drawing/2014/main" id="{94459CC2-233A-3DEB-79C8-F3938E2874EA}"/>
              </a:ext>
            </a:extLst>
          </p:cNvPr>
          <p:cNvCxnSpPr>
            <a:cxnSpLocks/>
          </p:cNvCxnSpPr>
          <p:nvPr userDrawn="1"/>
        </p:nvCxnSpPr>
        <p:spPr>
          <a:xfrm>
            <a:off x="3419661" y="4660605"/>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33" name="Text Placeholder 20">
            <a:extLst>
              <a:ext uri="{FF2B5EF4-FFF2-40B4-BE49-F238E27FC236}">
                <a16:creationId xmlns:a16="http://schemas.microsoft.com/office/drawing/2014/main" id="{0CF42145-CC43-0481-2346-A89427045E01}"/>
              </a:ext>
            </a:extLst>
          </p:cNvPr>
          <p:cNvSpPr>
            <a:spLocks noGrp="1"/>
          </p:cNvSpPr>
          <p:nvPr>
            <p:ph type="body" sz="quarter" idx="31" hasCustomPrompt="1"/>
          </p:nvPr>
        </p:nvSpPr>
        <p:spPr>
          <a:xfrm>
            <a:off x="3594531" y="4830741"/>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4" name="Text Placeholder 20">
            <a:extLst>
              <a:ext uri="{FF2B5EF4-FFF2-40B4-BE49-F238E27FC236}">
                <a16:creationId xmlns:a16="http://schemas.microsoft.com/office/drawing/2014/main" id="{769DBB9D-40B5-FDB7-C647-56DDDA0858C3}"/>
              </a:ext>
            </a:extLst>
          </p:cNvPr>
          <p:cNvSpPr>
            <a:spLocks noGrp="1"/>
          </p:cNvSpPr>
          <p:nvPr>
            <p:ph type="body" sz="quarter" idx="32" hasCustomPrompt="1"/>
          </p:nvPr>
        </p:nvSpPr>
        <p:spPr>
          <a:xfrm>
            <a:off x="3594531" y="3850003"/>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5" name="Rectangle 34">
            <a:extLst>
              <a:ext uri="{FF2B5EF4-FFF2-40B4-BE49-F238E27FC236}">
                <a16:creationId xmlns:a16="http://schemas.microsoft.com/office/drawing/2014/main" id="{54BCF977-5C7F-3DF5-226C-277F16D4A6FF}"/>
              </a:ext>
            </a:extLst>
          </p:cNvPr>
          <p:cNvSpPr/>
          <p:nvPr userDrawn="1"/>
        </p:nvSpPr>
        <p:spPr>
          <a:xfrm>
            <a:off x="6097545" y="4673718"/>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7" name="Straight Connector 36">
            <a:extLst>
              <a:ext uri="{FF2B5EF4-FFF2-40B4-BE49-F238E27FC236}">
                <a16:creationId xmlns:a16="http://schemas.microsoft.com/office/drawing/2014/main" id="{61D22BE9-B0C4-9A41-C5B2-58F43FE7CDAA}"/>
              </a:ext>
            </a:extLst>
          </p:cNvPr>
          <p:cNvCxnSpPr>
            <a:cxnSpLocks/>
          </p:cNvCxnSpPr>
          <p:nvPr userDrawn="1"/>
        </p:nvCxnSpPr>
        <p:spPr>
          <a:xfrm>
            <a:off x="6097545" y="4660605"/>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48" name="Text Placeholder 20">
            <a:extLst>
              <a:ext uri="{FF2B5EF4-FFF2-40B4-BE49-F238E27FC236}">
                <a16:creationId xmlns:a16="http://schemas.microsoft.com/office/drawing/2014/main" id="{31A2F491-F043-7829-889E-CC01ADD3DF5F}"/>
              </a:ext>
            </a:extLst>
          </p:cNvPr>
          <p:cNvSpPr>
            <a:spLocks noGrp="1"/>
          </p:cNvSpPr>
          <p:nvPr>
            <p:ph type="body" sz="quarter" idx="33" hasCustomPrompt="1"/>
          </p:nvPr>
        </p:nvSpPr>
        <p:spPr>
          <a:xfrm>
            <a:off x="6272415" y="4830741"/>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4" name="Text Placeholder 20">
            <a:extLst>
              <a:ext uri="{FF2B5EF4-FFF2-40B4-BE49-F238E27FC236}">
                <a16:creationId xmlns:a16="http://schemas.microsoft.com/office/drawing/2014/main" id="{450FF938-86F3-41D1-C772-3BB3B837341F}"/>
              </a:ext>
            </a:extLst>
          </p:cNvPr>
          <p:cNvSpPr>
            <a:spLocks noGrp="1"/>
          </p:cNvSpPr>
          <p:nvPr>
            <p:ph type="body" sz="quarter" idx="34" hasCustomPrompt="1"/>
          </p:nvPr>
        </p:nvSpPr>
        <p:spPr>
          <a:xfrm>
            <a:off x="6272415" y="3850003"/>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5" name="Rectangle 54">
            <a:extLst>
              <a:ext uri="{FF2B5EF4-FFF2-40B4-BE49-F238E27FC236}">
                <a16:creationId xmlns:a16="http://schemas.microsoft.com/office/drawing/2014/main" id="{F8392C24-170F-C3C9-8554-7D2FF1E002D9}"/>
              </a:ext>
            </a:extLst>
          </p:cNvPr>
          <p:cNvSpPr/>
          <p:nvPr userDrawn="1"/>
        </p:nvSpPr>
        <p:spPr>
          <a:xfrm>
            <a:off x="8775429" y="4673718"/>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56" name="Straight Connector 55">
            <a:extLst>
              <a:ext uri="{FF2B5EF4-FFF2-40B4-BE49-F238E27FC236}">
                <a16:creationId xmlns:a16="http://schemas.microsoft.com/office/drawing/2014/main" id="{9B9E750F-A21C-FCB9-4EFC-7BEA8BFE35C0}"/>
              </a:ext>
            </a:extLst>
          </p:cNvPr>
          <p:cNvCxnSpPr>
            <a:cxnSpLocks/>
          </p:cNvCxnSpPr>
          <p:nvPr userDrawn="1"/>
        </p:nvCxnSpPr>
        <p:spPr>
          <a:xfrm>
            <a:off x="8775429" y="4660605"/>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57" name="Text Placeholder 20">
            <a:extLst>
              <a:ext uri="{FF2B5EF4-FFF2-40B4-BE49-F238E27FC236}">
                <a16:creationId xmlns:a16="http://schemas.microsoft.com/office/drawing/2014/main" id="{DB2B63C6-9F13-A41E-F5D4-B1F419019F2E}"/>
              </a:ext>
            </a:extLst>
          </p:cNvPr>
          <p:cNvSpPr>
            <a:spLocks noGrp="1"/>
          </p:cNvSpPr>
          <p:nvPr>
            <p:ph type="body" sz="quarter" idx="35" hasCustomPrompt="1"/>
          </p:nvPr>
        </p:nvSpPr>
        <p:spPr>
          <a:xfrm>
            <a:off x="8950299" y="4830741"/>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8" name="Text Placeholder 20">
            <a:extLst>
              <a:ext uri="{FF2B5EF4-FFF2-40B4-BE49-F238E27FC236}">
                <a16:creationId xmlns:a16="http://schemas.microsoft.com/office/drawing/2014/main" id="{A121C4C7-0C16-A825-2C55-2F10B1BA2063}"/>
              </a:ext>
            </a:extLst>
          </p:cNvPr>
          <p:cNvSpPr>
            <a:spLocks noGrp="1"/>
          </p:cNvSpPr>
          <p:nvPr>
            <p:ph type="body" sz="quarter" idx="36" hasCustomPrompt="1"/>
          </p:nvPr>
        </p:nvSpPr>
        <p:spPr>
          <a:xfrm>
            <a:off x="8950299" y="3850003"/>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9" name="Title 1">
            <a:extLst>
              <a:ext uri="{FF2B5EF4-FFF2-40B4-BE49-F238E27FC236}">
                <a16:creationId xmlns:a16="http://schemas.microsoft.com/office/drawing/2014/main" id="{9B587442-3116-C0A0-18F9-7A897267D819}"/>
              </a:ext>
            </a:extLst>
          </p:cNvPr>
          <p:cNvSpPr>
            <a:spLocks noGrp="1"/>
          </p:cNvSpPr>
          <p:nvPr>
            <p:ph type="title" hasCustomPrompt="1"/>
          </p:nvPr>
        </p:nvSpPr>
        <p:spPr>
          <a:xfrm>
            <a:off x="741777" y="365126"/>
            <a:ext cx="10671895" cy="99368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42" name="Bilde 3">
            <a:extLst>
              <a:ext uri="{FF2B5EF4-FFF2-40B4-BE49-F238E27FC236}">
                <a16:creationId xmlns:a16="http://schemas.microsoft.com/office/drawing/2014/main" id="{1E180836-C789-8619-DB8A-CE3F0915A7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47" name="Date Placeholder 2">
            <a:extLst>
              <a:ext uri="{FF2B5EF4-FFF2-40B4-BE49-F238E27FC236}">
                <a16:creationId xmlns:a16="http://schemas.microsoft.com/office/drawing/2014/main" id="{40EC078F-DB36-1601-92FF-770899727D07}"/>
              </a:ext>
            </a:extLst>
          </p:cNvPr>
          <p:cNvSpPr>
            <a:spLocks noGrp="1"/>
          </p:cNvSpPr>
          <p:nvPr>
            <p:ph type="dt" sz="half" idx="16"/>
          </p:nvPr>
        </p:nvSpPr>
        <p:spPr>
          <a:xfrm>
            <a:off x="2303627" y="6492875"/>
            <a:ext cx="528585" cy="365125"/>
          </a:xfrm>
        </p:spPr>
        <p:txBody>
          <a:bodyPr/>
          <a:lstStyle/>
          <a:p>
            <a:fld id="{CFF1A1C1-E77B-3F41-A20C-147593D9B053}" type="datetime1">
              <a:rPr lang="nb-NO" smtClean="0"/>
              <a:t>20.08.2024</a:t>
            </a:fld>
            <a:endParaRPr lang="en-US"/>
          </a:p>
        </p:txBody>
      </p:sp>
      <p:sp>
        <p:nvSpPr>
          <p:cNvPr id="60" name="Footer Placeholder 3">
            <a:extLst>
              <a:ext uri="{FF2B5EF4-FFF2-40B4-BE49-F238E27FC236}">
                <a16:creationId xmlns:a16="http://schemas.microsoft.com/office/drawing/2014/main" id="{39F40227-679D-0B79-92F0-5999FCFA70E5}"/>
              </a:ext>
            </a:extLst>
          </p:cNvPr>
          <p:cNvSpPr>
            <a:spLocks noGrp="1"/>
          </p:cNvSpPr>
          <p:nvPr>
            <p:ph type="ftr" sz="quarter" idx="17"/>
          </p:nvPr>
        </p:nvSpPr>
        <p:spPr>
          <a:xfrm>
            <a:off x="175116" y="6492875"/>
            <a:ext cx="2107096" cy="365125"/>
          </a:xfrm>
        </p:spPr>
        <p:txBody>
          <a:bodyPr/>
          <a:lstStyle/>
          <a:p>
            <a:r>
              <a:rPr lang="en-US"/>
              <a:t>© StrongPoint 2022</a:t>
            </a:r>
          </a:p>
        </p:txBody>
      </p:sp>
      <p:sp>
        <p:nvSpPr>
          <p:cNvPr id="61" name="Slide Number Placeholder 4">
            <a:extLst>
              <a:ext uri="{FF2B5EF4-FFF2-40B4-BE49-F238E27FC236}">
                <a16:creationId xmlns:a16="http://schemas.microsoft.com/office/drawing/2014/main" id="{29A40919-D39A-66B3-F03F-0EBE8A9FA2A3}"/>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8650354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userDrawn="1">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65_Custom Layout">
    <p:spTree>
      <p:nvGrpSpPr>
        <p:cNvPr id="1" name=""/>
        <p:cNvGrpSpPr/>
        <p:nvPr/>
      </p:nvGrpSpPr>
      <p:grpSpPr>
        <a:xfrm>
          <a:off x="0" y="0"/>
          <a:ext cx="0" cy="0"/>
          <a:chOff x="0" y="0"/>
          <a:chExt cx="0" cy="0"/>
        </a:xfrm>
      </p:grpSpPr>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1448411" y="237532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779147" y="1485777"/>
            <a:ext cx="2938011" cy="605707"/>
          </a:xfrm>
          <a:prstGeom prst="rect">
            <a:avLst/>
          </a:prstGeom>
        </p:spPr>
        <p:txBody>
          <a:bodyPr anchor="b">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529693" y="2380462"/>
            <a:ext cx="2187469"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6" name="Oval 5">
            <a:extLst>
              <a:ext uri="{FF2B5EF4-FFF2-40B4-BE49-F238E27FC236}">
                <a16:creationId xmlns:a16="http://schemas.microsoft.com/office/drawing/2014/main" id="{8DBB2A8D-B9A7-F046-8E3F-1F0126DB7CCD}"/>
              </a:ext>
            </a:extLst>
          </p:cNvPr>
          <p:cNvSpPr/>
          <p:nvPr userDrawn="1"/>
        </p:nvSpPr>
        <p:spPr>
          <a:xfrm>
            <a:off x="773262" y="2507190"/>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7" name="Straight Connector 46">
            <a:extLst>
              <a:ext uri="{FF2B5EF4-FFF2-40B4-BE49-F238E27FC236}">
                <a16:creationId xmlns:a16="http://schemas.microsoft.com/office/drawing/2014/main" id="{9319F917-FF3E-6F4A-8DED-9BD99CAF6CEC}"/>
              </a:ext>
            </a:extLst>
          </p:cNvPr>
          <p:cNvCxnSpPr>
            <a:cxnSpLocks/>
          </p:cNvCxnSpPr>
          <p:nvPr userDrawn="1"/>
        </p:nvCxnSpPr>
        <p:spPr>
          <a:xfrm>
            <a:off x="5202442" y="237532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8" name="Text Placeholder 20">
            <a:extLst>
              <a:ext uri="{FF2B5EF4-FFF2-40B4-BE49-F238E27FC236}">
                <a16:creationId xmlns:a16="http://schemas.microsoft.com/office/drawing/2014/main" id="{90110F60-89B8-F44F-86DF-237FA9EDC86F}"/>
              </a:ext>
            </a:extLst>
          </p:cNvPr>
          <p:cNvSpPr>
            <a:spLocks noGrp="1"/>
          </p:cNvSpPr>
          <p:nvPr>
            <p:ph type="body" sz="quarter" idx="31" hasCustomPrompt="1"/>
          </p:nvPr>
        </p:nvSpPr>
        <p:spPr>
          <a:xfrm>
            <a:off x="4533178" y="1485777"/>
            <a:ext cx="2938003" cy="605707"/>
          </a:xfrm>
          <a:prstGeom prst="rect">
            <a:avLst/>
          </a:prstGeom>
        </p:spPr>
        <p:txBody>
          <a:bodyPr anchor="b">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9" name="Text Placeholder 20">
            <a:extLst>
              <a:ext uri="{FF2B5EF4-FFF2-40B4-BE49-F238E27FC236}">
                <a16:creationId xmlns:a16="http://schemas.microsoft.com/office/drawing/2014/main" id="{8F9630DC-CA99-8F43-AA5B-00980E185C7F}"/>
              </a:ext>
            </a:extLst>
          </p:cNvPr>
          <p:cNvSpPr>
            <a:spLocks noGrp="1"/>
          </p:cNvSpPr>
          <p:nvPr>
            <p:ph type="body" sz="quarter" idx="32" hasCustomPrompt="1"/>
          </p:nvPr>
        </p:nvSpPr>
        <p:spPr>
          <a:xfrm>
            <a:off x="5283725" y="2380462"/>
            <a:ext cx="2187470"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3" name="Oval 52">
            <a:extLst>
              <a:ext uri="{FF2B5EF4-FFF2-40B4-BE49-F238E27FC236}">
                <a16:creationId xmlns:a16="http://schemas.microsoft.com/office/drawing/2014/main" id="{75A3B9E5-08F2-814D-9BEE-10B6FF734436}"/>
              </a:ext>
            </a:extLst>
          </p:cNvPr>
          <p:cNvSpPr/>
          <p:nvPr userDrawn="1"/>
        </p:nvSpPr>
        <p:spPr>
          <a:xfrm>
            <a:off x="4527293" y="2507190"/>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4" name="Straight Connector 53">
            <a:extLst>
              <a:ext uri="{FF2B5EF4-FFF2-40B4-BE49-F238E27FC236}">
                <a16:creationId xmlns:a16="http://schemas.microsoft.com/office/drawing/2014/main" id="{E613A742-D6B6-E547-AFAD-DAF27F529BB3}"/>
              </a:ext>
            </a:extLst>
          </p:cNvPr>
          <p:cNvCxnSpPr>
            <a:cxnSpLocks/>
          </p:cNvCxnSpPr>
          <p:nvPr userDrawn="1"/>
        </p:nvCxnSpPr>
        <p:spPr>
          <a:xfrm>
            <a:off x="9035840" y="237532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Text Placeholder 20">
            <a:extLst>
              <a:ext uri="{FF2B5EF4-FFF2-40B4-BE49-F238E27FC236}">
                <a16:creationId xmlns:a16="http://schemas.microsoft.com/office/drawing/2014/main" id="{FDAE3801-F6B0-9040-BFF6-0C2A999B3008}"/>
              </a:ext>
            </a:extLst>
          </p:cNvPr>
          <p:cNvSpPr>
            <a:spLocks noGrp="1"/>
          </p:cNvSpPr>
          <p:nvPr>
            <p:ph type="body" sz="quarter" idx="33" hasCustomPrompt="1"/>
          </p:nvPr>
        </p:nvSpPr>
        <p:spPr>
          <a:xfrm>
            <a:off x="8366577" y="1485777"/>
            <a:ext cx="2938004" cy="605707"/>
          </a:xfrm>
          <a:prstGeom prst="rect">
            <a:avLst/>
          </a:prstGeom>
        </p:spPr>
        <p:txBody>
          <a:bodyPr anchor="b">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6" name="Text Placeholder 20">
            <a:extLst>
              <a:ext uri="{FF2B5EF4-FFF2-40B4-BE49-F238E27FC236}">
                <a16:creationId xmlns:a16="http://schemas.microsoft.com/office/drawing/2014/main" id="{AC05E92B-0A22-F74F-A0A0-37E184796253}"/>
              </a:ext>
            </a:extLst>
          </p:cNvPr>
          <p:cNvSpPr>
            <a:spLocks noGrp="1"/>
          </p:cNvSpPr>
          <p:nvPr>
            <p:ph type="body" sz="quarter" idx="34" hasCustomPrompt="1"/>
          </p:nvPr>
        </p:nvSpPr>
        <p:spPr>
          <a:xfrm>
            <a:off x="9117123" y="2380462"/>
            <a:ext cx="219359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7" name="Oval 56">
            <a:extLst>
              <a:ext uri="{FF2B5EF4-FFF2-40B4-BE49-F238E27FC236}">
                <a16:creationId xmlns:a16="http://schemas.microsoft.com/office/drawing/2014/main" id="{3413011A-3D10-E14D-B233-D9B81B58D993}"/>
              </a:ext>
            </a:extLst>
          </p:cNvPr>
          <p:cNvSpPr/>
          <p:nvPr userDrawn="1"/>
        </p:nvSpPr>
        <p:spPr>
          <a:xfrm>
            <a:off x="8360691" y="2507190"/>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8" name="Straight Connector 57">
            <a:extLst>
              <a:ext uri="{FF2B5EF4-FFF2-40B4-BE49-F238E27FC236}">
                <a16:creationId xmlns:a16="http://schemas.microsoft.com/office/drawing/2014/main" id="{14D0E40A-826D-D447-875C-24BB261305E6}"/>
              </a:ext>
            </a:extLst>
          </p:cNvPr>
          <p:cNvCxnSpPr>
            <a:cxnSpLocks/>
          </p:cNvCxnSpPr>
          <p:nvPr userDrawn="1"/>
        </p:nvCxnSpPr>
        <p:spPr>
          <a:xfrm>
            <a:off x="1448411" y="3304813"/>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Text Placeholder 20">
            <a:extLst>
              <a:ext uri="{FF2B5EF4-FFF2-40B4-BE49-F238E27FC236}">
                <a16:creationId xmlns:a16="http://schemas.microsoft.com/office/drawing/2014/main" id="{8F334DBA-DB16-D64B-BA18-F61C21BB3599}"/>
              </a:ext>
            </a:extLst>
          </p:cNvPr>
          <p:cNvSpPr>
            <a:spLocks noGrp="1"/>
          </p:cNvSpPr>
          <p:nvPr>
            <p:ph type="body" sz="quarter" idx="35" hasCustomPrompt="1"/>
          </p:nvPr>
        </p:nvSpPr>
        <p:spPr>
          <a:xfrm>
            <a:off x="1529693" y="3309950"/>
            <a:ext cx="2187469"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64" name="Oval 63">
            <a:extLst>
              <a:ext uri="{FF2B5EF4-FFF2-40B4-BE49-F238E27FC236}">
                <a16:creationId xmlns:a16="http://schemas.microsoft.com/office/drawing/2014/main" id="{B2763EBF-B45B-7F4C-9541-765EF4D57406}"/>
              </a:ext>
            </a:extLst>
          </p:cNvPr>
          <p:cNvSpPr/>
          <p:nvPr userDrawn="1"/>
        </p:nvSpPr>
        <p:spPr>
          <a:xfrm>
            <a:off x="773262" y="3436678"/>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5" name="Straight Connector 64">
            <a:extLst>
              <a:ext uri="{FF2B5EF4-FFF2-40B4-BE49-F238E27FC236}">
                <a16:creationId xmlns:a16="http://schemas.microsoft.com/office/drawing/2014/main" id="{39C8D00F-526F-4D4A-87BC-AE247330FE55}"/>
              </a:ext>
            </a:extLst>
          </p:cNvPr>
          <p:cNvCxnSpPr>
            <a:cxnSpLocks/>
          </p:cNvCxnSpPr>
          <p:nvPr userDrawn="1"/>
        </p:nvCxnSpPr>
        <p:spPr>
          <a:xfrm>
            <a:off x="5202442" y="3304813"/>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6" name="Text Placeholder 20">
            <a:extLst>
              <a:ext uri="{FF2B5EF4-FFF2-40B4-BE49-F238E27FC236}">
                <a16:creationId xmlns:a16="http://schemas.microsoft.com/office/drawing/2014/main" id="{D58352EA-9911-8742-A2FE-08E11A7F4AA9}"/>
              </a:ext>
            </a:extLst>
          </p:cNvPr>
          <p:cNvSpPr>
            <a:spLocks noGrp="1"/>
          </p:cNvSpPr>
          <p:nvPr>
            <p:ph type="body" sz="quarter" idx="36" hasCustomPrompt="1"/>
          </p:nvPr>
        </p:nvSpPr>
        <p:spPr>
          <a:xfrm>
            <a:off x="5283725" y="3309950"/>
            <a:ext cx="2187470"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67" name="Oval 66">
            <a:extLst>
              <a:ext uri="{FF2B5EF4-FFF2-40B4-BE49-F238E27FC236}">
                <a16:creationId xmlns:a16="http://schemas.microsoft.com/office/drawing/2014/main" id="{CC472FC1-B8F3-434A-899E-A519F9565D65}"/>
              </a:ext>
            </a:extLst>
          </p:cNvPr>
          <p:cNvSpPr/>
          <p:nvPr userDrawn="1"/>
        </p:nvSpPr>
        <p:spPr>
          <a:xfrm>
            <a:off x="4527293" y="3436678"/>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8" name="Straight Connector 67">
            <a:extLst>
              <a:ext uri="{FF2B5EF4-FFF2-40B4-BE49-F238E27FC236}">
                <a16:creationId xmlns:a16="http://schemas.microsoft.com/office/drawing/2014/main" id="{0FBF096B-09C8-A742-8D7B-2CD71288F329}"/>
              </a:ext>
            </a:extLst>
          </p:cNvPr>
          <p:cNvCxnSpPr>
            <a:cxnSpLocks/>
          </p:cNvCxnSpPr>
          <p:nvPr userDrawn="1"/>
        </p:nvCxnSpPr>
        <p:spPr>
          <a:xfrm>
            <a:off x="9035840" y="3304813"/>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9" name="Text Placeholder 20">
            <a:extLst>
              <a:ext uri="{FF2B5EF4-FFF2-40B4-BE49-F238E27FC236}">
                <a16:creationId xmlns:a16="http://schemas.microsoft.com/office/drawing/2014/main" id="{693B4C3E-8292-A048-A211-BD35FDE740A1}"/>
              </a:ext>
            </a:extLst>
          </p:cNvPr>
          <p:cNvSpPr>
            <a:spLocks noGrp="1"/>
          </p:cNvSpPr>
          <p:nvPr>
            <p:ph type="body" sz="quarter" idx="37" hasCustomPrompt="1"/>
          </p:nvPr>
        </p:nvSpPr>
        <p:spPr>
          <a:xfrm>
            <a:off x="9117123" y="3309950"/>
            <a:ext cx="219359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70" name="Oval 69">
            <a:extLst>
              <a:ext uri="{FF2B5EF4-FFF2-40B4-BE49-F238E27FC236}">
                <a16:creationId xmlns:a16="http://schemas.microsoft.com/office/drawing/2014/main" id="{B40AD22E-5FFC-D145-9D3B-1CD5D45D23AA}"/>
              </a:ext>
            </a:extLst>
          </p:cNvPr>
          <p:cNvSpPr/>
          <p:nvPr userDrawn="1"/>
        </p:nvSpPr>
        <p:spPr>
          <a:xfrm>
            <a:off x="8360691" y="3436678"/>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1" name="Straight Connector 70">
            <a:extLst>
              <a:ext uri="{FF2B5EF4-FFF2-40B4-BE49-F238E27FC236}">
                <a16:creationId xmlns:a16="http://schemas.microsoft.com/office/drawing/2014/main" id="{9B854D38-8E94-2945-A6F3-1F4A80FB0143}"/>
              </a:ext>
            </a:extLst>
          </p:cNvPr>
          <p:cNvCxnSpPr>
            <a:cxnSpLocks/>
          </p:cNvCxnSpPr>
          <p:nvPr userDrawn="1"/>
        </p:nvCxnSpPr>
        <p:spPr>
          <a:xfrm>
            <a:off x="1448411" y="4229496"/>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Text Placeholder 20">
            <a:extLst>
              <a:ext uri="{FF2B5EF4-FFF2-40B4-BE49-F238E27FC236}">
                <a16:creationId xmlns:a16="http://schemas.microsoft.com/office/drawing/2014/main" id="{B03FB43F-DE17-034A-AD6E-863D0BF0C97A}"/>
              </a:ext>
            </a:extLst>
          </p:cNvPr>
          <p:cNvSpPr>
            <a:spLocks noGrp="1"/>
          </p:cNvSpPr>
          <p:nvPr>
            <p:ph type="body" sz="quarter" idx="38" hasCustomPrompt="1"/>
          </p:nvPr>
        </p:nvSpPr>
        <p:spPr>
          <a:xfrm>
            <a:off x="1529693" y="4234633"/>
            <a:ext cx="2187469"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73" name="Oval 72">
            <a:extLst>
              <a:ext uri="{FF2B5EF4-FFF2-40B4-BE49-F238E27FC236}">
                <a16:creationId xmlns:a16="http://schemas.microsoft.com/office/drawing/2014/main" id="{CCBBF6A3-F126-B341-869B-7CBDD189EB87}"/>
              </a:ext>
            </a:extLst>
          </p:cNvPr>
          <p:cNvSpPr/>
          <p:nvPr userDrawn="1"/>
        </p:nvSpPr>
        <p:spPr>
          <a:xfrm>
            <a:off x="773262" y="4361361"/>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4" name="Straight Connector 73">
            <a:extLst>
              <a:ext uri="{FF2B5EF4-FFF2-40B4-BE49-F238E27FC236}">
                <a16:creationId xmlns:a16="http://schemas.microsoft.com/office/drawing/2014/main" id="{B494456F-0DF8-A448-9114-AEF7CC59D455}"/>
              </a:ext>
            </a:extLst>
          </p:cNvPr>
          <p:cNvCxnSpPr>
            <a:cxnSpLocks/>
          </p:cNvCxnSpPr>
          <p:nvPr userDrawn="1"/>
        </p:nvCxnSpPr>
        <p:spPr>
          <a:xfrm>
            <a:off x="5202442" y="4229496"/>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5" name="Text Placeholder 20">
            <a:extLst>
              <a:ext uri="{FF2B5EF4-FFF2-40B4-BE49-F238E27FC236}">
                <a16:creationId xmlns:a16="http://schemas.microsoft.com/office/drawing/2014/main" id="{8AED9D6B-FA7A-9240-ACE9-40A615D0C77B}"/>
              </a:ext>
            </a:extLst>
          </p:cNvPr>
          <p:cNvSpPr>
            <a:spLocks noGrp="1"/>
          </p:cNvSpPr>
          <p:nvPr>
            <p:ph type="body" sz="quarter" idx="39" hasCustomPrompt="1"/>
          </p:nvPr>
        </p:nvSpPr>
        <p:spPr>
          <a:xfrm>
            <a:off x="5283725" y="4234633"/>
            <a:ext cx="2187470"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76" name="Oval 75">
            <a:extLst>
              <a:ext uri="{FF2B5EF4-FFF2-40B4-BE49-F238E27FC236}">
                <a16:creationId xmlns:a16="http://schemas.microsoft.com/office/drawing/2014/main" id="{B4E5386C-E801-E648-AE68-4E88E0AC2450}"/>
              </a:ext>
            </a:extLst>
          </p:cNvPr>
          <p:cNvSpPr/>
          <p:nvPr userDrawn="1"/>
        </p:nvSpPr>
        <p:spPr>
          <a:xfrm>
            <a:off x="4527293" y="4361361"/>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7" name="Straight Connector 76">
            <a:extLst>
              <a:ext uri="{FF2B5EF4-FFF2-40B4-BE49-F238E27FC236}">
                <a16:creationId xmlns:a16="http://schemas.microsoft.com/office/drawing/2014/main" id="{77F2F78F-ADE7-554C-A2FD-66B5759CE696}"/>
              </a:ext>
            </a:extLst>
          </p:cNvPr>
          <p:cNvCxnSpPr>
            <a:cxnSpLocks/>
          </p:cNvCxnSpPr>
          <p:nvPr userDrawn="1"/>
        </p:nvCxnSpPr>
        <p:spPr>
          <a:xfrm>
            <a:off x="9035840" y="4229496"/>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8" name="Text Placeholder 20">
            <a:extLst>
              <a:ext uri="{FF2B5EF4-FFF2-40B4-BE49-F238E27FC236}">
                <a16:creationId xmlns:a16="http://schemas.microsoft.com/office/drawing/2014/main" id="{0F8BCE60-D91B-E448-9707-12A4D5117841}"/>
              </a:ext>
            </a:extLst>
          </p:cNvPr>
          <p:cNvSpPr>
            <a:spLocks noGrp="1"/>
          </p:cNvSpPr>
          <p:nvPr>
            <p:ph type="body" sz="quarter" idx="40" hasCustomPrompt="1"/>
          </p:nvPr>
        </p:nvSpPr>
        <p:spPr>
          <a:xfrm>
            <a:off x="9117123" y="4234633"/>
            <a:ext cx="219359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79" name="Oval 78">
            <a:extLst>
              <a:ext uri="{FF2B5EF4-FFF2-40B4-BE49-F238E27FC236}">
                <a16:creationId xmlns:a16="http://schemas.microsoft.com/office/drawing/2014/main" id="{11D4FBDA-1686-F34C-A3EC-8C13DB3FF9E1}"/>
              </a:ext>
            </a:extLst>
          </p:cNvPr>
          <p:cNvSpPr/>
          <p:nvPr userDrawn="1"/>
        </p:nvSpPr>
        <p:spPr>
          <a:xfrm>
            <a:off x="8360691" y="4361361"/>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0" name="Straight Connector 79">
            <a:extLst>
              <a:ext uri="{FF2B5EF4-FFF2-40B4-BE49-F238E27FC236}">
                <a16:creationId xmlns:a16="http://schemas.microsoft.com/office/drawing/2014/main" id="{AFAC971E-6FED-A84A-AFF8-7D2BBE235176}"/>
              </a:ext>
            </a:extLst>
          </p:cNvPr>
          <p:cNvCxnSpPr>
            <a:cxnSpLocks/>
          </p:cNvCxnSpPr>
          <p:nvPr userDrawn="1"/>
        </p:nvCxnSpPr>
        <p:spPr>
          <a:xfrm>
            <a:off x="1448411" y="5171582"/>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1" name="Text Placeholder 20">
            <a:extLst>
              <a:ext uri="{FF2B5EF4-FFF2-40B4-BE49-F238E27FC236}">
                <a16:creationId xmlns:a16="http://schemas.microsoft.com/office/drawing/2014/main" id="{60FC510F-AB34-924E-942D-935C38146DE6}"/>
              </a:ext>
            </a:extLst>
          </p:cNvPr>
          <p:cNvSpPr>
            <a:spLocks noGrp="1"/>
          </p:cNvSpPr>
          <p:nvPr>
            <p:ph type="body" sz="quarter" idx="41" hasCustomPrompt="1"/>
          </p:nvPr>
        </p:nvSpPr>
        <p:spPr>
          <a:xfrm>
            <a:off x="1529693" y="5176719"/>
            <a:ext cx="2187469"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82" name="Oval 81">
            <a:extLst>
              <a:ext uri="{FF2B5EF4-FFF2-40B4-BE49-F238E27FC236}">
                <a16:creationId xmlns:a16="http://schemas.microsoft.com/office/drawing/2014/main" id="{963066B7-3415-694F-BD42-0686E65350FC}"/>
              </a:ext>
            </a:extLst>
          </p:cNvPr>
          <p:cNvSpPr/>
          <p:nvPr userDrawn="1"/>
        </p:nvSpPr>
        <p:spPr>
          <a:xfrm>
            <a:off x="773262" y="5303447"/>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3" name="Straight Connector 82">
            <a:extLst>
              <a:ext uri="{FF2B5EF4-FFF2-40B4-BE49-F238E27FC236}">
                <a16:creationId xmlns:a16="http://schemas.microsoft.com/office/drawing/2014/main" id="{C0A68C1A-30A7-A347-ADC7-875DF28D144E}"/>
              </a:ext>
            </a:extLst>
          </p:cNvPr>
          <p:cNvCxnSpPr>
            <a:cxnSpLocks/>
          </p:cNvCxnSpPr>
          <p:nvPr userDrawn="1"/>
        </p:nvCxnSpPr>
        <p:spPr>
          <a:xfrm>
            <a:off x="5202442" y="5171582"/>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4" name="Text Placeholder 20">
            <a:extLst>
              <a:ext uri="{FF2B5EF4-FFF2-40B4-BE49-F238E27FC236}">
                <a16:creationId xmlns:a16="http://schemas.microsoft.com/office/drawing/2014/main" id="{9BC348A1-0F4B-D748-9427-6CDF7D128789}"/>
              </a:ext>
            </a:extLst>
          </p:cNvPr>
          <p:cNvSpPr>
            <a:spLocks noGrp="1"/>
          </p:cNvSpPr>
          <p:nvPr>
            <p:ph type="body" sz="quarter" idx="42" hasCustomPrompt="1"/>
          </p:nvPr>
        </p:nvSpPr>
        <p:spPr>
          <a:xfrm>
            <a:off x="5283725" y="5176719"/>
            <a:ext cx="2187470"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85" name="Oval 84">
            <a:extLst>
              <a:ext uri="{FF2B5EF4-FFF2-40B4-BE49-F238E27FC236}">
                <a16:creationId xmlns:a16="http://schemas.microsoft.com/office/drawing/2014/main" id="{FC72BBE4-8608-3B46-AA33-6446773A0E7F}"/>
              </a:ext>
            </a:extLst>
          </p:cNvPr>
          <p:cNvSpPr/>
          <p:nvPr userDrawn="1"/>
        </p:nvSpPr>
        <p:spPr>
          <a:xfrm>
            <a:off x="4527293" y="5303447"/>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6" name="Straight Connector 85">
            <a:extLst>
              <a:ext uri="{FF2B5EF4-FFF2-40B4-BE49-F238E27FC236}">
                <a16:creationId xmlns:a16="http://schemas.microsoft.com/office/drawing/2014/main" id="{8C948146-17FD-DB4A-846E-F51BA988AE33}"/>
              </a:ext>
            </a:extLst>
          </p:cNvPr>
          <p:cNvCxnSpPr>
            <a:cxnSpLocks/>
          </p:cNvCxnSpPr>
          <p:nvPr userDrawn="1"/>
        </p:nvCxnSpPr>
        <p:spPr>
          <a:xfrm>
            <a:off x="9035840" y="5171582"/>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7" name="Text Placeholder 20">
            <a:extLst>
              <a:ext uri="{FF2B5EF4-FFF2-40B4-BE49-F238E27FC236}">
                <a16:creationId xmlns:a16="http://schemas.microsoft.com/office/drawing/2014/main" id="{75BDE792-8516-F140-98B5-E6555694FF9F}"/>
              </a:ext>
            </a:extLst>
          </p:cNvPr>
          <p:cNvSpPr>
            <a:spLocks noGrp="1"/>
          </p:cNvSpPr>
          <p:nvPr>
            <p:ph type="body" sz="quarter" idx="43" hasCustomPrompt="1"/>
          </p:nvPr>
        </p:nvSpPr>
        <p:spPr>
          <a:xfrm>
            <a:off x="9117123" y="5176719"/>
            <a:ext cx="219359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88" name="Oval 87">
            <a:extLst>
              <a:ext uri="{FF2B5EF4-FFF2-40B4-BE49-F238E27FC236}">
                <a16:creationId xmlns:a16="http://schemas.microsoft.com/office/drawing/2014/main" id="{DDDC840E-AD4E-2B46-B591-42777DAB80FF}"/>
              </a:ext>
            </a:extLst>
          </p:cNvPr>
          <p:cNvSpPr/>
          <p:nvPr userDrawn="1"/>
        </p:nvSpPr>
        <p:spPr>
          <a:xfrm>
            <a:off x="8360691" y="5303447"/>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Title 1">
            <a:extLst>
              <a:ext uri="{FF2B5EF4-FFF2-40B4-BE49-F238E27FC236}">
                <a16:creationId xmlns:a16="http://schemas.microsoft.com/office/drawing/2014/main" id="{F69BD680-0AAD-24E2-CE88-7D26D6861A10}"/>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50" name="Bilde 3">
            <a:extLst>
              <a:ext uri="{FF2B5EF4-FFF2-40B4-BE49-F238E27FC236}">
                <a16:creationId xmlns:a16="http://schemas.microsoft.com/office/drawing/2014/main" id="{2DE1B364-CE7B-11B5-BC6E-1FAF7873E55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51" name="Date Placeholder 2">
            <a:extLst>
              <a:ext uri="{FF2B5EF4-FFF2-40B4-BE49-F238E27FC236}">
                <a16:creationId xmlns:a16="http://schemas.microsoft.com/office/drawing/2014/main" id="{90471FF1-65DE-B018-6763-A20C8F2B0096}"/>
              </a:ext>
            </a:extLst>
          </p:cNvPr>
          <p:cNvSpPr>
            <a:spLocks noGrp="1"/>
          </p:cNvSpPr>
          <p:nvPr>
            <p:ph type="dt" sz="half" idx="16"/>
          </p:nvPr>
        </p:nvSpPr>
        <p:spPr>
          <a:xfrm>
            <a:off x="2303627" y="6492875"/>
            <a:ext cx="528585" cy="365125"/>
          </a:xfrm>
        </p:spPr>
        <p:txBody>
          <a:bodyPr/>
          <a:lstStyle/>
          <a:p>
            <a:fld id="{39BFBD57-5CDA-5143-866C-E33F9A3937D9}" type="datetime1">
              <a:rPr lang="nb-NO" smtClean="0"/>
              <a:t>20.08.2024</a:t>
            </a:fld>
            <a:endParaRPr lang="en-US"/>
          </a:p>
        </p:txBody>
      </p:sp>
      <p:sp>
        <p:nvSpPr>
          <p:cNvPr id="52" name="Footer Placeholder 3">
            <a:extLst>
              <a:ext uri="{FF2B5EF4-FFF2-40B4-BE49-F238E27FC236}">
                <a16:creationId xmlns:a16="http://schemas.microsoft.com/office/drawing/2014/main" id="{9EEC813E-A40F-C063-108A-6633715C3EF6}"/>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59" name="Slide Number Placeholder 4">
            <a:extLst>
              <a:ext uri="{FF2B5EF4-FFF2-40B4-BE49-F238E27FC236}">
                <a16:creationId xmlns:a16="http://schemas.microsoft.com/office/drawing/2014/main" id="{9DAA2385-A5B6-C08D-177C-2EC33650DD5F}"/>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41976596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64_Custom Layout">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C7B5656-DA3F-9847-9792-691229FFB730}"/>
              </a:ext>
            </a:extLst>
          </p:cNvPr>
          <p:cNvSpPr/>
          <p:nvPr userDrawn="1"/>
        </p:nvSpPr>
        <p:spPr>
          <a:xfrm>
            <a:off x="1081661" y="1477481"/>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1108209" y="2551410"/>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213240" y="1625928"/>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225116" y="2556547"/>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58" name="Straight Connector 57">
            <a:extLst>
              <a:ext uri="{FF2B5EF4-FFF2-40B4-BE49-F238E27FC236}">
                <a16:creationId xmlns:a16="http://schemas.microsoft.com/office/drawing/2014/main" id="{14D0E40A-826D-D447-875C-24BB261305E6}"/>
              </a:ext>
            </a:extLst>
          </p:cNvPr>
          <p:cNvCxnSpPr>
            <a:cxnSpLocks/>
          </p:cNvCxnSpPr>
          <p:nvPr userDrawn="1"/>
        </p:nvCxnSpPr>
        <p:spPr>
          <a:xfrm>
            <a:off x="1108209" y="3480898"/>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Text Placeholder 20">
            <a:extLst>
              <a:ext uri="{FF2B5EF4-FFF2-40B4-BE49-F238E27FC236}">
                <a16:creationId xmlns:a16="http://schemas.microsoft.com/office/drawing/2014/main" id="{8F334DBA-DB16-D64B-BA18-F61C21BB3599}"/>
              </a:ext>
            </a:extLst>
          </p:cNvPr>
          <p:cNvSpPr>
            <a:spLocks noGrp="1"/>
          </p:cNvSpPr>
          <p:nvPr>
            <p:ph type="body" sz="quarter" idx="35" hasCustomPrompt="1"/>
          </p:nvPr>
        </p:nvSpPr>
        <p:spPr>
          <a:xfrm>
            <a:off x="1225116" y="3486035"/>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71" name="Straight Connector 70">
            <a:extLst>
              <a:ext uri="{FF2B5EF4-FFF2-40B4-BE49-F238E27FC236}">
                <a16:creationId xmlns:a16="http://schemas.microsoft.com/office/drawing/2014/main" id="{9B854D38-8E94-2945-A6F3-1F4A80FB0143}"/>
              </a:ext>
            </a:extLst>
          </p:cNvPr>
          <p:cNvCxnSpPr>
            <a:cxnSpLocks/>
          </p:cNvCxnSpPr>
          <p:nvPr userDrawn="1"/>
        </p:nvCxnSpPr>
        <p:spPr>
          <a:xfrm>
            <a:off x="1108209" y="4405581"/>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Text Placeholder 20">
            <a:extLst>
              <a:ext uri="{FF2B5EF4-FFF2-40B4-BE49-F238E27FC236}">
                <a16:creationId xmlns:a16="http://schemas.microsoft.com/office/drawing/2014/main" id="{B03FB43F-DE17-034A-AD6E-863D0BF0C97A}"/>
              </a:ext>
            </a:extLst>
          </p:cNvPr>
          <p:cNvSpPr>
            <a:spLocks noGrp="1"/>
          </p:cNvSpPr>
          <p:nvPr>
            <p:ph type="body" sz="quarter" idx="38" hasCustomPrompt="1"/>
          </p:nvPr>
        </p:nvSpPr>
        <p:spPr>
          <a:xfrm>
            <a:off x="1225116" y="4410718"/>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80" name="Straight Connector 79">
            <a:extLst>
              <a:ext uri="{FF2B5EF4-FFF2-40B4-BE49-F238E27FC236}">
                <a16:creationId xmlns:a16="http://schemas.microsoft.com/office/drawing/2014/main" id="{AFAC971E-6FED-A84A-AFF8-7D2BBE235176}"/>
              </a:ext>
            </a:extLst>
          </p:cNvPr>
          <p:cNvCxnSpPr>
            <a:cxnSpLocks/>
          </p:cNvCxnSpPr>
          <p:nvPr userDrawn="1"/>
        </p:nvCxnSpPr>
        <p:spPr>
          <a:xfrm>
            <a:off x="1108209" y="534766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1" name="Text Placeholder 20">
            <a:extLst>
              <a:ext uri="{FF2B5EF4-FFF2-40B4-BE49-F238E27FC236}">
                <a16:creationId xmlns:a16="http://schemas.microsoft.com/office/drawing/2014/main" id="{60FC510F-AB34-924E-942D-935C38146DE6}"/>
              </a:ext>
            </a:extLst>
          </p:cNvPr>
          <p:cNvSpPr>
            <a:spLocks noGrp="1"/>
          </p:cNvSpPr>
          <p:nvPr>
            <p:ph type="body" sz="quarter" idx="41" hasCustomPrompt="1"/>
          </p:nvPr>
        </p:nvSpPr>
        <p:spPr>
          <a:xfrm>
            <a:off x="1225116" y="535280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 name="TextBox 2">
            <a:extLst>
              <a:ext uri="{FF2B5EF4-FFF2-40B4-BE49-F238E27FC236}">
                <a16:creationId xmlns:a16="http://schemas.microsoft.com/office/drawing/2014/main" id="{F3A29A19-CBAD-DB4D-A8E8-E75B17885703}"/>
              </a:ext>
            </a:extLst>
          </p:cNvPr>
          <p:cNvSpPr txBox="1"/>
          <p:nvPr userDrawn="1"/>
        </p:nvSpPr>
        <p:spPr>
          <a:xfrm>
            <a:off x="665830" y="1665452"/>
            <a:ext cx="559286" cy="523220"/>
          </a:xfrm>
          <a:prstGeom prst="rect">
            <a:avLst/>
          </a:prstGeom>
        </p:spPr>
        <p:txBody>
          <a:bodyPr wrap="square" rtlCol="0">
            <a:spAutoFit/>
          </a:bodyPr>
          <a:lstStyle/>
          <a:p>
            <a:r>
              <a:rPr lang="en-GB" sz="2800" b="1" i="0">
                <a:solidFill>
                  <a:schemeClr val="accent1"/>
                </a:solidFill>
                <a:latin typeface="Helvetica" pitchFamily="2" charset="0"/>
              </a:rPr>
              <a:t>1</a:t>
            </a:r>
          </a:p>
        </p:txBody>
      </p:sp>
      <p:sp>
        <p:nvSpPr>
          <p:cNvPr id="51" name="Rectangle 50">
            <a:extLst>
              <a:ext uri="{FF2B5EF4-FFF2-40B4-BE49-F238E27FC236}">
                <a16:creationId xmlns:a16="http://schemas.microsoft.com/office/drawing/2014/main" id="{25FF2627-BFD7-7245-8BBD-EF14EE38529E}"/>
              </a:ext>
            </a:extLst>
          </p:cNvPr>
          <p:cNvSpPr/>
          <p:nvPr userDrawn="1"/>
        </p:nvSpPr>
        <p:spPr>
          <a:xfrm>
            <a:off x="4721017" y="1477481"/>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a16="http://schemas.microsoft.com/office/drawing/2014/main" id="{9D94247F-1687-1C46-BCBA-B35359725D0B}"/>
              </a:ext>
            </a:extLst>
          </p:cNvPr>
          <p:cNvCxnSpPr>
            <a:cxnSpLocks/>
          </p:cNvCxnSpPr>
          <p:nvPr userDrawn="1"/>
        </p:nvCxnSpPr>
        <p:spPr>
          <a:xfrm>
            <a:off x="4747565" y="2551410"/>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9" name="Text Placeholder 20">
            <a:extLst>
              <a:ext uri="{FF2B5EF4-FFF2-40B4-BE49-F238E27FC236}">
                <a16:creationId xmlns:a16="http://schemas.microsoft.com/office/drawing/2014/main" id="{DF30A173-A5B6-1947-B430-0C6C140A1F01}"/>
              </a:ext>
            </a:extLst>
          </p:cNvPr>
          <p:cNvSpPr>
            <a:spLocks noGrp="1"/>
          </p:cNvSpPr>
          <p:nvPr>
            <p:ph type="body" sz="quarter" idx="42" hasCustomPrompt="1"/>
          </p:nvPr>
        </p:nvSpPr>
        <p:spPr>
          <a:xfrm>
            <a:off x="4852596" y="1625928"/>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60" name="Text Placeholder 20">
            <a:extLst>
              <a:ext uri="{FF2B5EF4-FFF2-40B4-BE49-F238E27FC236}">
                <a16:creationId xmlns:a16="http://schemas.microsoft.com/office/drawing/2014/main" id="{5B1BD81B-610E-C040-9E12-9890AAD2A079}"/>
              </a:ext>
            </a:extLst>
          </p:cNvPr>
          <p:cNvSpPr>
            <a:spLocks noGrp="1"/>
          </p:cNvSpPr>
          <p:nvPr>
            <p:ph type="body" sz="quarter" idx="43" hasCustomPrompt="1"/>
          </p:nvPr>
        </p:nvSpPr>
        <p:spPr>
          <a:xfrm>
            <a:off x="4864472" y="2556547"/>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61" name="Straight Connector 60">
            <a:extLst>
              <a:ext uri="{FF2B5EF4-FFF2-40B4-BE49-F238E27FC236}">
                <a16:creationId xmlns:a16="http://schemas.microsoft.com/office/drawing/2014/main" id="{2FF13610-5A03-124C-A6D3-AA5918F132C9}"/>
              </a:ext>
            </a:extLst>
          </p:cNvPr>
          <p:cNvCxnSpPr>
            <a:cxnSpLocks/>
          </p:cNvCxnSpPr>
          <p:nvPr userDrawn="1"/>
        </p:nvCxnSpPr>
        <p:spPr>
          <a:xfrm>
            <a:off x="4747565" y="3480898"/>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2" name="Text Placeholder 20">
            <a:extLst>
              <a:ext uri="{FF2B5EF4-FFF2-40B4-BE49-F238E27FC236}">
                <a16:creationId xmlns:a16="http://schemas.microsoft.com/office/drawing/2014/main" id="{CA1B7917-580E-9844-8A05-6C5610890CE7}"/>
              </a:ext>
            </a:extLst>
          </p:cNvPr>
          <p:cNvSpPr>
            <a:spLocks noGrp="1"/>
          </p:cNvSpPr>
          <p:nvPr>
            <p:ph type="body" sz="quarter" idx="44" hasCustomPrompt="1"/>
          </p:nvPr>
        </p:nvSpPr>
        <p:spPr>
          <a:xfrm>
            <a:off x="4864472" y="3486035"/>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89" name="Straight Connector 88">
            <a:extLst>
              <a:ext uri="{FF2B5EF4-FFF2-40B4-BE49-F238E27FC236}">
                <a16:creationId xmlns:a16="http://schemas.microsoft.com/office/drawing/2014/main" id="{E2BF938D-CBAC-4B44-9556-DF0C3CA4DF8F}"/>
              </a:ext>
            </a:extLst>
          </p:cNvPr>
          <p:cNvCxnSpPr>
            <a:cxnSpLocks/>
          </p:cNvCxnSpPr>
          <p:nvPr userDrawn="1"/>
        </p:nvCxnSpPr>
        <p:spPr>
          <a:xfrm>
            <a:off x="4747565" y="4405581"/>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0" name="Text Placeholder 20">
            <a:extLst>
              <a:ext uri="{FF2B5EF4-FFF2-40B4-BE49-F238E27FC236}">
                <a16:creationId xmlns:a16="http://schemas.microsoft.com/office/drawing/2014/main" id="{4603BFF9-BFF5-6841-9F55-9A442D528BCD}"/>
              </a:ext>
            </a:extLst>
          </p:cNvPr>
          <p:cNvSpPr>
            <a:spLocks noGrp="1"/>
          </p:cNvSpPr>
          <p:nvPr>
            <p:ph type="body" sz="quarter" idx="45" hasCustomPrompt="1"/>
          </p:nvPr>
        </p:nvSpPr>
        <p:spPr>
          <a:xfrm>
            <a:off x="4864472" y="4410718"/>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91" name="Straight Connector 90">
            <a:extLst>
              <a:ext uri="{FF2B5EF4-FFF2-40B4-BE49-F238E27FC236}">
                <a16:creationId xmlns:a16="http://schemas.microsoft.com/office/drawing/2014/main" id="{9DC2EED5-BB61-9444-A911-2C32CB804CC5}"/>
              </a:ext>
            </a:extLst>
          </p:cNvPr>
          <p:cNvCxnSpPr>
            <a:cxnSpLocks/>
          </p:cNvCxnSpPr>
          <p:nvPr userDrawn="1"/>
        </p:nvCxnSpPr>
        <p:spPr>
          <a:xfrm>
            <a:off x="4747565" y="534766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2" name="Text Placeholder 20">
            <a:extLst>
              <a:ext uri="{FF2B5EF4-FFF2-40B4-BE49-F238E27FC236}">
                <a16:creationId xmlns:a16="http://schemas.microsoft.com/office/drawing/2014/main" id="{E7161696-114D-3C41-BE58-292DC3B4482B}"/>
              </a:ext>
            </a:extLst>
          </p:cNvPr>
          <p:cNvSpPr>
            <a:spLocks noGrp="1"/>
          </p:cNvSpPr>
          <p:nvPr>
            <p:ph type="body" sz="quarter" idx="46" hasCustomPrompt="1"/>
          </p:nvPr>
        </p:nvSpPr>
        <p:spPr>
          <a:xfrm>
            <a:off x="4864472" y="535280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93" name="TextBox 92">
            <a:extLst>
              <a:ext uri="{FF2B5EF4-FFF2-40B4-BE49-F238E27FC236}">
                <a16:creationId xmlns:a16="http://schemas.microsoft.com/office/drawing/2014/main" id="{CB751464-8A7F-FA49-856D-4334A4C81AF1}"/>
              </a:ext>
            </a:extLst>
          </p:cNvPr>
          <p:cNvSpPr txBox="1"/>
          <p:nvPr userDrawn="1"/>
        </p:nvSpPr>
        <p:spPr>
          <a:xfrm>
            <a:off x="4305186" y="1665452"/>
            <a:ext cx="559286" cy="523220"/>
          </a:xfrm>
          <a:prstGeom prst="rect">
            <a:avLst/>
          </a:prstGeom>
        </p:spPr>
        <p:txBody>
          <a:bodyPr wrap="square" rtlCol="0">
            <a:spAutoFit/>
          </a:bodyPr>
          <a:lstStyle/>
          <a:p>
            <a:r>
              <a:rPr lang="en-GB" sz="2800" b="1" i="0">
                <a:solidFill>
                  <a:schemeClr val="accent1"/>
                </a:solidFill>
                <a:latin typeface="Helvetica" pitchFamily="2" charset="0"/>
              </a:rPr>
              <a:t>2</a:t>
            </a:r>
          </a:p>
        </p:txBody>
      </p:sp>
      <p:sp>
        <p:nvSpPr>
          <p:cNvPr id="94" name="Rectangle 93">
            <a:extLst>
              <a:ext uri="{FF2B5EF4-FFF2-40B4-BE49-F238E27FC236}">
                <a16:creationId xmlns:a16="http://schemas.microsoft.com/office/drawing/2014/main" id="{EF0334F8-DBA7-D04B-8D45-8AECC5324BDE}"/>
              </a:ext>
            </a:extLst>
          </p:cNvPr>
          <p:cNvSpPr/>
          <p:nvPr userDrawn="1"/>
        </p:nvSpPr>
        <p:spPr>
          <a:xfrm>
            <a:off x="8307365" y="1471229"/>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Straight Connector 94">
            <a:extLst>
              <a:ext uri="{FF2B5EF4-FFF2-40B4-BE49-F238E27FC236}">
                <a16:creationId xmlns:a16="http://schemas.microsoft.com/office/drawing/2014/main" id="{3D13591D-6EC1-AB4F-9969-6302E362784E}"/>
              </a:ext>
            </a:extLst>
          </p:cNvPr>
          <p:cNvCxnSpPr>
            <a:cxnSpLocks/>
          </p:cNvCxnSpPr>
          <p:nvPr userDrawn="1"/>
        </p:nvCxnSpPr>
        <p:spPr>
          <a:xfrm>
            <a:off x="8333913" y="2545158"/>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6" name="Text Placeholder 20">
            <a:extLst>
              <a:ext uri="{FF2B5EF4-FFF2-40B4-BE49-F238E27FC236}">
                <a16:creationId xmlns:a16="http://schemas.microsoft.com/office/drawing/2014/main" id="{14BEE252-4639-114D-AFB0-243BBC85FDD9}"/>
              </a:ext>
            </a:extLst>
          </p:cNvPr>
          <p:cNvSpPr>
            <a:spLocks noGrp="1"/>
          </p:cNvSpPr>
          <p:nvPr>
            <p:ph type="body" sz="quarter" idx="47" hasCustomPrompt="1"/>
          </p:nvPr>
        </p:nvSpPr>
        <p:spPr>
          <a:xfrm>
            <a:off x="8438944" y="1619676"/>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97" name="Text Placeholder 20">
            <a:extLst>
              <a:ext uri="{FF2B5EF4-FFF2-40B4-BE49-F238E27FC236}">
                <a16:creationId xmlns:a16="http://schemas.microsoft.com/office/drawing/2014/main" id="{FC6370E8-D75B-1844-A610-8287D1D8E14C}"/>
              </a:ext>
            </a:extLst>
          </p:cNvPr>
          <p:cNvSpPr>
            <a:spLocks noGrp="1"/>
          </p:cNvSpPr>
          <p:nvPr>
            <p:ph type="body" sz="quarter" idx="48" hasCustomPrompt="1"/>
          </p:nvPr>
        </p:nvSpPr>
        <p:spPr>
          <a:xfrm>
            <a:off x="8450820" y="2550295"/>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98" name="Straight Connector 97">
            <a:extLst>
              <a:ext uri="{FF2B5EF4-FFF2-40B4-BE49-F238E27FC236}">
                <a16:creationId xmlns:a16="http://schemas.microsoft.com/office/drawing/2014/main" id="{C0D779F3-6521-3942-8C9F-C999AF5DED7E}"/>
              </a:ext>
            </a:extLst>
          </p:cNvPr>
          <p:cNvCxnSpPr>
            <a:cxnSpLocks/>
          </p:cNvCxnSpPr>
          <p:nvPr userDrawn="1"/>
        </p:nvCxnSpPr>
        <p:spPr>
          <a:xfrm>
            <a:off x="8333913" y="3474646"/>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9" name="Text Placeholder 20">
            <a:extLst>
              <a:ext uri="{FF2B5EF4-FFF2-40B4-BE49-F238E27FC236}">
                <a16:creationId xmlns:a16="http://schemas.microsoft.com/office/drawing/2014/main" id="{C51B118D-026B-804A-A087-4B2F7080C4CB}"/>
              </a:ext>
            </a:extLst>
          </p:cNvPr>
          <p:cNvSpPr>
            <a:spLocks noGrp="1"/>
          </p:cNvSpPr>
          <p:nvPr>
            <p:ph type="body" sz="quarter" idx="49" hasCustomPrompt="1"/>
          </p:nvPr>
        </p:nvSpPr>
        <p:spPr>
          <a:xfrm>
            <a:off x="8450820" y="3479783"/>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100" name="Straight Connector 99">
            <a:extLst>
              <a:ext uri="{FF2B5EF4-FFF2-40B4-BE49-F238E27FC236}">
                <a16:creationId xmlns:a16="http://schemas.microsoft.com/office/drawing/2014/main" id="{9B8AEA03-D8B2-AF4D-8117-E6BB4A0DD32B}"/>
              </a:ext>
            </a:extLst>
          </p:cNvPr>
          <p:cNvCxnSpPr>
            <a:cxnSpLocks/>
          </p:cNvCxnSpPr>
          <p:nvPr userDrawn="1"/>
        </p:nvCxnSpPr>
        <p:spPr>
          <a:xfrm>
            <a:off x="8333913" y="4399329"/>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1" name="Text Placeholder 20">
            <a:extLst>
              <a:ext uri="{FF2B5EF4-FFF2-40B4-BE49-F238E27FC236}">
                <a16:creationId xmlns:a16="http://schemas.microsoft.com/office/drawing/2014/main" id="{BBEB6736-19B2-5B4F-8A4E-C0BDDEB6F0BD}"/>
              </a:ext>
            </a:extLst>
          </p:cNvPr>
          <p:cNvSpPr>
            <a:spLocks noGrp="1"/>
          </p:cNvSpPr>
          <p:nvPr>
            <p:ph type="body" sz="quarter" idx="50" hasCustomPrompt="1"/>
          </p:nvPr>
        </p:nvSpPr>
        <p:spPr>
          <a:xfrm>
            <a:off x="8450820" y="4404466"/>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102" name="Straight Connector 101">
            <a:extLst>
              <a:ext uri="{FF2B5EF4-FFF2-40B4-BE49-F238E27FC236}">
                <a16:creationId xmlns:a16="http://schemas.microsoft.com/office/drawing/2014/main" id="{4ABA2814-393E-934A-ABEB-748B137485D0}"/>
              </a:ext>
            </a:extLst>
          </p:cNvPr>
          <p:cNvCxnSpPr>
            <a:cxnSpLocks/>
          </p:cNvCxnSpPr>
          <p:nvPr userDrawn="1"/>
        </p:nvCxnSpPr>
        <p:spPr>
          <a:xfrm>
            <a:off x="8333913" y="534141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3" name="Text Placeholder 20">
            <a:extLst>
              <a:ext uri="{FF2B5EF4-FFF2-40B4-BE49-F238E27FC236}">
                <a16:creationId xmlns:a16="http://schemas.microsoft.com/office/drawing/2014/main" id="{DE66B957-6AB7-A74D-A611-8A2CBDFEF9E8}"/>
              </a:ext>
            </a:extLst>
          </p:cNvPr>
          <p:cNvSpPr>
            <a:spLocks noGrp="1"/>
          </p:cNvSpPr>
          <p:nvPr>
            <p:ph type="body" sz="quarter" idx="51" hasCustomPrompt="1"/>
          </p:nvPr>
        </p:nvSpPr>
        <p:spPr>
          <a:xfrm>
            <a:off x="8450820" y="5346552"/>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4" name="TextBox 103">
            <a:extLst>
              <a:ext uri="{FF2B5EF4-FFF2-40B4-BE49-F238E27FC236}">
                <a16:creationId xmlns:a16="http://schemas.microsoft.com/office/drawing/2014/main" id="{6969653A-6C2C-8147-ACCB-D4F972B28B3B}"/>
              </a:ext>
            </a:extLst>
          </p:cNvPr>
          <p:cNvSpPr txBox="1"/>
          <p:nvPr userDrawn="1"/>
        </p:nvSpPr>
        <p:spPr>
          <a:xfrm>
            <a:off x="7891534" y="1659200"/>
            <a:ext cx="559286" cy="523220"/>
          </a:xfrm>
          <a:prstGeom prst="rect">
            <a:avLst/>
          </a:prstGeom>
        </p:spPr>
        <p:txBody>
          <a:bodyPr wrap="square" rtlCol="0">
            <a:spAutoFit/>
          </a:bodyPr>
          <a:lstStyle/>
          <a:p>
            <a:r>
              <a:rPr lang="en-GB" sz="2800" b="1" i="0">
                <a:solidFill>
                  <a:schemeClr val="accent1"/>
                </a:solidFill>
                <a:latin typeface="Helvetica" pitchFamily="2" charset="0"/>
              </a:rPr>
              <a:t>3</a:t>
            </a:r>
          </a:p>
        </p:txBody>
      </p:sp>
      <p:sp>
        <p:nvSpPr>
          <p:cNvPr id="38" name="Title 1">
            <a:extLst>
              <a:ext uri="{FF2B5EF4-FFF2-40B4-BE49-F238E27FC236}">
                <a16:creationId xmlns:a16="http://schemas.microsoft.com/office/drawing/2014/main" id="{00D9EB27-355B-C0ED-84F3-A25252382F8B}"/>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41" name="Bilde 3">
            <a:extLst>
              <a:ext uri="{FF2B5EF4-FFF2-40B4-BE49-F238E27FC236}">
                <a16:creationId xmlns:a16="http://schemas.microsoft.com/office/drawing/2014/main" id="{802CD67E-099A-F1EE-76BF-B44552A10B5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42" name="Date Placeholder 2">
            <a:extLst>
              <a:ext uri="{FF2B5EF4-FFF2-40B4-BE49-F238E27FC236}">
                <a16:creationId xmlns:a16="http://schemas.microsoft.com/office/drawing/2014/main" id="{84CD0A1D-2D46-EBC0-78C1-A1B18A834B32}"/>
              </a:ext>
            </a:extLst>
          </p:cNvPr>
          <p:cNvSpPr>
            <a:spLocks noGrp="1"/>
          </p:cNvSpPr>
          <p:nvPr>
            <p:ph type="dt" sz="half" idx="16"/>
          </p:nvPr>
        </p:nvSpPr>
        <p:spPr>
          <a:xfrm>
            <a:off x="2303627" y="6492875"/>
            <a:ext cx="528585" cy="365125"/>
          </a:xfrm>
        </p:spPr>
        <p:txBody>
          <a:bodyPr/>
          <a:lstStyle/>
          <a:p>
            <a:fld id="{6CA60EC9-985E-4545-9445-8FABBD84B856}" type="datetime1">
              <a:rPr lang="nb-NO" smtClean="0"/>
              <a:t>20.08.2024</a:t>
            </a:fld>
            <a:endParaRPr lang="en-US"/>
          </a:p>
        </p:txBody>
      </p:sp>
      <p:sp>
        <p:nvSpPr>
          <p:cNvPr id="43" name="Footer Placeholder 3">
            <a:extLst>
              <a:ext uri="{FF2B5EF4-FFF2-40B4-BE49-F238E27FC236}">
                <a16:creationId xmlns:a16="http://schemas.microsoft.com/office/drawing/2014/main" id="{D4DFBF39-7B4F-EE99-33C6-C72DB6B6A70F}"/>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46" name="Slide Number Placeholder 4">
            <a:extLst>
              <a:ext uri="{FF2B5EF4-FFF2-40B4-BE49-F238E27FC236}">
                <a16:creationId xmlns:a16="http://schemas.microsoft.com/office/drawing/2014/main" id="{12EDDAFD-A3D0-210E-E712-1CBB4917AF1E}"/>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4269580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62_Custom Layout">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C7B5656-DA3F-9847-9792-691229FFB730}"/>
              </a:ext>
            </a:extLst>
          </p:cNvPr>
          <p:cNvSpPr/>
          <p:nvPr userDrawn="1"/>
        </p:nvSpPr>
        <p:spPr>
          <a:xfrm>
            <a:off x="1081661" y="1716020"/>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1108209" y="2789949"/>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213240" y="1864467"/>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225116" y="2795086"/>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58" name="Straight Connector 57">
            <a:extLst>
              <a:ext uri="{FF2B5EF4-FFF2-40B4-BE49-F238E27FC236}">
                <a16:creationId xmlns:a16="http://schemas.microsoft.com/office/drawing/2014/main" id="{14D0E40A-826D-D447-875C-24BB261305E6}"/>
              </a:ext>
            </a:extLst>
          </p:cNvPr>
          <p:cNvCxnSpPr>
            <a:cxnSpLocks/>
          </p:cNvCxnSpPr>
          <p:nvPr userDrawn="1"/>
        </p:nvCxnSpPr>
        <p:spPr>
          <a:xfrm>
            <a:off x="1108209" y="371943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Text Placeholder 20">
            <a:extLst>
              <a:ext uri="{FF2B5EF4-FFF2-40B4-BE49-F238E27FC236}">
                <a16:creationId xmlns:a16="http://schemas.microsoft.com/office/drawing/2014/main" id="{8F334DBA-DB16-D64B-BA18-F61C21BB3599}"/>
              </a:ext>
            </a:extLst>
          </p:cNvPr>
          <p:cNvSpPr>
            <a:spLocks noGrp="1"/>
          </p:cNvSpPr>
          <p:nvPr>
            <p:ph type="body" sz="quarter" idx="35" hasCustomPrompt="1"/>
          </p:nvPr>
        </p:nvSpPr>
        <p:spPr>
          <a:xfrm>
            <a:off x="1225116" y="372457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71" name="Straight Connector 70">
            <a:extLst>
              <a:ext uri="{FF2B5EF4-FFF2-40B4-BE49-F238E27FC236}">
                <a16:creationId xmlns:a16="http://schemas.microsoft.com/office/drawing/2014/main" id="{9B854D38-8E94-2945-A6F3-1F4A80FB0143}"/>
              </a:ext>
            </a:extLst>
          </p:cNvPr>
          <p:cNvCxnSpPr>
            <a:cxnSpLocks/>
          </p:cNvCxnSpPr>
          <p:nvPr userDrawn="1"/>
        </p:nvCxnSpPr>
        <p:spPr>
          <a:xfrm>
            <a:off x="1108209" y="4644120"/>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Text Placeholder 20">
            <a:extLst>
              <a:ext uri="{FF2B5EF4-FFF2-40B4-BE49-F238E27FC236}">
                <a16:creationId xmlns:a16="http://schemas.microsoft.com/office/drawing/2014/main" id="{B03FB43F-DE17-034A-AD6E-863D0BF0C97A}"/>
              </a:ext>
            </a:extLst>
          </p:cNvPr>
          <p:cNvSpPr>
            <a:spLocks noGrp="1"/>
          </p:cNvSpPr>
          <p:nvPr>
            <p:ph type="body" sz="quarter" idx="38" hasCustomPrompt="1"/>
          </p:nvPr>
        </p:nvSpPr>
        <p:spPr>
          <a:xfrm>
            <a:off x="1225116" y="4649257"/>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 name="TextBox 2">
            <a:extLst>
              <a:ext uri="{FF2B5EF4-FFF2-40B4-BE49-F238E27FC236}">
                <a16:creationId xmlns:a16="http://schemas.microsoft.com/office/drawing/2014/main" id="{F3A29A19-CBAD-DB4D-A8E8-E75B17885703}"/>
              </a:ext>
            </a:extLst>
          </p:cNvPr>
          <p:cNvSpPr txBox="1"/>
          <p:nvPr userDrawn="1"/>
        </p:nvSpPr>
        <p:spPr>
          <a:xfrm>
            <a:off x="665830" y="1903991"/>
            <a:ext cx="559286" cy="523220"/>
          </a:xfrm>
          <a:prstGeom prst="rect">
            <a:avLst/>
          </a:prstGeom>
        </p:spPr>
        <p:txBody>
          <a:bodyPr wrap="square" rtlCol="0">
            <a:spAutoFit/>
          </a:bodyPr>
          <a:lstStyle/>
          <a:p>
            <a:r>
              <a:rPr lang="en-GB" sz="2800" b="1" i="0">
                <a:solidFill>
                  <a:schemeClr val="accent1"/>
                </a:solidFill>
                <a:latin typeface="Helvetica" pitchFamily="2" charset="0"/>
              </a:rPr>
              <a:t>1</a:t>
            </a:r>
          </a:p>
        </p:txBody>
      </p:sp>
      <p:sp>
        <p:nvSpPr>
          <p:cNvPr id="51" name="Rectangle 50">
            <a:extLst>
              <a:ext uri="{FF2B5EF4-FFF2-40B4-BE49-F238E27FC236}">
                <a16:creationId xmlns:a16="http://schemas.microsoft.com/office/drawing/2014/main" id="{25FF2627-BFD7-7245-8BBD-EF14EE38529E}"/>
              </a:ext>
            </a:extLst>
          </p:cNvPr>
          <p:cNvSpPr/>
          <p:nvPr userDrawn="1"/>
        </p:nvSpPr>
        <p:spPr>
          <a:xfrm>
            <a:off x="4721017" y="1716020"/>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a16="http://schemas.microsoft.com/office/drawing/2014/main" id="{9D94247F-1687-1C46-BCBA-B35359725D0B}"/>
              </a:ext>
            </a:extLst>
          </p:cNvPr>
          <p:cNvCxnSpPr>
            <a:cxnSpLocks/>
          </p:cNvCxnSpPr>
          <p:nvPr userDrawn="1"/>
        </p:nvCxnSpPr>
        <p:spPr>
          <a:xfrm>
            <a:off x="4747565" y="2789949"/>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9" name="Text Placeholder 20">
            <a:extLst>
              <a:ext uri="{FF2B5EF4-FFF2-40B4-BE49-F238E27FC236}">
                <a16:creationId xmlns:a16="http://schemas.microsoft.com/office/drawing/2014/main" id="{DF30A173-A5B6-1947-B430-0C6C140A1F01}"/>
              </a:ext>
            </a:extLst>
          </p:cNvPr>
          <p:cNvSpPr>
            <a:spLocks noGrp="1"/>
          </p:cNvSpPr>
          <p:nvPr>
            <p:ph type="body" sz="quarter" idx="42" hasCustomPrompt="1"/>
          </p:nvPr>
        </p:nvSpPr>
        <p:spPr>
          <a:xfrm>
            <a:off x="4852596" y="1864467"/>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60" name="Text Placeholder 20">
            <a:extLst>
              <a:ext uri="{FF2B5EF4-FFF2-40B4-BE49-F238E27FC236}">
                <a16:creationId xmlns:a16="http://schemas.microsoft.com/office/drawing/2014/main" id="{5B1BD81B-610E-C040-9E12-9890AAD2A079}"/>
              </a:ext>
            </a:extLst>
          </p:cNvPr>
          <p:cNvSpPr>
            <a:spLocks noGrp="1"/>
          </p:cNvSpPr>
          <p:nvPr>
            <p:ph type="body" sz="quarter" idx="43" hasCustomPrompt="1"/>
          </p:nvPr>
        </p:nvSpPr>
        <p:spPr>
          <a:xfrm>
            <a:off x="4864472" y="2795086"/>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61" name="Straight Connector 60">
            <a:extLst>
              <a:ext uri="{FF2B5EF4-FFF2-40B4-BE49-F238E27FC236}">
                <a16:creationId xmlns:a16="http://schemas.microsoft.com/office/drawing/2014/main" id="{2FF13610-5A03-124C-A6D3-AA5918F132C9}"/>
              </a:ext>
            </a:extLst>
          </p:cNvPr>
          <p:cNvCxnSpPr>
            <a:cxnSpLocks/>
          </p:cNvCxnSpPr>
          <p:nvPr userDrawn="1"/>
        </p:nvCxnSpPr>
        <p:spPr>
          <a:xfrm>
            <a:off x="4747565" y="371943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2" name="Text Placeholder 20">
            <a:extLst>
              <a:ext uri="{FF2B5EF4-FFF2-40B4-BE49-F238E27FC236}">
                <a16:creationId xmlns:a16="http://schemas.microsoft.com/office/drawing/2014/main" id="{CA1B7917-580E-9844-8A05-6C5610890CE7}"/>
              </a:ext>
            </a:extLst>
          </p:cNvPr>
          <p:cNvSpPr>
            <a:spLocks noGrp="1"/>
          </p:cNvSpPr>
          <p:nvPr>
            <p:ph type="body" sz="quarter" idx="44" hasCustomPrompt="1"/>
          </p:nvPr>
        </p:nvSpPr>
        <p:spPr>
          <a:xfrm>
            <a:off x="4864472" y="372457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89" name="Straight Connector 88">
            <a:extLst>
              <a:ext uri="{FF2B5EF4-FFF2-40B4-BE49-F238E27FC236}">
                <a16:creationId xmlns:a16="http://schemas.microsoft.com/office/drawing/2014/main" id="{E2BF938D-CBAC-4B44-9556-DF0C3CA4DF8F}"/>
              </a:ext>
            </a:extLst>
          </p:cNvPr>
          <p:cNvCxnSpPr>
            <a:cxnSpLocks/>
          </p:cNvCxnSpPr>
          <p:nvPr userDrawn="1"/>
        </p:nvCxnSpPr>
        <p:spPr>
          <a:xfrm>
            <a:off x="4747565" y="4644120"/>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0" name="Text Placeholder 20">
            <a:extLst>
              <a:ext uri="{FF2B5EF4-FFF2-40B4-BE49-F238E27FC236}">
                <a16:creationId xmlns:a16="http://schemas.microsoft.com/office/drawing/2014/main" id="{4603BFF9-BFF5-6841-9F55-9A442D528BCD}"/>
              </a:ext>
            </a:extLst>
          </p:cNvPr>
          <p:cNvSpPr>
            <a:spLocks noGrp="1"/>
          </p:cNvSpPr>
          <p:nvPr>
            <p:ph type="body" sz="quarter" idx="45" hasCustomPrompt="1"/>
          </p:nvPr>
        </p:nvSpPr>
        <p:spPr>
          <a:xfrm>
            <a:off x="4864472" y="4649257"/>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93" name="TextBox 92">
            <a:extLst>
              <a:ext uri="{FF2B5EF4-FFF2-40B4-BE49-F238E27FC236}">
                <a16:creationId xmlns:a16="http://schemas.microsoft.com/office/drawing/2014/main" id="{CB751464-8A7F-FA49-856D-4334A4C81AF1}"/>
              </a:ext>
            </a:extLst>
          </p:cNvPr>
          <p:cNvSpPr txBox="1"/>
          <p:nvPr userDrawn="1"/>
        </p:nvSpPr>
        <p:spPr>
          <a:xfrm>
            <a:off x="4305186" y="1903991"/>
            <a:ext cx="559286" cy="523220"/>
          </a:xfrm>
          <a:prstGeom prst="rect">
            <a:avLst/>
          </a:prstGeom>
        </p:spPr>
        <p:txBody>
          <a:bodyPr wrap="square" rtlCol="0">
            <a:spAutoFit/>
          </a:bodyPr>
          <a:lstStyle/>
          <a:p>
            <a:r>
              <a:rPr lang="en-GB" sz="2800" b="1" i="0">
                <a:solidFill>
                  <a:schemeClr val="accent1"/>
                </a:solidFill>
                <a:latin typeface="Helvetica" pitchFamily="2" charset="0"/>
              </a:rPr>
              <a:t>2</a:t>
            </a:r>
          </a:p>
        </p:txBody>
      </p:sp>
      <p:sp>
        <p:nvSpPr>
          <p:cNvPr id="94" name="Rectangle 93">
            <a:extLst>
              <a:ext uri="{FF2B5EF4-FFF2-40B4-BE49-F238E27FC236}">
                <a16:creationId xmlns:a16="http://schemas.microsoft.com/office/drawing/2014/main" id="{EF0334F8-DBA7-D04B-8D45-8AECC5324BDE}"/>
              </a:ext>
            </a:extLst>
          </p:cNvPr>
          <p:cNvSpPr/>
          <p:nvPr userDrawn="1"/>
        </p:nvSpPr>
        <p:spPr>
          <a:xfrm>
            <a:off x="8307365" y="1709768"/>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Straight Connector 94">
            <a:extLst>
              <a:ext uri="{FF2B5EF4-FFF2-40B4-BE49-F238E27FC236}">
                <a16:creationId xmlns:a16="http://schemas.microsoft.com/office/drawing/2014/main" id="{3D13591D-6EC1-AB4F-9969-6302E362784E}"/>
              </a:ext>
            </a:extLst>
          </p:cNvPr>
          <p:cNvCxnSpPr>
            <a:cxnSpLocks/>
          </p:cNvCxnSpPr>
          <p:nvPr userDrawn="1"/>
        </p:nvCxnSpPr>
        <p:spPr>
          <a:xfrm>
            <a:off x="8333913" y="278369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6" name="Text Placeholder 20">
            <a:extLst>
              <a:ext uri="{FF2B5EF4-FFF2-40B4-BE49-F238E27FC236}">
                <a16:creationId xmlns:a16="http://schemas.microsoft.com/office/drawing/2014/main" id="{14BEE252-4639-114D-AFB0-243BBC85FDD9}"/>
              </a:ext>
            </a:extLst>
          </p:cNvPr>
          <p:cNvSpPr>
            <a:spLocks noGrp="1"/>
          </p:cNvSpPr>
          <p:nvPr>
            <p:ph type="body" sz="quarter" idx="47" hasCustomPrompt="1"/>
          </p:nvPr>
        </p:nvSpPr>
        <p:spPr>
          <a:xfrm>
            <a:off x="8438944" y="1858215"/>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97" name="Text Placeholder 20">
            <a:extLst>
              <a:ext uri="{FF2B5EF4-FFF2-40B4-BE49-F238E27FC236}">
                <a16:creationId xmlns:a16="http://schemas.microsoft.com/office/drawing/2014/main" id="{FC6370E8-D75B-1844-A610-8287D1D8E14C}"/>
              </a:ext>
            </a:extLst>
          </p:cNvPr>
          <p:cNvSpPr>
            <a:spLocks noGrp="1"/>
          </p:cNvSpPr>
          <p:nvPr>
            <p:ph type="body" sz="quarter" idx="48" hasCustomPrompt="1"/>
          </p:nvPr>
        </p:nvSpPr>
        <p:spPr>
          <a:xfrm>
            <a:off x="8450820" y="278883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98" name="Straight Connector 97">
            <a:extLst>
              <a:ext uri="{FF2B5EF4-FFF2-40B4-BE49-F238E27FC236}">
                <a16:creationId xmlns:a16="http://schemas.microsoft.com/office/drawing/2014/main" id="{C0D779F3-6521-3942-8C9F-C999AF5DED7E}"/>
              </a:ext>
            </a:extLst>
          </p:cNvPr>
          <p:cNvCxnSpPr>
            <a:cxnSpLocks/>
          </p:cNvCxnSpPr>
          <p:nvPr userDrawn="1"/>
        </p:nvCxnSpPr>
        <p:spPr>
          <a:xfrm>
            <a:off x="8333913" y="371318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9" name="Text Placeholder 20">
            <a:extLst>
              <a:ext uri="{FF2B5EF4-FFF2-40B4-BE49-F238E27FC236}">
                <a16:creationId xmlns:a16="http://schemas.microsoft.com/office/drawing/2014/main" id="{C51B118D-026B-804A-A087-4B2F7080C4CB}"/>
              </a:ext>
            </a:extLst>
          </p:cNvPr>
          <p:cNvSpPr>
            <a:spLocks noGrp="1"/>
          </p:cNvSpPr>
          <p:nvPr>
            <p:ph type="body" sz="quarter" idx="49" hasCustomPrompt="1"/>
          </p:nvPr>
        </p:nvSpPr>
        <p:spPr>
          <a:xfrm>
            <a:off x="8450820" y="3718322"/>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100" name="Straight Connector 99">
            <a:extLst>
              <a:ext uri="{FF2B5EF4-FFF2-40B4-BE49-F238E27FC236}">
                <a16:creationId xmlns:a16="http://schemas.microsoft.com/office/drawing/2014/main" id="{9B8AEA03-D8B2-AF4D-8117-E6BB4A0DD32B}"/>
              </a:ext>
            </a:extLst>
          </p:cNvPr>
          <p:cNvCxnSpPr>
            <a:cxnSpLocks/>
          </p:cNvCxnSpPr>
          <p:nvPr userDrawn="1"/>
        </p:nvCxnSpPr>
        <p:spPr>
          <a:xfrm>
            <a:off x="8333913" y="4637868"/>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1" name="Text Placeholder 20">
            <a:extLst>
              <a:ext uri="{FF2B5EF4-FFF2-40B4-BE49-F238E27FC236}">
                <a16:creationId xmlns:a16="http://schemas.microsoft.com/office/drawing/2014/main" id="{BBEB6736-19B2-5B4F-8A4E-C0BDDEB6F0BD}"/>
              </a:ext>
            </a:extLst>
          </p:cNvPr>
          <p:cNvSpPr>
            <a:spLocks noGrp="1"/>
          </p:cNvSpPr>
          <p:nvPr>
            <p:ph type="body" sz="quarter" idx="50" hasCustomPrompt="1"/>
          </p:nvPr>
        </p:nvSpPr>
        <p:spPr>
          <a:xfrm>
            <a:off x="8450820" y="4643005"/>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4" name="TextBox 103">
            <a:extLst>
              <a:ext uri="{FF2B5EF4-FFF2-40B4-BE49-F238E27FC236}">
                <a16:creationId xmlns:a16="http://schemas.microsoft.com/office/drawing/2014/main" id="{6969653A-6C2C-8147-ACCB-D4F972B28B3B}"/>
              </a:ext>
            </a:extLst>
          </p:cNvPr>
          <p:cNvSpPr txBox="1"/>
          <p:nvPr userDrawn="1"/>
        </p:nvSpPr>
        <p:spPr>
          <a:xfrm>
            <a:off x="7891534" y="1897739"/>
            <a:ext cx="559286" cy="523220"/>
          </a:xfrm>
          <a:prstGeom prst="rect">
            <a:avLst/>
          </a:prstGeom>
        </p:spPr>
        <p:txBody>
          <a:bodyPr wrap="square" rtlCol="0">
            <a:spAutoFit/>
          </a:bodyPr>
          <a:lstStyle/>
          <a:p>
            <a:r>
              <a:rPr lang="en-GB" sz="2800" b="1" i="0">
                <a:solidFill>
                  <a:schemeClr val="accent1"/>
                </a:solidFill>
                <a:latin typeface="Helvetica" pitchFamily="2" charset="0"/>
              </a:rPr>
              <a:t>3</a:t>
            </a:r>
          </a:p>
        </p:txBody>
      </p:sp>
      <p:sp>
        <p:nvSpPr>
          <p:cNvPr id="38" name="Title 1">
            <a:extLst>
              <a:ext uri="{FF2B5EF4-FFF2-40B4-BE49-F238E27FC236}">
                <a16:creationId xmlns:a16="http://schemas.microsoft.com/office/drawing/2014/main" id="{00D9EB27-355B-C0ED-84F3-A25252382F8B}"/>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35" name="Bilde 3">
            <a:extLst>
              <a:ext uri="{FF2B5EF4-FFF2-40B4-BE49-F238E27FC236}">
                <a16:creationId xmlns:a16="http://schemas.microsoft.com/office/drawing/2014/main" id="{FE2C0ED3-4F0D-76FE-4A81-DA2AEA5E0E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6" name="Date Placeholder 2">
            <a:extLst>
              <a:ext uri="{FF2B5EF4-FFF2-40B4-BE49-F238E27FC236}">
                <a16:creationId xmlns:a16="http://schemas.microsoft.com/office/drawing/2014/main" id="{5AC4A76A-0175-9E3F-9CDE-1DAD263CF72D}"/>
              </a:ext>
            </a:extLst>
          </p:cNvPr>
          <p:cNvSpPr>
            <a:spLocks noGrp="1"/>
          </p:cNvSpPr>
          <p:nvPr>
            <p:ph type="dt" sz="half" idx="16"/>
          </p:nvPr>
        </p:nvSpPr>
        <p:spPr>
          <a:xfrm>
            <a:off x="2303627" y="6492875"/>
            <a:ext cx="528585" cy="365125"/>
          </a:xfrm>
        </p:spPr>
        <p:txBody>
          <a:bodyPr/>
          <a:lstStyle/>
          <a:p>
            <a:fld id="{E7D5591C-2F1A-B349-9EFD-5599BDF73C64}" type="datetime1">
              <a:rPr lang="nb-NO" smtClean="0"/>
              <a:t>20.08.2024</a:t>
            </a:fld>
            <a:endParaRPr lang="en-US"/>
          </a:p>
        </p:txBody>
      </p:sp>
      <p:sp>
        <p:nvSpPr>
          <p:cNvPr id="37" name="Footer Placeholder 3">
            <a:extLst>
              <a:ext uri="{FF2B5EF4-FFF2-40B4-BE49-F238E27FC236}">
                <a16:creationId xmlns:a16="http://schemas.microsoft.com/office/drawing/2014/main" id="{5E45CE91-9625-5A6C-8A2E-9C439162CFDF}"/>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39" name="Slide Number Placeholder 4">
            <a:extLst>
              <a:ext uri="{FF2B5EF4-FFF2-40B4-BE49-F238E27FC236}">
                <a16:creationId xmlns:a16="http://schemas.microsoft.com/office/drawing/2014/main" id="{5B2B34E3-8FF7-63CC-43BD-9FB1EDD01E08}"/>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6205337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42_Custom Layout">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C7B5656-DA3F-9847-9792-691229FFB730}"/>
              </a:ext>
            </a:extLst>
          </p:cNvPr>
          <p:cNvSpPr/>
          <p:nvPr userDrawn="1"/>
        </p:nvSpPr>
        <p:spPr>
          <a:xfrm>
            <a:off x="1081661" y="1716020"/>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213240" y="1864467"/>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225116" y="2795085"/>
            <a:ext cx="2916256" cy="2636015"/>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 name="TextBox 2">
            <a:extLst>
              <a:ext uri="{FF2B5EF4-FFF2-40B4-BE49-F238E27FC236}">
                <a16:creationId xmlns:a16="http://schemas.microsoft.com/office/drawing/2014/main" id="{F3A29A19-CBAD-DB4D-A8E8-E75B17885703}"/>
              </a:ext>
            </a:extLst>
          </p:cNvPr>
          <p:cNvSpPr txBox="1"/>
          <p:nvPr userDrawn="1"/>
        </p:nvSpPr>
        <p:spPr>
          <a:xfrm>
            <a:off x="665830" y="1903991"/>
            <a:ext cx="559286" cy="523220"/>
          </a:xfrm>
          <a:prstGeom prst="rect">
            <a:avLst/>
          </a:prstGeom>
        </p:spPr>
        <p:txBody>
          <a:bodyPr wrap="square" rtlCol="0">
            <a:spAutoFit/>
          </a:bodyPr>
          <a:lstStyle/>
          <a:p>
            <a:r>
              <a:rPr lang="en-GB" sz="2800" b="1" i="0">
                <a:solidFill>
                  <a:schemeClr val="accent1"/>
                </a:solidFill>
                <a:latin typeface="Helvetica" pitchFamily="2" charset="0"/>
              </a:rPr>
              <a:t>1</a:t>
            </a:r>
          </a:p>
        </p:txBody>
      </p:sp>
      <p:sp>
        <p:nvSpPr>
          <p:cNvPr id="51" name="Rectangle 50">
            <a:extLst>
              <a:ext uri="{FF2B5EF4-FFF2-40B4-BE49-F238E27FC236}">
                <a16:creationId xmlns:a16="http://schemas.microsoft.com/office/drawing/2014/main" id="{25FF2627-BFD7-7245-8BBD-EF14EE38529E}"/>
              </a:ext>
            </a:extLst>
          </p:cNvPr>
          <p:cNvSpPr/>
          <p:nvPr userDrawn="1"/>
        </p:nvSpPr>
        <p:spPr>
          <a:xfrm>
            <a:off x="4721017" y="1716020"/>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 Placeholder 20">
            <a:extLst>
              <a:ext uri="{FF2B5EF4-FFF2-40B4-BE49-F238E27FC236}">
                <a16:creationId xmlns:a16="http://schemas.microsoft.com/office/drawing/2014/main" id="{DF30A173-A5B6-1947-B430-0C6C140A1F01}"/>
              </a:ext>
            </a:extLst>
          </p:cNvPr>
          <p:cNvSpPr>
            <a:spLocks noGrp="1"/>
          </p:cNvSpPr>
          <p:nvPr>
            <p:ph type="body" sz="quarter" idx="42" hasCustomPrompt="1"/>
          </p:nvPr>
        </p:nvSpPr>
        <p:spPr>
          <a:xfrm>
            <a:off x="4852596" y="1864467"/>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60" name="Text Placeholder 20">
            <a:extLst>
              <a:ext uri="{FF2B5EF4-FFF2-40B4-BE49-F238E27FC236}">
                <a16:creationId xmlns:a16="http://schemas.microsoft.com/office/drawing/2014/main" id="{5B1BD81B-610E-C040-9E12-9890AAD2A079}"/>
              </a:ext>
            </a:extLst>
          </p:cNvPr>
          <p:cNvSpPr>
            <a:spLocks noGrp="1"/>
          </p:cNvSpPr>
          <p:nvPr>
            <p:ph type="body" sz="quarter" idx="43" hasCustomPrompt="1"/>
          </p:nvPr>
        </p:nvSpPr>
        <p:spPr>
          <a:xfrm>
            <a:off x="4864472" y="2795085"/>
            <a:ext cx="2916256" cy="2636015"/>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93" name="TextBox 92">
            <a:extLst>
              <a:ext uri="{FF2B5EF4-FFF2-40B4-BE49-F238E27FC236}">
                <a16:creationId xmlns:a16="http://schemas.microsoft.com/office/drawing/2014/main" id="{CB751464-8A7F-FA49-856D-4334A4C81AF1}"/>
              </a:ext>
            </a:extLst>
          </p:cNvPr>
          <p:cNvSpPr txBox="1"/>
          <p:nvPr userDrawn="1"/>
        </p:nvSpPr>
        <p:spPr>
          <a:xfrm>
            <a:off x="4305186" y="1903991"/>
            <a:ext cx="559286" cy="523220"/>
          </a:xfrm>
          <a:prstGeom prst="rect">
            <a:avLst/>
          </a:prstGeom>
        </p:spPr>
        <p:txBody>
          <a:bodyPr wrap="square" rtlCol="0">
            <a:spAutoFit/>
          </a:bodyPr>
          <a:lstStyle/>
          <a:p>
            <a:r>
              <a:rPr lang="en-GB" sz="2800" b="1" i="0">
                <a:solidFill>
                  <a:schemeClr val="accent1"/>
                </a:solidFill>
                <a:latin typeface="Helvetica" pitchFamily="2" charset="0"/>
              </a:rPr>
              <a:t>2</a:t>
            </a:r>
          </a:p>
        </p:txBody>
      </p:sp>
      <p:sp>
        <p:nvSpPr>
          <p:cNvPr id="94" name="Rectangle 93">
            <a:extLst>
              <a:ext uri="{FF2B5EF4-FFF2-40B4-BE49-F238E27FC236}">
                <a16:creationId xmlns:a16="http://schemas.microsoft.com/office/drawing/2014/main" id="{EF0334F8-DBA7-D04B-8D45-8AECC5324BDE}"/>
              </a:ext>
            </a:extLst>
          </p:cNvPr>
          <p:cNvSpPr/>
          <p:nvPr userDrawn="1"/>
        </p:nvSpPr>
        <p:spPr>
          <a:xfrm>
            <a:off x="8307365" y="1709768"/>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1108209" y="2804934"/>
            <a:ext cx="0" cy="264115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D94247F-1687-1C46-BCBA-B35359725D0B}"/>
              </a:ext>
            </a:extLst>
          </p:cNvPr>
          <p:cNvCxnSpPr>
            <a:cxnSpLocks/>
          </p:cNvCxnSpPr>
          <p:nvPr userDrawn="1"/>
        </p:nvCxnSpPr>
        <p:spPr>
          <a:xfrm>
            <a:off x="4747565" y="2804934"/>
            <a:ext cx="0" cy="264115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3D13591D-6EC1-AB4F-9969-6302E362784E}"/>
              </a:ext>
            </a:extLst>
          </p:cNvPr>
          <p:cNvCxnSpPr>
            <a:cxnSpLocks/>
          </p:cNvCxnSpPr>
          <p:nvPr userDrawn="1"/>
        </p:nvCxnSpPr>
        <p:spPr>
          <a:xfrm>
            <a:off x="8333913" y="2783696"/>
            <a:ext cx="0" cy="264115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6" name="Text Placeholder 20">
            <a:extLst>
              <a:ext uri="{FF2B5EF4-FFF2-40B4-BE49-F238E27FC236}">
                <a16:creationId xmlns:a16="http://schemas.microsoft.com/office/drawing/2014/main" id="{14BEE252-4639-114D-AFB0-243BBC85FDD9}"/>
              </a:ext>
            </a:extLst>
          </p:cNvPr>
          <p:cNvSpPr>
            <a:spLocks noGrp="1"/>
          </p:cNvSpPr>
          <p:nvPr userDrawn="1">
            <p:ph type="body" sz="quarter" idx="47" hasCustomPrompt="1"/>
          </p:nvPr>
        </p:nvSpPr>
        <p:spPr>
          <a:xfrm>
            <a:off x="8438944" y="1858215"/>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97" name="Text Placeholder 20">
            <a:extLst>
              <a:ext uri="{FF2B5EF4-FFF2-40B4-BE49-F238E27FC236}">
                <a16:creationId xmlns:a16="http://schemas.microsoft.com/office/drawing/2014/main" id="{FC6370E8-D75B-1844-A610-8287D1D8E14C}"/>
              </a:ext>
            </a:extLst>
          </p:cNvPr>
          <p:cNvSpPr>
            <a:spLocks noGrp="1"/>
          </p:cNvSpPr>
          <p:nvPr userDrawn="1">
            <p:ph type="body" sz="quarter" idx="48" hasCustomPrompt="1"/>
          </p:nvPr>
        </p:nvSpPr>
        <p:spPr>
          <a:xfrm>
            <a:off x="8450820" y="2788833"/>
            <a:ext cx="2916256" cy="2636015"/>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4" name="TextBox 103">
            <a:extLst>
              <a:ext uri="{FF2B5EF4-FFF2-40B4-BE49-F238E27FC236}">
                <a16:creationId xmlns:a16="http://schemas.microsoft.com/office/drawing/2014/main" id="{6969653A-6C2C-8147-ACCB-D4F972B28B3B}"/>
              </a:ext>
            </a:extLst>
          </p:cNvPr>
          <p:cNvSpPr txBox="1"/>
          <p:nvPr userDrawn="1"/>
        </p:nvSpPr>
        <p:spPr>
          <a:xfrm>
            <a:off x="7891534" y="1897739"/>
            <a:ext cx="559286" cy="523220"/>
          </a:xfrm>
          <a:prstGeom prst="rect">
            <a:avLst/>
          </a:prstGeom>
        </p:spPr>
        <p:txBody>
          <a:bodyPr wrap="square" rtlCol="0">
            <a:spAutoFit/>
          </a:bodyPr>
          <a:lstStyle/>
          <a:p>
            <a:r>
              <a:rPr lang="en-GB" sz="2800" b="1" i="0">
                <a:solidFill>
                  <a:schemeClr val="accent1"/>
                </a:solidFill>
                <a:latin typeface="Helvetica" pitchFamily="2" charset="0"/>
              </a:rPr>
              <a:t>3</a:t>
            </a:r>
          </a:p>
        </p:txBody>
      </p:sp>
      <p:sp>
        <p:nvSpPr>
          <p:cNvPr id="38" name="Title 1">
            <a:extLst>
              <a:ext uri="{FF2B5EF4-FFF2-40B4-BE49-F238E27FC236}">
                <a16:creationId xmlns:a16="http://schemas.microsoft.com/office/drawing/2014/main" id="{00D9EB27-355B-C0ED-84F3-A25252382F8B}"/>
              </a:ext>
            </a:extLst>
          </p:cNvPr>
          <p:cNvSpPr>
            <a:spLocks noGrp="1"/>
          </p:cNvSpPr>
          <p:nvPr userDrawn="1">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4" name="Bilde 3">
            <a:extLst>
              <a:ext uri="{FF2B5EF4-FFF2-40B4-BE49-F238E27FC236}">
                <a16:creationId xmlns:a16="http://schemas.microsoft.com/office/drawing/2014/main" id="{DBA068A6-7045-9B50-BF91-73FC6D7BEB6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802E4C73-E5CC-C29C-AE6D-CF730A25DFAF}"/>
              </a:ext>
            </a:extLst>
          </p:cNvPr>
          <p:cNvSpPr>
            <a:spLocks noGrp="1"/>
          </p:cNvSpPr>
          <p:nvPr>
            <p:ph type="dt" sz="half" idx="16"/>
          </p:nvPr>
        </p:nvSpPr>
        <p:spPr>
          <a:xfrm>
            <a:off x="2303627" y="6492875"/>
            <a:ext cx="528585" cy="365125"/>
          </a:xfrm>
        </p:spPr>
        <p:txBody>
          <a:bodyPr/>
          <a:lstStyle/>
          <a:p>
            <a:fld id="{38D35A6E-F7CE-9542-B139-B65887BB1A12}" type="datetime1">
              <a:rPr lang="nb-NO" smtClean="0"/>
              <a:t>20.08.2024</a:t>
            </a:fld>
            <a:endParaRPr lang="en-US"/>
          </a:p>
        </p:txBody>
      </p:sp>
      <p:sp>
        <p:nvSpPr>
          <p:cNvPr id="25" name="Footer Placeholder 3">
            <a:extLst>
              <a:ext uri="{FF2B5EF4-FFF2-40B4-BE49-F238E27FC236}">
                <a16:creationId xmlns:a16="http://schemas.microsoft.com/office/drawing/2014/main" id="{82B0D240-8EAB-165B-6D33-B23105C34323}"/>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26" name="Slide Number Placeholder 4">
            <a:extLst>
              <a:ext uri="{FF2B5EF4-FFF2-40B4-BE49-F238E27FC236}">
                <a16:creationId xmlns:a16="http://schemas.microsoft.com/office/drawing/2014/main" id="{50FA445D-D6C4-B3F6-746A-1862AB3F8648}"/>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9391839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41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B1796F2-5DEC-996C-ABCB-7228BC4850E5}"/>
              </a:ext>
            </a:extLst>
          </p:cNvPr>
          <p:cNvSpPr>
            <a:spLocks noGrp="1"/>
          </p:cNvSpPr>
          <p:nvPr>
            <p:ph type="pic" sz="quarter" idx="52"/>
          </p:nvPr>
        </p:nvSpPr>
        <p:spPr>
          <a:xfrm>
            <a:off x="941547" y="1445066"/>
            <a:ext cx="3060700" cy="1820862"/>
          </a:xfrm>
          <a:prstGeom prst="rect">
            <a:avLst/>
          </a:prstGeom>
        </p:spPr>
        <p:txBody>
          <a:bodyPr anchor="ctr"/>
          <a:lstStyle>
            <a:lvl1pPr algn="ctr">
              <a:defRPr sz="1800"/>
            </a:lvl1pPr>
          </a:lstStyle>
          <a:p>
            <a:r>
              <a:rPr lang="en-GB"/>
              <a:t>Click icon to add picture</a:t>
            </a:r>
            <a:endParaRPr lang="en-US"/>
          </a:p>
        </p:txBody>
      </p:sp>
      <p:sp>
        <p:nvSpPr>
          <p:cNvPr id="45" name="Rectangle 44">
            <a:extLst>
              <a:ext uri="{FF2B5EF4-FFF2-40B4-BE49-F238E27FC236}">
                <a16:creationId xmlns:a16="http://schemas.microsoft.com/office/drawing/2014/main" id="{1C7B5656-DA3F-9847-9792-691229FFB730}"/>
              </a:ext>
            </a:extLst>
          </p:cNvPr>
          <p:cNvSpPr/>
          <p:nvPr userDrawn="1"/>
        </p:nvSpPr>
        <p:spPr>
          <a:xfrm>
            <a:off x="942119" y="3332603"/>
            <a:ext cx="3065442" cy="28072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061370" y="3403048"/>
            <a:ext cx="2830400" cy="582683"/>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061370" y="4001634"/>
            <a:ext cx="2830400" cy="2090483"/>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flipH="1">
            <a:off x="942119" y="3281228"/>
            <a:ext cx="306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8" name="Title 1">
            <a:extLst>
              <a:ext uri="{FF2B5EF4-FFF2-40B4-BE49-F238E27FC236}">
                <a16:creationId xmlns:a16="http://schemas.microsoft.com/office/drawing/2014/main" id="{00D9EB27-355B-C0ED-84F3-A25252382F8B}"/>
              </a:ext>
            </a:extLst>
          </p:cNvPr>
          <p:cNvSpPr>
            <a:spLocks noGrp="1"/>
          </p:cNvSpPr>
          <p:nvPr userDrawn="1">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4" name="Bilde 3">
            <a:extLst>
              <a:ext uri="{FF2B5EF4-FFF2-40B4-BE49-F238E27FC236}">
                <a16:creationId xmlns:a16="http://schemas.microsoft.com/office/drawing/2014/main" id="{DBA068A6-7045-9B50-BF91-73FC6D7BEB6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6" name="Picture Placeholder 7">
            <a:extLst>
              <a:ext uri="{FF2B5EF4-FFF2-40B4-BE49-F238E27FC236}">
                <a16:creationId xmlns:a16="http://schemas.microsoft.com/office/drawing/2014/main" id="{036ADB22-C59D-5054-F408-EBE475CB6330}"/>
              </a:ext>
            </a:extLst>
          </p:cNvPr>
          <p:cNvSpPr>
            <a:spLocks noGrp="1"/>
          </p:cNvSpPr>
          <p:nvPr>
            <p:ph type="pic" sz="quarter" idx="53"/>
          </p:nvPr>
        </p:nvSpPr>
        <p:spPr>
          <a:xfrm>
            <a:off x="4335930" y="1445066"/>
            <a:ext cx="3060700" cy="1820862"/>
          </a:xfrm>
          <a:prstGeom prst="rect">
            <a:avLst/>
          </a:prstGeom>
        </p:spPr>
        <p:txBody>
          <a:bodyPr anchor="ctr"/>
          <a:lstStyle>
            <a:lvl1pPr algn="ctr">
              <a:defRPr sz="1800"/>
            </a:lvl1pPr>
          </a:lstStyle>
          <a:p>
            <a:r>
              <a:rPr lang="en-GB"/>
              <a:t>Click icon to add picture</a:t>
            </a:r>
            <a:endParaRPr lang="en-US"/>
          </a:p>
        </p:txBody>
      </p:sp>
      <p:sp>
        <p:nvSpPr>
          <p:cNvPr id="27" name="Rectangle 26">
            <a:extLst>
              <a:ext uri="{FF2B5EF4-FFF2-40B4-BE49-F238E27FC236}">
                <a16:creationId xmlns:a16="http://schemas.microsoft.com/office/drawing/2014/main" id="{8B0ECE18-051B-DE63-AC4A-05752AB1499A}"/>
              </a:ext>
            </a:extLst>
          </p:cNvPr>
          <p:cNvSpPr/>
          <p:nvPr userDrawn="1"/>
        </p:nvSpPr>
        <p:spPr>
          <a:xfrm>
            <a:off x="4336502" y="3332603"/>
            <a:ext cx="3065442" cy="28072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 Placeholder 20">
            <a:extLst>
              <a:ext uri="{FF2B5EF4-FFF2-40B4-BE49-F238E27FC236}">
                <a16:creationId xmlns:a16="http://schemas.microsoft.com/office/drawing/2014/main" id="{456D4E1E-2C93-62C8-726C-E573B0A1F359}"/>
              </a:ext>
            </a:extLst>
          </p:cNvPr>
          <p:cNvSpPr>
            <a:spLocks noGrp="1"/>
          </p:cNvSpPr>
          <p:nvPr>
            <p:ph type="body" sz="quarter" idx="54" hasCustomPrompt="1"/>
          </p:nvPr>
        </p:nvSpPr>
        <p:spPr>
          <a:xfrm>
            <a:off x="4455753" y="3403048"/>
            <a:ext cx="2830400" cy="582683"/>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0" name="Text Placeholder 20">
            <a:extLst>
              <a:ext uri="{FF2B5EF4-FFF2-40B4-BE49-F238E27FC236}">
                <a16:creationId xmlns:a16="http://schemas.microsoft.com/office/drawing/2014/main" id="{C9E572EA-46BB-1ADC-2DCA-101125632D82}"/>
              </a:ext>
            </a:extLst>
          </p:cNvPr>
          <p:cNvSpPr>
            <a:spLocks noGrp="1"/>
          </p:cNvSpPr>
          <p:nvPr>
            <p:ph type="body" sz="quarter" idx="55" hasCustomPrompt="1"/>
          </p:nvPr>
        </p:nvSpPr>
        <p:spPr>
          <a:xfrm>
            <a:off x="4455753" y="4001634"/>
            <a:ext cx="2830400" cy="2090483"/>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31" name="Straight Connector 30">
            <a:extLst>
              <a:ext uri="{FF2B5EF4-FFF2-40B4-BE49-F238E27FC236}">
                <a16:creationId xmlns:a16="http://schemas.microsoft.com/office/drawing/2014/main" id="{FEAFBB64-B5C6-3C6D-951F-45E4DD827B97}"/>
              </a:ext>
            </a:extLst>
          </p:cNvPr>
          <p:cNvCxnSpPr>
            <a:cxnSpLocks/>
          </p:cNvCxnSpPr>
          <p:nvPr userDrawn="1"/>
        </p:nvCxnSpPr>
        <p:spPr>
          <a:xfrm flipH="1">
            <a:off x="4336502" y="3281228"/>
            <a:ext cx="306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Picture Placeholder 7">
            <a:extLst>
              <a:ext uri="{FF2B5EF4-FFF2-40B4-BE49-F238E27FC236}">
                <a16:creationId xmlns:a16="http://schemas.microsoft.com/office/drawing/2014/main" id="{226F6508-C1DE-4FDD-5D54-3E8CB0269374}"/>
              </a:ext>
            </a:extLst>
          </p:cNvPr>
          <p:cNvSpPr>
            <a:spLocks noGrp="1"/>
          </p:cNvSpPr>
          <p:nvPr>
            <p:ph type="pic" sz="quarter" idx="56"/>
          </p:nvPr>
        </p:nvSpPr>
        <p:spPr>
          <a:xfrm>
            <a:off x="7721049" y="1445066"/>
            <a:ext cx="3060700" cy="1820862"/>
          </a:xfrm>
          <a:prstGeom prst="rect">
            <a:avLst/>
          </a:prstGeom>
        </p:spPr>
        <p:txBody>
          <a:bodyPr anchor="ctr"/>
          <a:lstStyle>
            <a:lvl1pPr algn="ctr">
              <a:defRPr sz="1800"/>
            </a:lvl1pPr>
          </a:lstStyle>
          <a:p>
            <a:r>
              <a:rPr lang="en-GB"/>
              <a:t>Click icon to add picture</a:t>
            </a:r>
            <a:endParaRPr lang="en-US"/>
          </a:p>
        </p:txBody>
      </p:sp>
      <p:sp>
        <p:nvSpPr>
          <p:cNvPr id="33" name="Rectangle 32">
            <a:extLst>
              <a:ext uri="{FF2B5EF4-FFF2-40B4-BE49-F238E27FC236}">
                <a16:creationId xmlns:a16="http://schemas.microsoft.com/office/drawing/2014/main" id="{0C44F1A5-425E-87A2-2D24-3917E09030C5}"/>
              </a:ext>
            </a:extLst>
          </p:cNvPr>
          <p:cNvSpPr/>
          <p:nvPr userDrawn="1"/>
        </p:nvSpPr>
        <p:spPr>
          <a:xfrm>
            <a:off x="7721621" y="3332603"/>
            <a:ext cx="3065442" cy="28072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0">
            <a:extLst>
              <a:ext uri="{FF2B5EF4-FFF2-40B4-BE49-F238E27FC236}">
                <a16:creationId xmlns:a16="http://schemas.microsoft.com/office/drawing/2014/main" id="{71F3DA74-293C-7493-FE9F-ED46727177E4}"/>
              </a:ext>
            </a:extLst>
          </p:cNvPr>
          <p:cNvSpPr>
            <a:spLocks noGrp="1"/>
          </p:cNvSpPr>
          <p:nvPr>
            <p:ph type="body" sz="quarter" idx="57" hasCustomPrompt="1"/>
          </p:nvPr>
        </p:nvSpPr>
        <p:spPr>
          <a:xfrm>
            <a:off x="7840872" y="3403048"/>
            <a:ext cx="2830400" cy="582683"/>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5" name="Text Placeholder 20">
            <a:extLst>
              <a:ext uri="{FF2B5EF4-FFF2-40B4-BE49-F238E27FC236}">
                <a16:creationId xmlns:a16="http://schemas.microsoft.com/office/drawing/2014/main" id="{7C59F177-1602-67CB-884F-2E55B9C4C0BB}"/>
              </a:ext>
            </a:extLst>
          </p:cNvPr>
          <p:cNvSpPr>
            <a:spLocks noGrp="1"/>
          </p:cNvSpPr>
          <p:nvPr>
            <p:ph type="body" sz="quarter" idx="58" hasCustomPrompt="1"/>
          </p:nvPr>
        </p:nvSpPr>
        <p:spPr>
          <a:xfrm>
            <a:off x="7840872" y="4001634"/>
            <a:ext cx="2830400" cy="2090483"/>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36" name="Straight Connector 35">
            <a:extLst>
              <a:ext uri="{FF2B5EF4-FFF2-40B4-BE49-F238E27FC236}">
                <a16:creationId xmlns:a16="http://schemas.microsoft.com/office/drawing/2014/main" id="{75855995-0E07-4D27-6A42-BA419A06BB34}"/>
              </a:ext>
            </a:extLst>
          </p:cNvPr>
          <p:cNvCxnSpPr>
            <a:cxnSpLocks/>
          </p:cNvCxnSpPr>
          <p:nvPr userDrawn="1"/>
        </p:nvCxnSpPr>
        <p:spPr>
          <a:xfrm flipH="1">
            <a:off x="7721621" y="3281228"/>
            <a:ext cx="306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Date Placeholder 2">
            <a:extLst>
              <a:ext uri="{FF2B5EF4-FFF2-40B4-BE49-F238E27FC236}">
                <a16:creationId xmlns:a16="http://schemas.microsoft.com/office/drawing/2014/main" id="{23D09F0E-DD0A-56E4-A786-86687543EDF0}"/>
              </a:ext>
            </a:extLst>
          </p:cNvPr>
          <p:cNvSpPr>
            <a:spLocks noGrp="1"/>
          </p:cNvSpPr>
          <p:nvPr>
            <p:ph type="dt" sz="half" idx="16"/>
          </p:nvPr>
        </p:nvSpPr>
        <p:spPr>
          <a:xfrm>
            <a:off x="2303627" y="6492875"/>
            <a:ext cx="528585" cy="365125"/>
          </a:xfrm>
        </p:spPr>
        <p:txBody>
          <a:bodyPr/>
          <a:lstStyle/>
          <a:p>
            <a:fld id="{6E04736A-3684-114B-8E08-D8FB04084414}" type="datetime1">
              <a:rPr lang="nb-NO" smtClean="0"/>
              <a:t>20.08.2024</a:t>
            </a:fld>
            <a:endParaRPr lang="en-US"/>
          </a:p>
        </p:txBody>
      </p:sp>
      <p:sp>
        <p:nvSpPr>
          <p:cNvPr id="25" name="Footer Placeholder 3">
            <a:extLst>
              <a:ext uri="{FF2B5EF4-FFF2-40B4-BE49-F238E27FC236}">
                <a16:creationId xmlns:a16="http://schemas.microsoft.com/office/drawing/2014/main" id="{86EFD8CB-B4B0-C98B-BAE4-8B0E6EA80F4C}"/>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37" name="Slide Number Placeholder 4">
            <a:extLst>
              <a:ext uri="{FF2B5EF4-FFF2-40B4-BE49-F238E27FC236}">
                <a16:creationId xmlns:a16="http://schemas.microsoft.com/office/drawing/2014/main" id="{9BE7881F-148D-208B-717A-EE47DCF21D13}"/>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0701130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34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7" name="Text Placeholder 20">
            <a:extLst>
              <a:ext uri="{FF2B5EF4-FFF2-40B4-BE49-F238E27FC236}">
                <a16:creationId xmlns:a16="http://schemas.microsoft.com/office/drawing/2014/main" id="{49356417-6D30-E548-B1B3-2604029A7EF5}"/>
              </a:ext>
            </a:extLst>
          </p:cNvPr>
          <p:cNvSpPr>
            <a:spLocks noGrp="1"/>
          </p:cNvSpPr>
          <p:nvPr>
            <p:ph type="body" sz="quarter" idx="23" hasCustomPrompt="1"/>
          </p:nvPr>
        </p:nvSpPr>
        <p:spPr>
          <a:xfrm>
            <a:off x="916850" y="4573616"/>
            <a:ext cx="3137757" cy="1534671"/>
          </a:xfrm>
          <a:prstGeom prst="rect">
            <a:avLst/>
          </a:prstGeom>
        </p:spPr>
        <p:txBody>
          <a:bodyPr anchor="t">
            <a:noAutofit/>
          </a:bodyPr>
          <a:lstStyle>
            <a:lvl1pPr marL="0" indent="0" algn="ctr">
              <a:spcBef>
                <a:spcPts val="0"/>
              </a:spcBef>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012918" y="3256113"/>
            <a:ext cx="2945621" cy="918683"/>
          </a:xfrm>
          <a:prstGeom prst="rect">
            <a:avLst/>
          </a:prstGeom>
        </p:spPr>
        <p:txBody>
          <a:bodyPr anchor="ctr">
            <a:noAutofit/>
          </a:bodyPr>
          <a:lstStyle>
            <a:lvl1pPr marL="0" indent="0" algn="ctr">
              <a:spcBef>
                <a:spcPts val="0"/>
              </a:spcBef>
              <a:buNone/>
              <a:defRPr sz="20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a:t>
            </a:r>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968418" y="4391374"/>
            <a:ext cx="303462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1883E524-E691-2542-8EAD-DFBDB929960C}"/>
              </a:ext>
            </a:extLst>
          </p:cNvPr>
          <p:cNvSpPr/>
          <p:nvPr userDrawn="1"/>
        </p:nvSpPr>
        <p:spPr>
          <a:xfrm>
            <a:off x="1686942" y="1578688"/>
            <a:ext cx="1597573" cy="1597573"/>
          </a:xfrm>
          <a:prstGeom prst="ellipse">
            <a:avLst/>
          </a:prstGeom>
          <a:solidFill>
            <a:schemeClr val="accent4">
              <a:lumMod val="20000"/>
              <a:lumOff val="8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9" name="Text Placeholder 20">
            <a:extLst>
              <a:ext uri="{FF2B5EF4-FFF2-40B4-BE49-F238E27FC236}">
                <a16:creationId xmlns:a16="http://schemas.microsoft.com/office/drawing/2014/main" id="{D9AD4255-D80E-7342-B2C4-C5F594A23C7A}"/>
              </a:ext>
            </a:extLst>
          </p:cNvPr>
          <p:cNvSpPr>
            <a:spLocks noGrp="1"/>
          </p:cNvSpPr>
          <p:nvPr>
            <p:ph type="body" sz="quarter" idx="25" hasCustomPrompt="1"/>
          </p:nvPr>
        </p:nvSpPr>
        <p:spPr>
          <a:xfrm>
            <a:off x="4537281" y="4573616"/>
            <a:ext cx="3137757" cy="1534671"/>
          </a:xfrm>
          <a:prstGeom prst="rect">
            <a:avLst/>
          </a:prstGeom>
        </p:spPr>
        <p:txBody>
          <a:bodyPr anchor="t">
            <a:noAutofit/>
          </a:bodyPr>
          <a:lstStyle>
            <a:lvl1pPr marL="0" indent="0" algn="ctr">
              <a:spcBef>
                <a:spcPts val="0"/>
              </a:spcBef>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24" name="Text Placeholder 20">
            <a:extLst>
              <a:ext uri="{FF2B5EF4-FFF2-40B4-BE49-F238E27FC236}">
                <a16:creationId xmlns:a16="http://schemas.microsoft.com/office/drawing/2014/main" id="{8366C65D-987E-F940-9669-8FC67DF547D6}"/>
              </a:ext>
            </a:extLst>
          </p:cNvPr>
          <p:cNvSpPr>
            <a:spLocks noGrp="1"/>
          </p:cNvSpPr>
          <p:nvPr>
            <p:ph type="body" sz="quarter" idx="26" hasCustomPrompt="1"/>
          </p:nvPr>
        </p:nvSpPr>
        <p:spPr>
          <a:xfrm>
            <a:off x="4633349" y="3256113"/>
            <a:ext cx="2945621" cy="918683"/>
          </a:xfrm>
          <a:prstGeom prst="rect">
            <a:avLst/>
          </a:prstGeom>
        </p:spPr>
        <p:txBody>
          <a:bodyPr anchor="ctr">
            <a:noAutofit/>
          </a:bodyPr>
          <a:lstStyle>
            <a:lvl1pPr marL="0" indent="0" algn="ctr">
              <a:spcBef>
                <a:spcPts val="0"/>
              </a:spcBef>
              <a:buNone/>
              <a:defRPr sz="20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a:t>
            </a:r>
          </a:p>
        </p:txBody>
      </p:sp>
      <p:cxnSp>
        <p:nvCxnSpPr>
          <p:cNvPr id="25" name="Straight Connector 24">
            <a:extLst>
              <a:ext uri="{FF2B5EF4-FFF2-40B4-BE49-F238E27FC236}">
                <a16:creationId xmlns:a16="http://schemas.microsoft.com/office/drawing/2014/main" id="{1C8D12F1-1584-DD43-9F53-43F3AA6A406A}"/>
              </a:ext>
            </a:extLst>
          </p:cNvPr>
          <p:cNvCxnSpPr>
            <a:cxnSpLocks/>
          </p:cNvCxnSpPr>
          <p:nvPr userDrawn="1"/>
        </p:nvCxnSpPr>
        <p:spPr>
          <a:xfrm>
            <a:off x="4588849" y="4391374"/>
            <a:ext cx="303462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2DE219C-FDB1-CD4B-86C9-B419D3423531}"/>
              </a:ext>
            </a:extLst>
          </p:cNvPr>
          <p:cNvSpPr/>
          <p:nvPr userDrawn="1"/>
        </p:nvSpPr>
        <p:spPr>
          <a:xfrm>
            <a:off x="5307373" y="1578688"/>
            <a:ext cx="1597573" cy="1597573"/>
          </a:xfrm>
          <a:prstGeom prst="ellipse">
            <a:avLst/>
          </a:prstGeom>
          <a:solidFill>
            <a:schemeClr val="accent4">
              <a:lumMod val="20000"/>
              <a:lumOff val="8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31" name="Text Placeholder 20">
            <a:extLst>
              <a:ext uri="{FF2B5EF4-FFF2-40B4-BE49-F238E27FC236}">
                <a16:creationId xmlns:a16="http://schemas.microsoft.com/office/drawing/2014/main" id="{54C66FC1-2D84-0C46-9D7E-D57CFB2A719F}"/>
              </a:ext>
            </a:extLst>
          </p:cNvPr>
          <p:cNvSpPr>
            <a:spLocks noGrp="1"/>
          </p:cNvSpPr>
          <p:nvPr>
            <p:ph type="body" sz="quarter" idx="27" hasCustomPrompt="1"/>
          </p:nvPr>
        </p:nvSpPr>
        <p:spPr>
          <a:xfrm>
            <a:off x="8137393" y="4573616"/>
            <a:ext cx="3137757" cy="1534671"/>
          </a:xfrm>
          <a:prstGeom prst="rect">
            <a:avLst/>
          </a:prstGeom>
        </p:spPr>
        <p:txBody>
          <a:bodyPr anchor="t">
            <a:noAutofit/>
          </a:bodyPr>
          <a:lstStyle>
            <a:lvl1pPr marL="0" indent="0" algn="ctr">
              <a:spcBef>
                <a:spcPts val="0"/>
              </a:spcBef>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2" name="Text Placeholder 20">
            <a:extLst>
              <a:ext uri="{FF2B5EF4-FFF2-40B4-BE49-F238E27FC236}">
                <a16:creationId xmlns:a16="http://schemas.microsoft.com/office/drawing/2014/main" id="{9A1F39ED-4F03-854D-B159-03CB2DC987D8}"/>
              </a:ext>
            </a:extLst>
          </p:cNvPr>
          <p:cNvSpPr>
            <a:spLocks noGrp="1"/>
          </p:cNvSpPr>
          <p:nvPr>
            <p:ph type="body" sz="quarter" idx="28" hasCustomPrompt="1"/>
          </p:nvPr>
        </p:nvSpPr>
        <p:spPr>
          <a:xfrm>
            <a:off x="8233461" y="3256113"/>
            <a:ext cx="2945621" cy="918683"/>
          </a:xfrm>
          <a:prstGeom prst="rect">
            <a:avLst/>
          </a:prstGeom>
        </p:spPr>
        <p:txBody>
          <a:bodyPr anchor="ctr">
            <a:noAutofit/>
          </a:bodyPr>
          <a:lstStyle>
            <a:lvl1pPr marL="0" indent="0" algn="ctr">
              <a:spcBef>
                <a:spcPts val="0"/>
              </a:spcBef>
              <a:buNone/>
              <a:defRPr sz="20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a:t>
            </a:r>
          </a:p>
        </p:txBody>
      </p:sp>
      <p:cxnSp>
        <p:nvCxnSpPr>
          <p:cNvPr id="33" name="Straight Connector 32">
            <a:extLst>
              <a:ext uri="{FF2B5EF4-FFF2-40B4-BE49-F238E27FC236}">
                <a16:creationId xmlns:a16="http://schemas.microsoft.com/office/drawing/2014/main" id="{131695BE-7EC4-254F-88F8-92DE21E21441}"/>
              </a:ext>
            </a:extLst>
          </p:cNvPr>
          <p:cNvCxnSpPr>
            <a:cxnSpLocks/>
          </p:cNvCxnSpPr>
          <p:nvPr userDrawn="1"/>
        </p:nvCxnSpPr>
        <p:spPr>
          <a:xfrm>
            <a:off x="8188961" y="4391374"/>
            <a:ext cx="303462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535F4D65-5C03-B047-9C33-37F966AF2003}"/>
              </a:ext>
            </a:extLst>
          </p:cNvPr>
          <p:cNvSpPr/>
          <p:nvPr userDrawn="1"/>
        </p:nvSpPr>
        <p:spPr>
          <a:xfrm>
            <a:off x="8907485" y="1578688"/>
            <a:ext cx="1597573" cy="1597573"/>
          </a:xfrm>
          <a:prstGeom prst="ellipse">
            <a:avLst/>
          </a:prstGeom>
          <a:solidFill>
            <a:schemeClr val="accent4">
              <a:lumMod val="20000"/>
              <a:lumOff val="8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7" name="Title 1">
            <a:extLst>
              <a:ext uri="{FF2B5EF4-FFF2-40B4-BE49-F238E27FC236}">
                <a16:creationId xmlns:a16="http://schemas.microsoft.com/office/drawing/2014/main" id="{51B9A6BB-8E74-6CCC-357E-4A3C6975D961}"/>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4" name="Picture Placeholder 3">
            <a:extLst>
              <a:ext uri="{FF2B5EF4-FFF2-40B4-BE49-F238E27FC236}">
                <a16:creationId xmlns:a16="http://schemas.microsoft.com/office/drawing/2014/main" id="{807C389F-EE04-F928-A905-8D5A0A8319F6}"/>
              </a:ext>
            </a:extLst>
          </p:cNvPr>
          <p:cNvSpPr>
            <a:spLocks noGrp="1"/>
          </p:cNvSpPr>
          <p:nvPr>
            <p:ph type="pic" sz="quarter" idx="29"/>
          </p:nvPr>
        </p:nvSpPr>
        <p:spPr>
          <a:xfrm>
            <a:off x="1791990" y="1686396"/>
            <a:ext cx="1387475" cy="1387475"/>
          </a:xfrm>
          <a:prstGeom prst="ellipse">
            <a:avLst/>
          </a:prstGeom>
        </p:spPr>
        <p:txBody>
          <a:bodyPr anchor="ctr"/>
          <a:lstStyle>
            <a:lvl1pPr marL="0" indent="0" algn="ctr">
              <a:buNone/>
              <a:defRPr sz="1600"/>
            </a:lvl1pPr>
          </a:lstStyle>
          <a:p>
            <a:r>
              <a:rPr lang="en-GB"/>
              <a:t>Click icon to add picture</a:t>
            </a:r>
            <a:endParaRPr lang="en-US"/>
          </a:p>
        </p:txBody>
      </p:sp>
      <p:sp>
        <p:nvSpPr>
          <p:cNvPr id="20" name="Picture Placeholder 3">
            <a:extLst>
              <a:ext uri="{FF2B5EF4-FFF2-40B4-BE49-F238E27FC236}">
                <a16:creationId xmlns:a16="http://schemas.microsoft.com/office/drawing/2014/main" id="{C344D4AD-0C44-0016-1984-DEE4E4A47A86}"/>
              </a:ext>
            </a:extLst>
          </p:cNvPr>
          <p:cNvSpPr>
            <a:spLocks noGrp="1"/>
          </p:cNvSpPr>
          <p:nvPr>
            <p:ph type="pic" sz="quarter" idx="30"/>
          </p:nvPr>
        </p:nvSpPr>
        <p:spPr>
          <a:xfrm>
            <a:off x="5423086" y="1686396"/>
            <a:ext cx="1387475" cy="1387475"/>
          </a:xfrm>
          <a:prstGeom prst="ellipse">
            <a:avLst/>
          </a:prstGeom>
        </p:spPr>
        <p:txBody>
          <a:bodyPr anchor="ctr"/>
          <a:lstStyle>
            <a:lvl1pPr marL="0" indent="0" algn="ctr">
              <a:buNone/>
              <a:defRPr sz="1600"/>
            </a:lvl1pPr>
          </a:lstStyle>
          <a:p>
            <a:r>
              <a:rPr lang="en-GB"/>
              <a:t>Click icon to add picture</a:t>
            </a:r>
            <a:endParaRPr lang="en-US"/>
          </a:p>
        </p:txBody>
      </p:sp>
      <p:sp>
        <p:nvSpPr>
          <p:cNvPr id="21" name="Picture Placeholder 3">
            <a:extLst>
              <a:ext uri="{FF2B5EF4-FFF2-40B4-BE49-F238E27FC236}">
                <a16:creationId xmlns:a16="http://schemas.microsoft.com/office/drawing/2014/main" id="{9126EBDC-8FE3-E299-69BB-1724B93F2D1C}"/>
              </a:ext>
            </a:extLst>
          </p:cNvPr>
          <p:cNvSpPr>
            <a:spLocks noGrp="1"/>
          </p:cNvSpPr>
          <p:nvPr>
            <p:ph type="pic" sz="quarter" idx="31"/>
          </p:nvPr>
        </p:nvSpPr>
        <p:spPr>
          <a:xfrm>
            <a:off x="9001173" y="1686396"/>
            <a:ext cx="1387475" cy="1387475"/>
          </a:xfrm>
          <a:prstGeom prst="ellipse">
            <a:avLst/>
          </a:prstGeom>
        </p:spPr>
        <p:txBody>
          <a:bodyPr anchor="ctr"/>
          <a:lstStyle>
            <a:lvl1pPr marL="0" indent="0" algn="ctr">
              <a:buNone/>
              <a:defRPr sz="1600"/>
            </a:lvl1pPr>
          </a:lstStyle>
          <a:p>
            <a:r>
              <a:rPr lang="en-GB"/>
              <a:t>Click icon to add picture</a:t>
            </a:r>
            <a:endParaRPr lang="en-US"/>
          </a:p>
        </p:txBody>
      </p:sp>
      <p:pic>
        <p:nvPicPr>
          <p:cNvPr id="29" name="Bilde 3">
            <a:extLst>
              <a:ext uri="{FF2B5EF4-FFF2-40B4-BE49-F238E27FC236}">
                <a16:creationId xmlns:a16="http://schemas.microsoft.com/office/drawing/2014/main" id="{2D4B3CC7-6177-04CF-F34E-5EB758235AE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8FB02BF7-CD56-E79D-DDC8-97850F67C805}"/>
              </a:ext>
            </a:extLst>
          </p:cNvPr>
          <p:cNvSpPr>
            <a:spLocks noGrp="1"/>
          </p:cNvSpPr>
          <p:nvPr>
            <p:ph type="dt" sz="half" idx="16"/>
          </p:nvPr>
        </p:nvSpPr>
        <p:spPr>
          <a:xfrm>
            <a:off x="2303627" y="6492875"/>
            <a:ext cx="528585" cy="365125"/>
          </a:xfrm>
        </p:spPr>
        <p:txBody>
          <a:bodyPr/>
          <a:lstStyle/>
          <a:p>
            <a:fld id="{7CC85DCB-DB75-E74E-8F9C-4DD583B943C0}" type="datetime1">
              <a:rPr lang="nb-NO" smtClean="0"/>
              <a:t>20.08.2024</a:t>
            </a:fld>
            <a:endParaRPr lang="en-US"/>
          </a:p>
        </p:txBody>
      </p:sp>
      <p:sp>
        <p:nvSpPr>
          <p:cNvPr id="30" name="Footer Placeholder 3">
            <a:extLst>
              <a:ext uri="{FF2B5EF4-FFF2-40B4-BE49-F238E27FC236}">
                <a16:creationId xmlns:a16="http://schemas.microsoft.com/office/drawing/2014/main" id="{0713B773-2E0A-E988-8286-745F4694DCE1}"/>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35" name="Slide Number Placeholder 4">
            <a:extLst>
              <a:ext uri="{FF2B5EF4-FFF2-40B4-BE49-F238E27FC236}">
                <a16:creationId xmlns:a16="http://schemas.microsoft.com/office/drawing/2014/main" id="{6A77CE4C-F430-19AB-F402-F004842BAEF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9164800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_Full picture, Title">
    <p:bg>
      <p:bgPr>
        <a:solidFill>
          <a:schemeClr val="bg1"/>
        </a:solidFill>
        <a:effectLst/>
      </p:bgPr>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158D014F-728F-437C-9904-BA1DBBEB82AA}"/>
              </a:ext>
            </a:extLst>
          </p:cNvPr>
          <p:cNvSpPr>
            <a:spLocks noGrp="1"/>
          </p:cNvSpPr>
          <p:nvPr>
            <p:ph type="pic" sz="quarter" idx="10" hasCustomPrompt="1"/>
          </p:nvPr>
        </p:nvSpPr>
        <p:spPr>
          <a:xfrm>
            <a:off x="0" y="-28707"/>
            <a:ext cx="12192000" cy="4661452"/>
          </a:xfrm>
          <a:prstGeom prst="rect">
            <a:avLst/>
          </a:prstGeom>
          <a:no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GB" noProof="0"/>
              <a:t>Image Placeholder</a:t>
            </a:r>
          </a:p>
        </p:txBody>
      </p:sp>
      <p:sp>
        <p:nvSpPr>
          <p:cNvPr id="5" name="!!Blue">
            <a:extLst>
              <a:ext uri="{FF2B5EF4-FFF2-40B4-BE49-F238E27FC236}">
                <a16:creationId xmlns:a16="http://schemas.microsoft.com/office/drawing/2014/main" id="{5E24F489-E6BB-4384-B378-663B8C919357}"/>
              </a:ext>
            </a:extLst>
          </p:cNvPr>
          <p:cNvSpPr/>
          <p:nvPr userDrawn="1"/>
        </p:nvSpPr>
        <p:spPr>
          <a:xfrm>
            <a:off x="0" y="4616322"/>
            <a:ext cx="12192000" cy="21965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cxnSp>
        <p:nvCxnSpPr>
          <p:cNvPr id="7" name="!!Yellow">
            <a:extLst>
              <a:ext uri="{FF2B5EF4-FFF2-40B4-BE49-F238E27FC236}">
                <a16:creationId xmlns:a16="http://schemas.microsoft.com/office/drawing/2014/main" id="{DE98A62D-C220-4B5B-AD26-81FFF33E5164}"/>
              </a:ext>
            </a:extLst>
          </p:cNvPr>
          <p:cNvCxnSpPr>
            <a:cxnSpLocks/>
          </p:cNvCxnSpPr>
          <p:nvPr userDrawn="1"/>
        </p:nvCxnSpPr>
        <p:spPr>
          <a:xfrm>
            <a:off x="10477500" y="5348056"/>
            <a:ext cx="1714500" cy="0"/>
          </a:xfrm>
          <a:prstGeom prst="line">
            <a:avLst/>
          </a:prstGeom>
          <a:ln w="149225">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Plassholder for tekst 8">
            <a:extLst>
              <a:ext uri="{FF2B5EF4-FFF2-40B4-BE49-F238E27FC236}">
                <a16:creationId xmlns:a16="http://schemas.microsoft.com/office/drawing/2014/main" id="{38C7107A-0111-432E-8F72-D19B67E72E16}"/>
              </a:ext>
            </a:extLst>
          </p:cNvPr>
          <p:cNvSpPr>
            <a:spLocks noGrp="1"/>
          </p:cNvSpPr>
          <p:nvPr>
            <p:ph type="body" sz="quarter" idx="11" hasCustomPrompt="1"/>
          </p:nvPr>
        </p:nvSpPr>
        <p:spPr>
          <a:xfrm>
            <a:off x="1066800" y="4959624"/>
            <a:ext cx="9410700" cy="160020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3600" cap="all" baseline="0">
                <a:solidFill>
                  <a:schemeClr val="bg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prstClr val="white"/>
                </a:solidFill>
                <a:effectLst/>
                <a:uLnTx/>
                <a:uFillTx/>
                <a:latin typeface="+mn-lt"/>
                <a:ea typeface="Roboto Condensed Black" panose="02000000000000000000" pitchFamily="2" charset="0"/>
                <a:cs typeface="Arial" panose="020B0604020202020204" pitchFamily="34" charset="0"/>
              </a:rPr>
              <a:t>PRESENTATION TITLE</a:t>
            </a:r>
            <a:br>
              <a:rPr kumimoji="0" lang="en-GB" sz="4800" b="1" i="0" u="none" strike="noStrike" kern="1200" cap="none" spc="0" normalizeH="0" baseline="0" noProof="0">
                <a:ln>
                  <a:noFill/>
                </a:ln>
                <a:solidFill>
                  <a:prstClr val="white"/>
                </a:solidFill>
                <a:effectLst/>
                <a:uLnTx/>
                <a:uFillTx/>
                <a:latin typeface="+mn-lt"/>
                <a:ea typeface="Roboto Condensed Black" panose="02000000000000000000" pitchFamily="2" charset="0"/>
                <a:cs typeface="Arial" panose="020B0604020202020204" pitchFamily="34" charset="0"/>
              </a:rPr>
            </a:br>
            <a:r>
              <a:rPr kumimoji="0" lang="en-GB" sz="4800" b="1" i="0" u="none" strike="noStrike" kern="1200" cap="none" spc="0" normalizeH="0" baseline="0" noProof="0">
                <a:ln>
                  <a:noFill/>
                </a:ln>
                <a:solidFill>
                  <a:prstClr val="white"/>
                </a:solidFill>
                <a:effectLst/>
                <a:uLnTx/>
                <a:uFillTx/>
                <a:latin typeface="+mn-lt"/>
                <a:ea typeface="Roboto Condensed Black" panose="02000000000000000000" pitchFamily="2" charset="0"/>
                <a:cs typeface="Arial" panose="020B0604020202020204" pitchFamily="34" charset="0"/>
              </a:rPr>
              <a:t>HERE</a:t>
            </a:r>
          </a:p>
          <a:p>
            <a:pPr lvl="0"/>
            <a:endParaRPr lang="en-GB" noProof="0"/>
          </a:p>
        </p:txBody>
      </p:sp>
    </p:spTree>
    <p:extLst>
      <p:ext uri="{BB962C8B-B14F-4D97-AF65-F5344CB8AC3E}">
        <p14:creationId xmlns:p14="http://schemas.microsoft.com/office/powerpoint/2010/main" val="8567066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51" name="Rectangle 10">
            <a:extLst>
              <a:ext uri="{FF2B5EF4-FFF2-40B4-BE49-F238E27FC236}">
                <a16:creationId xmlns:a16="http://schemas.microsoft.com/office/drawing/2014/main" id="{F55BAFD2-488E-4666-95BA-2E27E93B3D86}"/>
              </a:ext>
            </a:extLst>
          </p:cNvPr>
          <p:cNvSpPr/>
          <p:nvPr userDrawn="1"/>
        </p:nvSpPr>
        <p:spPr>
          <a:xfrm>
            <a:off x="7242052" y="1329796"/>
            <a:ext cx="3747559" cy="12989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i="0" noProof="0">
              <a:latin typeface="Helvetica" pitchFamily="2" charset="0"/>
              <a:cs typeface="Arial" panose="020B0604020202020204" pitchFamily="34" charset="0"/>
            </a:endParaRPr>
          </a:p>
        </p:txBody>
      </p:sp>
      <p:sp>
        <p:nvSpPr>
          <p:cNvPr id="53" name="!!Blue">
            <a:extLst>
              <a:ext uri="{FF2B5EF4-FFF2-40B4-BE49-F238E27FC236}">
                <a16:creationId xmlns:a16="http://schemas.microsoft.com/office/drawing/2014/main" id="{77930EB7-481C-44F0-97C3-9C5864AFA2D1}"/>
              </a:ext>
            </a:extLst>
          </p:cNvPr>
          <p:cNvSpPr/>
          <p:nvPr userDrawn="1"/>
        </p:nvSpPr>
        <p:spPr>
          <a:xfrm>
            <a:off x="7242052" y="2917580"/>
            <a:ext cx="3747559" cy="12989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5" name="Rectangle 17">
            <a:extLst>
              <a:ext uri="{FF2B5EF4-FFF2-40B4-BE49-F238E27FC236}">
                <a16:creationId xmlns:a16="http://schemas.microsoft.com/office/drawing/2014/main" id="{6A5350D8-C90C-4BAF-B507-455A8A5BA435}"/>
              </a:ext>
            </a:extLst>
          </p:cNvPr>
          <p:cNvSpPr/>
          <p:nvPr userDrawn="1"/>
        </p:nvSpPr>
        <p:spPr>
          <a:xfrm>
            <a:off x="7242052" y="4506306"/>
            <a:ext cx="3747559" cy="12989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 name="Rectangle 36">
            <a:extLst>
              <a:ext uri="{FF2B5EF4-FFF2-40B4-BE49-F238E27FC236}">
                <a16:creationId xmlns:a16="http://schemas.microsoft.com/office/drawing/2014/main" id="{214895EF-8762-4104-8A7D-B5F36DC46B45}"/>
              </a:ext>
            </a:extLst>
          </p:cNvPr>
          <p:cNvSpPr/>
          <p:nvPr userDrawn="1"/>
        </p:nvSpPr>
        <p:spPr>
          <a:xfrm>
            <a:off x="0" y="0"/>
            <a:ext cx="65627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2" name="Rectangle 12">
            <a:extLst>
              <a:ext uri="{FF2B5EF4-FFF2-40B4-BE49-F238E27FC236}">
                <a16:creationId xmlns:a16="http://schemas.microsoft.com/office/drawing/2014/main" id="{DA564843-AAC1-4FC6-ABEB-604C5A4E480D}"/>
              </a:ext>
            </a:extLst>
          </p:cNvPr>
          <p:cNvSpPr/>
          <p:nvPr userDrawn="1"/>
        </p:nvSpPr>
        <p:spPr>
          <a:xfrm>
            <a:off x="10989611" y="1329796"/>
            <a:ext cx="553267" cy="1298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4" name="!!Yellow">
            <a:extLst>
              <a:ext uri="{FF2B5EF4-FFF2-40B4-BE49-F238E27FC236}">
                <a16:creationId xmlns:a16="http://schemas.microsoft.com/office/drawing/2014/main" id="{7A4FB1C8-3DBE-4D19-A16E-369BF81FC843}"/>
              </a:ext>
            </a:extLst>
          </p:cNvPr>
          <p:cNvSpPr/>
          <p:nvPr userDrawn="1"/>
        </p:nvSpPr>
        <p:spPr>
          <a:xfrm>
            <a:off x="10989611" y="2918522"/>
            <a:ext cx="553267" cy="1298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6" name="Rectangle 18">
            <a:extLst>
              <a:ext uri="{FF2B5EF4-FFF2-40B4-BE49-F238E27FC236}">
                <a16:creationId xmlns:a16="http://schemas.microsoft.com/office/drawing/2014/main" id="{B32874FD-6D8F-4529-B48B-1282B36E9FB2}"/>
              </a:ext>
            </a:extLst>
          </p:cNvPr>
          <p:cNvSpPr/>
          <p:nvPr userDrawn="1"/>
        </p:nvSpPr>
        <p:spPr>
          <a:xfrm>
            <a:off x="10989611" y="4506306"/>
            <a:ext cx="553267" cy="1298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81" name="Plassholder for tekst 80">
            <a:extLst>
              <a:ext uri="{FF2B5EF4-FFF2-40B4-BE49-F238E27FC236}">
                <a16:creationId xmlns:a16="http://schemas.microsoft.com/office/drawing/2014/main" id="{31D0DABA-AC45-4C99-B3A1-7D91C6FF0D16}"/>
              </a:ext>
            </a:extLst>
          </p:cNvPr>
          <p:cNvSpPr>
            <a:spLocks noGrp="1"/>
          </p:cNvSpPr>
          <p:nvPr>
            <p:ph type="body" sz="quarter" idx="10" hasCustomPrompt="1"/>
          </p:nvPr>
        </p:nvSpPr>
        <p:spPr>
          <a:xfrm>
            <a:off x="8009848" y="1329439"/>
            <a:ext cx="2979738" cy="1298388"/>
          </a:xfrm>
          <a:prstGeom prst="rect">
            <a:avLst/>
          </a:prstGeom>
        </p:spPr>
        <p:txBody>
          <a:bodyPr anchor="ctr"/>
          <a:lstStyle>
            <a:lvl1pPr marL="0" indent="0" algn="l">
              <a:buNone/>
              <a:defRPr sz="1600" b="1" i="0" baseline="0">
                <a:solidFill>
                  <a:schemeClr val="bg1"/>
                </a:solidFill>
                <a:latin typeface="Helvetica" pitchFamily="2" charset="0"/>
              </a:defRPr>
            </a:lvl1pPr>
          </a:lstStyle>
          <a:p>
            <a:pPr lvl="0"/>
            <a:r>
              <a:rPr lang="en-GB" noProof="0"/>
              <a:t>Example Text Placed In This Blue Box</a:t>
            </a:r>
          </a:p>
        </p:txBody>
      </p:sp>
      <p:sp>
        <p:nvSpPr>
          <p:cNvPr id="82" name="Plassholder for tekst 80">
            <a:extLst>
              <a:ext uri="{FF2B5EF4-FFF2-40B4-BE49-F238E27FC236}">
                <a16:creationId xmlns:a16="http://schemas.microsoft.com/office/drawing/2014/main" id="{AE79262F-1BB6-486C-82B4-750D6048736A}"/>
              </a:ext>
            </a:extLst>
          </p:cNvPr>
          <p:cNvSpPr>
            <a:spLocks noGrp="1"/>
          </p:cNvSpPr>
          <p:nvPr>
            <p:ph type="body" sz="quarter" idx="11" hasCustomPrompt="1"/>
          </p:nvPr>
        </p:nvSpPr>
        <p:spPr>
          <a:xfrm>
            <a:off x="8009848" y="2918164"/>
            <a:ext cx="2979738" cy="1298388"/>
          </a:xfrm>
          <a:prstGeom prst="rect">
            <a:avLst/>
          </a:prstGeom>
        </p:spPr>
        <p:txBody>
          <a:bodyPr anchor="ctr"/>
          <a:lstStyle>
            <a:lvl1pPr marL="0" indent="0" algn="l">
              <a:buNone/>
              <a:defRPr sz="1600" b="1" i="0" baseline="0">
                <a:solidFill>
                  <a:schemeClr val="bg1"/>
                </a:solidFill>
                <a:latin typeface="Helvetica" pitchFamily="2" charset="0"/>
              </a:defRPr>
            </a:lvl1pPr>
          </a:lstStyle>
          <a:p>
            <a:pPr lvl="0"/>
            <a:r>
              <a:rPr lang="en-GB" noProof="0"/>
              <a:t>Example Text Placed In This Blue Box</a:t>
            </a:r>
          </a:p>
        </p:txBody>
      </p:sp>
      <p:sp>
        <p:nvSpPr>
          <p:cNvPr id="83" name="Plassholder for tekst 80">
            <a:extLst>
              <a:ext uri="{FF2B5EF4-FFF2-40B4-BE49-F238E27FC236}">
                <a16:creationId xmlns:a16="http://schemas.microsoft.com/office/drawing/2014/main" id="{405BE05B-D0C3-4A43-9832-D4376E5F50E4}"/>
              </a:ext>
            </a:extLst>
          </p:cNvPr>
          <p:cNvSpPr>
            <a:spLocks noGrp="1"/>
          </p:cNvSpPr>
          <p:nvPr>
            <p:ph type="body" sz="quarter" idx="12" hasCustomPrompt="1"/>
          </p:nvPr>
        </p:nvSpPr>
        <p:spPr>
          <a:xfrm>
            <a:off x="8009848" y="4516826"/>
            <a:ext cx="2979738" cy="1298388"/>
          </a:xfrm>
          <a:prstGeom prst="rect">
            <a:avLst/>
          </a:prstGeom>
        </p:spPr>
        <p:txBody>
          <a:bodyPr anchor="ctr"/>
          <a:lstStyle>
            <a:lvl1pPr marL="0" indent="0" algn="l">
              <a:buNone/>
              <a:defRPr sz="1600" b="1" i="0" baseline="0">
                <a:solidFill>
                  <a:schemeClr val="bg1"/>
                </a:solidFill>
                <a:latin typeface="Helvetica" pitchFamily="2" charset="0"/>
              </a:defRPr>
            </a:lvl1pPr>
          </a:lstStyle>
          <a:p>
            <a:pPr lvl="0"/>
            <a:r>
              <a:rPr lang="en-GB" noProof="0"/>
              <a:t>Example Text Placed In This Blue Box</a:t>
            </a:r>
          </a:p>
        </p:txBody>
      </p:sp>
      <p:sp>
        <p:nvSpPr>
          <p:cNvPr id="91" name="Plassholder for tekst 90">
            <a:extLst>
              <a:ext uri="{FF2B5EF4-FFF2-40B4-BE49-F238E27FC236}">
                <a16:creationId xmlns:a16="http://schemas.microsoft.com/office/drawing/2014/main" id="{068EEC50-49CF-486C-8A3E-CB02713CB666}"/>
              </a:ext>
            </a:extLst>
          </p:cNvPr>
          <p:cNvSpPr>
            <a:spLocks noGrp="1"/>
          </p:cNvSpPr>
          <p:nvPr>
            <p:ph type="body" sz="quarter" idx="13" hasCustomPrompt="1"/>
          </p:nvPr>
        </p:nvSpPr>
        <p:spPr>
          <a:xfrm>
            <a:off x="1099739" y="1329439"/>
            <a:ext cx="4376736" cy="1176338"/>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3600" b="1" i="0" cap="all" baseline="0">
                <a:solidFill>
                  <a:schemeClr val="bg1"/>
                </a:solidFill>
                <a:latin typeface="Helvetica"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noFill/>
                </a:ln>
                <a:solidFill>
                  <a:prstClr val="white"/>
                </a:solidFill>
                <a:effectLst/>
                <a:uLnTx/>
                <a:uFillTx/>
                <a:latin typeface="Arial" panose="020B0604020202020204" pitchFamily="34" charset="0"/>
                <a:ea typeface="Roboto Condensed Black" panose="02000000000000000000" pitchFamily="2" charset="0"/>
                <a:cs typeface="Arial" panose="020B0604020202020204" pitchFamily="34" charset="0"/>
              </a:rPr>
              <a:t>PRESENTATION TITLE HERE</a:t>
            </a:r>
          </a:p>
          <a:p>
            <a:pPr lvl="0"/>
            <a:endParaRPr lang="en-GB" noProof="0"/>
          </a:p>
        </p:txBody>
      </p:sp>
      <p:sp>
        <p:nvSpPr>
          <p:cNvPr id="93" name="Plassholder for tekst 92">
            <a:extLst>
              <a:ext uri="{FF2B5EF4-FFF2-40B4-BE49-F238E27FC236}">
                <a16:creationId xmlns:a16="http://schemas.microsoft.com/office/drawing/2014/main" id="{BCF18026-5F87-4FCB-AB7A-C2C61F8A2C3A}"/>
              </a:ext>
            </a:extLst>
          </p:cNvPr>
          <p:cNvSpPr>
            <a:spLocks noGrp="1"/>
          </p:cNvSpPr>
          <p:nvPr>
            <p:ph type="body" sz="quarter" idx="14" hasCustomPrompt="1"/>
          </p:nvPr>
        </p:nvSpPr>
        <p:spPr>
          <a:xfrm>
            <a:off x="1099738" y="2856555"/>
            <a:ext cx="4376737" cy="744537"/>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000" b="1" i="0" baseline="0">
                <a:solidFill>
                  <a:schemeClr val="accent2"/>
                </a:solidFill>
                <a:latin typeface="Helvetica"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B800"/>
                </a:solidFill>
                <a:effectLst/>
                <a:uLnTx/>
                <a:uFillTx/>
                <a:latin typeface="Arial" panose="020B0604020202020204" pitchFamily="34" charset="0"/>
                <a:ea typeface="Roboto Condensed Black" panose="02000000000000000000" pitchFamily="2" charset="0"/>
                <a:cs typeface="Arial" panose="020B0604020202020204" pitchFamily="34" charset="0"/>
              </a:rPr>
              <a:t>Expertise You Need. Service You Deserve!</a:t>
            </a:r>
          </a:p>
          <a:p>
            <a:pPr lvl="0"/>
            <a:endParaRPr lang="en-GB" noProof="0"/>
          </a:p>
        </p:txBody>
      </p:sp>
      <p:sp>
        <p:nvSpPr>
          <p:cNvPr id="95" name="Plassholder for tekst 94">
            <a:extLst>
              <a:ext uri="{FF2B5EF4-FFF2-40B4-BE49-F238E27FC236}">
                <a16:creationId xmlns:a16="http://schemas.microsoft.com/office/drawing/2014/main" id="{4A7BCC36-BF2F-4D90-A16A-8532CBC4FD0B}"/>
              </a:ext>
            </a:extLst>
          </p:cNvPr>
          <p:cNvSpPr>
            <a:spLocks noGrp="1"/>
          </p:cNvSpPr>
          <p:nvPr>
            <p:ph type="body" sz="quarter" idx="15" hasCustomPrompt="1"/>
          </p:nvPr>
        </p:nvSpPr>
        <p:spPr>
          <a:xfrm>
            <a:off x="1099738" y="3951870"/>
            <a:ext cx="4376737" cy="1666875"/>
          </a:xfrm>
          <a:prstGeom prst="rect">
            <a:avLst/>
          </a:prstGeom>
        </p:spPr>
        <p:txBody>
          <a:bodyPr/>
          <a:lstStyle>
            <a:lvl1pPr marL="0" marR="0" indent="0" algn="l" defTabSz="914400" rtl="0" eaLnBrk="1" fontAlgn="auto" latinLnBrk="0" hangingPunct="1">
              <a:lnSpc>
                <a:spcPct val="150000"/>
              </a:lnSpc>
              <a:spcBef>
                <a:spcPts val="0"/>
              </a:spcBef>
              <a:spcAft>
                <a:spcPts val="0"/>
              </a:spcAft>
              <a:buClrTx/>
              <a:buSzTx/>
              <a:buFontTx/>
              <a:buNone/>
              <a:tabLst/>
              <a:defRPr sz="1400" b="0" i="0" baseline="0">
                <a:solidFill>
                  <a:schemeClr val="bg1"/>
                </a:solidFill>
                <a:latin typeface="Helvetica Light" panose="020B0403020202020204" pitchFamily="34" charset="0"/>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Lorem ipsum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dolor</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si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ame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consectetur</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adipiscing</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eli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Pellentes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sceleris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malesuada</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libero a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pellentes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Morbi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orci</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dui, fermentum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ege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lectus</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ornar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viverra</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dignissim</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risus</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Donec lacinia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ne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non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veli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dictum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tincidun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p>
          <a:p>
            <a:pPr lvl="0"/>
            <a:endParaRPr lang="en-GB" noProof="0"/>
          </a:p>
        </p:txBody>
      </p:sp>
    </p:spTree>
    <p:extLst>
      <p:ext uri="{BB962C8B-B14F-4D97-AF65-F5344CB8AC3E}">
        <p14:creationId xmlns:p14="http://schemas.microsoft.com/office/powerpoint/2010/main" val="6260552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99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8" name="Title 1">
            <a:extLst>
              <a:ext uri="{FF2B5EF4-FFF2-40B4-BE49-F238E27FC236}">
                <a16:creationId xmlns:a16="http://schemas.microsoft.com/office/drawing/2014/main" id="{24C98934-0BC0-6144-9BC0-31616D8C2519}"/>
              </a:ext>
            </a:extLst>
          </p:cNvPr>
          <p:cNvSpPr>
            <a:spLocks noGrp="1"/>
          </p:cNvSpPr>
          <p:nvPr>
            <p:ph type="title" hasCustomPrompt="1"/>
          </p:nvPr>
        </p:nvSpPr>
        <p:spPr>
          <a:xfrm>
            <a:off x="741777" y="365126"/>
            <a:ext cx="10671895" cy="1036620"/>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0" name="Bilde 3">
            <a:extLst>
              <a:ext uri="{FF2B5EF4-FFF2-40B4-BE49-F238E27FC236}">
                <a16:creationId xmlns:a16="http://schemas.microsoft.com/office/drawing/2014/main" id="{8F41D518-6784-585C-BEDA-150EF2A499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1" name="Text Placeholder 20">
            <a:extLst>
              <a:ext uri="{FF2B5EF4-FFF2-40B4-BE49-F238E27FC236}">
                <a16:creationId xmlns:a16="http://schemas.microsoft.com/office/drawing/2014/main" id="{0D31FB67-27C8-9D49-44F1-EDEDC8A9FD23}"/>
              </a:ext>
            </a:extLst>
          </p:cNvPr>
          <p:cNvSpPr>
            <a:spLocks noGrp="1"/>
          </p:cNvSpPr>
          <p:nvPr>
            <p:ph type="body" sz="quarter" idx="22" hasCustomPrompt="1"/>
          </p:nvPr>
        </p:nvSpPr>
        <p:spPr>
          <a:xfrm>
            <a:off x="731837" y="1555199"/>
            <a:ext cx="10559013" cy="314610"/>
          </a:xfrm>
          <a:prstGeom prst="rect">
            <a:avLst/>
          </a:prstGeom>
        </p:spPr>
        <p:txBody>
          <a:bodyPr anchor="t">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2" name="Text Placeholder 20">
            <a:extLst>
              <a:ext uri="{FF2B5EF4-FFF2-40B4-BE49-F238E27FC236}">
                <a16:creationId xmlns:a16="http://schemas.microsoft.com/office/drawing/2014/main" id="{69679182-FAE3-13C5-B33C-B5EB0EE5763E}"/>
              </a:ext>
            </a:extLst>
          </p:cNvPr>
          <p:cNvSpPr>
            <a:spLocks noGrp="1"/>
          </p:cNvSpPr>
          <p:nvPr>
            <p:ph type="body" sz="quarter" idx="15" hasCustomPrompt="1"/>
          </p:nvPr>
        </p:nvSpPr>
        <p:spPr>
          <a:xfrm>
            <a:off x="741776" y="2017226"/>
            <a:ext cx="10549075" cy="4035704"/>
          </a:xfrm>
          <a:prstGeom prst="rect">
            <a:avLst/>
          </a:prstGeom>
        </p:spPr>
        <p:txBody>
          <a:bodyPr anchor="t">
            <a:noAutofit/>
          </a:bodyPr>
          <a:lstStyle>
            <a:lvl1pPr marL="0" indent="0">
              <a:buNone/>
              <a:defRPr sz="12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3" name="Date Placeholder 2">
            <a:extLst>
              <a:ext uri="{FF2B5EF4-FFF2-40B4-BE49-F238E27FC236}">
                <a16:creationId xmlns:a16="http://schemas.microsoft.com/office/drawing/2014/main" id="{DD2C5759-92AC-9F4E-F31D-6058BE479403}"/>
              </a:ext>
            </a:extLst>
          </p:cNvPr>
          <p:cNvSpPr>
            <a:spLocks noGrp="1"/>
          </p:cNvSpPr>
          <p:nvPr>
            <p:ph type="dt" sz="half" idx="16"/>
          </p:nvPr>
        </p:nvSpPr>
        <p:spPr>
          <a:xfrm>
            <a:off x="2303627" y="6492875"/>
            <a:ext cx="528585" cy="365125"/>
          </a:xfrm>
        </p:spPr>
        <p:txBody>
          <a:bodyPr/>
          <a:lstStyle/>
          <a:p>
            <a:fld id="{80E417B3-1F46-B84E-88AB-5642ACE06235}" type="datetime1">
              <a:rPr lang="nb-NO" smtClean="0"/>
              <a:t>20.08.2024</a:t>
            </a:fld>
            <a:endParaRPr lang="en-US"/>
          </a:p>
        </p:txBody>
      </p:sp>
      <p:sp>
        <p:nvSpPr>
          <p:cNvPr id="14" name="Footer Placeholder 3">
            <a:extLst>
              <a:ext uri="{FF2B5EF4-FFF2-40B4-BE49-F238E27FC236}">
                <a16:creationId xmlns:a16="http://schemas.microsoft.com/office/drawing/2014/main" id="{B9BAD17B-B40E-C4E1-1CDA-75F73720EFCA}"/>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15" name="Slide Number Placeholder 4">
            <a:extLst>
              <a:ext uri="{FF2B5EF4-FFF2-40B4-BE49-F238E27FC236}">
                <a16:creationId xmlns:a16="http://schemas.microsoft.com/office/drawing/2014/main" id="{4FE82372-A133-AD73-D04A-C2CFD2C25714}"/>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9028178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guide id="2" pos="6607">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27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6" name="Title 1">
            <a:extLst>
              <a:ext uri="{FF2B5EF4-FFF2-40B4-BE49-F238E27FC236}">
                <a16:creationId xmlns:a16="http://schemas.microsoft.com/office/drawing/2014/main" id="{B4A3ECC9-8F4D-E101-59A0-077077FE57B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8" name="Bilde 3">
            <a:extLst>
              <a:ext uri="{FF2B5EF4-FFF2-40B4-BE49-F238E27FC236}">
                <a16:creationId xmlns:a16="http://schemas.microsoft.com/office/drawing/2014/main" id="{3420C06F-BD3E-F705-FE57-5A3BA80667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9" name="Date Placeholder 2">
            <a:extLst>
              <a:ext uri="{FF2B5EF4-FFF2-40B4-BE49-F238E27FC236}">
                <a16:creationId xmlns:a16="http://schemas.microsoft.com/office/drawing/2014/main" id="{3715DC52-4B33-BE62-CDE3-71452BD46731}"/>
              </a:ext>
            </a:extLst>
          </p:cNvPr>
          <p:cNvSpPr>
            <a:spLocks noGrp="1"/>
          </p:cNvSpPr>
          <p:nvPr>
            <p:ph type="dt" sz="half" idx="16"/>
          </p:nvPr>
        </p:nvSpPr>
        <p:spPr>
          <a:xfrm>
            <a:off x="2303627" y="6492875"/>
            <a:ext cx="528585" cy="365125"/>
          </a:xfrm>
        </p:spPr>
        <p:txBody>
          <a:bodyPr/>
          <a:lstStyle/>
          <a:p>
            <a:fld id="{BFBA4834-A04D-3746-9956-FB85C35CCB93}" type="datetime1">
              <a:rPr lang="nb-NO" smtClean="0"/>
              <a:t>20.08.2024</a:t>
            </a:fld>
            <a:endParaRPr lang="en-US"/>
          </a:p>
        </p:txBody>
      </p:sp>
      <p:sp>
        <p:nvSpPr>
          <p:cNvPr id="10" name="Footer Placeholder 3">
            <a:extLst>
              <a:ext uri="{FF2B5EF4-FFF2-40B4-BE49-F238E27FC236}">
                <a16:creationId xmlns:a16="http://schemas.microsoft.com/office/drawing/2014/main" id="{1C77C9C1-3D73-870B-D81D-B51E5E3A470C}"/>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11" name="Slide Number Placeholder 4">
            <a:extLst>
              <a:ext uri="{FF2B5EF4-FFF2-40B4-BE49-F238E27FC236}">
                <a16:creationId xmlns:a16="http://schemas.microsoft.com/office/drawing/2014/main" id="{67F64C78-F787-DDB6-45BD-07EC8DE8E7D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7259304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guide id="2" pos="660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4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8" name="Title 1">
            <a:extLst>
              <a:ext uri="{FF2B5EF4-FFF2-40B4-BE49-F238E27FC236}">
                <a16:creationId xmlns:a16="http://schemas.microsoft.com/office/drawing/2014/main" id="{24C98934-0BC0-6144-9BC0-31616D8C2519}"/>
              </a:ext>
            </a:extLst>
          </p:cNvPr>
          <p:cNvSpPr>
            <a:spLocks noGrp="1"/>
          </p:cNvSpPr>
          <p:nvPr>
            <p:ph type="title" hasCustomPrompt="1"/>
          </p:nvPr>
        </p:nvSpPr>
        <p:spPr>
          <a:xfrm>
            <a:off x="741777" y="365126"/>
            <a:ext cx="10671895" cy="1036620"/>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0" name="Bilde 3">
            <a:extLst>
              <a:ext uri="{FF2B5EF4-FFF2-40B4-BE49-F238E27FC236}">
                <a16:creationId xmlns:a16="http://schemas.microsoft.com/office/drawing/2014/main" id="{8F41D518-6784-585C-BEDA-150EF2A499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1" name="Text Placeholder 20">
            <a:extLst>
              <a:ext uri="{FF2B5EF4-FFF2-40B4-BE49-F238E27FC236}">
                <a16:creationId xmlns:a16="http://schemas.microsoft.com/office/drawing/2014/main" id="{0D31FB67-27C8-9D49-44F1-EDEDC8A9FD23}"/>
              </a:ext>
            </a:extLst>
          </p:cNvPr>
          <p:cNvSpPr>
            <a:spLocks noGrp="1"/>
          </p:cNvSpPr>
          <p:nvPr>
            <p:ph type="body" sz="quarter" idx="22" hasCustomPrompt="1"/>
          </p:nvPr>
        </p:nvSpPr>
        <p:spPr>
          <a:xfrm>
            <a:off x="731837" y="1555199"/>
            <a:ext cx="10559013" cy="314610"/>
          </a:xfrm>
          <a:prstGeom prst="rect">
            <a:avLst/>
          </a:prstGeom>
        </p:spPr>
        <p:txBody>
          <a:bodyPr anchor="t">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2" name="Text Placeholder 20">
            <a:extLst>
              <a:ext uri="{FF2B5EF4-FFF2-40B4-BE49-F238E27FC236}">
                <a16:creationId xmlns:a16="http://schemas.microsoft.com/office/drawing/2014/main" id="{69679182-FAE3-13C5-B33C-B5EB0EE5763E}"/>
              </a:ext>
            </a:extLst>
          </p:cNvPr>
          <p:cNvSpPr>
            <a:spLocks noGrp="1"/>
          </p:cNvSpPr>
          <p:nvPr>
            <p:ph type="body" sz="quarter" idx="15" hasCustomPrompt="1"/>
          </p:nvPr>
        </p:nvSpPr>
        <p:spPr>
          <a:xfrm>
            <a:off x="741776" y="2017226"/>
            <a:ext cx="10549075" cy="4035704"/>
          </a:xfrm>
          <a:prstGeom prst="rect">
            <a:avLst/>
          </a:prstGeom>
        </p:spPr>
        <p:txBody>
          <a:bodyPr anchor="t">
            <a:noAutofit/>
          </a:bodyPr>
          <a:lstStyle>
            <a:lvl1pPr marL="0" indent="0">
              <a:buNone/>
              <a:defRPr sz="12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3" name="Date Placeholder 2">
            <a:extLst>
              <a:ext uri="{FF2B5EF4-FFF2-40B4-BE49-F238E27FC236}">
                <a16:creationId xmlns:a16="http://schemas.microsoft.com/office/drawing/2014/main" id="{DD2C5759-92AC-9F4E-F31D-6058BE479403}"/>
              </a:ext>
            </a:extLst>
          </p:cNvPr>
          <p:cNvSpPr>
            <a:spLocks noGrp="1"/>
          </p:cNvSpPr>
          <p:nvPr>
            <p:ph type="dt" sz="half" idx="16"/>
          </p:nvPr>
        </p:nvSpPr>
        <p:spPr>
          <a:xfrm>
            <a:off x="2303627" y="6492875"/>
            <a:ext cx="528585" cy="365125"/>
          </a:xfrm>
        </p:spPr>
        <p:txBody>
          <a:bodyPr/>
          <a:lstStyle/>
          <a:p>
            <a:fld id="{4BEA055F-966A-D44C-993B-FA95EF0A085E}" type="datetime1">
              <a:rPr lang="nb-NO" smtClean="0"/>
              <a:t>20.08.2024</a:t>
            </a:fld>
            <a:endParaRPr lang="en-US"/>
          </a:p>
        </p:txBody>
      </p:sp>
      <p:sp>
        <p:nvSpPr>
          <p:cNvPr id="14" name="Footer Placeholder 3">
            <a:extLst>
              <a:ext uri="{FF2B5EF4-FFF2-40B4-BE49-F238E27FC236}">
                <a16:creationId xmlns:a16="http://schemas.microsoft.com/office/drawing/2014/main" id="{B9BAD17B-B40E-C4E1-1CDA-75F73720EFCA}"/>
              </a:ext>
            </a:extLst>
          </p:cNvPr>
          <p:cNvSpPr>
            <a:spLocks noGrp="1"/>
          </p:cNvSpPr>
          <p:nvPr>
            <p:ph type="ftr" sz="quarter" idx="17"/>
          </p:nvPr>
        </p:nvSpPr>
        <p:spPr>
          <a:xfrm>
            <a:off x="175116" y="6492875"/>
            <a:ext cx="2107096" cy="365125"/>
          </a:xfrm>
        </p:spPr>
        <p:txBody>
          <a:bodyPr/>
          <a:lstStyle/>
          <a:p>
            <a:r>
              <a:rPr lang="en-US"/>
              <a:t>© StrongPoint 2022</a:t>
            </a:r>
          </a:p>
        </p:txBody>
      </p:sp>
      <p:sp>
        <p:nvSpPr>
          <p:cNvPr id="15" name="Slide Number Placeholder 4">
            <a:extLst>
              <a:ext uri="{FF2B5EF4-FFF2-40B4-BE49-F238E27FC236}">
                <a16:creationId xmlns:a16="http://schemas.microsoft.com/office/drawing/2014/main" id="{4FE82372-A133-AD73-D04A-C2CFD2C25714}"/>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5718960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userDrawn="1">
          <p15:clr>
            <a:srgbClr val="FBAE40"/>
          </p15:clr>
        </p15:guide>
        <p15:guide id="2" pos="6607">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lanc">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86276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P - Start page logo">
    <p:bg>
      <p:bgPr>
        <a:solidFill>
          <a:schemeClr val="accent1"/>
        </a:solidFill>
        <a:effectLst/>
      </p:bgPr>
    </p:bg>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02986883-6611-464E-A44F-2C88C009DE0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00718" y="1357984"/>
            <a:ext cx="6390564" cy="4142032"/>
          </a:xfrm>
          <a:prstGeom prst="rect">
            <a:avLst/>
          </a:prstGeom>
        </p:spPr>
      </p:pic>
    </p:spTree>
    <p:extLst>
      <p:ext uri="{BB962C8B-B14F-4D97-AF65-F5344CB8AC3E}">
        <p14:creationId xmlns:p14="http://schemas.microsoft.com/office/powerpoint/2010/main" val="38874896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P- Logo page">
    <p:spTree>
      <p:nvGrpSpPr>
        <p:cNvPr id="1" name=""/>
        <p:cNvGrpSpPr/>
        <p:nvPr/>
      </p:nvGrpSpPr>
      <p:grpSpPr>
        <a:xfrm>
          <a:off x="0" y="0"/>
          <a:ext cx="0" cy="0"/>
          <a:chOff x="0" y="0"/>
          <a:chExt cx="0" cy="0"/>
        </a:xfrm>
      </p:grpSpPr>
      <p:sp>
        <p:nvSpPr>
          <p:cNvPr id="3" name="!!Blue">
            <a:extLst>
              <a:ext uri="{FF2B5EF4-FFF2-40B4-BE49-F238E27FC236}">
                <a16:creationId xmlns:a16="http://schemas.microsoft.com/office/drawing/2014/main" id="{A9C13785-1488-437B-BE9E-873F1FAAF20D}"/>
              </a:ext>
            </a:extLst>
          </p:cNvPr>
          <p:cNvSpPr/>
          <p:nvPr userDrawn="1"/>
        </p:nvSpPr>
        <p:spPr>
          <a:xfrm>
            <a:off x="0" y="-32618"/>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cap="all" baseline="0" noProof="0">
              <a:latin typeface="Arial" panose="020B0604020202020204" pitchFamily="34" charset="0"/>
              <a:cs typeface="Arial" panose="020B0604020202020204" pitchFamily="34" charset="0"/>
            </a:endParaRPr>
          </a:p>
        </p:txBody>
      </p:sp>
      <p:sp>
        <p:nvSpPr>
          <p:cNvPr id="7" name="Title">
            <a:extLst>
              <a:ext uri="{FF2B5EF4-FFF2-40B4-BE49-F238E27FC236}">
                <a16:creationId xmlns:a16="http://schemas.microsoft.com/office/drawing/2014/main" id="{13294DAA-8C17-424F-8143-208C3FE914DC}"/>
              </a:ext>
            </a:extLst>
          </p:cNvPr>
          <p:cNvSpPr>
            <a:spLocks noGrp="1"/>
          </p:cNvSpPr>
          <p:nvPr>
            <p:ph type="body" sz="quarter" idx="10" hasCustomPrompt="1"/>
          </p:nvPr>
        </p:nvSpPr>
        <p:spPr>
          <a:xfrm>
            <a:off x="0" y="4995863"/>
            <a:ext cx="12192000" cy="1143000"/>
          </a:xfrm>
          <a:prstGeom prst="rect">
            <a:avLst/>
          </a:prstGeom>
        </p:spPr>
        <p:txBody>
          <a:bodyPr/>
          <a:lstStyle>
            <a:lvl1pPr marL="0" indent="0" algn="ctr">
              <a:buNone/>
              <a:defRPr sz="2000" cap="all" spc="600" baseline="0">
                <a:solidFill>
                  <a:schemeClr val="bg1"/>
                </a:solidFill>
                <a:latin typeface="+mj-lt"/>
                <a:cs typeface="Arial" panose="020B0604020202020204" pitchFamily="34" charset="0"/>
              </a:defRPr>
            </a:lvl1pPr>
          </a:lstStyle>
          <a:p>
            <a:pPr lvl="0"/>
            <a:r>
              <a:rPr lang="en-GB" noProof="0"/>
              <a:t>Main title here</a:t>
            </a:r>
          </a:p>
        </p:txBody>
      </p:sp>
      <p:pic>
        <p:nvPicPr>
          <p:cNvPr id="4" name="Bilde 3">
            <a:extLst>
              <a:ext uri="{FF2B5EF4-FFF2-40B4-BE49-F238E27FC236}">
                <a16:creationId xmlns:a16="http://schemas.microsoft.com/office/drawing/2014/main" id="{54C0EBEF-EDC7-498E-8550-F88AC37723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9708" y="2286000"/>
            <a:ext cx="7472584" cy="1306446"/>
          </a:xfrm>
          <a:prstGeom prst="rect">
            <a:avLst/>
          </a:prstGeom>
        </p:spPr>
      </p:pic>
    </p:spTree>
    <p:extLst>
      <p:ext uri="{BB962C8B-B14F-4D97-AF65-F5344CB8AC3E}">
        <p14:creationId xmlns:p14="http://schemas.microsoft.com/office/powerpoint/2010/main" val="28460475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SP front pag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5D4AB-B803-4643-BCDF-D6393E1CDC9B}"/>
              </a:ext>
            </a:extLst>
          </p:cNvPr>
          <p:cNvSpPr>
            <a:spLocks noGrp="1"/>
          </p:cNvSpPr>
          <p:nvPr>
            <p:ph type="title"/>
          </p:nvPr>
        </p:nvSpPr>
        <p:spPr>
          <a:xfrm>
            <a:off x="1218623" y="913943"/>
            <a:ext cx="8567928" cy="1325563"/>
          </a:xfrm>
          <a:prstGeom prst="rect">
            <a:avLst/>
          </a:prstGeom>
        </p:spPr>
        <p:txBody>
          <a:bodyPr/>
          <a:lstStyle>
            <a:lvl1pPr>
              <a:defRPr b="0" i="0">
                <a:solidFill>
                  <a:schemeClr val="bg1"/>
                </a:solidFill>
                <a:latin typeface="Helvetica Light" panose="020B0403020202020204" pitchFamily="34" charset="0"/>
              </a:defRPr>
            </a:lvl1pPr>
          </a:lstStyle>
          <a:p>
            <a:r>
              <a:rPr lang="en-GB"/>
              <a:t>Click to edit Master title style</a:t>
            </a:r>
            <a:endParaRPr lang="en-US"/>
          </a:p>
        </p:txBody>
      </p:sp>
      <p:pic>
        <p:nvPicPr>
          <p:cNvPr id="5" name="Bilde 5">
            <a:extLst>
              <a:ext uri="{FF2B5EF4-FFF2-40B4-BE49-F238E27FC236}">
                <a16:creationId xmlns:a16="http://schemas.microsoft.com/office/drawing/2014/main" id="{826408B4-1F28-DA4C-9BD1-39058BB264B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218623" y="5599967"/>
            <a:ext cx="2822031" cy="493381"/>
          </a:xfrm>
          <a:prstGeom prst="rect">
            <a:avLst/>
          </a:prstGeom>
        </p:spPr>
      </p:pic>
      <p:cxnSp>
        <p:nvCxnSpPr>
          <p:cNvPr id="6" name="Straight Connector 5">
            <a:extLst>
              <a:ext uri="{FF2B5EF4-FFF2-40B4-BE49-F238E27FC236}">
                <a16:creationId xmlns:a16="http://schemas.microsoft.com/office/drawing/2014/main" id="{2982B310-7E67-7C47-9E67-4430CA714644}"/>
              </a:ext>
            </a:extLst>
          </p:cNvPr>
          <p:cNvCxnSpPr/>
          <p:nvPr userDrawn="1"/>
        </p:nvCxnSpPr>
        <p:spPr>
          <a:xfrm>
            <a:off x="1315186" y="4964483"/>
            <a:ext cx="827826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20">
            <a:extLst>
              <a:ext uri="{FF2B5EF4-FFF2-40B4-BE49-F238E27FC236}">
                <a16:creationId xmlns:a16="http://schemas.microsoft.com/office/drawing/2014/main" id="{1D537A84-0006-344B-B900-FF658484079B}"/>
              </a:ext>
            </a:extLst>
          </p:cNvPr>
          <p:cNvSpPr>
            <a:spLocks noGrp="1"/>
          </p:cNvSpPr>
          <p:nvPr>
            <p:ph type="body" sz="quarter" idx="25"/>
          </p:nvPr>
        </p:nvSpPr>
        <p:spPr>
          <a:xfrm>
            <a:off x="1218623" y="3529464"/>
            <a:ext cx="5145898" cy="1227888"/>
          </a:xfrm>
          <a:prstGeom prst="rect">
            <a:avLst/>
          </a:prstGeom>
        </p:spPr>
        <p:txBody>
          <a:bodyPr anchor="t">
            <a:noAutofit/>
          </a:bodyPr>
          <a:lstStyle>
            <a:lvl1pPr marL="0" indent="0">
              <a:buNone/>
              <a:defRPr sz="14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Click to edit Master text styles</a:t>
            </a:r>
          </a:p>
        </p:txBody>
      </p:sp>
    </p:spTree>
    <p:extLst>
      <p:ext uri="{BB962C8B-B14F-4D97-AF65-F5344CB8AC3E}">
        <p14:creationId xmlns:p14="http://schemas.microsoft.com/office/powerpoint/2010/main" val="30428378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SP Frontpage 2">
    <p:bg>
      <p:bgPr>
        <a:solidFill>
          <a:schemeClr val="accent1"/>
        </a:solidFill>
        <a:effectLst/>
      </p:bgPr>
    </p:bg>
    <p:spTree>
      <p:nvGrpSpPr>
        <p:cNvPr id="1" name=""/>
        <p:cNvGrpSpPr/>
        <p:nvPr/>
      </p:nvGrpSpPr>
      <p:grpSpPr>
        <a:xfrm>
          <a:off x="0" y="0"/>
          <a:ext cx="0" cy="0"/>
          <a:chOff x="0" y="0"/>
          <a:chExt cx="0" cy="0"/>
        </a:xfrm>
      </p:grpSpPr>
      <p:pic>
        <p:nvPicPr>
          <p:cNvPr id="8" name="object 4">
            <a:extLst>
              <a:ext uri="{FF2B5EF4-FFF2-40B4-BE49-F238E27FC236}">
                <a16:creationId xmlns:a16="http://schemas.microsoft.com/office/drawing/2014/main" id="{266DE70F-23E3-3D7B-545C-3A919B538BC9}"/>
              </a:ext>
            </a:extLst>
          </p:cNvPr>
          <p:cNvPicPr/>
          <p:nvPr userDrawn="1"/>
        </p:nvPicPr>
        <p:blipFill rotWithShape="1">
          <a:blip r:embed="rId2" cstate="print">
            <a:alphaModFix amt="19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F65D4AB-B803-4643-BCDF-D6393E1CDC9B}"/>
              </a:ext>
            </a:extLst>
          </p:cNvPr>
          <p:cNvSpPr>
            <a:spLocks noGrp="1"/>
          </p:cNvSpPr>
          <p:nvPr>
            <p:ph type="title"/>
          </p:nvPr>
        </p:nvSpPr>
        <p:spPr>
          <a:xfrm>
            <a:off x="1218623" y="2778070"/>
            <a:ext cx="8567928" cy="1325563"/>
          </a:xfrm>
          <a:prstGeom prst="rect">
            <a:avLst/>
          </a:prstGeom>
        </p:spPr>
        <p:txBody>
          <a:bodyPr/>
          <a:lstStyle>
            <a:lvl1pPr>
              <a:defRPr sz="4800" b="1" i="0">
                <a:solidFill>
                  <a:schemeClr val="bg1"/>
                </a:solidFill>
                <a:latin typeface="Helvetica" pitchFamily="2" charset="0"/>
              </a:defRPr>
            </a:lvl1pPr>
          </a:lstStyle>
          <a:p>
            <a:r>
              <a:rPr lang="en-GB"/>
              <a:t>Click to edit Master title style</a:t>
            </a:r>
            <a:endParaRPr lang="en-US"/>
          </a:p>
        </p:txBody>
      </p:sp>
      <p:pic>
        <p:nvPicPr>
          <p:cNvPr id="5" name="Bilde 5">
            <a:extLst>
              <a:ext uri="{FF2B5EF4-FFF2-40B4-BE49-F238E27FC236}">
                <a16:creationId xmlns:a16="http://schemas.microsoft.com/office/drawing/2014/main" id="{826408B4-1F28-DA4C-9BD1-39058BB264B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8623" y="1564372"/>
            <a:ext cx="2822031" cy="493381"/>
          </a:xfrm>
          <a:prstGeom prst="rect">
            <a:avLst/>
          </a:prstGeom>
        </p:spPr>
      </p:pic>
      <p:sp>
        <p:nvSpPr>
          <p:cNvPr id="7" name="Text Placeholder 20">
            <a:extLst>
              <a:ext uri="{FF2B5EF4-FFF2-40B4-BE49-F238E27FC236}">
                <a16:creationId xmlns:a16="http://schemas.microsoft.com/office/drawing/2014/main" id="{1D537A84-0006-344B-B900-FF658484079B}"/>
              </a:ext>
            </a:extLst>
          </p:cNvPr>
          <p:cNvSpPr>
            <a:spLocks noGrp="1"/>
          </p:cNvSpPr>
          <p:nvPr>
            <p:ph type="body" sz="quarter" idx="25"/>
          </p:nvPr>
        </p:nvSpPr>
        <p:spPr>
          <a:xfrm>
            <a:off x="1218623" y="4679684"/>
            <a:ext cx="5145898" cy="1227888"/>
          </a:xfrm>
          <a:prstGeom prst="rect">
            <a:avLst/>
          </a:prstGeom>
        </p:spPr>
        <p:txBody>
          <a:bodyPr anchor="t">
            <a:noAutofit/>
          </a:bodyPr>
          <a:lstStyle>
            <a:lvl1pPr marL="0" indent="0">
              <a:buNone/>
              <a:defRPr sz="20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Click to edit Master text styles</a:t>
            </a:r>
          </a:p>
        </p:txBody>
      </p:sp>
    </p:spTree>
    <p:extLst>
      <p:ext uri="{BB962C8B-B14F-4D97-AF65-F5344CB8AC3E}">
        <p14:creationId xmlns:p14="http://schemas.microsoft.com/office/powerpoint/2010/main" val="1617455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P Frontpage 3">
    <p:bg>
      <p:bgPr>
        <a:solidFill>
          <a:schemeClr val="accent1"/>
        </a:solidFill>
        <a:effectLst/>
      </p:bgPr>
    </p:bg>
    <p:spTree>
      <p:nvGrpSpPr>
        <p:cNvPr id="1" name=""/>
        <p:cNvGrpSpPr/>
        <p:nvPr/>
      </p:nvGrpSpPr>
      <p:grpSpPr>
        <a:xfrm>
          <a:off x="0" y="0"/>
          <a:ext cx="0" cy="0"/>
          <a:chOff x="0" y="0"/>
          <a:chExt cx="0" cy="0"/>
        </a:xfrm>
      </p:grpSpPr>
      <p:pic>
        <p:nvPicPr>
          <p:cNvPr id="6" name="object 2">
            <a:extLst>
              <a:ext uri="{FF2B5EF4-FFF2-40B4-BE49-F238E27FC236}">
                <a16:creationId xmlns:a16="http://schemas.microsoft.com/office/drawing/2014/main" id="{3E06A675-647C-40C5-6399-B642063039A4}"/>
              </a:ext>
            </a:extLst>
          </p:cNvPr>
          <p:cNvPicPr/>
          <p:nvPr userDrawn="1"/>
        </p:nvPicPr>
        <p:blipFill rotWithShape="1">
          <a:blip r:embed="rId2" cstate="print">
            <a:alphaModFix amt="27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a:extLst>
              <a:ext uri="{FF2B5EF4-FFF2-40B4-BE49-F238E27FC236}">
                <a16:creationId xmlns:a16="http://schemas.microsoft.com/office/drawing/2014/main" id="{52C1C368-503A-C622-6FDE-E0060070AE50}"/>
              </a:ext>
            </a:extLst>
          </p:cNvPr>
          <p:cNvSpPr>
            <a:spLocks noGrp="1"/>
          </p:cNvSpPr>
          <p:nvPr>
            <p:ph type="title"/>
          </p:nvPr>
        </p:nvSpPr>
        <p:spPr>
          <a:xfrm>
            <a:off x="1218622" y="3429000"/>
            <a:ext cx="9418875" cy="1325563"/>
          </a:xfrm>
          <a:prstGeom prst="rect">
            <a:avLst/>
          </a:prstGeom>
        </p:spPr>
        <p:txBody>
          <a:bodyPr/>
          <a:lstStyle>
            <a:lvl1pPr>
              <a:defRPr sz="4000" b="0" i="0">
                <a:solidFill>
                  <a:schemeClr val="bg1"/>
                </a:solidFill>
                <a:latin typeface="+mj-lt"/>
              </a:defRPr>
            </a:lvl1pPr>
          </a:lstStyle>
          <a:p>
            <a:r>
              <a:rPr lang="en-GB"/>
              <a:t>Click to edit Master title style</a:t>
            </a:r>
            <a:endParaRPr lang="en-US"/>
          </a:p>
        </p:txBody>
      </p:sp>
      <p:pic>
        <p:nvPicPr>
          <p:cNvPr id="10" name="Bilde 5">
            <a:extLst>
              <a:ext uri="{FF2B5EF4-FFF2-40B4-BE49-F238E27FC236}">
                <a16:creationId xmlns:a16="http://schemas.microsoft.com/office/drawing/2014/main" id="{7DCA0359-8D81-843C-70E8-4571A42EA7A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12031" y="5389851"/>
            <a:ext cx="2822031" cy="493381"/>
          </a:xfrm>
          <a:prstGeom prst="rect">
            <a:avLst/>
          </a:prstGeom>
        </p:spPr>
      </p:pic>
      <p:cxnSp>
        <p:nvCxnSpPr>
          <p:cNvPr id="11" name="Straight Connector 10">
            <a:extLst>
              <a:ext uri="{FF2B5EF4-FFF2-40B4-BE49-F238E27FC236}">
                <a16:creationId xmlns:a16="http://schemas.microsoft.com/office/drawing/2014/main" id="{D2B4E9CF-53FB-6A14-C29B-FB79E254B303}"/>
              </a:ext>
            </a:extLst>
          </p:cNvPr>
          <p:cNvCxnSpPr>
            <a:cxnSpLocks/>
          </p:cNvCxnSpPr>
          <p:nvPr userDrawn="1"/>
        </p:nvCxnSpPr>
        <p:spPr>
          <a:xfrm>
            <a:off x="1315186" y="4964483"/>
            <a:ext cx="941887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0BD676DD-16C3-41CC-2353-A2227D88BB3E}"/>
              </a:ext>
            </a:extLst>
          </p:cNvPr>
          <p:cNvSpPr>
            <a:spLocks noGrp="1"/>
          </p:cNvSpPr>
          <p:nvPr>
            <p:ph type="body" sz="quarter" idx="25"/>
          </p:nvPr>
        </p:nvSpPr>
        <p:spPr>
          <a:xfrm>
            <a:off x="1218622" y="5269288"/>
            <a:ext cx="5730817" cy="1227888"/>
          </a:xfrm>
          <a:prstGeom prst="rect">
            <a:avLst/>
          </a:prstGeom>
        </p:spPr>
        <p:txBody>
          <a:bodyPr anchor="t">
            <a:noAutofit/>
          </a:bodyPr>
          <a:lstStyle>
            <a:lvl1pPr marL="0" indent="0">
              <a:buNone/>
              <a:defRPr sz="14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Click to edit Master text styles</a:t>
            </a:r>
          </a:p>
        </p:txBody>
      </p:sp>
    </p:spTree>
    <p:extLst>
      <p:ext uri="{BB962C8B-B14F-4D97-AF65-F5344CB8AC3E}">
        <p14:creationId xmlns:p14="http://schemas.microsoft.com/office/powerpoint/2010/main" val="15280021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P - Divider">
    <p:spTree>
      <p:nvGrpSpPr>
        <p:cNvPr id="1" name=""/>
        <p:cNvGrpSpPr/>
        <p:nvPr/>
      </p:nvGrpSpPr>
      <p:grpSpPr>
        <a:xfrm>
          <a:off x="0" y="0"/>
          <a:ext cx="0" cy="0"/>
          <a:chOff x="0" y="0"/>
          <a:chExt cx="0" cy="0"/>
        </a:xfrm>
      </p:grpSpPr>
      <p:pic>
        <p:nvPicPr>
          <p:cNvPr id="2" name="Picture Placeholder 4" descr="A person shopping at a grocery store&#10;&#10;Description automatically generated with low confidence">
            <a:extLst>
              <a:ext uri="{FF2B5EF4-FFF2-40B4-BE49-F238E27FC236}">
                <a16:creationId xmlns:a16="http://schemas.microsoft.com/office/drawing/2014/main" id="{98199477-D8FC-B242-19EF-F9EAE80148EC}"/>
              </a:ext>
            </a:extLst>
          </p:cNvPr>
          <p:cNvPicPr>
            <a:picLocks noChangeAspect="1"/>
          </p:cNvPicPr>
          <p:nvPr userDrawn="1"/>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ktangel 7">
            <a:extLst>
              <a:ext uri="{FF2B5EF4-FFF2-40B4-BE49-F238E27FC236}">
                <a16:creationId xmlns:a16="http://schemas.microsoft.com/office/drawing/2014/main" id="{4C799EAF-650B-324C-1B6F-8E3F06DE6BFD}"/>
              </a:ext>
            </a:extLst>
          </p:cNvPr>
          <p:cNvSpPr/>
          <p:nvPr userDrawn="1"/>
        </p:nvSpPr>
        <p:spPr>
          <a:xfrm>
            <a:off x="0" y="0"/>
            <a:ext cx="12192000" cy="6858000"/>
          </a:xfrm>
          <a:prstGeom prst="rect">
            <a:avLst/>
          </a:prstGeom>
          <a:solidFill>
            <a:schemeClr val="accent1">
              <a:alpha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 name="Straight Connector 9">
            <a:extLst>
              <a:ext uri="{FF2B5EF4-FFF2-40B4-BE49-F238E27FC236}">
                <a16:creationId xmlns:a16="http://schemas.microsoft.com/office/drawing/2014/main" id="{F2792805-8724-B2CE-FFAE-85133CF7299E}"/>
              </a:ext>
            </a:extLst>
          </p:cNvPr>
          <p:cNvCxnSpPr>
            <a:cxnSpLocks/>
          </p:cNvCxnSpPr>
          <p:nvPr userDrawn="1"/>
        </p:nvCxnSpPr>
        <p:spPr>
          <a:xfrm>
            <a:off x="1315186" y="5540717"/>
            <a:ext cx="541812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6" name="Bilde 3">
            <a:extLst>
              <a:ext uri="{FF2B5EF4-FFF2-40B4-BE49-F238E27FC236}">
                <a16:creationId xmlns:a16="http://schemas.microsoft.com/office/drawing/2014/main" id="{D8D5EA68-CC76-ABC5-E91A-6DB3F929F62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2" name="Tittel 11">
            <a:extLst>
              <a:ext uri="{FF2B5EF4-FFF2-40B4-BE49-F238E27FC236}">
                <a16:creationId xmlns:a16="http://schemas.microsoft.com/office/drawing/2014/main" id="{D9E75F32-DB4B-31FF-9789-7D751AD3DD79}"/>
              </a:ext>
            </a:extLst>
          </p:cNvPr>
          <p:cNvSpPr>
            <a:spLocks noGrp="1"/>
          </p:cNvSpPr>
          <p:nvPr>
            <p:ph type="title"/>
          </p:nvPr>
        </p:nvSpPr>
        <p:spPr>
          <a:xfrm>
            <a:off x="1230086" y="4813534"/>
            <a:ext cx="10515600" cy="1325563"/>
          </a:xfrm>
          <a:prstGeom prst="rect">
            <a:avLst/>
          </a:prstGeom>
        </p:spPr>
        <p:txBody>
          <a:bodyPr/>
          <a:lstStyle>
            <a:lvl1pPr>
              <a:defRPr sz="4000">
                <a:solidFill>
                  <a:schemeClr val="bg1"/>
                </a:solidFill>
              </a:defRPr>
            </a:lvl1pPr>
          </a:lstStyle>
          <a:p>
            <a:r>
              <a:rPr lang="nb-NO"/>
              <a:t>Klikk for å redigere tittelstil</a:t>
            </a:r>
            <a:endParaRPr lang="en-GB"/>
          </a:p>
        </p:txBody>
      </p:sp>
    </p:spTree>
    <p:extLst>
      <p:ext uri="{BB962C8B-B14F-4D97-AF65-F5344CB8AC3E}">
        <p14:creationId xmlns:p14="http://schemas.microsoft.com/office/powerpoint/2010/main" val="9563243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P - Title and tex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8" name="Title 1">
            <a:extLst>
              <a:ext uri="{FF2B5EF4-FFF2-40B4-BE49-F238E27FC236}">
                <a16:creationId xmlns:a16="http://schemas.microsoft.com/office/drawing/2014/main" id="{24C98934-0BC0-6144-9BC0-31616D8C2519}"/>
              </a:ext>
            </a:extLst>
          </p:cNvPr>
          <p:cNvSpPr>
            <a:spLocks noGrp="1"/>
          </p:cNvSpPr>
          <p:nvPr>
            <p:ph type="title" hasCustomPrompt="1"/>
          </p:nvPr>
        </p:nvSpPr>
        <p:spPr>
          <a:xfrm>
            <a:off x="741777" y="365126"/>
            <a:ext cx="10671895" cy="1036620"/>
          </a:xfrm>
          <a:prstGeom prst="rect">
            <a:avLst/>
          </a:prstGeom>
        </p:spPr>
        <p:txBody>
          <a:bodyPr anchor="t">
            <a:noAutofit/>
          </a:bodyPr>
          <a:lstStyle>
            <a:lvl1pPr>
              <a:defRPr sz="4000" b="0" i="0">
                <a:solidFill>
                  <a:schemeClr val="accent1"/>
                </a:solidFill>
                <a:latin typeface="+mj-lt"/>
              </a:defRPr>
            </a:lvl1pPr>
          </a:lstStyle>
          <a:p>
            <a:r>
              <a:rPr lang="en-GB"/>
              <a:t>Slide title here</a:t>
            </a:r>
            <a:endParaRPr lang="en-US"/>
          </a:p>
        </p:txBody>
      </p:sp>
      <p:pic>
        <p:nvPicPr>
          <p:cNvPr id="10" name="Bilde 3">
            <a:extLst>
              <a:ext uri="{FF2B5EF4-FFF2-40B4-BE49-F238E27FC236}">
                <a16:creationId xmlns:a16="http://schemas.microsoft.com/office/drawing/2014/main" id="{8F41D518-6784-585C-BEDA-150EF2A499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2" name="Text Placeholder 20">
            <a:extLst>
              <a:ext uri="{FF2B5EF4-FFF2-40B4-BE49-F238E27FC236}">
                <a16:creationId xmlns:a16="http://schemas.microsoft.com/office/drawing/2014/main" id="{69679182-FAE3-13C5-B33C-B5EB0EE5763E}"/>
              </a:ext>
            </a:extLst>
          </p:cNvPr>
          <p:cNvSpPr>
            <a:spLocks noGrp="1"/>
          </p:cNvSpPr>
          <p:nvPr>
            <p:ph type="body" sz="quarter" idx="15" hasCustomPrompt="1"/>
          </p:nvPr>
        </p:nvSpPr>
        <p:spPr>
          <a:xfrm>
            <a:off x="741776" y="1549163"/>
            <a:ext cx="10549075" cy="4503767"/>
          </a:xfrm>
          <a:prstGeom prst="rect">
            <a:avLst/>
          </a:prstGeom>
        </p:spPr>
        <p:txBody>
          <a:bodyPr anchor="t">
            <a:noAutofit/>
          </a:bodyPr>
          <a:lstStyle>
            <a:lvl1pPr marL="0" indent="0">
              <a:buNone/>
              <a:defRPr sz="18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Tree>
    <p:extLst>
      <p:ext uri="{BB962C8B-B14F-4D97-AF65-F5344CB8AC3E}">
        <p14:creationId xmlns:p14="http://schemas.microsoft.com/office/powerpoint/2010/main" val="14616138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extLst>
    <p:ext uri="{DCECCB84-F9BA-43D5-87BE-67443E8EF086}">
      <p15:sldGuideLst xmlns:p15="http://schemas.microsoft.com/office/powerpoint/2012/main">
        <p15:guide id="1" pos="461">
          <p15:clr>
            <a:srgbClr val="FBAE40"/>
          </p15:clr>
        </p15:guide>
        <p15:guide id="2" pos="6607">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P - Title, subheading and tex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8" name="Title 1">
            <a:extLst>
              <a:ext uri="{FF2B5EF4-FFF2-40B4-BE49-F238E27FC236}">
                <a16:creationId xmlns:a16="http://schemas.microsoft.com/office/drawing/2014/main" id="{24C98934-0BC0-6144-9BC0-31616D8C2519}"/>
              </a:ext>
            </a:extLst>
          </p:cNvPr>
          <p:cNvSpPr>
            <a:spLocks noGrp="1"/>
          </p:cNvSpPr>
          <p:nvPr>
            <p:ph type="title" hasCustomPrompt="1"/>
          </p:nvPr>
        </p:nvSpPr>
        <p:spPr>
          <a:xfrm>
            <a:off x="741777" y="365126"/>
            <a:ext cx="10671895" cy="1036620"/>
          </a:xfrm>
          <a:prstGeom prst="rect">
            <a:avLst/>
          </a:prstGeom>
        </p:spPr>
        <p:txBody>
          <a:bodyPr anchor="t">
            <a:noAutofit/>
          </a:bodyPr>
          <a:lstStyle>
            <a:lvl1pPr>
              <a:defRPr sz="4000" b="0" i="0">
                <a:solidFill>
                  <a:schemeClr val="accent1"/>
                </a:solidFill>
                <a:latin typeface="+mj-lt"/>
              </a:defRPr>
            </a:lvl1pPr>
          </a:lstStyle>
          <a:p>
            <a:r>
              <a:rPr lang="en-GB"/>
              <a:t>Slide title here</a:t>
            </a:r>
            <a:endParaRPr lang="en-US"/>
          </a:p>
        </p:txBody>
      </p:sp>
      <p:pic>
        <p:nvPicPr>
          <p:cNvPr id="10" name="Bilde 3">
            <a:extLst>
              <a:ext uri="{FF2B5EF4-FFF2-40B4-BE49-F238E27FC236}">
                <a16:creationId xmlns:a16="http://schemas.microsoft.com/office/drawing/2014/main" id="{8F41D518-6784-585C-BEDA-150EF2A499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1" name="Text Placeholder 20">
            <a:extLst>
              <a:ext uri="{FF2B5EF4-FFF2-40B4-BE49-F238E27FC236}">
                <a16:creationId xmlns:a16="http://schemas.microsoft.com/office/drawing/2014/main" id="{0D31FB67-27C8-9D49-44F1-EDEDC8A9FD23}"/>
              </a:ext>
            </a:extLst>
          </p:cNvPr>
          <p:cNvSpPr>
            <a:spLocks noGrp="1"/>
          </p:cNvSpPr>
          <p:nvPr>
            <p:ph type="body" sz="quarter" idx="22" hasCustomPrompt="1"/>
          </p:nvPr>
        </p:nvSpPr>
        <p:spPr>
          <a:xfrm>
            <a:off x="731837" y="1555199"/>
            <a:ext cx="10559013" cy="314610"/>
          </a:xfrm>
          <a:prstGeom prst="rect">
            <a:avLst/>
          </a:prstGeom>
        </p:spPr>
        <p:txBody>
          <a:bodyPr anchor="t">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2" name="Text Placeholder 20">
            <a:extLst>
              <a:ext uri="{FF2B5EF4-FFF2-40B4-BE49-F238E27FC236}">
                <a16:creationId xmlns:a16="http://schemas.microsoft.com/office/drawing/2014/main" id="{69679182-FAE3-13C5-B33C-B5EB0EE5763E}"/>
              </a:ext>
            </a:extLst>
          </p:cNvPr>
          <p:cNvSpPr>
            <a:spLocks noGrp="1"/>
          </p:cNvSpPr>
          <p:nvPr>
            <p:ph type="body" sz="quarter" idx="15" hasCustomPrompt="1"/>
          </p:nvPr>
        </p:nvSpPr>
        <p:spPr>
          <a:xfrm>
            <a:off x="741776" y="2017226"/>
            <a:ext cx="10549075" cy="4035704"/>
          </a:xfrm>
          <a:prstGeom prst="rect">
            <a:avLst/>
          </a:prstGeom>
        </p:spPr>
        <p:txBody>
          <a:bodyPr anchor="t">
            <a:noAutofit/>
          </a:bodyPr>
          <a:lstStyle>
            <a:lvl1pPr marL="0" indent="0">
              <a:buNone/>
              <a:defRPr sz="18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Tree>
    <p:extLst>
      <p:ext uri="{BB962C8B-B14F-4D97-AF65-F5344CB8AC3E}">
        <p14:creationId xmlns:p14="http://schemas.microsoft.com/office/powerpoint/2010/main" val="27213234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guide id="2" pos="6607">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P - Only title">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6" name="Title 1">
            <a:extLst>
              <a:ext uri="{FF2B5EF4-FFF2-40B4-BE49-F238E27FC236}">
                <a16:creationId xmlns:a16="http://schemas.microsoft.com/office/drawing/2014/main" id="{B4A3ECC9-8F4D-E101-59A0-077077FE57BC}"/>
              </a:ext>
            </a:extLst>
          </p:cNvPr>
          <p:cNvSpPr>
            <a:spLocks noGrp="1"/>
          </p:cNvSpPr>
          <p:nvPr>
            <p:ph type="title" hasCustomPrompt="1"/>
          </p:nvPr>
        </p:nvSpPr>
        <p:spPr>
          <a:xfrm>
            <a:off x="741777" y="365126"/>
            <a:ext cx="10671895" cy="1270244"/>
          </a:xfrm>
          <a:prstGeom prst="rect">
            <a:avLst/>
          </a:prstGeom>
        </p:spPr>
        <p:txBody>
          <a:bodyPr anchor="t">
            <a:noAutofit/>
          </a:bodyPr>
          <a:lstStyle>
            <a:lvl1pPr>
              <a:defRPr sz="4000" b="0" i="0">
                <a:solidFill>
                  <a:schemeClr val="accent1"/>
                </a:solidFill>
                <a:latin typeface="+mj-lt"/>
              </a:defRPr>
            </a:lvl1pPr>
          </a:lstStyle>
          <a:p>
            <a:r>
              <a:rPr lang="en-GB"/>
              <a:t>Slide title here</a:t>
            </a:r>
            <a:endParaRPr lang="en-US"/>
          </a:p>
        </p:txBody>
      </p:sp>
      <p:pic>
        <p:nvPicPr>
          <p:cNvPr id="8" name="Bilde 3">
            <a:extLst>
              <a:ext uri="{FF2B5EF4-FFF2-40B4-BE49-F238E27FC236}">
                <a16:creationId xmlns:a16="http://schemas.microsoft.com/office/drawing/2014/main" id="{3420C06F-BD3E-F705-FE57-5A3BA80667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31313958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guide id="2" pos="660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rt Page 4">
    <p:spTree>
      <p:nvGrpSpPr>
        <p:cNvPr id="1" name=""/>
        <p:cNvGrpSpPr/>
        <p:nvPr/>
      </p:nvGrpSpPr>
      <p:grpSpPr>
        <a:xfrm>
          <a:off x="0" y="0"/>
          <a:ext cx="0" cy="0"/>
          <a:chOff x="0" y="0"/>
          <a:chExt cx="0" cy="0"/>
        </a:xfrm>
      </p:grpSpPr>
      <p:pic>
        <p:nvPicPr>
          <p:cNvPr id="10" name="Background Picture" descr="Et bilde som inneholder person, mat, bygning, stående&#10;&#10;Automatisk generert beskrivelse">
            <a:extLst>
              <a:ext uri="{FF2B5EF4-FFF2-40B4-BE49-F238E27FC236}">
                <a16:creationId xmlns:a16="http://schemas.microsoft.com/office/drawing/2014/main" id="{CDBD00A1-FA82-4DFE-84DF-F8297B7A1FB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35000"/>
            <a:ext cx="12192000" cy="8128000"/>
          </a:xfrm>
          <a:prstGeom prst="rect">
            <a:avLst/>
          </a:prstGeom>
        </p:spPr>
      </p:pic>
      <p:sp>
        <p:nvSpPr>
          <p:cNvPr id="7" name="Title">
            <a:extLst>
              <a:ext uri="{FF2B5EF4-FFF2-40B4-BE49-F238E27FC236}">
                <a16:creationId xmlns:a16="http://schemas.microsoft.com/office/drawing/2014/main" id="{13294DAA-8C17-424F-8143-208C3FE914DC}"/>
              </a:ext>
            </a:extLst>
          </p:cNvPr>
          <p:cNvSpPr>
            <a:spLocks noGrp="1"/>
          </p:cNvSpPr>
          <p:nvPr>
            <p:ph type="body" sz="quarter" idx="10" hasCustomPrompt="1"/>
          </p:nvPr>
        </p:nvSpPr>
        <p:spPr>
          <a:xfrm>
            <a:off x="0" y="5715000"/>
            <a:ext cx="12192000" cy="1143000"/>
          </a:xfrm>
          <a:prstGeom prst="rect">
            <a:avLst/>
          </a:prstGeom>
        </p:spPr>
        <p:txBody>
          <a:bodyPr/>
          <a:lstStyle>
            <a:lvl1pPr marL="0" indent="0" algn="ctr">
              <a:buNone/>
              <a:defRPr sz="2800" b="1" i="0" cap="all" spc="600" baseline="0">
                <a:solidFill>
                  <a:schemeClr val="tx1"/>
                </a:solidFill>
                <a:latin typeface="Helvetica" pitchFamily="2" charset="0"/>
                <a:cs typeface="Arial" panose="020B0604020202020204" pitchFamily="34" charset="0"/>
              </a:defRPr>
            </a:lvl1pPr>
          </a:lstStyle>
          <a:p>
            <a:pPr lvl="0"/>
            <a:r>
              <a:rPr lang="en-GB" noProof="0"/>
              <a:t>Main Title here</a:t>
            </a:r>
          </a:p>
        </p:txBody>
      </p:sp>
      <p:sp>
        <p:nvSpPr>
          <p:cNvPr id="6" name="!!Yellow">
            <a:extLst>
              <a:ext uri="{FF2B5EF4-FFF2-40B4-BE49-F238E27FC236}">
                <a16:creationId xmlns:a16="http://schemas.microsoft.com/office/drawing/2014/main" id="{CCFBDB04-BE7C-451A-8C1F-F17167D5B954}"/>
              </a:ext>
            </a:extLst>
          </p:cNvPr>
          <p:cNvSpPr/>
          <p:nvPr userDrawn="1"/>
        </p:nvSpPr>
        <p:spPr>
          <a:xfrm rot="16200000">
            <a:off x="5493659" y="4587989"/>
            <a:ext cx="1661884" cy="15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17" name="!!Blue">
            <a:extLst>
              <a:ext uri="{FF2B5EF4-FFF2-40B4-BE49-F238E27FC236}">
                <a16:creationId xmlns:a16="http://schemas.microsoft.com/office/drawing/2014/main" id="{DD8018AE-B7C4-4C53-9CAC-C9195BAFD01B}"/>
              </a:ext>
            </a:extLst>
          </p:cNvPr>
          <p:cNvSpPr/>
          <p:nvPr userDrawn="1"/>
        </p:nvSpPr>
        <p:spPr>
          <a:xfrm>
            <a:off x="0" y="3833248"/>
            <a:ext cx="6248400" cy="16618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pic>
        <p:nvPicPr>
          <p:cNvPr id="9" name="Bilde 8">
            <a:extLst>
              <a:ext uri="{FF2B5EF4-FFF2-40B4-BE49-F238E27FC236}">
                <a16:creationId xmlns:a16="http://schemas.microsoft.com/office/drawing/2014/main" id="{96D94C91-9E30-47C8-A221-62DCC86B5E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1762" y="4224965"/>
            <a:ext cx="5084878" cy="888999"/>
          </a:xfrm>
          <a:prstGeom prst="rect">
            <a:avLst/>
          </a:prstGeom>
        </p:spPr>
      </p:pic>
    </p:spTree>
    <p:extLst>
      <p:ext uri="{BB962C8B-B14F-4D97-AF65-F5344CB8AC3E}">
        <p14:creationId xmlns:p14="http://schemas.microsoft.com/office/powerpoint/2010/main" val="15551757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3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6" name="Title 1">
            <a:extLst>
              <a:ext uri="{FF2B5EF4-FFF2-40B4-BE49-F238E27FC236}">
                <a16:creationId xmlns:a16="http://schemas.microsoft.com/office/drawing/2014/main" id="{B4A3ECC9-8F4D-E101-59A0-077077FE57B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8" name="Bilde 3">
            <a:extLst>
              <a:ext uri="{FF2B5EF4-FFF2-40B4-BE49-F238E27FC236}">
                <a16:creationId xmlns:a16="http://schemas.microsoft.com/office/drawing/2014/main" id="{3420C06F-BD3E-F705-FE57-5A3BA80667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9" name="Date Placeholder 2">
            <a:extLst>
              <a:ext uri="{FF2B5EF4-FFF2-40B4-BE49-F238E27FC236}">
                <a16:creationId xmlns:a16="http://schemas.microsoft.com/office/drawing/2014/main" id="{3715DC52-4B33-BE62-CDE3-71452BD46731}"/>
              </a:ext>
            </a:extLst>
          </p:cNvPr>
          <p:cNvSpPr>
            <a:spLocks noGrp="1"/>
          </p:cNvSpPr>
          <p:nvPr>
            <p:ph type="dt" sz="half" idx="16"/>
          </p:nvPr>
        </p:nvSpPr>
        <p:spPr>
          <a:xfrm>
            <a:off x="2303627" y="6492875"/>
            <a:ext cx="528585" cy="365125"/>
          </a:xfrm>
        </p:spPr>
        <p:txBody>
          <a:bodyPr/>
          <a:lstStyle/>
          <a:p>
            <a:fld id="{84A9364F-01A4-6143-B2B2-D9E93C9BF9DC}" type="datetime1">
              <a:rPr lang="nb-NO" smtClean="0"/>
              <a:t>20.08.2024</a:t>
            </a:fld>
            <a:endParaRPr lang="en-US"/>
          </a:p>
        </p:txBody>
      </p:sp>
      <p:sp>
        <p:nvSpPr>
          <p:cNvPr id="10" name="Footer Placeholder 3">
            <a:extLst>
              <a:ext uri="{FF2B5EF4-FFF2-40B4-BE49-F238E27FC236}">
                <a16:creationId xmlns:a16="http://schemas.microsoft.com/office/drawing/2014/main" id="{1C77C9C1-3D73-870B-D81D-B51E5E3A470C}"/>
              </a:ext>
            </a:extLst>
          </p:cNvPr>
          <p:cNvSpPr>
            <a:spLocks noGrp="1"/>
          </p:cNvSpPr>
          <p:nvPr>
            <p:ph type="ftr" sz="quarter" idx="17"/>
          </p:nvPr>
        </p:nvSpPr>
        <p:spPr>
          <a:xfrm>
            <a:off x="175116" y="6492875"/>
            <a:ext cx="2107096" cy="365125"/>
          </a:xfrm>
        </p:spPr>
        <p:txBody>
          <a:bodyPr/>
          <a:lstStyle/>
          <a:p>
            <a:r>
              <a:rPr lang="en-US"/>
              <a:t>© StrongPoint 2022</a:t>
            </a:r>
          </a:p>
        </p:txBody>
      </p:sp>
      <p:sp>
        <p:nvSpPr>
          <p:cNvPr id="11" name="Slide Number Placeholder 4">
            <a:extLst>
              <a:ext uri="{FF2B5EF4-FFF2-40B4-BE49-F238E27FC236}">
                <a16:creationId xmlns:a16="http://schemas.microsoft.com/office/drawing/2014/main" id="{67F64C78-F787-DDB6-45BD-07EC8DE8E7D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7260472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userDrawn="1">
          <p15:clr>
            <a:srgbClr val="FBAE40"/>
          </p15:clr>
        </p15:guide>
        <p15:guide id="2" pos="6607">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P - Blanc">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pic>
        <p:nvPicPr>
          <p:cNvPr id="8" name="Bilde 3">
            <a:extLst>
              <a:ext uri="{FF2B5EF4-FFF2-40B4-BE49-F238E27FC236}">
                <a16:creationId xmlns:a16="http://schemas.microsoft.com/office/drawing/2014/main" id="{3420C06F-BD3E-F705-FE57-5A3BA80667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15526940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guide id="2" pos="6607">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SP - two and pic A">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Autofit/>
          </a:bodyPr>
          <a:lstStyle>
            <a:lvl1pPr>
              <a:defRPr sz="4000" b="0" i="0">
                <a:solidFill>
                  <a:schemeClr val="accent1"/>
                </a:solidFill>
                <a:latin typeface="+mj-lt"/>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grpSp>
        <p:nvGrpSpPr>
          <p:cNvPr id="25" name="Group 24">
            <a:extLst>
              <a:ext uri="{FF2B5EF4-FFF2-40B4-BE49-F238E27FC236}">
                <a16:creationId xmlns:a16="http://schemas.microsoft.com/office/drawing/2014/main" id="{6DEF82C5-480D-954F-B095-FD483D7FEEB4}"/>
              </a:ext>
            </a:extLst>
          </p:cNvPr>
          <p:cNvGrpSpPr/>
          <p:nvPr/>
        </p:nvGrpSpPr>
        <p:grpSpPr>
          <a:xfrm>
            <a:off x="731838" y="4085429"/>
            <a:ext cx="5202388" cy="1070771"/>
            <a:chOff x="558332" y="2312872"/>
            <a:chExt cx="5202388" cy="756000"/>
          </a:xfrm>
        </p:grpSpPr>
        <p:sp>
          <p:nvSpPr>
            <p:cNvPr id="26" name="Rectangle 25">
              <a:extLst>
                <a:ext uri="{FF2B5EF4-FFF2-40B4-BE49-F238E27FC236}">
                  <a16:creationId xmlns:a16="http://schemas.microsoft.com/office/drawing/2014/main" id="{7E68816F-8ED8-F14C-9463-BC5BE746F915}"/>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4813DECF-DB9F-1D41-BF9F-AB28D2D0FFA9}"/>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86060DA3-1C3F-574A-B441-7E66952FAF26}"/>
              </a:ext>
            </a:extLst>
          </p:cNvPr>
          <p:cNvGrpSpPr/>
          <p:nvPr/>
        </p:nvGrpSpPr>
        <p:grpSpPr>
          <a:xfrm>
            <a:off x="731838" y="2892118"/>
            <a:ext cx="5202388" cy="1070771"/>
            <a:chOff x="558332" y="2312872"/>
            <a:chExt cx="5202388" cy="756000"/>
          </a:xfrm>
        </p:grpSpPr>
        <p:sp>
          <p:nvSpPr>
            <p:cNvPr id="30" name="Rectangle 29">
              <a:extLst>
                <a:ext uri="{FF2B5EF4-FFF2-40B4-BE49-F238E27FC236}">
                  <a16:creationId xmlns:a16="http://schemas.microsoft.com/office/drawing/2014/main" id="{6B36066D-F13C-AE43-8952-9366B8A0D7AC}"/>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Straight Connector 30">
              <a:extLst>
                <a:ext uri="{FF2B5EF4-FFF2-40B4-BE49-F238E27FC236}">
                  <a16:creationId xmlns:a16="http://schemas.microsoft.com/office/drawing/2014/main" id="{BFC7F9BA-6C49-4740-A870-49B6EC480963}"/>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5" name="Text Placeholder 20">
            <a:extLst>
              <a:ext uri="{FF2B5EF4-FFF2-40B4-BE49-F238E27FC236}">
                <a16:creationId xmlns:a16="http://schemas.microsoft.com/office/drawing/2014/main" id="{8B979C09-D13C-7246-A315-CB1F91820224}"/>
              </a:ext>
            </a:extLst>
          </p:cNvPr>
          <p:cNvSpPr>
            <a:spLocks noGrp="1"/>
          </p:cNvSpPr>
          <p:nvPr>
            <p:ph type="body" sz="quarter" idx="14" hasCustomPrompt="1"/>
          </p:nvPr>
        </p:nvSpPr>
        <p:spPr>
          <a:xfrm>
            <a:off x="817639" y="4138343"/>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92CE0F41-7E9E-3148-9463-F5580DB7B873}"/>
              </a:ext>
            </a:extLst>
          </p:cNvPr>
          <p:cNvSpPr>
            <a:spLocks noGrp="1"/>
          </p:cNvSpPr>
          <p:nvPr>
            <p:ph type="body" sz="quarter" idx="15" hasCustomPrompt="1"/>
          </p:nvPr>
        </p:nvSpPr>
        <p:spPr>
          <a:xfrm>
            <a:off x="817639" y="2968372"/>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18" name="Bilde 3">
            <a:extLst>
              <a:ext uri="{FF2B5EF4-FFF2-40B4-BE49-F238E27FC236}">
                <a16:creationId xmlns:a16="http://schemas.microsoft.com/office/drawing/2014/main" id="{1BD9195B-80E5-6AC0-01C9-D82C02ED118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17620034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SP - two and pic B">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sp>
        <p:nvSpPr>
          <p:cNvPr id="26" name="Rectangle 25">
            <a:extLst>
              <a:ext uri="{FF2B5EF4-FFF2-40B4-BE49-F238E27FC236}">
                <a16:creationId xmlns:a16="http://schemas.microsoft.com/office/drawing/2014/main" id="{7E68816F-8ED8-F14C-9463-BC5BE746F915}"/>
              </a:ext>
            </a:extLst>
          </p:cNvPr>
          <p:cNvSpPr/>
          <p:nvPr/>
        </p:nvSpPr>
        <p:spPr>
          <a:xfrm>
            <a:off x="731838" y="4085429"/>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4813DECF-DB9F-1D41-BF9F-AB28D2D0FFA9}"/>
              </a:ext>
            </a:extLst>
          </p:cNvPr>
          <p:cNvCxnSpPr>
            <a:cxnSpLocks/>
          </p:cNvCxnSpPr>
          <p:nvPr/>
        </p:nvCxnSpPr>
        <p:spPr>
          <a:xfrm>
            <a:off x="808013" y="4075904"/>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B36066D-F13C-AE43-8952-9366B8A0D7AC}"/>
              </a:ext>
            </a:extLst>
          </p:cNvPr>
          <p:cNvSpPr/>
          <p:nvPr/>
        </p:nvSpPr>
        <p:spPr>
          <a:xfrm>
            <a:off x="731838" y="2892118"/>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Straight Connector 30">
            <a:extLst>
              <a:ext uri="{FF2B5EF4-FFF2-40B4-BE49-F238E27FC236}">
                <a16:creationId xmlns:a16="http://schemas.microsoft.com/office/drawing/2014/main" id="{BFC7F9BA-6C49-4740-A870-49B6EC480963}"/>
              </a:ext>
            </a:extLst>
          </p:cNvPr>
          <p:cNvCxnSpPr>
            <a:cxnSpLocks/>
          </p:cNvCxnSpPr>
          <p:nvPr/>
        </p:nvCxnSpPr>
        <p:spPr>
          <a:xfrm>
            <a:off x="808013" y="2882593"/>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5" name="Text Placeholder 20">
            <a:extLst>
              <a:ext uri="{FF2B5EF4-FFF2-40B4-BE49-F238E27FC236}">
                <a16:creationId xmlns:a16="http://schemas.microsoft.com/office/drawing/2014/main" id="{8B979C09-D13C-7246-A315-CB1F91820224}"/>
              </a:ext>
            </a:extLst>
          </p:cNvPr>
          <p:cNvSpPr>
            <a:spLocks noGrp="1"/>
          </p:cNvSpPr>
          <p:nvPr>
            <p:ph type="body" sz="quarter" idx="14" hasCustomPrompt="1"/>
          </p:nvPr>
        </p:nvSpPr>
        <p:spPr>
          <a:xfrm>
            <a:off x="1088020" y="4138343"/>
            <a:ext cx="4710674"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92CE0F41-7E9E-3148-9463-F5580DB7B873}"/>
              </a:ext>
            </a:extLst>
          </p:cNvPr>
          <p:cNvSpPr>
            <a:spLocks noGrp="1"/>
          </p:cNvSpPr>
          <p:nvPr>
            <p:ph type="body" sz="quarter" idx="15" hasCustomPrompt="1"/>
          </p:nvPr>
        </p:nvSpPr>
        <p:spPr>
          <a:xfrm>
            <a:off x="1088020" y="2968372"/>
            <a:ext cx="4710674"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18" name="Bilde 3">
            <a:extLst>
              <a:ext uri="{FF2B5EF4-FFF2-40B4-BE49-F238E27FC236}">
                <a16:creationId xmlns:a16="http://schemas.microsoft.com/office/drawing/2014/main" id="{1BD9195B-80E5-6AC0-01C9-D82C02ED118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37206450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P - three and pic A">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grpSp>
        <p:nvGrpSpPr>
          <p:cNvPr id="15" name="Group 14">
            <a:extLst>
              <a:ext uri="{FF2B5EF4-FFF2-40B4-BE49-F238E27FC236}">
                <a16:creationId xmlns:a16="http://schemas.microsoft.com/office/drawing/2014/main" id="{695E2979-A264-70BD-555D-9C31C89B99C2}"/>
              </a:ext>
            </a:extLst>
          </p:cNvPr>
          <p:cNvGrpSpPr/>
          <p:nvPr userDrawn="1"/>
        </p:nvGrpSpPr>
        <p:grpSpPr>
          <a:xfrm>
            <a:off x="731838" y="4768603"/>
            <a:ext cx="5202388" cy="1070771"/>
            <a:chOff x="558332" y="2312872"/>
            <a:chExt cx="5202388" cy="756000"/>
          </a:xfrm>
        </p:grpSpPr>
        <p:sp>
          <p:nvSpPr>
            <p:cNvPr id="16" name="Rectangle 15">
              <a:extLst>
                <a:ext uri="{FF2B5EF4-FFF2-40B4-BE49-F238E27FC236}">
                  <a16:creationId xmlns:a16="http://schemas.microsoft.com/office/drawing/2014/main" id="{5A95CCCA-102E-EF68-04F2-04CF2EC0D71D}"/>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3EE749C5-12C4-D619-3255-42F84C1B0073}"/>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8" name="Text Placeholder 20">
            <a:extLst>
              <a:ext uri="{FF2B5EF4-FFF2-40B4-BE49-F238E27FC236}">
                <a16:creationId xmlns:a16="http://schemas.microsoft.com/office/drawing/2014/main" id="{2D990C2F-6E86-3D57-71A9-0EC247EF1E73}"/>
              </a:ext>
            </a:extLst>
          </p:cNvPr>
          <p:cNvSpPr>
            <a:spLocks noGrp="1"/>
          </p:cNvSpPr>
          <p:nvPr>
            <p:ph type="body" sz="quarter" idx="13" hasCustomPrompt="1"/>
          </p:nvPr>
        </p:nvSpPr>
        <p:spPr>
          <a:xfrm>
            <a:off x="817639" y="4832982"/>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19" name="Group 18">
            <a:extLst>
              <a:ext uri="{FF2B5EF4-FFF2-40B4-BE49-F238E27FC236}">
                <a16:creationId xmlns:a16="http://schemas.microsoft.com/office/drawing/2014/main" id="{650D11A3-D263-14DD-3733-CD4D2938DB81}"/>
              </a:ext>
            </a:extLst>
          </p:cNvPr>
          <p:cNvGrpSpPr/>
          <p:nvPr userDrawn="1"/>
        </p:nvGrpSpPr>
        <p:grpSpPr>
          <a:xfrm>
            <a:off x="731838" y="3575292"/>
            <a:ext cx="5202388" cy="1070771"/>
            <a:chOff x="558332" y="2312872"/>
            <a:chExt cx="5202388" cy="756000"/>
          </a:xfrm>
        </p:grpSpPr>
        <p:sp>
          <p:nvSpPr>
            <p:cNvPr id="20" name="Rectangle 19">
              <a:extLst>
                <a:ext uri="{FF2B5EF4-FFF2-40B4-BE49-F238E27FC236}">
                  <a16:creationId xmlns:a16="http://schemas.microsoft.com/office/drawing/2014/main" id="{9D1217C1-C2C0-3651-3A4C-AD62443C809C}"/>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E77A3BA5-0BF4-57C8-4CDA-B3213523080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23C11601-452E-0C34-0222-E299865A8A59}"/>
              </a:ext>
            </a:extLst>
          </p:cNvPr>
          <p:cNvGrpSpPr/>
          <p:nvPr userDrawn="1"/>
        </p:nvGrpSpPr>
        <p:grpSpPr>
          <a:xfrm>
            <a:off x="731838" y="2381981"/>
            <a:ext cx="5202388" cy="1070771"/>
            <a:chOff x="558332" y="2312872"/>
            <a:chExt cx="5202388" cy="756000"/>
          </a:xfrm>
        </p:grpSpPr>
        <p:sp>
          <p:nvSpPr>
            <p:cNvPr id="33" name="Rectangle 32">
              <a:extLst>
                <a:ext uri="{FF2B5EF4-FFF2-40B4-BE49-F238E27FC236}">
                  <a16:creationId xmlns:a16="http://schemas.microsoft.com/office/drawing/2014/main" id="{3A29BEAE-EEB8-A485-0568-1CCF8FA3E2BC}"/>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BF79195B-E970-3457-F0DB-6DE3AB238E3E}"/>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5" name="Text Placeholder 20">
            <a:extLst>
              <a:ext uri="{FF2B5EF4-FFF2-40B4-BE49-F238E27FC236}">
                <a16:creationId xmlns:a16="http://schemas.microsoft.com/office/drawing/2014/main" id="{46450FDC-9A98-3624-3A28-C4C680E51476}"/>
              </a:ext>
            </a:extLst>
          </p:cNvPr>
          <p:cNvSpPr>
            <a:spLocks noGrp="1"/>
          </p:cNvSpPr>
          <p:nvPr>
            <p:ph type="body" sz="quarter" idx="14" hasCustomPrompt="1"/>
          </p:nvPr>
        </p:nvSpPr>
        <p:spPr>
          <a:xfrm>
            <a:off x="817639" y="3628206"/>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6" name="Text Placeholder 20">
            <a:extLst>
              <a:ext uri="{FF2B5EF4-FFF2-40B4-BE49-F238E27FC236}">
                <a16:creationId xmlns:a16="http://schemas.microsoft.com/office/drawing/2014/main" id="{49CBE21D-FBDF-140E-6D35-005ADF870536}"/>
              </a:ext>
            </a:extLst>
          </p:cNvPr>
          <p:cNvSpPr>
            <a:spLocks noGrp="1"/>
          </p:cNvSpPr>
          <p:nvPr>
            <p:ph type="body" sz="quarter" idx="15" hasCustomPrompt="1"/>
          </p:nvPr>
        </p:nvSpPr>
        <p:spPr>
          <a:xfrm>
            <a:off x="817639" y="2458235"/>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25" name="Bilde 3">
            <a:extLst>
              <a:ext uri="{FF2B5EF4-FFF2-40B4-BE49-F238E27FC236}">
                <a16:creationId xmlns:a16="http://schemas.microsoft.com/office/drawing/2014/main" id="{424BDAF4-D422-3AC5-47B1-4F05D60BB9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17266547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P - three and pic B">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sp>
        <p:nvSpPr>
          <p:cNvPr id="16" name="Rectangle 15">
            <a:extLst>
              <a:ext uri="{FF2B5EF4-FFF2-40B4-BE49-F238E27FC236}">
                <a16:creationId xmlns:a16="http://schemas.microsoft.com/office/drawing/2014/main" id="{5A95CCCA-102E-EF68-04F2-04CF2EC0D71D}"/>
              </a:ext>
            </a:extLst>
          </p:cNvPr>
          <p:cNvSpPr/>
          <p:nvPr/>
        </p:nvSpPr>
        <p:spPr>
          <a:xfrm>
            <a:off x="731838" y="4768603"/>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3EE749C5-12C4-D619-3255-42F84C1B0073}"/>
              </a:ext>
            </a:extLst>
          </p:cNvPr>
          <p:cNvCxnSpPr>
            <a:cxnSpLocks/>
          </p:cNvCxnSpPr>
          <p:nvPr/>
        </p:nvCxnSpPr>
        <p:spPr>
          <a:xfrm>
            <a:off x="817639" y="4759078"/>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Text Placeholder 20">
            <a:extLst>
              <a:ext uri="{FF2B5EF4-FFF2-40B4-BE49-F238E27FC236}">
                <a16:creationId xmlns:a16="http://schemas.microsoft.com/office/drawing/2014/main" id="{2D990C2F-6E86-3D57-71A9-0EC247EF1E73}"/>
              </a:ext>
            </a:extLst>
          </p:cNvPr>
          <p:cNvSpPr>
            <a:spLocks noGrp="1"/>
          </p:cNvSpPr>
          <p:nvPr userDrawn="1">
            <p:ph type="body" sz="quarter" idx="13" hasCustomPrompt="1"/>
          </p:nvPr>
        </p:nvSpPr>
        <p:spPr>
          <a:xfrm>
            <a:off x="1033669" y="4832982"/>
            <a:ext cx="4765025"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20" name="Rectangle 19">
            <a:extLst>
              <a:ext uri="{FF2B5EF4-FFF2-40B4-BE49-F238E27FC236}">
                <a16:creationId xmlns:a16="http://schemas.microsoft.com/office/drawing/2014/main" id="{9D1217C1-C2C0-3651-3A4C-AD62443C809C}"/>
              </a:ext>
            </a:extLst>
          </p:cNvPr>
          <p:cNvSpPr/>
          <p:nvPr/>
        </p:nvSpPr>
        <p:spPr>
          <a:xfrm>
            <a:off x="731838" y="3575292"/>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E77A3BA5-0BF4-57C8-4CDA-B3213523080F}"/>
              </a:ext>
            </a:extLst>
          </p:cNvPr>
          <p:cNvCxnSpPr>
            <a:cxnSpLocks/>
          </p:cNvCxnSpPr>
          <p:nvPr/>
        </p:nvCxnSpPr>
        <p:spPr>
          <a:xfrm>
            <a:off x="817639" y="3565767"/>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3A29BEAE-EEB8-A485-0568-1CCF8FA3E2BC}"/>
              </a:ext>
            </a:extLst>
          </p:cNvPr>
          <p:cNvSpPr/>
          <p:nvPr/>
        </p:nvSpPr>
        <p:spPr>
          <a:xfrm>
            <a:off x="731838" y="2381981"/>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BF79195B-E970-3457-F0DB-6DE3AB238E3E}"/>
              </a:ext>
            </a:extLst>
          </p:cNvPr>
          <p:cNvCxnSpPr>
            <a:cxnSpLocks/>
          </p:cNvCxnSpPr>
          <p:nvPr/>
        </p:nvCxnSpPr>
        <p:spPr>
          <a:xfrm>
            <a:off x="817639" y="2372456"/>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46450FDC-9A98-3624-3A28-C4C680E51476}"/>
              </a:ext>
            </a:extLst>
          </p:cNvPr>
          <p:cNvSpPr>
            <a:spLocks noGrp="1"/>
          </p:cNvSpPr>
          <p:nvPr userDrawn="1">
            <p:ph type="body" sz="quarter" idx="14" hasCustomPrompt="1"/>
          </p:nvPr>
        </p:nvSpPr>
        <p:spPr>
          <a:xfrm>
            <a:off x="1033669" y="3628206"/>
            <a:ext cx="4765025"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6" name="Text Placeholder 20">
            <a:extLst>
              <a:ext uri="{FF2B5EF4-FFF2-40B4-BE49-F238E27FC236}">
                <a16:creationId xmlns:a16="http://schemas.microsoft.com/office/drawing/2014/main" id="{49CBE21D-FBDF-140E-6D35-005ADF870536}"/>
              </a:ext>
            </a:extLst>
          </p:cNvPr>
          <p:cNvSpPr>
            <a:spLocks noGrp="1"/>
          </p:cNvSpPr>
          <p:nvPr userDrawn="1">
            <p:ph type="body" sz="quarter" idx="15" hasCustomPrompt="1"/>
          </p:nvPr>
        </p:nvSpPr>
        <p:spPr>
          <a:xfrm>
            <a:off x="1033669" y="2458235"/>
            <a:ext cx="4765025"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25" name="Bilde 3">
            <a:extLst>
              <a:ext uri="{FF2B5EF4-FFF2-40B4-BE49-F238E27FC236}">
                <a16:creationId xmlns:a16="http://schemas.microsoft.com/office/drawing/2014/main" id="{424BDAF4-D422-3AC5-47B1-4F05D60BB9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2575243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P - four and pic A">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grpSp>
        <p:nvGrpSpPr>
          <p:cNvPr id="25" name="Group 24">
            <a:extLst>
              <a:ext uri="{FF2B5EF4-FFF2-40B4-BE49-F238E27FC236}">
                <a16:creationId xmlns:a16="http://schemas.microsoft.com/office/drawing/2014/main" id="{37A582FD-82EE-E788-AF1A-D5B8F27F4843}"/>
              </a:ext>
            </a:extLst>
          </p:cNvPr>
          <p:cNvGrpSpPr/>
          <p:nvPr userDrawn="1"/>
        </p:nvGrpSpPr>
        <p:grpSpPr>
          <a:xfrm>
            <a:off x="731838" y="2360372"/>
            <a:ext cx="5202388" cy="756000"/>
            <a:chOff x="558332" y="2312872"/>
            <a:chExt cx="5202388" cy="756000"/>
          </a:xfrm>
        </p:grpSpPr>
        <p:sp>
          <p:nvSpPr>
            <p:cNvPr id="26" name="Rectangle 25">
              <a:extLst>
                <a:ext uri="{FF2B5EF4-FFF2-40B4-BE49-F238E27FC236}">
                  <a16:creationId xmlns:a16="http://schemas.microsoft.com/office/drawing/2014/main" id="{E366F876-8570-297F-035B-0DE6C6600DEB}"/>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E1B9C562-3D2C-2F2B-9171-1A792DDF93D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9" name="Text Placeholder 20">
            <a:extLst>
              <a:ext uri="{FF2B5EF4-FFF2-40B4-BE49-F238E27FC236}">
                <a16:creationId xmlns:a16="http://schemas.microsoft.com/office/drawing/2014/main" id="{E449B1A2-F732-EF88-13A4-8EDA8436E445}"/>
              </a:ext>
            </a:extLst>
          </p:cNvPr>
          <p:cNvSpPr>
            <a:spLocks noGrp="1"/>
          </p:cNvSpPr>
          <p:nvPr>
            <p:ph type="body" sz="quarter" idx="10" hasCustomPrompt="1"/>
          </p:nvPr>
        </p:nvSpPr>
        <p:spPr>
          <a:xfrm>
            <a:off x="817639" y="2449447"/>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30" name="Group 29">
            <a:extLst>
              <a:ext uri="{FF2B5EF4-FFF2-40B4-BE49-F238E27FC236}">
                <a16:creationId xmlns:a16="http://schemas.microsoft.com/office/drawing/2014/main" id="{D6FCE257-7D18-875A-CD9E-90F3822B1E6E}"/>
              </a:ext>
            </a:extLst>
          </p:cNvPr>
          <p:cNvGrpSpPr/>
          <p:nvPr userDrawn="1"/>
        </p:nvGrpSpPr>
        <p:grpSpPr>
          <a:xfrm>
            <a:off x="731838" y="3246651"/>
            <a:ext cx="5202388" cy="756000"/>
            <a:chOff x="558332" y="2312872"/>
            <a:chExt cx="5202388" cy="756000"/>
          </a:xfrm>
        </p:grpSpPr>
        <p:sp>
          <p:nvSpPr>
            <p:cNvPr id="31" name="Rectangle 30">
              <a:extLst>
                <a:ext uri="{FF2B5EF4-FFF2-40B4-BE49-F238E27FC236}">
                  <a16:creationId xmlns:a16="http://schemas.microsoft.com/office/drawing/2014/main" id="{4F0F38EE-E67F-FBED-A126-C22FC09800EC}"/>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7F21480C-2573-EE0E-911E-11FF4E962E2D}"/>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2C4533ED-65E2-0C4A-E8A3-20EAC0CFC98F}"/>
              </a:ext>
            </a:extLst>
          </p:cNvPr>
          <p:cNvGrpSpPr/>
          <p:nvPr userDrawn="1"/>
        </p:nvGrpSpPr>
        <p:grpSpPr>
          <a:xfrm>
            <a:off x="731838" y="4132930"/>
            <a:ext cx="5202388" cy="756000"/>
            <a:chOff x="558332" y="2312872"/>
            <a:chExt cx="5202388" cy="756000"/>
          </a:xfrm>
        </p:grpSpPr>
        <p:sp>
          <p:nvSpPr>
            <p:cNvPr id="39" name="Rectangle 38">
              <a:extLst>
                <a:ext uri="{FF2B5EF4-FFF2-40B4-BE49-F238E27FC236}">
                  <a16:creationId xmlns:a16="http://schemas.microsoft.com/office/drawing/2014/main" id="{118BC62C-526B-BBEF-8DEC-5FD2D9E478AB}"/>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668DEA18-A608-B503-491A-179887B02603}"/>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C4291E4D-E220-C66B-2873-894507738DCE}"/>
              </a:ext>
            </a:extLst>
          </p:cNvPr>
          <p:cNvGrpSpPr/>
          <p:nvPr userDrawn="1"/>
        </p:nvGrpSpPr>
        <p:grpSpPr>
          <a:xfrm>
            <a:off x="731838" y="5019208"/>
            <a:ext cx="5202388" cy="756000"/>
            <a:chOff x="558332" y="2312872"/>
            <a:chExt cx="5202388" cy="756000"/>
          </a:xfrm>
        </p:grpSpPr>
        <p:sp>
          <p:nvSpPr>
            <p:cNvPr id="42" name="Rectangle 41">
              <a:extLst>
                <a:ext uri="{FF2B5EF4-FFF2-40B4-BE49-F238E27FC236}">
                  <a16:creationId xmlns:a16="http://schemas.microsoft.com/office/drawing/2014/main" id="{0D17DF68-02BE-0BBD-A1D3-2F8300DF1C12}"/>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3" name="Straight Connector 42">
              <a:extLst>
                <a:ext uri="{FF2B5EF4-FFF2-40B4-BE49-F238E27FC236}">
                  <a16:creationId xmlns:a16="http://schemas.microsoft.com/office/drawing/2014/main" id="{9CD4D8F9-14BF-CA58-F7A4-FC3AC4163018}"/>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4" name="Text Placeholder 20">
            <a:extLst>
              <a:ext uri="{FF2B5EF4-FFF2-40B4-BE49-F238E27FC236}">
                <a16:creationId xmlns:a16="http://schemas.microsoft.com/office/drawing/2014/main" id="{5E08B787-23FB-55C5-00E1-BC2440525D70}"/>
              </a:ext>
            </a:extLst>
          </p:cNvPr>
          <p:cNvSpPr>
            <a:spLocks noGrp="1"/>
          </p:cNvSpPr>
          <p:nvPr>
            <p:ph type="body" sz="quarter" idx="12" hasCustomPrompt="1"/>
          </p:nvPr>
        </p:nvSpPr>
        <p:spPr>
          <a:xfrm>
            <a:off x="817639" y="3329886"/>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5" name="Text Placeholder 20">
            <a:extLst>
              <a:ext uri="{FF2B5EF4-FFF2-40B4-BE49-F238E27FC236}">
                <a16:creationId xmlns:a16="http://schemas.microsoft.com/office/drawing/2014/main" id="{CCF4088B-D715-137F-2F33-CC96578BAC53}"/>
              </a:ext>
            </a:extLst>
          </p:cNvPr>
          <p:cNvSpPr>
            <a:spLocks noGrp="1"/>
          </p:cNvSpPr>
          <p:nvPr>
            <p:ph type="body" sz="quarter" idx="13" hasCustomPrompt="1"/>
          </p:nvPr>
        </p:nvSpPr>
        <p:spPr>
          <a:xfrm>
            <a:off x="817639" y="4210325"/>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758A94F3-F9EE-52AA-4B7B-B799FEE37001}"/>
              </a:ext>
            </a:extLst>
          </p:cNvPr>
          <p:cNvSpPr>
            <a:spLocks noGrp="1"/>
          </p:cNvSpPr>
          <p:nvPr>
            <p:ph type="body" sz="quarter" idx="14" hasCustomPrompt="1"/>
          </p:nvPr>
        </p:nvSpPr>
        <p:spPr>
          <a:xfrm>
            <a:off x="817639" y="5090765"/>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32" name="Bilde 3">
            <a:extLst>
              <a:ext uri="{FF2B5EF4-FFF2-40B4-BE49-F238E27FC236}">
                <a16:creationId xmlns:a16="http://schemas.microsoft.com/office/drawing/2014/main" id="{98EEFC5F-05DB-267E-00D0-0824C7B567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3493096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P - four and pic B">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sp>
        <p:nvSpPr>
          <p:cNvPr id="26" name="Rectangle 25">
            <a:extLst>
              <a:ext uri="{FF2B5EF4-FFF2-40B4-BE49-F238E27FC236}">
                <a16:creationId xmlns:a16="http://schemas.microsoft.com/office/drawing/2014/main" id="{E366F876-8570-297F-035B-0DE6C6600DEB}"/>
              </a:ext>
            </a:extLst>
          </p:cNvPr>
          <p:cNvSpPr/>
          <p:nvPr/>
        </p:nvSpPr>
        <p:spPr>
          <a:xfrm>
            <a:off x="731838" y="23603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E1B9C562-3D2C-2F2B-9171-1A792DDF93DF}"/>
              </a:ext>
            </a:extLst>
          </p:cNvPr>
          <p:cNvCxnSpPr>
            <a:cxnSpLocks/>
          </p:cNvCxnSpPr>
          <p:nvPr/>
        </p:nvCxnSpPr>
        <p:spPr>
          <a:xfrm>
            <a:off x="827256" y="2350847"/>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Text Placeholder 20">
            <a:extLst>
              <a:ext uri="{FF2B5EF4-FFF2-40B4-BE49-F238E27FC236}">
                <a16:creationId xmlns:a16="http://schemas.microsoft.com/office/drawing/2014/main" id="{E449B1A2-F732-EF88-13A4-8EDA8436E445}"/>
              </a:ext>
            </a:extLst>
          </p:cNvPr>
          <p:cNvSpPr>
            <a:spLocks noGrp="1"/>
          </p:cNvSpPr>
          <p:nvPr userDrawn="1">
            <p:ph type="body" sz="quarter" idx="10" hasCustomPrompt="1"/>
          </p:nvPr>
        </p:nvSpPr>
        <p:spPr>
          <a:xfrm>
            <a:off x="1009815" y="2449447"/>
            <a:ext cx="478887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1" name="Rectangle 30">
            <a:extLst>
              <a:ext uri="{FF2B5EF4-FFF2-40B4-BE49-F238E27FC236}">
                <a16:creationId xmlns:a16="http://schemas.microsoft.com/office/drawing/2014/main" id="{4F0F38EE-E67F-FBED-A126-C22FC09800EC}"/>
              </a:ext>
            </a:extLst>
          </p:cNvPr>
          <p:cNvSpPr/>
          <p:nvPr/>
        </p:nvSpPr>
        <p:spPr>
          <a:xfrm>
            <a:off x="731838" y="3246651"/>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7F21480C-2573-EE0E-911E-11FF4E962E2D}"/>
              </a:ext>
            </a:extLst>
          </p:cNvPr>
          <p:cNvCxnSpPr>
            <a:cxnSpLocks/>
          </p:cNvCxnSpPr>
          <p:nvPr/>
        </p:nvCxnSpPr>
        <p:spPr>
          <a:xfrm>
            <a:off x="827256" y="3237126"/>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118BC62C-526B-BBEF-8DEC-5FD2D9E478AB}"/>
              </a:ext>
            </a:extLst>
          </p:cNvPr>
          <p:cNvSpPr/>
          <p:nvPr/>
        </p:nvSpPr>
        <p:spPr>
          <a:xfrm>
            <a:off x="731838" y="4132930"/>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668DEA18-A608-B503-491A-179887B02603}"/>
              </a:ext>
            </a:extLst>
          </p:cNvPr>
          <p:cNvCxnSpPr>
            <a:cxnSpLocks/>
          </p:cNvCxnSpPr>
          <p:nvPr/>
        </p:nvCxnSpPr>
        <p:spPr>
          <a:xfrm>
            <a:off x="827256" y="4123405"/>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0D17DF68-02BE-0BBD-A1D3-2F8300DF1C12}"/>
              </a:ext>
            </a:extLst>
          </p:cNvPr>
          <p:cNvSpPr/>
          <p:nvPr/>
        </p:nvSpPr>
        <p:spPr>
          <a:xfrm>
            <a:off x="731838" y="5019208"/>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3" name="Straight Connector 42">
            <a:extLst>
              <a:ext uri="{FF2B5EF4-FFF2-40B4-BE49-F238E27FC236}">
                <a16:creationId xmlns:a16="http://schemas.microsoft.com/office/drawing/2014/main" id="{9CD4D8F9-14BF-CA58-F7A4-FC3AC4163018}"/>
              </a:ext>
            </a:extLst>
          </p:cNvPr>
          <p:cNvCxnSpPr>
            <a:cxnSpLocks/>
          </p:cNvCxnSpPr>
          <p:nvPr/>
        </p:nvCxnSpPr>
        <p:spPr>
          <a:xfrm>
            <a:off x="827256" y="5009683"/>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Text Placeholder 20">
            <a:extLst>
              <a:ext uri="{FF2B5EF4-FFF2-40B4-BE49-F238E27FC236}">
                <a16:creationId xmlns:a16="http://schemas.microsoft.com/office/drawing/2014/main" id="{5E08B787-23FB-55C5-00E1-BC2440525D70}"/>
              </a:ext>
            </a:extLst>
          </p:cNvPr>
          <p:cNvSpPr>
            <a:spLocks noGrp="1"/>
          </p:cNvSpPr>
          <p:nvPr userDrawn="1">
            <p:ph type="body" sz="quarter" idx="12" hasCustomPrompt="1"/>
          </p:nvPr>
        </p:nvSpPr>
        <p:spPr>
          <a:xfrm>
            <a:off x="1009815" y="3329886"/>
            <a:ext cx="478887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5" name="Text Placeholder 20">
            <a:extLst>
              <a:ext uri="{FF2B5EF4-FFF2-40B4-BE49-F238E27FC236}">
                <a16:creationId xmlns:a16="http://schemas.microsoft.com/office/drawing/2014/main" id="{CCF4088B-D715-137F-2F33-CC96578BAC53}"/>
              </a:ext>
            </a:extLst>
          </p:cNvPr>
          <p:cNvSpPr>
            <a:spLocks noGrp="1"/>
          </p:cNvSpPr>
          <p:nvPr userDrawn="1">
            <p:ph type="body" sz="quarter" idx="13" hasCustomPrompt="1"/>
          </p:nvPr>
        </p:nvSpPr>
        <p:spPr>
          <a:xfrm>
            <a:off x="1009815" y="4210325"/>
            <a:ext cx="478887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758A94F3-F9EE-52AA-4B7B-B799FEE37001}"/>
              </a:ext>
            </a:extLst>
          </p:cNvPr>
          <p:cNvSpPr>
            <a:spLocks noGrp="1"/>
          </p:cNvSpPr>
          <p:nvPr userDrawn="1">
            <p:ph type="body" sz="quarter" idx="14" hasCustomPrompt="1"/>
          </p:nvPr>
        </p:nvSpPr>
        <p:spPr>
          <a:xfrm>
            <a:off x="1009815" y="5090765"/>
            <a:ext cx="478887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32" name="Bilde 3">
            <a:extLst>
              <a:ext uri="{FF2B5EF4-FFF2-40B4-BE49-F238E27FC236}">
                <a16:creationId xmlns:a16="http://schemas.microsoft.com/office/drawing/2014/main" id="{98EEFC5F-05DB-267E-00D0-0824C7B567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41083876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P - five and pic A">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504683"/>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sp>
        <p:nvSpPr>
          <p:cNvPr id="33" name="Rectangle 32">
            <a:extLst>
              <a:ext uri="{FF2B5EF4-FFF2-40B4-BE49-F238E27FC236}">
                <a16:creationId xmlns:a16="http://schemas.microsoft.com/office/drawing/2014/main" id="{0DA3DEA2-7333-4492-1044-D7EB7386727A}"/>
              </a:ext>
            </a:extLst>
          </p:cNvPr>
          <p:cNvSpPr/>
          <p:nvPr/>
        </p:nvSpPr>
        <p:spPr>
          <a:xfrm>
            <a:off x="734070" y="2072928"/>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7F35A7AB-6104-5231-735C-5AE5EF809F71}"/>
              </a:ext>
            </a:extLst>
          </p:cNvPr>
          <p:cNvCxnSpPr>
            <a:cxnSpLocks/>
          </p:cNvCxnSpPr>
          <p:nvPr/>
        </p:nvCxnSpPr>
        <p:spPr>
          <a:xfrm>
            <a:off x="829487" y="2063403"/>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5A2AB5B1-2ECF-5F24-EF62-2BEC48D11679}"/>
              </a:ext>
            </a:extLst>
          </p:cNvPr>
          <p:cNvSpPr>
            <a:spLocks noGrp="1"/>
          </p:cNvSpPr>
          <p:nvPr userDrawn="1">
            <p:ph type="body" sz="quarter" idx="10" hasCustomPrompt="1"/>
          </p:nvPr>
        </p:nvSpPr>
        <p:spPr>
          <a:xfrm>
            <a:off x="983357" y="2162003"/>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7" name="Rectangle 46">
            <a:extLst>
              <a:ext uri="{FF2B5EF4-FFF2-40B4-BE49-F238E27FC236}">
                <a16:creationId xmlns:a16="http://schemas.microsoft.com/office/drawing/2014/main" id="{6F9DD9A6-9D82-99B8-94E5-51FB18A35AFF}"/>
              </a:ext>
            </a:extLst>
          </p:cNvPr>
          <p:cNvSpPr/>
          <p:nvPr/>
        </p:nvSpPr>
        <p:spPr>
          <a:xfrm>
            <a:off x="734070" y="2915116"/>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8" name="Straight Connector 47">
            <a:extLst>
              <a:ext uri="{FF2B5EF4-FFF2-40B4-BE49-F238E27FC236}">
                <a16:creationId xmlns:a16="http://schemas.microsoft.com/office/drawing/2014/main" id="{6BAF944F-5074-63E2-A5E3-2B5F0E5C3D07}"/>
              </a:ext>
            </a:extLst>
          </p:cNvPr>
          <p:cNvCxnSpPr>
            <a:cxnSpLocks/>
          </p:cNvCxnSpPr>
          <p:nvPr/>
        </p:nvCxnSpPr>
        <p:spPr>
          <a:xfrm>
            <a:off x="829487" y="2913211"/>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18CC2C82-EAA6-63E4-031C-FC42706250B7}"/>
              </a:ext>
            </a:extLst>
          </p:cNvPr>
          <p:cNvSpPr/>
          <p:nvPr/>
        </p:nvSpPr>
        <p:spPr>
          <a:xfrm>
            <a:off x="734070" y="3757304"/>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891DA805-F299-AE45-6235-E1100FC431C5}"/>
              </a:ext>
            </a:extLst>
          </p:cNvPr>
          <p:cNvCxnSpPr>
            <a:cxnSpLocks/>
          </p:cNvCxnSpPr>
          <p:nvPr/>
        </p:nvCxnSpPr>
        <p:spPr>
          <a:xfrm>
            <a:off x="829487" y="3747779"/>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3E2BD2D-2C57-54CC-2ECB-DDF1AEF80DCB}"/>
              </a:ext>
            </a:extLst>
          </p:cNvPr>
          <p:cNvSpPr/>
          <p:nvPr/>
        </p:nvSpPr>
        <p:spPr>
          <a:xfrm>
            <a:off x="734070" y="459949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E1648AD5-C028-FBF1-597A-79A21158DE93}"/>
              </a:ext>
            </a:extLst>
          </p:cNvPr>
          <p:cNvCxnSpPr>
            <a:cxnSpLocks/>
          </p:cNvCxnSpPr>
          <p:nvPr/>
        </p:nvCxnSpPr>
        <p:spPr>
          <a:xfrm>
            <a:off x="829487" y="4589967"/>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Text Placeholder 20">
            <a:extLst>
              <a:ext uri="{FF2B5EF4-FFF2-40B4-BE49-F238E27FC236}">
                <a16:creationId xmlns:a16="http://schemas.microsoft.com/office/drawing/2014/main" id="{B1A0D399-AD63-C8F6-A79B-CA49BE109A06}"/>
              </a:ext>
            </a:extLst>
          </p:cNvPr>
          <p:cNvSpPr>
            <a:spLocks noGrp="1"/>
          </p:cNvSpPr>
          <p:nvPr userDrawn="1">
            <p:ph type="body" sz="quarter" idx="12" hasCustomPrompt="1"/>
          </p:nvPr>
        </p:nvSpPr>
        <p:spPr>
          <a:xfrm>
            <a:off x="983357" y="3004191"/>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6" name="Text Placeholder 20">
            <a:extLst>
              <a:ext uri="{FF2B5EF4-FFF2-40B4-BE49-F238E27FC236}">
                <a16:creationId xmlns:a16="http://schemas.microsoft.com/office/drawing/2014/main" id="{CCC12247-8BAB-4AE4-DDFB-5CB8B7006906}"/>
              </a:ext>
            </a:extLst>
          </p:cNvPr>
          <p:cNvSpPr>
            <a:spLocks noGrp="1"/>
          </p:cNvSpPr>
          <p:nvPr userDrawn="1">
            <p:ph type="body" sz="quarter" idx="13" hasCustomPrompt="1"/>
          </p:nvPr>
        </p:nvSpPr>
        <p:spPr>
          <a:xfrm>
            <a:off x="983357" y="3846379"/>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7" name="Text Placeholder 20">
            <a:extLst>
              <a:ext uri="{FF2B5EF4-FFF2-40B4-BE49-F238E27FC236}">
                <a16:creationId xmlns:a16="http://schemas.microsoft.com/office/drawing/2014/main" id="{2FEA113A-604B-5532-6772-443DEC02D830}"/>
              </a:ext>
            </a:extLst>
          </p:cNvPr>
          <p:cNvSpPr>
            <a:spLocks noGrp="1"/>
          </p:cNvSpPr>
          <p:nvPr userDrawn="1">
            <p:ph type="body" sz="quarter" idx="14" hasCustomPrompt="1"/>
          </p:nvPr>
        </p:nvSpPr>
        <p:spPr>
          <a:xfrm>
            <a:off x="983357" y="4688567"/>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9" name="Rectangle 58">
            <a:extLst>
              <a:ext uri="{FF2B5EF4-FFF2-40B4-BE49-F238E27FC236}">
                <a16:creationId xmlns:a16="http://schemas.microsoft.com/office/drawing/2014/main" id="{74C29AE8-19AA-C1C7-9021-ACCC5B30EBA8}"/>
              </a:ext>
            </a:extLst>
          </p:cNvPr>
          <p:cNvSpPr/>
          <p:nvPr/>
        </p:nvSpPr>
        <p:spPr>
          <a:xfrm>
            <a:off x="752577" y="5441680"/>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0" name="Straight Connector 59">
            <a:extLst>
              <a:ext uri="{FF2B5EF4-FFF2-40B4-BE49-F238E27FC236}">
                <a16:creationId xmlns:a16="http://schemas.microsoft.com/office/drawing/2014/main" id="{D1AF8B10-77B7-994C-26DA-98606625369C}"/>
              </a:ext>
            </a:extLst>
          </p:cNvPr>
          <p:cNvCxnSpPr>
            <a:cxnSpLocks/>
          </p:cNvCxnSpPr>
          <p:nvPr/>
        </p:nvCxnSpPr>
        <p:spPr>
          <a:xfrm>
            <a:off x="847994" y="5432155"/>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Text Placeholder 20">
            <a:extLst>
              <a:ext uri="{FF2B5EF4-FFF2-40B4-BE49-F238E27FC236}">
                <a16:creationId xmlns:a16="http://schemas.microsoft.com/office/drawing/2014/main" id="{EBC6E672-A248-2ABD-D4D1-033D6C57FC5E}"/>
              </a:ext>
            </a:extLst>
          </p:cNvPr>
          <p:cNvSpPr>
            <a:spLocks noGrp="1"/>
          </p:cNvSpPr>
          <p:nvPr userDrawn="1">
            <p:ph type="body" sz="quarter" idx="15" hasCustomPrompt="1"/>
          </p:nvPr>
        </p:nvSpPr>
        <p:spPr>
          <a:xfrm>
            <a:off x="1001864" y="5530755"/>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27" name="Bilde 3">
            <a:extLst>
              <a:ext uri="{FF2B5EF4-FFF2-40B4-BE49-F238E27FC236}">
                <a16:creationId xmlns:a16="http://schemas.microsoft.com/office/drawing/2014/main" id="{A5B0FA5C-4366-EE3B-6258-1E103A7EB7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27340500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6" name="Rectangle 25">
            <a:extLst>
              <a:ext uri="{FF2B5EF4-FFF2-40B4-BE49-F238E27FC236}">
                <a16:creationId xmlns:a16="http://schemas.microsoft.com/office/drawing/2014/main" id="{964B2FCB-A9B0-4145-B29B-AD456C94D7C2}"/>
              </a:ext>
            </a:extLst>
          </p:cNvPr>
          <p:cNvSpPr/>
          <p:nvPr/>
        </p:nvSpPr>
        <p:spPr>
          <a:xfrm>
            <a:off x="741777" y="2706095"/>
            <a:ext cx="5234480" cy="3070681"/>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8" name="Straight Connector 27">
            <a:extLst>
              <a:ext uri="{FF2B5EF4-FFF2-40B4-BE49-F238E27FC236}">
                <a16:creationId xmlns:a16="http://schemas.microsoft.com/office/drawing/2014/main" id="{17FD8ADB-B041-7841-B1C3-28DBA168A7C7}"/>
              </a:ext>
            </a:extLst>
          </p:cNvPr>
          <p:cNvCxnSpPr>
            <a:cxnSpLocks/>
          </p:cNvCxnSpPr>
          <p:nvPr/>
        </p:nvCxnSpPr>
        <p:spPr>
          <a:xfrm>
            <a:off x="741777" y="2695911"/>
            <a:ext cx="523448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50" name="Text Placeholder 20">
            <a:extLst>
              <a:ext uri="{FF2B5EF4-FFF2-40B4-BE49-F238E27FC236}">
                <a16:creationId xmlns:a16="http://schemas.microsoft.com/office/drawing/2014/main" id="{0AB8628E-6620-874B-85B8-393DA4676167}"/>
              </a:ext>
            </a:extLst>
          </p:cNvPr>
          <p:cNvSpPr>
            <a:spLocks noGrp="1"/>
          </p:cNvSpPr>
          <p:nvPr userDrawn="1">
            <p:ph type="body" sz="quarter" idx="19" hasCustomPrompt="1"/>
          </p:nvPr>
        </p:nvSpPr>
        <p:spPr>
          <a:xfrm>
            <a:off x="916646" y="2866046"/>
            <a:ext cx="4831011" cy="2731120"/>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ext Placeholder 20">
            <a:extLst>
              <a:ext uri="{FF2B5EF4-FFF2-40B4-BE49-F238E27FC236}">
                <a16:creationId xmlns:a16="http://schemas.microsoft.com/office/drawing/2014/main" id="{1CA6145D-0C72-F541-BE9A-355F095B9528}"/>
              </a:ext>
            </a:extLst>
          </p:cNvPr>
          <p:cNvSpPr>
            <a:spLocks noGrp="1"/>
          </p:cNvSpPr>
          <p:nvPr userDrawn="1">
            <p:ph type="body" sz="quarter" idx="22" hasCustomPrompt="1"/>
          </p:nvPr>
        </p:nvSpPr>
        <p:spPr>
          <a:xfrm>
            <a:off x="916646" y="1964633"/>
            <a:ext cx="483101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6" name="Rectangle 45">
            <a:extLst>
              <a:ext uri="{FF2B5EF4-FFF2-40B4-BE49-F238E27FC236}">
                <a16:creationId xmlns:a16="http://schemas.microsoft.com/office/drawing/2014/main" id="{A3D10291-5127-FF2D-DB99-A8BC7A6A2DD7}"/>
              </a:ext>
            </a:extLst>
          </p:cNvPr>
          <p:cNvSpPr/>
          <p:nvPr/>
        </p:nvSpPr>
        <p:spPr>
          <a:xfrm>
            <a:off x="6179192" y="2706095"/>
            <a:ext cx="5234480" cy="3070681"/>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47" name="Straight Connector 46">
            <a:extLst>
              <a:ext uri="{FF2B5EF4-FFF2-40B4-BE49-F238E27FC236}">
                <a16:creationId xmlns:a16="http://schemas.microsoft.com/office/drawing/2014/main" id="{11529A5D-199F-9F29-A51F-7EB14E5F39A4}"/>
              </a:ext>
            </a:extLst>
          </p:cNvPr>
          <p:cNvCxnSpPr>
            <a:cxnSpLocks/>
          </p:cNvCxnSpPr>
          <p:nvPr/>
        </p:nvCxnSpPr>
        <p:spPr>
          <a:xfrm>
            <a:off x="6179192" y="2695911"/>
            <a:ext cx="523448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49" name="Text Placeholder 20">
            <a:extLst>
              <a:ext uri="{FF2B5EF4-FFF2-40B4-BE49-F238E27FC236}">
                <a16:creationId xmlns:a16="http://schemas.microsoft.com/office/drawing/2014/main" id="{53F9C245-C049-7212-1741-F3CF7A9166B4}"/>
              </a:ext>
            </a:extLst>
          </p:cNvPr>
          <p:cNvSpPr>
            <a:spLocks noGrp="1"/>
          </p:cNvSpPr>
          <p:nvPr userDrawn="1">
            <p:ph type="body" sz="quarter" idx="23" hasCustomPrompt="1"/>
          </p:nvPr>
        </p:nvSpPr>
        <p:spPr>
          <a:xfrm>
            <a:off x="6354061" y="2866046"/>
            <a:ext cx="4831011" cy="2731120"/>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1" name="Text Placeholder 20">
            <a:extLst>
              <a:ext uri="{FF2B5EF4-FFF2-40B4-BE49-F238E27FC236}">
                <a16:creationId xmlns:a16="http://schemas.microsoft.com/office/drawing/2014/main" id="{DB1A1BE0-6496-E44D-5A1D-6067B555908A}"/>
              </a:ext>
            </a:extLst>
          </p:cNvPr>
          <p:cNvSpPr>
            <a:spLocks noGrp="1"/>
          </p:cNvSpPr>
          <p:nvPr userDrawn="1">
            <p:ph type="body" sz="quarter" idx="24" hasCustomPrompt="1"/>
          </p:nvPr>
        </p:nvSpPr>
        <p:spPr>
          <a:xfrm>
            <a:off x="6354061" y="1964633"/>
            <a:ext cx="483101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2" name="Title 1">
            <a:extLst>
              <a:ext uri="{FF2B5EF4-FFF2-40B4-BE49-F238E27FC236}">
                <a16:creationId xmlns:a16="http://schemas.microsoft.com/office/drawing/2014/main" id="{B47A2599-5FAF-9034-E375-BAE6412058E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pic>
        <p:nvPicPr>
          <p:cNvPr id="16" name="Bilde 3">
            <a:extLst>
              <a:ext uri="{FF2B5EF4-FFF2-40B4-BE49-F238E27FC236}">
                <a16:creationId xmlns:a16="http://schemas.microsoft.com/office/drawing/2014/main" id="{26F30CAA-FF03-C96A-502E-FF88C11C47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29298611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9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6" name="Rectangle 25">
            <a:extLst>
              <a:ext uri="{FF2B5EF4-FFF2-40B4-BE49-F238E27FC236}">
                <a16:creationId xmlns:a16="http://schemas.microsoft.com/office/drawing/2014/main" id="{964B2FCB-A9B0-4145-B29B-AD456C94D7C2}"/>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8" name="Straight Connector 27">
            <a:extLst>
              <a:ext uri="{FF2B5EF4-FFF2-40B4-BE49-F238E27FC236}">
                <a16:creationId xmlns:a16="http://schemas.microsoft.com/office/drawing/2014/main" id="{17FD8ADB-B041-7841-B1C3-28DBA168A7C7}"/>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30" name="Rectangle 29">
            <a:extLst>
              <a:ext uri="{FF2B5EF4-FFF2-40B4-BE49-F238E27FC236}">
                <a16:creationId xmlns:a16="http://schemas.microsoft.com/office/drawing/2014/main" id="{BEA4711D-5FB9-1140-ACF9-77B5A0C68D53}"/>
              </a:ext>
            </a:extLst>
          </p:cNvPr>
          <p:cNvSpPr/>
          <p:nvPr/>
        </p:nvSpPr>
        <p:spPr>
          <a:xfrm>
            <a:off x="4253915"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2" name="Straight Connector 31">
            <a:extLst>
              <a:ext uri="{FF2B5EF4-FFF2-40B4-BE49-F238E27FC236}">
                <a16:creationId xmlns:a16="http://schemas.microsoft.com/office/drawing/2014/main" id="{52130800-D63A-3843-B550-B3C820A89816}"/>
              </a:ext>
            </a:extLst>
          </p:cNvPr>
          <p:cNvCxnSpPr>
            <a:cxnSpLocks/>
          </p:cNvCxnSpPr>
          <p:nvPr/>
        </p:nvCxnSpPr>
        <p:spPr>
          <a:xfrm>
            <a:off x="4253915"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37" name="Rectangle 36">
            <a:extLst>
              <a:ext uri="{FF2B5EF4-FFF2-40B4-BE49-F238E27FC236}">
                <a16:creationId xmlns:a16="http://schemas.microsoft.com/office/drawing/2014/main" id="{0C98384D-7BB5-5C48-A5ED-327B4184534B}"/>
              </a:ext>
            </a:extLst>
          </p:cNvPr>
          <p:cNvSpPr/>
          <p:nvPr/>
        </p:nvSpPr>
        <p:spPr>
          <a:xfrm>
            <a:off x="775949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48" name="Straight Connector 47">
            <a:extLst>
              <a:ext uri="{FF2B5EF4-FFF2-40B4-BE49-F238E27FC236}">
                <a16:creationId xmlns:a16="http://schemas.microsoft.com/office/drawing/2014/main" id="{DE9F925F-0CBA-BF4C-9DFE-2CF31B40A496}"/>
              </a:ext>
            </a:extLst>
          </p:cNvPr>
          <p:cNvCxnSpPr>
            <a:cxnSpLocks/>
          </p:cNvCxnSpPr>
          <p:nvPr/>
        </p:nvCxnSpPr>
        <p:spPr>
          <a:xfrm>
            <a:off x="775949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50" name="Text Placeholder 20">
            <a:extLst>
              <a:ext uri="{FF2B5EF4-FFF2-40B4-BE49-F238E27FC236}">
                <a16:creationId xmlns:a16="http://schemas.microsoft.com/office/drawing/2014/main" id="{0AB8628E-6620-874B-85B8-393DA4676167}"/>
              </a:ext>
            </a:extLst>
          </p:cNvPr>
          <p:cNvSpPr>
            <a:spLocks noGrp="1"/>
          </p:cNvSpPr>
          <p:nvPr>
            <p:ph type="body" sz="quarter" idx="19" hasCustomPrompt="1"/>
          </p:nvPr>
        </p:nvSpPr>
        <p:spPr>
          <a:xfrm>
            <a:off x="916646" y="3179823"/>
            <a:ext cx="2774041" cy="2372109"/>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9" name="Text Placeholder 20">
            <a:extLst>
              <a:ext uri="{FF2B5EF4-FFF2-40B4-BE49-F238E27FC236}">
                <a16:creationId xmlns:a16="http://schemas.microsoft.com/office/drawing/2014/main" id="{A56B007D-AE67-314F-AB2F-B2CB4787DDFB}"/>
              </a:ext>
            </a:extLst>
          </p:cNvPr>
          <p:cNvSpPr>
            <a:spLocks noGrp="1"/>
          </p:cNvSpPr>
          <p:nvPr>
            <p:ph type="body" sz="quarter" idx="20" hasCustomPrompt="1"/>
          </p:nvPr>
        </p:nvSpPr>
        <p:spPr>
          <a:xfrm>
            <a:off x="4450894" y="3185748"/>
            <a:ext cx="2774041" cy="2372109"/>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60" name="Text Placeholder 20">
            <a:extLst>
              <a:ext uri="{FF2B5EF4-FFF2-40B4-BE49-F238E27FC236}">
                <a16:creationId xmlns:a16="http://schemas.microsoft.com/office/drawing/2014/main" id="{8F5D6E2F-7511-1C4E-BCEA-BE59A10E6B55}"/>
              </a:ext>
            </a:extLst>
          </p:cNvPr>
          <p:cNvSpPr>
            <a:spLocks noGrp="1"/>
          </p:cNvSpPr>
          <p:nvPr>
            <p:ph type="body" sz="quarter" idx="21" hasCustomPrompt="1"/>
          </p:nvPr>
        </p:nvSpPr>
        <p:spPr>
          <a:xfrm>
            <a:off x="7956476" y="3195932"/>
            <a:ext cx="2774041" cy="2372109"/>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ext Placeholder 20">
            <a:extLst>
              <a:ext uri="{FF2B5EF4-FFF2-40B4-BE49-F238E27FC236}">
                <a16:creationId xmlns:a16="http://schemas.microsoft.com/office/drawing/2014/main" id="{1CA6145D-0C72-F541-BE9A-355F095B9528}"/>
              </a:ext>
            </a:extLst>
          </p:cNvPr>
          <p:cNvSpPr>
            <a:spLocks noGrp="1"/>
          </p:cNvSpPr>
          <p:nvPr>
            <p:ph type="body" sz="quarter" idx="22" hasCustomPrompt="1"/>
          </p:nvPr>
        </p:nvSpPr>
        <p:spPr>
          <a:xfrm>
            <a:off x="916646" y="2278410"/>
            <a:ext cx="277404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9" name="Text Placeholder 20">
            <a:extLst>
              <a:ext uri="{FF2B5EF4-FFF2-40B4-BE49-F238E27FC236}">
                <a16:creationId xmlns:a16="http://schemas.microsoft.com/office/drawing/2014/main" id="{CD8BDA50-ABD7-723D-FFC8-3A1EF3BE0050}"/>
              </a:ext>
            </a:extLst>
          </p:cNvPr>
          <p:cNvSpPr>
            <a:spLocks noGrp="1"/>
          </p:cNvSpPr>
          <p:nvPr>
            <p:ph type="body" sz="quarter" idx="23" hasCustomPrompt="1"/>
          </p:nvPr>
        </p:nvSpPr>
        <p:spPr>
          <a:xfrm>
            <a:off x="4450894" y="2284335"/>
            <a:ext cx="277404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20" name="Text Placeholder 20">
            <a:extLst>
              <a:ext uri="{FF2B5EF4-FFF2-40B4-BE49-F238E27FC236}">
                <a16:creationId xmlns:a16="http://schemas.microsoft.com/office/drawing/2014/main" id="{A675B563-EEF3-5077-3650-299FDCF523BE}"/>
              </a:ext>
            </a:extLst>
          </p:cNvPr>
          <p:cNvSpPr>
            <a:spLocks noGrp="1"/>
          </p:cNvSpPr>
          <p:nvPr>
            <p:ph type="body" sz="quarter" idx="24" hasCustomPrompt="1"/>
          </p:nvPr>
        </p:nvSpPr>
        <p:spPr>
          <a:xfrm>
            <a:off x="7956476" y="2294519"/>
            <a:ext cx="277404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21" name="Title 1">
            <a:extLst>
              <a:ext uri="{FF2B5EF4-FFF2-40B4-BE49-F238E27FC236}">
                <a16:creationId xmlns:a16="http://schemas.microsoft.com/office/drawing/2014/main" id="{FBC1BB7D-600D-3086-600E-967C8E38E39A}"/>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pic>
        <p:nvPicPr>
          <p:cNvPr id="24" name="Bilde 3">
            <a:extLst>
              <a:ext uri="{FF2B5EF4-FFF2-40B4-BE49-F238E27FC236}">
                <a16:creationId xmlns:a16="http://schemas.microsoft.com/office/drawing/2014/main" id="{9CD177BF-FF5D-5C7A-316D-6DDD63B3FFF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16297598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6_Custom Layout">
    <p:bg>
      <p:bgPr>
        <a:solidFill>
          <a:schemeClr val="accent3"/>
        </a:solidFill>
        <a:effectLst/>
      </p:bgPr>
    </p:bg>
    <p:spTree>
      <p:nvGrpSpPr>
        <p:cNvPr id="1" name=""/>
        <p:cNvGrpSpPr/>
        <p:nvPr/>
      </p:nvGrpSpPr>
      <p:grpSpPr>
        <a:xfrm>
          <a:off x="0" y="0"/>
          <a:ext cx="0" cy="0"/>
          <a:chOff x="0" y="0"/>
          <a:chExt cx="0" cy="0"/>
        </a:xfrm>
      </p:grpSpPr>
      <p:pic>
        <p:nvPicPr>
          <p:cNvPr id="23" name="Bilde 3">
            <a:extLst>
              <a:ext uri="{FF2B5EF4-FFF2-40B4-BE49-F238E27FC236}">
                <a16:creationId xmlns:a16="http://schemas.microsoft.com/office/drawing/2014/main" id="{D00E2AFF-DEA5-0D40-A283-8310B81ED59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6" name="Title 1">
            <a:extLst>
              <a:ext uri="{FF2B5EF4-FFF2-40B4-BE49-F238E27FC236}">
                <a16:creationId xmlns:a16="http://schemas.microsoft.com/office/drawing/2014/main" id="{B4A3ECC9-8F4D-E101-59A0-077077FE57B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bg1"/>
                </a:solidFill>
                <a:latin typeface="Helvetica Light" panose="020B0403020202020204" pitchFamily="34" charset="0"/>
              </a:defRPr>
            </a:lvl1pPr>
          </a:lstStyle>
          <a:p>
            <a:r>
              <a:rPr lang="en-GB"/>
              <a:t>Slide title here</a:t>
            </a:r>
            <a:endParaRPr lang="en-US"/>
          </a:p>
        </p:txBody>
      </p:sp>
      <p:cxnSp>
        <p:nvCxnSpPr>
          <p:cNvPr id="7" name="Straight Connector 6">
            <a:extLst>
              <a:ext uri="{FF2B5EF4-FFF2-40B4-BE49-F238E27FC236}">
                <a16:creationId xmlns:a16="http://schemas.microsoft.com/office/drawing/2014/main" id="{795D36FA-32FE-D914-4600-645D7F8B4F09}"/>
              </a:ext>
            </a:extLst>
          </p:cNvPr>
          <p:cNvCxnSpPr>
            <a:cxnSpLocks/>
          </p:cNvCxnSpPr>
          <p:nvPr userDrawn="1"/>
        </p:nvCxnSpPr>
        <p:spPr>
          <a:xfrm>
            <a:off x="259644" y="6415094"/>
            <a:ext cx="1165729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Date Placeholder 2">
            <a:extLst>
              <a:ext uri="{FF2B5EF4-FFF2-40B4-BE49-F238E27FC236}">
                <a16:creationId xmlns:a16="http://schemas.microsoft.com/office/drawing/2014/main" id="{215FB111-AAF3-6032-3C9E-731E726A2869}"/>
              </a:ext>
            </a:extLst>
          </p:cNvPr>
          <p:cNvSpPr>
            <a:spLocks noGrp="1"/>
          </p:cNvSpPr>
          <p:nvPr>
            <p:ph type="dt" sz="half" idx="16"/>
          </p:nvPr>
        </p:nvSpPr>
        <p:spPr>
          <a:xfrm>
            <a:off x="2303627" y="6492875"/>
            <a:ext cx="528585" cy="365125"/>
          </a:xfrm>
        </p:spPr>
        <p:txBody>
          <a:bodyPr/>
          <a:lstStyle/>
          <a:p>
            <a:fld id="{5B5755F0-11C4-3147-BDD7-4A4C2319FDC8}" type="datetime1">
              <a:rPr lang="nb-NO" smtClean="0"/>
              <a:t>20.08.2024</a:t>
            </a:fld>
            <a:endParaRPr lang="en-US"/>
          </a:p>
        </p:txBody>
      </p:sp>
      <p:sp>
        <p:nvSpPr>
          <p:cNvPr id="12" name="Footer Placeholder 3">
            <a:extLst>
              <a:ext uri="{FF2B5EF4-FFF2-40B4-BE49-F238E27FC236}">
                <a16:creationId xmlns:a16="http://schemas.microsoft.com/office/drawing/2014/main" id="{C9CF8A18-7C8B-000D-F346-39DC81A61DB3}"/>
              </a:ext>
            </a:extLst>
          </p:cNvPr>
          <p:cNvSpPr>
            <a:spLocks noGrp="1"/>
          </p:cNvSpPr>
          <p:nvPr>
            <p:ph type="ftr" sz="quarter" idx="17"/>
          </p:nvPr>
        </p:nvSpPr>
        <p:spPr>
          <a:xfrm>
            <a:off x="175116" y="6492875"/>
            <a:ext cx="2107096" cy="365125"/>
          </a:xfrm>
        </p:spPr>
        <p:txBody>
          <a:bodyPr/>
          <a:lstStyle/>
          <a:p>
            <a:r>
              <a:rPr lang="en-US"/>
              <a:t>© StrongPoint 2022</a:t>
            </a:r>
          </a:p>
        </p:txBody>
      </p:sp>
      <p:sp>
        <p:nvSpPr>
          <p:cNvPr id="13" name="Slide Number Placeholder 4">
            <a:extLst>
              <a:ext uri="{FF2B5EF4-FFF2-40B4-BE49-F238E27FC236}">
                <a16:creationId xmlns:a16="http://schemas.microsoft.com/office/drawing/2014/main" id="{E583F702-8D79-7A26-D8A6-4AA71B0DFC52}"/>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687224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userDrawn="1">
          <p15:clr>
            <a:srgbClr val="FBAE40"/>
          </p15:clr>
        </p15:guide>
        <p15:guide id="2" pos="6607">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50_Custom Layou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011D626-3DE3-B061-399E-A199D5C50ED2}"/>
              </a:ext>
            </a:extLst>
          </p:cNvPr>
          <p:cNvGrpSpPr/>
          <p:nvPr userDrawn="1"/>
        </p:nvGrpSpPr>
        <p:grpSpPr>
          <a:xfrm>
            <a:off x="741777" y="2466299"/>
            <a:ext cx="2568674" cy="3483187"/>
            <a:chOff x="741777" y="3009688"/>
            <a:chExt cx="3168000" cy="2705311"/>
          </a:xfrm>
        </p:grpSpPr>
        <p:sp>
          <p:nvSpPr>
            <p:cNvPr id="26" name="Rectangle 25">
              <a:extLst>
                <a:ext uri="{FF2B5EF4-FFF2-40B4-BE49-F238E27FC236}">
                  <a16:creationId xmlns:a16="http://schemas.microsoft.com/office/drawing/2014/main" id="{964B2FCB-A9B0-4145-B29B-AD456C94D7C2}"/>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8" name="Straight Connector 27">
              <a:extLst>
                <a:ext uri="{FF2B5EF4-FFF2-40B4-BE49-F238E27FC236}">
                  <a16:creationId xmlns:a16="http://schemas.microsoft.com/office/drawing/2014/main" id="{17FD8ADB-B041-7841-B1C3-28DBA168A7C7}"/>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50" name="Text Placeholder 20">
            <a:extLst>
              <a:ext uri="{FF2B5EF4-FFF2-40B4-BE49-F238E27FC236}">
                <a16:creationId xmlns:a16="http://schemas.microsoft.com/office/drawing/2014/main" id="{0AB8628E-6620-874B-85B8-393DA4676167}"/>
              </a:ext>
            </a:extLst>
          </p:cNvPr>
          <p:cNvSpPr>
            <a:spLocks noGrp="1"/>
          </p:cNvSpPr>
          <p:nvPr>
            <p:ph type="body" sz="quarter" idx="19" hasCustomPrompt="1"/>
          </p:nvPr>
        </p:nvSpPr>
        <p:spPr>
          <a:xfrm>
            <a:off x="916647" y="2636434"/>
            <a:ext cx="2218440" cy="3165235"/>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ext Placeholder 20">
            <a:extLst>
              <a:ext uri="{FF2B5EF4-FFF2-40B4-BE49-F238E27FC236}">
                <a16:creationId xmlns:a16="http://schemas.microsoft.com/office/drawing/2014/main" id="{1CA6145D-0C72-F541-BE9A-355F095B9528}"/>
              </a:ext>
            </a:extLst>
          </p:cNvPr>
          <p:cNvSpPr>
            <a:spLocks noGrp="1"/>
          </p:cNvSpPr>
          <p:nvPr>
            <p:ph type="body" sz="quarter" idx="22" hasCustomPrompt="1"/>
          </p:nvPr>
        </p:nvSpPr>
        <p:spPr>
          <a:xfrm>
            <a:off x="916647" y="1655697"/>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grpSp>
        <p:nvGrpSpPr>
          <p:cNvPr id="36" name="Group 35">
            <a:extLst>
              <a:ext uri="{FF2B5EF4-FFF2-40B4-BE49-F238E27FC236}">
                <a16:creationId xmlns:a16="http://schemas.microsoft.com/office/drawing/2014/main" id="{10FCA0BF-9E4E-438D-86BD-D6CE1C6532F4}"/>
              </a:ext>
            </a:extLst>
          </p:cNvPr>
          <p:cNvGrpSpPr/>
          <p:nvPr userDrawn="1"/>
        </p:nvGrpSpPr>
        <p:grpSpPr>
          <a:xfrm>
            <a:off x="3419661" y="2466299"/>
            <a:ext cx="2568674" cy="3483187"/>
            <a:chOff x="741777" y="3009688"/>
            <a:chExt cx="3168000" cy="2705311"/>
          </a:xfrm>
        </p:grpSpPr>
        <p:sp>
          <p:nvSpPr>
            <p:cNvPr id="38" name="Rectangle 37">
              <a:extLst>
                <a:ext uri="{FF2B5EF4-FFF2-40B4-BE49-F238E27FC236}">
                  <a16:creationId xmlns:a16="http://schemas.microsoft.com/office/drawing/2014/main" id="{9371083E-173B-64B6-90DB-3932E95AE3CE}"/>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9" name="Straight Connector 38">
              <a:extLst>
                <a:ext uri="{FF2B5EF4-FFF2-40B4-BE49-F238E27FC236}">
                  <a16:creationId xmlns:a16="http://schemas.microsoft.com/office/drawing/2014/main" id="{50410FC9-B8E7-3F8D-595B-42FB6FEA213B}"/>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40" name="Text Placeholder 20">
            <a:extLst>
              <a:ext uri="{FF2B5EF4-FFF2-40B4-BE49-F238E27FC236}">
                <a16:creationId xmlns:a16="http://schemas.microsoft.com/office/drawing/2014/main" id="{81692953-2040-E900-7B7B-F1391A6919F4}"/>
              </a:ext>
            </a:extLst>
          </p:cNvPr>
          <p:cNvSpPr>
            <a:spLocks noGrp="1"/>
          </p:cNvSpPr>
          <p:nvPr>
            <p:ph type="body" sz="quarter" idx="23" hasCustomPrompt="1"/>
          </p:nvPr>
        </p:nvSpPr>
        <p:spPr>
          <a:xfrm>
            <a:off x="3594531" y="2636434"/>
            <a:ext cx="2218440" cy="3165235"/>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1" name="Text Placeholder 20">
            <a:extLst>
              <a:ext uri="{FF2B5EF4-FFF2-40B4-BE49-F238E27FC236}">
                <a16:creationId xmlns:a16="http://schemas.microsoft.com/office/drawing/2014/main" id="{99CAF562-9E6C-E9A1-8784-3B5643C9B56C}"/>
              </a:ext>
            </a:extLst>
          </p:cNvPr>
          <p:cNvSpPr>
            <a:spLocks noGrp="1"/>
          </p:cNvSpPr>
          <p:nvPr>
            <p:ph type="body" sz="quarter" idx="24" hasCustomPrompt="1"/>
          </p:nvPr>
        </p:nvSpPr>
        <p:spPr>
          <a:xfrm>
            <a:off x="3594531" y="1655697"/>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grpSp>
        <p:nvGrpSpPr>
          <p:cNvPr id="42" name="Group 41">
            <a:extLst>
              <a:ext uri="{FF2B5EF4-FFF2-40B4-BE49-F238E27FC236}">
                <a16:creationId xmlns:a16="http://schemas.microsoft.com/office/drawing/2014/main" id="{3BC38829-0CB0-DAC5-3FD3-5F83FAD74D25}"/>
              </a:ext>
            </a:extLst>
          </p:cNvPr>
          <p:cNvGrpSpPr/>
          <p:nvPr userDrawn="1"/>
        </p:nvGrpSpPr>
        <p:grpSpPr>
          <a:xfrm>
            <a:off x="6097545" y="2466299"/>
            <a:ext cx="2568674" cy="3483187"/>
            <a:chOff x="741777" y="3009688"/>
            <a:chExt cx="3168000" cy="2705311"/>
          </a:xfrm>
        </p:grpSpPr>
        <p:sp>
          <p:nvSpPr>
            <p:cNvPr id="43" name="Rectangle 42">
              <a:extLst>
                <a:ext uri="{FF2B5EF4-FFF2-40B4-BE49-F238E27FC236}">
                  <a16:creationId xmlns:a16="http://schemas.microsoft.com/office/drawing/2014/main" id="{934B1946-4432-7FE4-DB63-2FEDA29EC05B}"/>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44" name="Straight Connector 43">
              <a:extLst>
                <a:ext uri="{FF2B5EF4-FFF2-40B4-BE49-F238E27FC236}">
                  <a16:creationId xmlns:a16="http://schemas.microsoft.com/office/drawing/2014/main" id="{947D6BC6-595C-82B9-6399-4E27F2A595EC}"/>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45" name="Text Placeholder 20">
            <a:extLst>
              <a:ext uri="{FF2B5EF4-FFF2-40B4-BE49-F238E27FC236}">
                <a16:creationId xmlns:a16="http://schemas.microsoft.com/office/drawing/2014/main" id="{F8FE9088-EF4C-3223-9561-5AA13C2DA0BC}"/>
              </a:ext>
            </a:extLst>
          </p:cNvPr>
          <p:cNvSpPr>
            <a:spLocks noGrp="1"/>
          </p:cNvSpPr>
          <p:nvPr>
            <p:ph type="body" sz="quarter" idx="25" hasCustomPrompt="1"/>
          </p:nvPr>
        </p:nvSpPr>
        <p:spPr>
          <a:xfrm>
            <a:off x="6272415" y="2636434"/>
            <a:ext cx="2218440" cy="3165235"/>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FDAFBEA9-6483-A006-3BCE-3E336865EB86}"/>
              </a:ext>
            </a:extLst>
          </p:cNvPr>
          <p:cNvSpPr>
            <a:spLocks noGrp="1"/>
          </p:cNvSpPr>
          <p:nvPr>
            <p:ph type="body" sz="quarter" idx="26" hasCustomPrompt="1"/>
          </p:nvPr>
        </p:nvSpPr>
        <p:spPr>
          <a:xfrm>
            <a:off x="6272415" y="1655697"/>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grpSp>
        <p:nvGrpSpPr>
          <p:cNvPr id="47" name="Group 46">
            <a:extLst>
              <a:ext uri="{FF2B5EF4-FFF2-40B4-BE49-F238E27FC236}">
                <a16:creationId xmlns:a16="http://schemas.microsoft.com/office/drawing/2014/main" id="{B49072DD-A0AB-BA37-188D-A6CBE2760790}"/>
              </a:ext>
            </a:extLst>
          </p:cNvPr>
          <p:cNvGrpSpPr/>
          <p:nvPr userDrawn="1"/>
        </p:nvGrpSpPr>
        <p:grpSpPr>
          <a:xfrm>
            <a:off x="8775429" y="2466299"/>
            <a:ext cx="2568674" cy="3483187"/>
            <a:chOff x="741777" y="3009688"/>
            <a:chExt cx="3168000" cy="2705311"/>
          </a:xfrm>
        </p:grpSpPr>
        <p:sp>
          <p:nvSpPr>
            <p:cNvPr id="49" name="Rectangle 48">
              <a:extLst>
                <a:ext uri="{FF2B5EF4-FFF2-40B4-BE49-F238E27FC236}">
                  <a16:creationId xmlns:a16="http://schemas.microsoft.com/office/drawing/2014/main" id="{43226A65-F603-7E9F-1818-EB37E0ADFE01}"/>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51" name="Straight Connector 50">
              <a:extLst>
                <a:ext uri="{FF2B5EF4-FFF2-40B4-BE49-F238E27FC236}">
                  <a16:creationId xmlns:a16="http://schemas.microsoft.com/office/drawing/2014/main" id="{72CD8099-2E22-CF35-A54D-8A6B45292651}"/>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52" name="Text Placeholder 20">
            <a:extLst>
              <a:ext uri="{FF2B5EF4-FFF2-40B4-BE49-F238E27FC236}">
                <a16:creationId xmlns:a16="http://schemas.microsoft.com/office/drawing/2014/main" id="{D2A91264-00E1-4BD3-293E-BE40AAD98C5F}"/>
              </a:ext>
            </a:extLst>
          </p:cNvPr>
          <p:cNvSpPr>
            <a:spLocks noGrp="1"/>
          </p:cNvSpPr>
          <p:nvPr>
            <p:ph type="body" sz="quarter" idx="27" hasCustomPrompt="1"/>
          </p:nvPr>
        </p:nvSpPr>
        <p:spPr>
          <a:xfrm>
            <a:off x="8950299" y="2636434"/>
            <a:ext cx="2218440" cy="3165235"/>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3" name="Text Placeholder 20">
            <a:extLst>
              <a:ext uri="{FF2B5EF4-FFF2-40B4-BE49-F238E27FC236}">
                <a16:creationId xmlns:a16="http://schemas.microsoft.com/office/drawing/2014/main" id="{7AE9B17A-9DE8-3C9E-DDDC-CA860B6819B3}"/>
              </a:ext>
            </a:extLst>
          </p:cNvPr>
          <p:cNvSpPr>
            <a:spLocks noGrp="1"/>
          </p:cNvSpPr>
          <p:nvPr>
            <p:ph type="body" sz="quarter" idx="28" hasCustomPrompt="1"/>
          </p:nvPr>
        </p:nvSpPr>
        <p:spPr>
          <a:xfrm>
            <a:off x="8950299" y="1655697"/>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4" name="Title 1">
            <a:extLst>
              <a:ext uri="{FF2B5EF4-FFF2-40B4-BE49-F238E27FC236}">
                <a16:creationId xmlns:a16="http://schemas.microsoft.com/office/drawing/2014/main" id="{4CBCEBE8-4452-D323-6817-17EE7B63E7D9}"/>
              </a:ext>
            </a:extLst>
          </p:cNvPr>
          <p:cNvSpPr>
            <a:spLocks noGrp="1"/>
          </p:cNvSpPr>
          <p:nvPr>
            <p:ph type="title" hasCustomPrompt="1"/>
          </p:nvPr>
        </p:nvSpPr>
        <p:spPr>
          <a:xfrm>
            <a:off x="741777" y="365126"/>
            <a:ext cx="10671895" cy="1072413"/>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pic>
        <p:nvPicPr>
          <p:cNvPr id="29" name="Bilde 3">
            <a:extLst>
              <a:ext uri="{FF2B5EF4-FFF2-40B4-BE49-F238E27FC236}">
                <a16:creationId xmlns:a16="http://schemas.microsoft.com/office/drawing/2014/main" id="{83CBD614-335B-27CF-E780-42F6959997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11782192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51_Custom Layou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64B2FCB-A9B0-4145-B29B-AD456C94D7C2}"/>
              </a:ext>
            </a:extLst>
          </p:cNvPr>
          <p:cNvSpPr/>
          <p:nvPr/>
        </p:nvSpPr>
        <p:spPr>
          <a:xfrm>
            <a:off x="741777" y="2294769"/>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8" name="Straight Connector 27">
            <a:extLst>
              <a:ext uri="{FF2B5EF4-FFF2-40B4-BE49-F238E27FC236}">
                <a16:creationId xmlns:a16="http://schemas.microsoft.com/office/drawing/2014/main" id="{17FD8ADB-B041-7841-B1C3-28DBA168A7C7}"/>
              </a:ext>
            </a:extLst>
          </p:cNvPr>
          <p:cNvCxnSpPr>
            <a:cxnSpLocks/>
          </p:cNvCxnSpPr>
          <p:nvPr/>
        </p:nvCxnSpPr>
        <p:spPr>
          <a:xfrm>
            <a:off x="741777" y="2281656"/>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22" name="Rektangel 2">
            <a:extLst>
              <a:ext uri="{FF2B5EF4-FFF2-40B4-BE49-F238E27FC236}">
                <a16:creationId xmlns:a16="http://schemas.microsoft.com/office/drawing/2014/main" id="{D40A3AB9-ABBE-2444-B58D-F892A304954B}"/>
              </a:ext>
            </a:extLst>
          </p:cNvPr>
          <p:cNvSpPr/>
          <p:nvPr userDrawn="1"/>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50" name="Text Placeholder 20">
            <a:extLst>
              <a:ext uri="{FF2B5EF4-FFF2-40B4-BE49-F238E27FC236}">
                <a16:creationId xmlns:a16="http://schemas.microsoft.com/office/drawing/2014/main" id="{0AB8628E-6620-874B-85B8-393DA4676167}"/>
              </a:ext>
            </a:extLst>
          </p:cNvPr>
          <p:cNvSpPr>
            <a:spLocks noGrp="1"/>
          </p:cNvSpPr>
          <p:nvPr userDrawn="1">
            <p:ph type="body" sz="quarter" idx="19" hasCustomPrompt="1"/>
          </p:nvPr>
        </p:nvSpPr>
        <p:spPr>
          <a:xfrm>
            <a:off x="916647" y="2451792"/>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ext Placeholder 20">
            <a:extLst>
              <a:ext uri="{FF2B5EF4-FFF2-40B4-BE49-F238E27FC236}">
                <a16:creationId xmlns:a16="http://schemas.microsoft.com/office/drawing/2014/main" id="{1CA6145D-0C72-F541-BE9A-355F095B9528}"/>
              </a:ext>
            </a:extLst>
          </p:cNvPr>
          <p:cNvSpPr>
            <a:spLocks noGrp="1"/>
          </p:cNvSpPr>
          <p:nvPr userDrawn="1">
            <p:ph type="body" sz="quarter" idx="22" hasCustomPrompt="1"/>
          </p:nvPr>
        </p:nvSpPr>
        <p:spPr>
          <a:xfrm>
            <a:off x="916647" y="1471054"/>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8" name="Rectangle 37">
            <a:extLst>
              <a:ext uri="{FF2B5EF4-FFF2-40B4-BE49-F238E27FC236}">
                <a16:creationId xmlns:a16="http://schemas.microsoft.com/office/drawing/2014/main" id="{9371083E-173B-64B6-90DB-3932E95AE3CE}"/>
              </a:ext>
            </a:extLst>
          </p:cNvPr>
          <p:cNvSpPr/>
          <p:nvPr/>
        </p:nvSpPr>
        <p:spPr>
          <a:xfrm>
            <a:off x="3419661" y="2294769"/>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9" name="Straight Connector 38">
            <a:extLst>
              <a:ext uri="{FF2B5EF4-FFF2-40B4-BE49-F238E27FC236}">
                <a16:creationId xmlns:a16="http://schemas.microsoft.com/office/drawing/2014/main" id="{50410FC9-B8E7-3F8D-595B-42FB6FEA213B}"/>
              </a:ext>
            </a:extLst>
          </p:cNvPr>
          <p:cNvCxnSpPr>
            <a:cxnSpLocks/>
          </p:cNvCxnSpPr>
          <p:nvPr/>
        </p:nvCxnSpPr>
        <p:spPr>
          <a:xfrm>
            <a:off x="3419661" y="2281656"/>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40" name="Text Placeholder 20">
            <a:extLst>
              <a:ext uri="{FF2B5EF4-FFF2-40B4-BE49-F238E27FC236}">
                <a16:creationId xmlns:a16="http://schemas.microsoft.com/office/drawing/2014/main" id="{81692953-2040-E900-7B7B-F1391A6919F4}"/>
              </a:ext>
            </a:extLst>
          </p:cNvPr>
          <p:cNvSpPr>
            <a:spLocks noGrp="1"/>
          </p:cNvSpPr>
          <p:nvPr userDrawn="1">
            <p:ph type="body" sz="quarter" idx="23" hasCustomPrompt="1"/>
          </p:nvPr>
        </p:nvSpPr>
        <p:spPr>
          <a:xfrm>
            <a:off x="3594531" y="2451792"/>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1" name="Text Placeholder 20">
            <a:extLst>
              <a:ext uri="{FF2B5EF4-FFF2-40B4-BE49-F238E27FC236}">
                <a16:creationId xmlns:a16="http://schemas.microsoft.com/office/drawing/2014/main" id="{99CAF562-9E6C-E9A1-8784-3B5643C9B56C}"/>
              </a:ext>
            </a:extLst>
          </p:cNvPr>
          <p:cNvSpPr>
            <a:spLocks noGrp="1"/>
          </p:cNvSpPr>
          <p:nvPr userDrawn="1">
            <p:ph type="body" sz="quarter" idx="24" hasCustomPrompt="1"/>
          </p:nvPr>
        </p:nvSpPr>
        <p:spPr>
          <a:xfrm>
            <a:off x="3594531" y="1471054"/>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3" name="Rectangle 42">
            <a:extLst>
              <a:ext uri="{FF2B5EF4-FFF2-40B4-BE49-F238E27FC236}">
                <a16:creationId xmlns:a16="http://schemas.microsoft.com/office/drawing/2014/main" id="{934B1946-4432-7FE4-DB63-2FEDA29EC05B}"/>
              </a:ext>
            </a:extLst>
          </p:cNvPr>
          <p:cNvSpPr/>
          <p:nvPr/>
        </p:nvSpPr>
        <p:spPr>
          <a:xfrm>
            <a:off x="6097545" y="2294769"/>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44" name="Straight Connector 43">
            <a:extLst>
              <a:ext uri="{FF2B5EF4-FFF2-40B4-BE49-F238E27FC236}">
                <a16:creationId xmlns:a16="http://schemas.microsoft.com/office/drawing/2014/main" id="{947D6BC6-595C-82B9-6399-4E27F2A595EC}"/>
              </a:ext>
            </a:extLst>
          </p:cNvPr>
          <p:cNvCxnSpPr>
            <a:cxnSpLocks/>
          </p:cNvCxnSpPr>
          <p:nvPr/>
        </p:nvCxnSpPr>
        <p:spPr>
          <a:xfrm>
            <a:off x="6097545" y="2281656"/>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45" name="Text Placeholder 20">
            <a:extLst>
              <a:ext uri="{FF2B5EF4-FFF2-40B4-BE49-F238E27FC236}">
                <a16:creationId xmlns:a16="http://schemas.microsoft.com/office/drawing/2014/main" id="{F8FE9088-EF4C-3223-9561-5AA13C2DA0BC}"/>
              </a:ext>
            </a:extLst>
          </p:cNvPr>
          <p:cNvSpPr>
            <a:spLocks noGrp="1"/>
          </p:cNvSpPr>
          <p:nvPr userDrawn="1">
            <p:ph type="body" sz="quarter" idx="25" hasCustomPrompt="1"/>
          </p:nvPr>
        </p:nvSpPr>
        <p:spPr>
          <a:xfrm>
            <a:off x="6272415" y="2451792"/>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FDAFBEA9-6483-A006-3BCE-3E336865EB86}"/>
              </a:ext>
            </a:extLst>
          </p:cNvPr>
          <p:cNvSpPr>
            <a:spLocks noGrp="1"/>
          </p:cNvSpPr>
          <p:nvPr userDrawn="1">
            <p:ph type="body" sz="quarter" idx="26" hasCustomPrompt="1"/>
          </p:nvPr>
        </p:nvSpPr>
        <p:spPr>
          <a:xfrm>
            <a:off x="6272415" y="1471054"/>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9" name="Rectangle 48">
            <a:extLst>
              <a:ext uri="{FF2B5EF4-FFF2-40B4-BE49-F238E27FC236}">
                <a16:creationId xmlns:a16="http://schemas.microsoft.com/office/drawing/2014/main" id="{43226A65-F603-7E9F-1818-EB37E0ADFE01}"/>
              </a:ext>
            </a:extLst>
          </p:cNvPr>
          <p:cNvSpPr/>
          <p:nvPr/>
        </p:nvSpPr>
        <p:spPr>
          <a:xfrm>
            <a:off x="8775429" y="2294769"/>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51" name="Straight Connector 50">
            <a:extLst>
              <a:ext uri="{FF2B5EF4-FFF2-40B4-BE49-F238E27FC236}">
                <a16:creationId xmlns:a16="http://schemas.microsoft.com/office/drawing/2014/main" id="{72CD8099-2E22-CF35-A54D-8A6B45292651}"/>
              </a:ext>
            </a:extLst>
          </p:cNvPr>
          <p:cNvCxnSpPr>
            <a:cxnSpLocks/>
          </p:cNvCxnSpPr>
          <p:nvPr/>
        </p:nvCxnSpPr>
        <p:spPr>
          <a:xfrm>
            <a:off x="8775429" y="2281656"/>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52" name="Text Placeholder 20">
            <a:extLst>
              <a:ext uri="{FF2B5EF4-FFF2-40B4-BE49-F238E27FC236}">
                <a16:creationId xmlns:a16="http://schemas.microsoft.com/office/drawing/2014/main" id="{D2A91264-00E1-4BD3-293E-BE40AAD98C5F}"/>
              </a:ext>
            </a:extLst>
          </p:cNvPr>
          <p:cNvSpPr>
            <a:spLocks noGrp="1"/>
          </p:cNvSpPr>
          <p:nvPr userDrawn="1">
            <p:ph type="body" sz="quarter" idx="27" hasCustomPrompt="1"/>
          </p:nvPr>
        </p:nvSpPr>
        <p:spPr>
          <a:xfrm>
            <a:off x="8950299" y="2451792"/>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3" name="Text Placeholder 20">
            <a:extLst>
              <a:ext uri="{FF2B5EF4-FFF2-40B4-BE49-F238E27FC236}">
                <a16:creationId xmlns:a16="http://schemas.microsoft.com/office/drawing/2014/main" id="{7AE9B17A-9DE8-3C9E-DDDC-CA860B6819B3}"/>
              </a:ext>
            </a:extLst>
          </p:cNvPr>
          <p:cNvSpPr>
            <a:spLocks noGrp="1"/>
          </p:cNvSpPr>
          <p:nvPr userDrawn="1">
            <p:ph type="body" sz="quarter" idx="28" hasCustomPrompt="1"/>
          </p:nvPr>
        </p:nvSpPr>
        <p:spPr>
          <a:xfrm>
            <a:off x="8950299" y="1471054"/>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25" name="Rectangle 24">
            <a:extLst>
              <a:ext uri="{FF2B5EF4-FFF2-40B4-BE49-F238E27FC236}">
                <a16:creationId xmlns:a16="http://schemas.microsoft.com/office/drawing/2014/main" id="{771DEEDC-8187-24ED-7E42-DAF4D52C68F0}"/>
              </a:ext>
            </a:extLst>
          </p:cNvPr>
          <p:cNvSpPr/>
          <p:nvPr userDrawn="1"/>
        </p:nvSpPr>
        <p:spPr>
          <a:xfrm>
            <a:off x="741777" y="4673718"/>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7" name="Straight Connector 26">
            <a:extLst>
              <a:ext uri="{FF2B5EF4-FFF2-40B4-BE49-F238E27FC236}">
                <a16:creationId xmlns:a16="http://schemas.microsoft.com/office/drawing/2014/main" id="{6FEC3663-E96C-EB19-6441-42F6D2DC96EB}"/>
              </a:ext>
            </a:extLst>
          </p:cNvPr>
          <p:cNvCxnSpPr>
            <a:cxnSpLocks/>
          </p:cNvCxnSpPr>
          <p:nvPr userDrawn="1"/>
        </p:nvCxnSpPr>
        <p:spPr>
          <a:xfrm>
            <a:off x="741777" y="4660605"/>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29" name="Text Placeholder 20">
            <a:extLst>
              <a:ext uri="{FF2B5EF4-FFF2-40B4-BE49-F238E27FC236}">
                <a16:creationId xmlns:a16="http://schemas.microsoft.com/office/drawing/2014/main" id="{213A7298-F970-E6B0-83A2-28DA87BFD348}"/>
              </a:ext>
            </a:extLst>
          </p:cNvPr>
          <p:cNvSpPr>
            <a:spLocks noGrp="1"/>
          </p:cNvSpPr>
          <p:nvPr>
            <p:ph type="body" sz="quarter" idx="29" hasCustomPrompt="1"/>
          </p:nvPr>
        </p:nvSpPr>
        <p:spPr>
          <a:xfrm>
            <a:off x="916647" y="4830741"/>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0" name="Text Placeholder 20">
            <a:extLst>
              <a:ext uri="{FF2B5EF4-FFF2-40B4-BE49-F238E27FC236}">
                <a16:creationId xmlns:a16="http://schemas.microsoft.com/office/drawing/2014/main" id="{14C5DD45-1491-CE4C-68D4-8537C20243BA}"/>
              </a:ext>
            </a:extLst>
          </p:cNvPr>
          <p:cNvSpPr>
            <a:spLocks noGrp="1"/>
          </p:cNvSpPr>
          <p:nvPr>
            <p:ph type="body" sz="quarter" idx="30" hasCustomPrompt="1"/>
          </p:nvPr>
        </p:nvSpPr>
        <p:spPr>
          <a:xfrm>
            <a:off x="916647" y="3850003"/>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1" name="Rectangle 30">
            <a:extLst>
              <a:ext uri="{FF2B5EF4-FFF2-40B4-BE49-F238E27FC236}">
                <a16:creationId xmlns:a16="http://schemas.microsoft.com/office/drawing/2014/main" id="{64127DA2-9D94-3342-77FA-829E376A2AAB}"/>
              </a:ext>
            </a:extLst>
          </p:cNvPr>
          <p:cNvSpPr/>
          <p:nvPr userDrawn="1"/>
        </p:nvSpPr>
        <p:spPr>
          <a:xfrm>
            <a:off x="3419661" y="4673718"/>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2" name="Straight Connector 31">
            <a:extLst>
              <a:ext uri="{FF2B5EF4-FFF2-40B4-BE49-F238E27FC236}">
                <a16:creationId xmlns:a16="http://schemas.microsoft.com/office/drawing/2014/main" id="{94459CC2-233A-3DEB-79C8-F3938E2874EA}"/>
              </a:ext>
            </a:extLst>
          </p:cNvPr>
          <p:cNvCxnSpPr>
            <a:cxnSpLocks/>
          </p:cNvCxnSpPr>
          <p:nvPr userDrawn="1"/>
        </p:nvCxnSpPr>
        <p:spPr>
          <a:xfrm>
            <a:off x="3419661" y="4660605"/>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33" name="Text Placeholder 20">
            <a:extLst>
              <a:ext uri="{FF2B5EF4-FFF2-40B4-BE49-F238E27FC236}">
                <a16:creationId xmlns:a16="http://schemas.microsoft.com/office/drawing/2014/main" id="{0CF42145-CC43-0481-2346-A89427045E01}"/>
              </a:ext>
            </a:extLst>
          </p:cNvPr>
          <p:cNvSpPr>
            <a:spLocks noGrp="1"/>
          </p:cNvSpPr>
          <p:nvPr>
            <p:ph type="body" sz="quarter" idx="31" hasCustomPrompt="1"/>
          </p:nvPr>
        </p:nvSpPr>
        <p:spPr>
          <a:xfrm>
            <a:off x="3594531" y="4830741"/>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4" name="Text Placeholder 20">
            <a:extLst>
              <a:ext uri="{FF2B5EF4-FFF2-40B4-BE49-F238E27FC236}">
                <a16:creationId xmlns:a16="http://schemas.microsoft.com/office/drawing/2014/main" id="{769DBB9D-40B5-FDB7-C647-56DDDA0858C3}"/>
              </a:ext>
            </a:extLst>
          </p:cNvPr>
          <p:cNvSpPr>
            <a:spLocks noGrp="1"/>
          </p:cNvSpPr>
          <p:nvPr>
            <p:ph type="body" sz="quarter" idx="32" hasCustomPrompt="1"/>
          </p:nvPr>
        </p:nvSpPr>
        <p:spPr>
          <a:xfrm>
            <a:off x="3594531" y="3850003"/>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5" name="Rectangle 34">
            <a:extLst>
              <a:ext uri="{FF2B5EF4-FFF2-40B4-BE49-F238E27FC236}">
                <a16:creationId xmlns:a16="http://schemas.microsoft.com/office/drawing/2014/main" id="{54BCF977-5C7F-3DF5-226C-277F16D4A6FF}"/>
              </a:ext>
            </a:extLst>
          </p:cNvPr>
          <p:cNvSpPr/>
          <p:nvPr userDrawn="1"/>
        </p:nvSpPr>
        <p:spPr>
          <a:xfrm>
            <a:off x="6097545" y="4673718"/>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7" name="Straight Connector 36">
            <a:extLst>
              <a:ext uri="{FF2B5EF4-FFF2-40B4-BE49-F238E27FC236}">
                <a16:creationId xmlns:a16="http://schemas.microsoft.com/office/drawing/2014/main" id="{61D22BE9-B0C4-9A41-C5B2-58F43FE7CDAA}"/>
              </a:ext>
            </a:extLst>
          </p:cNvPr>
          <p:cNvCxnSpPr>
            <a:cxnSpLocks/>
          </p:cNvCxnSpPr>
          <p:nvPr userDrawn="1"/>
        </p:nvCxnSpPr>
        <p:spPr>
          <a:xfrm>
            <a:off x="6097545" y="4660605"/>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48" name="Text Placeholder 20">
            <a:extLst>
              <a:ext uri="{FF2B5EF4-FFF2-40B4-BE49-F238E27FC236}">
                <a16:creationId xmlns:a16="http://schemas.microsoft.com/office/drawing/2014/main" id="{31A2F491-F043-7829-889E-CC01ADD3DF5F}"/>
              </a:ext>
            </a:extLst>
          </p:cNvPr>
          <p:cNvSpPr>
            <a:spLocks noGrp="1"/>
          </p:cNvSpPr>
          <p:nvPr>
            <p:ph type="body" sz="quarter" idx="33" hasCustomPrompt="1"/>
          </p:nvPr>
        </p:nvSpPr>
        <p:spPr>
          <a:xfrm>
            <a:off x="6272415" y="4830741"/>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4" name="Text Placeholder 20">
            <a:extLst>
              <a:ext uri="{FF2B5EF4-FFF2-40B4-BE49-F238E27FC236}">
                <a16:creationId xmlns:a16="http://schemas.microsoft.com/office/drawing/2014/main" id="{450FF938-86F3-41D1-C772-3BB3B837341F}"/>
              </a:ext>
            </a:extLst>
          </p:cNvPr>
          <p:cNvSpPr>
            <a:spLocks noGrp="1"/>
          </p:cNvSpPr>
          <p:nvPr>
            <p:ph type="body" sz="quarter" idx="34" hasCustomPrompt="1"/>
          </p:nvPr>
        </p:nvSpPr>
        <p:spPr>
          <a:xfrm>
            <a:off x="6272415" y="3850003"/>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5" name="Rectangle 54">
            <a:extLst>
              <a:ext uri="{FF2B5EF4-FFF2-40B4-BE49-F238E27FC236}">
                <a16:creationId xmlns:a16="http://schemas.microsoft.com/office/drawing/2014/main" id="{F8392C24-170F-C3C9-8554-7D2FF1E002D9}"/>
              </a:ext>
            </a:extLst>
          </p:cNvPr>
          <p:cNvSpPr/>
          <p:nvPr userDrawn="1"/>
        </p:nvSpPr>
        <p:spPr>
          <a:xfrm>
            <a:off x="8775429" y="4673718"/>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56" name="Straight Connector 55">
            <a:extLst>
              <a:ext uri="{FF2B5EF4-FFF2-40B4-BE49-F238E27FC236}">
                <a16:creationId xmlns:a16="http://schemas.microsoft.com/office/drawing/2014/main" id="{9B9E750F-A21C-FCB9-4EFC-7BEA8BFE35C0}"/>
              </a:ext>
            </a:extLst>
          </p:cNvPr>
          <p:cNvCxnSpPr>
            <a:cxnSpLocks/>
          </p:cNvCxnSpPr>
          <p:nvPr userDrawn="1"/>
        </p:nvCxnSpPr>
        <p:spPr>
          <a:xfrm>
            <a:off x="8775429" y="4660605"/>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57" name="Text Placeholder 20">
            <a:extLst>
              <a:ext uri="{FF2B5EF4-FFF2-40B4-BE49-F238E27FC236}">
                <a16:creationId xmlns:a16="http://schemas.microsoft.com/office/drawing/2014/main" id="{DB2B63C6-9F13-A41E-F5D4-B1F419019F2E}"/>
              </a:ext>
            </a:extLst>
          </p:cNvPr>
          <p:cNvSpPr>
            <a:spLocks noGrp="1"/>
          </p:cNvSpPr>
          <p:nvPr>
            <p:ph type="body" sz="quarter" idx="35" hasCustomPrompt="1"/>
          </p:nvPr>
        </p:nvSpPr>
        <p:spPr>
          <a:xfrm>
            <a:off x="8950299" y="4830741"/>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8" name="Text Placeholder 20">
            <a:extLst>
              <a:ext uri="{FF2B5EF4-FFF2-40B4-BE49-F238E27FC236}">
                <a16:creationId xmlns:a16="http://schemas.microsoft.com/office/drawing/2014/main" id="{A121C4C7-0C16-A825-2C55-2F10B1BA2063}"/>
              </a:ext>
            </a:extLst>
          </p:cNvPr>
          <p:cNvSpPr>
            <a:spLocks noGrp="1"/>
          </p:cNvSpPr>
          <p:nvPr>
            <p:ph type="body" sz="quarter" idx="36" hasCustomPrompt="1"/>
          </p:nvPr>
        </p:nvSpPr>
        <p:spPr>
          <a:xfrm>
            <a:off x="8950299" y="3850003"/>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9" name="Title 1">
            <a:extLst>
              <a:ext uri="{FF2B5EF4-FFF2-40B4-BE49-F238E27FC236}">
                <a16:creationId xmlns:a16="http://schemas.microsoft.com/office/drawing/2014/main" id="{9B587442-3116-C0A0-18F9-7A897267D819}"/>
              </a:ext>
            </a:extLst>
          </p:cNvPr>
          <p:cNvSpPr>
            <a:spLocks noGrp="1"/>
          </p:cNvSpPr>
          <p:nvPr>
            <p:ph type="title" hasCustomPrompt="1"/>
          </p:nvPr>
        </p:nvSpPr>
        <p:spPr>
          <a:xfrm>
            <a:off x="741777" y="365126"/>
            <a:ext cx="10671895" cy="993684"/>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pic>
        <p:nvPicPr>
          <p:cNvPr id="42" name="Bilde 3">
            <a:extLst>
              <a:ext uri="{FF2B5EF4-FFF2-40B4-BE49-F238E27FC236}">
                <a16:creationId xmlns:a16="http://schemas.microsoft.com/office/drawing/2014/main" id="{1E180836-C789-8619-DB8A-CE3F0915A7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3256489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grpSp>
        <p:nvGrpSpPr>
          <p:cNvPr id="19" name="Group 18">
            <a:extLst>
              <a:ext uri="{FF2B5EF4-FFF2-40B4-BE49-F238E27FC236}">
                <a16:creationId xmlns:a16="http://schemas.microsoft.com/office/drawing/2014/main" id="{B2E54100-83F6-3840-9740-66AEE324BF5D}"/>
              </a:ext>
            </a:extLst>
          </p:cNvPr>
          <p:cNvGrpSpPr/>
          <p:nvPr/>
        </p:nvGrpSpPr>
        <p:grpSpPr>
          <a:xfrm>
            <a:off x="1187723" y="1964633"/>
            <a:ext cx="9298521" cy="1070771"/>
            <a:chOff x="558331" y="2312872"/>
            <a:chExt cx="9298521" cy="756000"/>
          </a:xfrm>
        </p:grpSpPr>
        <p:sp>
          <p:nvSpPr>
            <p:cNvPr id="20" name="Rectangle 19">
              <a:extLst>
                <a:ext uri="{FF2B5EF4-FFF2-40B4-BE49-F238E27FC236}">
                  <a16:creationId xmlns:a16="http://schemas.microsoft.com/office/drawing/2014/main" id="{68E4597E-D37D-6D49-A946-1A166440BD7E}"/>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1273524" y="2040887"/>
            <a:ext cx="8988074" cy="942012"/>
          </a:xfrm>
          <a:prstGeom prst="rect">
            <a:avLst/>
          </a:prstGeom>
        </p:spPr>
        <p:txBody>
          <a:bodyPr anchor="ctr">
            <a:noAutofit/>
          </a:bodyPr>
          <a:lstStyle>
            <a:lvl1pPr>
              <a:defRPr sz="16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33" name="Group 32">
            <a:extLst>
              <a:ext uri="{FF2B5EF4-FFF2-40B4-BE49-F238E27FC236}">
                <a16:creationId xmlns:a16="http://schemas.microsoft.com/office/drawing/2014/main" id="{8CF6493A-85E1-3947-8DFF-8992C3EB5575}"/>
              </a:ext>
            </a:extLst>
          </p:cNvPr>
          <p:cNvGrpSpPr/>
          <p:nvPr/>
        </p:nvGrpSpPr>
        <p:grpSpPr>
          <a:xfrm>
            <a:off x="1187723" y="3221669"/>
            <a:ext cx="9298521" cy="1070771"/>
            <a:chOff x="558331" y="2312872"/>
            <a:chExt cx="9298521" cy="756000"/>
          </a:xfrm>
        </p:grpSpPr>
        <p:sp>
          <p:nvSpPr>
            <p:cNvPr id="34" name="Rectangle 33">
              <a:extLst>
                <a:ext uri="{FF2B5EF4-FFF2-40B4-BE49-F238E27FC236}">
                  <a16:creationId xmlns:a16="http://schemas.microsoft.com/office/drawing/2014/main" id="{5E8ECC9D-C46B-2A4B-BE5F-C9E1BCA7AAB3}"/>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5" name="Straight Connector 34">
              <a:extLst>
                <a:ext uri="{FF2B5EF4-FFF2-40B4-BE49-F238E27FC236}">
                  <a16:creationId xmlns:a16="http://schemas.microsoft.com/office/drawing/2014/main" id="{43F1115C-F8E4-1A46-B855-3890FC0AD164}"/>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9" name="Text Placeholder 20">
            <a:extLst>
              <a:ext uri="{FF2B5EF4-FFF2-40B4-BE49-F238E27FC236}">
                <a16:creationId xmlns:a16="http://schemas.microsoft.com/office/drawing/2014/main" id="{8AA3BD84-2566-4A4F-935C-DC90EF27B068}"/>
              </a:ext>
            </a:extLst>
          </p:cNvPr>
          <p:cNvSpPr>
            <a:spLocks noGrp="1"/>
          </p:cNvSpPr>
          <p:nvPr>
            <p:ph type="body" sz="quarter" idx="16" hasCustomPrompt="1"/>
          </p:nvPr>
        </p:nvSpPr>
        <p:spPr>
          <a:xfrm>
            <a:off x="1273524" y="3297923"/>
            <a:ext cx="8988074" cy="942012"/>
          </a:xfrm>
          <a:prstGeom prst="rect">
            <a:avLst/>
          </a:prstGeom>
        </p:spPr>
        <p:txBody>
          <a:bodyPr anchor="ctr">
            <a:noAutofit/>
          </a:bodyPr>
          <a:lstStyle>
            <a:lvl1pPr>
              <a:defRPr sz="16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40" name="Group 39">
            <a:extLst>
              <a:ext uri="{FF2B5EF4-FFF2-40B4-BE49-F238E27FC236}">
                <a16:creationId xmlns:a16="http://schemas.microsoft.com/office/drawing/2014/main" id="{988AB194-4E6C-E643-89BB-F483B519222E}"/>
              </a:ext>
            </a:extLst>
          </p:cNvPr>
          <p:cNvGrpSpPr/>
          <p:nvPr/>
        </p:nvGrpSpPr>
        <p:grpSpPr>
          <a:xfrm>
            <a:off x="1187723" y="4476771"/>
            <a:ext cx="9298521" cy="1070771"/>
            <a:chOff x="558331" y="2312872"/>
            <a:chExt cx="9298521" cy="756000"/>
          </a:xfrm>
        </p:grpSpPr>
        <p:sp>
          <p:nvSpPr>
            <p:cNvPr id="41" name="Rectangle 40">
              <a:extLst>
                <a:ext uri="{FF2B5EF4-FFF2-40B4-BE49-F238E27FC236}">
                  <a16:creationId xmlns:a16="http://schemas.microsoft.com/office/drawing/2014/main" id="{7B794547-A81B-B146-9F79-83EF1310EF3B}"/>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2" name="Straight Connector 41">
              <a:extLst>
                <a:ext uri="{FF2B5EF4-FFF2-40B4-BE49-F238E27FC236}">
                  <a16:creationId xmlns:a16="http://schemas.microsoft.com/office/drawing/2014/main" id="{1281F5AA-DC43-4A4F-9B6D-F2524A03C140}"/>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4" name="Text Placeholder 20">
            <a:extLst>
              <a:ext uri="{FF2B5EF4-FFF2-40B4-BE49-F238E27FC236}">
                <a16:creationId xmlns:a16="http://schemas.microsoft.com/office/drawing/2014/main" id="{BFEE6F6E-0ACE-CB4C-AE62-AD392FEF8D6B}"/>
              </a:ext>
            </a:extLst>
          </p:cNvPr>
          <p:cNvSpPr>
            <a:spLocks noGrp="1"/>
          </p:cNvSpPr>
          <p:nvPr>
            <p:ph type="body" sz="quarter" idx="17" hasCustomPrompt="1"/>
          </p:nvPr>
        </p:nvSpPr>
        <p:spPr>
          <a:xfrm>
            <a:off x="1273524" y="4553025"/>
            <a:ext cx="8988074" cy="942012"/>
          </a:xfrm>
          <a:prstGeom prst="rect">
            <a:avLst/>
          </a:prstGeom>
        </p:spPr>
        <p:txBody>
          <a:bodyPr anchor="ctr">
            <a:noAutofit/>
          </a:bodyPr>
          <a:lstStyle>
            <a:lvl1pPr>
              <a:defRPr sz="16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itle 1">
            <a:extLst>
              <a:ext uri="{FF2B5EF4-FFF2-40B4-BE49-F238E27FC236}">
                <a16:creationId xmlns:a16="http://schemas.microsoft.com/office/drawing/2014/main" id="{5A8ED574-45A5-BA5F-83D9-501C74743261}"/>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pic>
        <p:nvPicPr>
          <p:cNvPr id="24" name="Bilde 3">
            <a:extLst>
              <a:ext uri="{FF2B5EF4-FFF2-40B4-BE49-F238E27FC236}">
                <a16:creationId xmlns:a16="http://schemas.microsoft.com/office/drawing/2014/main" id="{A611CCAD-80C3-06B4-705B-1B5115DACC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13036868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grpSp>
        <p:nvGrpSpPr>
          <p:cNvPr id="19" name="Group 18">
            <a:extLst>
              <a:ext uri="{FF2B5EF4-FFF2-40B4-BE49-F238E27FC236}">
                <a16:creationId xmlns:a16="http://schemas.microsoft.com/office/drawing/2014/main" id="{B2E54100-83F6-3840-9740-66AEE324BF5D}"/>
              </a:ext>
            </a:extLst>
          </p:cNvPr>
          <p:cNvGrpSpPr/>
          <p:nvPr/>
        </p:nvGrpSpPr>
        <p:grpSpPr>
          <a:xfrm>
            <a:off x="1187723" y="1869808"/>
            <a:ext cx="9298521" cy="863468"/>
            <a:chOff x="558331" y="2312872"/>
            <a:chExt cx="9298521" cy="756000"/>
          </a:xfrm>
        </p:grpSpPr>
        <p:sp>
          <p:nvSpPr>
            <p:cNvPr id="20" name="Rectangle 19">
              <a:extLst>
                <a:ext uri="{FF2B5EF4-FFF2-40B4-BE49-F238E27FC236}">
                  <a16:creationId xmlns:a16="http://schemas.microsoft.com/office/drawing/2014/main" id="{68E4597E-D37D-6D49-A946-1A166440BD7E}"/>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1273524" y="1946061"/>
            <a:ext cx="8988074"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17" name="Group 16">
            <a:extLst>
              <a:ext uri="{FF2B5EF4-FFF2-40B4-BE49-F238E27FC236}">
                <a16:creationId xmlns:a16="http://schemas.microsoft.com/office/drawing/2014/main" id="{3C27F867-309D-EA46-8C0F-93359D32C6CB}"/>
              </a:ext>
            </a:extLst>
          </p:cNvPr>
          <p:cNvGrpSpPr/>
          <p:nvPr/>
        </p:nvGrpSpPr>
        <p:grpSpPr>
          <a:xfrm>
            <a:off x="1187723" y="2835884"/>
            <a:ext cx="9298521" cy="863468"/>
            <a:chOff x="558331" y="2312872"/>
            <a:chExt cx="9298521" cy="756000"/>
          </a:xfrm>
        </p:grpSpPr>
        <p:sp>
          <p:nvSpPr>
            <p:cNvPr id="18" name="Rectangle 17">
              <a:extLst>
                <a:ext uri="{FF2B5EF4-FFF2-40B4-BE49-F238E27FC236}">
                  <a16:creationId xmlns:a16="http://schemas.microsoft.com/office/drawing/2014/main" id="{99E19D7A-E6A9-054C-AB01-00DB0026F10D}"/>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82A16F31-8845-CC4C-9AD4-2BC372F49F8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5" name="Text Placeholder 20">
            <a:extLst>
              <a:ext uri="{FF2B5EF4-FFF2-40B4-BE49-F238E27FC236}">
                <a16:creationId xmlns:a16="http://schemas.microsoft.com/office/drawing/2014/main" id="{FC0F6143-34C5-944F-BEB1-CDAB609C4E6E}"/>
              </a:ext>
            </a:extLst>
          </p:cNvPr>
          <p:cNvSpPr>
            <a:spLocks noGrp="1"/>
          </p:cNvSpPr>
          <p:nvPr>
            <p:ph type="body" sz="quarter" idx="16" hasCustomPrompt="1"/>
          </p:nvPr>
        </p:nvSpPr>
        <p:spPr>
          <a:xfrm>
            <a:off x="1273524" y="2912137"/>
            <a:ext cx="8988074"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26" name="Group 25">
            <a:extLst>
              <a:ext uri="{FF2B5EF4-FFF2-40B4-BE49-F238E27FC236}">
                <a16:creationId xmlns:a16="http://schemas.microsoft.com/office/drawing/2014/main" id="{B34B0E98-BDEB-A143-938B-9D5929ECC2A1}"/>
              </a:ext>
            </a:extLst>
          </p:cNvPr>
          <p:cNvGrpSpPr/>
          <p:nvPr/>
        </p:nvGrpSpPr>
        <p:grpSpPr>
          <a:xfrm>
            <a:off x="1187723" y="3801960"/>
            <a:ext cx="9298521" cy="863468"/>
            <a:chOff x="558331" y="2312872"/>
            <a:chExt cx="9298521" cy="756000"/>
          </a:xfrm>
        </p:grpSpPr>
        <p:sp>
          <p:nvSpPr>
            <p:cNvPr id="27" name="Rectangle 26">
              <a:extLst>
                <a:ext uri="{FF2B5EF4-FFF2-40B4-BE49-F238E27FC236}">
                  <a16:creationId xmlns:a16="http://schemas.microsoft.com/office/drawing/2014/main" id="{154CD58A-8677-9545-B209-DF3C50FFCE03}"/>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CDD90E82-23AD-3E41-AFF1-C14FF24768FB}"/>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9" name="Text Placeholder 20">
            <a:extLst>
              <a:ext uri="{FF2B5EF4-FFF2-40B4-BE49-F238E27FC236}">
                <a16:creationId xmlns:a16="http://schemas.microsoft.com/office/drawing/2014/main" id="{CBE9FA2F-6631-2348-B5E8-CB1404D78870}"/>
              </a:ext>
            </a:extLst>
          </p:cNvPr>
          <p:cNvSpPr>
            <a:spLocks noGrp="1"/>
          </p:cNvSpPr>
          <p:nvPr>
            <p:ph type="body" sz="quarter" idx="17" hasCustomPrompt="1"/>
          </p:nvPr>
        </p:nvSpPr>
        <p:spPr>
          <a:xfrm>
            <a:off x="1273524" y="3878213"/>
            <a:ext cx="8988074"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30" name="Group 29">
            <a:extLst>
              <a:ext uri="{FF2B5EF4-FFF2-40B4-BE49-F238E27FC236}">
                <a16:creationId xmlns:a16="http://schemas.microsoft.com/office/drawing/2014/main" id="{2FEE898A-C06A-E34F-A972-FD3103EE3129}"/>
              </a:ext>
            </a:extLst>
          </p:cNvPr>
          <p:cNvGrpSpPr/>
          <p:nvPr/>
        </p:nvGrpSpPr>
        <p:grpSpPr>
          <a:xfrm>
            <a:off x="1194774" y="4768036"/>
            <a:ext cx="9298521" cy="863468"/>
            <a:chOff x="558331" y="2312872"/>
            <a:chExt cx="9298521" cy="756000"/>
          </a:xfrm>
        </p:grpSpPr>
        <p:sp>
          <p:nvSpPr>
            <p:cNvPr id="31" name="Rectangle 30">
              <a:extLst>
                <a:ext uri="{FF2B5EF4-FFF2-40B4-BE49-F238E27FC236}">
                  <a16:creationId xmlns:a16="http://schemas.microsoft.com/office/drawing/2014/main" id="{DA81EE83-C4CA-464B-95C0-5BA7057E8005}"/>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Connector 35">
              <a:extLst>
                <a:ext uri="{FF2B5EF4-FFF2-40B4-BE49-F238E27FC236}">
                  <a16:creationId xmlns:a16="http://schemas.microsoft.com/office/drawing/2014/main" id="{30F7734C-D965-A94B-944D-9E59C1C659A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7" name="Text Placeholder 20">
            <a:extLst>
              <a:ext uri="{FF2B5EF4-FFF2-40B4-BE49-F238E27FC236}">
                <a16:creationId xmlns:a16="http://schemas.microsoft.com/office/drawing/2014/main" id="{2E0AC1D5-7922-AD4E-9F76-639646857156}"/>
              </a:ext>
            </a:extLst>
          </p:cNvPr>
          <p:cNvSpPr>
            <a:spLocks noGrp="1"/>
          </p:cNvSpPr>
          <p:nvPr>
            <p:ph type="body" sz="quarter" idx="18" hasCustomPrompt="1"/>
          </p:nvPr>
        </p:nvSpPr>
        <p:spPr>
          <a:xfrm>
            <a:off x="1280575" y="4844289"/>
            <a:ext cx="8988074"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4" name="Title 1">
            <a:extLst>
              <a:ext uri="{FF2B5EF4-FFF2-40B4-BE49-F238E27FC236}">
                <a16:creationId xmlns:a16="http://schemas.microsoft.com/office/drawing/2014/main" id="{3D98C387-A2A9-7ECF-B58A-43D17D41B545}"/>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pic>
        <p:nvPicPr>
          <p:cNvPr id="33" name="Bilde 3">
            <a:extLst>
              <a:ext uri="{FF2B5EF4-FFF2-40B4-BE49-F238E27FC236}">
                <a16:creationId xmlns:a16="http://schemas.microsoft.com/office/drawing/2014/main" id="{5A493850-0919-73DC-4660-940F19B6928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34483680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7" y="1980018"/>
            <a:ext cx="5629107" cy="37616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920607" y="2173414"/>
            <a:ext cx="5189583" cy="3418494"/>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cxnSp>
        <p:nvCxnSpPr>
          <p:cNvPr id="38" name="Straight Connector 37">
            <a:extLst>
              <a:ext uri="{FF2B5EF4-FFF2-40B4-BE49-F238E27FC236}">
                <a16:creationId xmlns:a16="http://schemas.microsoft.com/office/drawing/2014/main" id="{50BA0497-110B-3B4D-9B26-9615B579AE79}"/>
              </a:ext>
            </a:extLst>
          </p:cNvPr>
          <p:cNvCxnSpPr>
            <a:cxnSpLocks/>
          </p:cNvCxnSpPr>
          <p:nvPr/>
        </p:nvCxnSpPr>
        <p:spPr>
          <a:xfrm>
            <a:off x="6764797" y="1968295"/>
            <a:ext cx="0" cy="377341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C4E265A3-E59C-4BC7-CBFB-20219EE3DCE7}"/>
              </a:ext>
            </a:extLst>
          </p:cNvPr>
          <p:cNvSpPr>
            <a:spLocks noGrp="1"/>
          </p:cNvSpPr>
          <p:nvPr>
            <p:ph type="body" sz="quarter" idx="20"/>
          </p:nvPr>
        </p:nvSpPr>
        <p:spPr>
          <a:xfrm>
            <a:off x="6961306" y="2732861"/>
            <a:ext cx="4520840" cy="2859047"/>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Click to edit Master text styles</a:t>
            </a:r>
          </a:p>
        </p:txBody>
      </p:sp>
      <p:sp>
        <p:nvSpPr>
          <p:cNvPr id="39" name="Text Placeholder 20">
            <a:extLst>
              <a:ext uri="{FF2B5EF4-FFF2-40B4-BE49-F238E27FC236}">
                <a16:creationId xmlns:a16="http://schemas.microsoft.com/office/drawing/2014/main" id="{0620665D-BB66-4164-1374-A28DAD6902DA}"/>
              </a:ext>
            </a:extLst>
          </p:cNvPr>
          <p:cNvSpPr>
            <a:spLocks noGrp="1"/>
          </p:cNvSpPr>
          <p:nvPr>
            <p:ph type="body" sz="quarter" idx="28" hasCustomPrompt="1"/>
          </p:nvPr>
        </p:nvSpPr>
        <p:spPr>
          <a:xfrm>
            <a:off x="6961306" y="1986725"/>
            <a:ext cx="4520835" cy="629219"/>
          </a:xfrm>
          <a:prstGeom prst="rect">
            <a:avLst/>
          </a:prstGeom>
        </p:spPr>
        <p:txBody>
          <a:bodyPr anchor="t">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0" name="Title 1">
            <a:extLst>
              <a:ext uri="{FF2B5EF4-FFF2-40B4-BE49-F238E27FC236}">
                <a16:creationId xmlns:a16="http://schemas.microsoft.com/office/drawing/2014/main" id="{51F252D0-5EDA-7351-60DB-CC72A28D7A48}"/>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pic>
        <p:nvPicPr>
          <p:cNvPr id="13" name="Bilde 3">
            <a:extLst>
              <a:ext uri="{FF2B5EF4-FFF2-40B4-BE49-F238E27FC236}">
                <a16:creationId xmlns:a16="http://schemas.microsoft.com/office/drawing/2014/main" id="{94408A45-5155-B048-3606-450C4DFB675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13199657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52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grpSp>
        <p:nvGrpSpPr>
          <p:cNvPr id="19" name="Group 18">
            <a:extLst>
              <a:ext uri="{FF2B5EF4-FFF2-40B4-BE49-F238E27FC236}">
                <a16:creationId xmlns:a16="http://schemas.microsoft.com/office/drawing/2014/main" id="{B2E54100-83F6-3840-9740-66AEE324BF5D}"/>
              </a:ext>
            </a:extLst>
          </p:cNvPr>
          <p:cNvGrpSpPr/>
          <p:nvPr userDrawn="1"/>
        </p:nvGrpSpPr>
        <p:grpSpPr>
          <a:xfrm>
            <a:off x="741777" y="1980018"/>
            <a:ext cx="5629107" cy="863468"/>
            <a:chOff x="558331" y="2312872"/>
            <a:chExt cx="9298521" cy="756000"/>
          </a:xfrm>
        </p:grpSpPr>
        <p:sp>
          <p:nvSpPr>
            <p:cNvPr id="20" name="Rectangle 19">
              <a:extLst>
                <a:ext uri="{FF2B5EF4-FFF2-40B4-BE49-F238E27FC236}">
                  <a16:creationId xmlns:a16="http://schemas.microsoft.com/office/drawing/2014/main" id="{68E4597E-D37D-6D49-A946-1A166440BD7E}"/>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7578" y="2056271"/>
            <a:ext cx="5189583"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grpSp>
        <p:nvGrpSpPr>
          <p:cNvPr id="17" name="Group 16">
            <a:extLst>
              <a:ext uri="{FF2B5EF4-FFF2-40B4-BE49-F238E27FC236}">
                <a16:creationId xmlns:a16="http://schemas.microsoft.com/office/drawing/2014/main" id="{3C27F867-309D-EA46-8C0F-93359D32C6CB}"/>
              </a:ext>
            </a:extLst>
          </p:cNvPr>
          <p:cNvGrpSpPr/>
          <p:nvPr userDrawn="1"/>
        </p:nvGrpSpPr>
        <p:grpSpPr>
          <a:xfrm>
            <a:off x="741777" y="2946094"/>
            <a:ext cx="5629107" cy="863468"/>
            <a:chOff x="558331" y="2312872"/>
            <a:chExt cx="9298521" cy="756000"/>
          </a:xfrm>
        </p:grpSpPr>
        <p:sp>
          <p:nvSpPr>
            <p:cNvPr id="18" name="Rectangle 17">
              <a:extLst>
                <a:ext uri="{FF2B5EF4-FFF2-40B4-BE49-F238E27FC236}">
                  <a16:creationId xmlns:a16="http://schemas.microsoft.com/office/drawing/2014/main" id="{99E19D7A-E6A9-054C-AB01-00DB0026F10D}"/>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82A16F31-8845-CC4C-9AD4-2BC372F49F8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5" name="Text Placeholder 20">
            <a:extLst>
              <a:ext uri="{FF2B5EF4-FFF2-40B4-BE49-F238E27FC236}">
                <a16:creationId xmlns:a16="http://schemas.microsoft.com/office/drawing/2014/main" id="{FC0F6143-34C5-944F-BEB1-CDAB609C4E6E}"/>
              </a:ext>
            </a:extLst>
          </p:cNvPr>
          <p:cNvSpPr>
            <a:spLocks noGrp="1"/>
          </p:cNvSpPr>
          <p:nvPr>
            <p:ph type="body" sz="quarter" idx="16" hasCustomPrompt="1"/>
          </p:nvPr>
        </p:nvSpPr>
        <p:spPr>
          <a:xfrm>
            <a:off x="827578" y="3022347"/>
            <a:ext cx="5189583" cy="710960"/>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grpSp>
        <p:nvGrpSpPr>
          <p:cNvPr id="26" name="Group 25">
            <a:extLst>
              <a:ext uri="{FF2B5EF4-FFF2-40B4-BE49-F238E27FC236}">
                <a16:creationId xmlns:a16="http://schemas.microsoft.com/office/drawing/2014/main" id="{B34B0E98-BDEB-A143-938B-9D5929ECC2A1}"/>
              </a:ext>
            </a:extLst>
          </p:cNvPr>
          <p:cNvGrpSpPr/>
          <p:nvPr userDrawn="1"/>
        </p:nvGrpSpPr>
        <p:grpSpPr>
          <a:xfrm>
            <a:off x="741777" y="3912170"/>
            <a:ext cx="5629107" cy="863468"/>
            <a:chOff x="558331" y="2312872"/>
            <a:chExt cx="9298521" cy="756000"/>
          </a:xfrm>
        </p:grpSpPr>
        <p:sp>
          <p:nvSpPr>
            <p:cNvPr id="27" name="Rectangle 26">
              <a:extLst>
                <a:ext uri="{FF2B5EF4-FFF2-40B4-BE49-F238E27FC236}">
                  <a16:creationId xmlns:a16="http://schemas.microsoft.com/office/drawing/2014/main" id="{154CD58A-8677-9545-B209-DF3C50FFCE03}"/>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CDD90E82-23AD-3E41-AFF1-C14FF24768FB}"/>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9" name="Text Placeholder 20">
            <a:extLst>
              <a:ext uri="{FF2B5EF4-FFF2-40B4-BE49-F238E27FC236}">
                <a16:creationId xmlns:a16="http://schemas.microsoft.com/office/drawing/2014/main" id="{CBE9FA2F-6631-2348-B5E8-CB1404D78870}"/>
              </a:ext>
            </a:extLst>
          </p:cNvPr>
          <p:cNvSpPr>
            <a:spLocks noGrp="1"/>
          </p:cNvSpPr>
          <p:nvPr>
            <p:ph type="body" sz="quarter" idx="17" hasCustomPrompt="1"/>
          </p:nvPr>
        </p:nvSpPr>
        <p:spPr>
          <a:xfrm>
            <a:off x="827578" y="3988423"/>
            <a:ext cx="5189583" cy="710960"/>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grpSp>
        <p:nvGrpSpPr>
          <p:cNvPr id="30" name="Group 29">
            <a:extLst>
              <a:ext uri="{FF2B5EF4-FFF2-40B4-BE49-F238E27FC236}">
                <a16:creationId xmlns:a16="http://schemas.microsoft.com/office/drawing/2014/main" id="{2FEE898A-C06A-E34F-A972-FD3103EE3129}"/>
              </a:ext>
            </a:extLst>
          </p:cNvPr>
          <p:cNvGrpSpPr/>
          <p:nvPr userDrawn="1"/>
        </p:nvGrpSpPr>
        <p:grpSpPr>
          <a:xfrm>
            <a:off x="748828" y="4878246"/>
            <a:ext cx="5629107" cy="863468"/>
            <a:chOff x="558331" y="2312872"/>
            <a:chExt cx="9298521" cy="756000"/>
          </a:xfrm>
        </p:grpSpPr>
        <p:sp>
          <p:nvSpPr>
            <p:cNvPr id="31" name="Rectangle 30">
              <a:extLst>
                <a:ext uri="{FF2B5EF4-FFF2-40B4-BE49-F238E27FC236}">
                  <a16:creationId xmlns:a16="http://schemas.microsoft.com/office/drawing/2014/main" id="{DA81EE83-C4CA-464B-95C0-5BA7057E8005}"/>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Connector 35">
              <a:extLst>
                <a:ext uri="{FF2B5EF4-FFF2-40B4-BE49-F238E27FC236}">
                  <a16:creationId xmlns:a16="http://schemas.microsoft.com/office/drawing/2014/main" id="{30F7734C-D965-A94B-944D-9E59C1C659A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7" name="Text Placeholder 20">
            <a:extLst>
              <a:ext uri="{FF2B5EF4-FFF2-40B4-BE49-F238E27FC236}">
                <a16:creationId xmlns:a16="http://schemas.microsoft.com/office/drawing/2014/main" id="{2E0AC1D5-7922-AD4E-9F76-639646857156}"/>
              </a:ext>
            </a:extLst>
          </p:cNvPr>
          <p:cNvSpPr>
            <a:spLocks noGrp="1"/>
          </p:cNvSpPr>
          <p:nvPr>
            <p:ph type="body" sz="quarter" idx="18" hasCustomPrompt="1"/>
          </p:nvPr>
        </p:nvSpPr>
        <p:spPr>
          <a:xfrm>
            <a:off x="834629" y="4954499"/>
            <a:ext cx="5189583" cy="710960"/>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cxnSp>
        <p:nvCxnSpPr>
          <p:cNvPr id="38" name="Straight Connector 37">
            <a:extLst>
              <a:ext uri="{FF2B5EF4-FFF2-40B4-BE49-F238E27FC236}">
                <a16:creationId xmlns:a16="http://schemas.microsoft.com/office/drawing/2014/main" id="{50BA0497-110B-3B4D-9B26-9615B579AE79}"/>
              </a:ext>
            </a:extLst>
          </p:cNvPr>
          <p:cNvCxnSpPr>
            <a:cxnSpLocks/>
          </p:cNvCxnSpPr>
          <p:nvPr userDrawn="1"/>
        </p:nvCxnSpPr>
        <p:spPr>
          <a:xfrm>
            <a:off x="6764797" y="1968295"/>
            <a:ext cx="0" cy="377341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48532500-70E3-56B8-5408-3B19292DC938}"/>
              </a:ext>
            </a:extLst>
          </p:cNvPr>
          <p:cNvSpPr>
            <a:spLocks noGrp="1"/>
          </p:cNvSpPr>
          <p:nvPr>
            <p:ph type="body" sz="quarter" idx="20"/>
          </p:nvPr>
        </p:nvSpPr>
        <p:spPr>
          <a:xfrm>
            <a:off x="6961306" y="2732861"/>
            <a:ext cx="4520840" cy="2859047"/>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Click to edit Master text styles</a:t>
            </a:r>
          </a:p>
        </p:txBody>
      </p:sp>
      <p:sp>
        <p:nvSpPr>
          <p:cNvPr id="39" name="Text Placeholder 20">
            <a:extLst>
              <a:ext uri="{FF2B5EF4-FFF2-40B4-BE49-F238E27FC236}">
                <a16:creationId xmlns:a16="http://schemas.microsoft.com/office/drawing/2014/main" id="{70055568-A992-C0C3-247D-12598FCCA433}"/>
              </a:ext>
            </a:extLst>
          </p:cNvPr>
          <p:cNvSpPr>
            <a:spLocks noGrp="1"/>
          </p:cNvSpPr>
          <p:nvPr>
            <p:ph type="body" sz="quarter" idx="28" hasCustomPrompt="1"/>
          </p:nvPr>
        </p:nvSpPr>
        <p:spPr>
          <a:xfrm>
            <a:off x="6961306" y="1986725"/>
            <a:ext cx="4520835" cy="629219"/>
          </a:xfrm>
          <a:prstGeom prst="rect">
            <a:avLst/>
          </a:prstGeom>
        </p:spPr>
        <p:txBody>
          <a:bodyPr anchor="t">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0" name="Title 1">
            <a:extLst>
              <a:ext uri="{FF2B5EF4-FFF2-40B4-BE49-F238E27FC236}">
                <a16:creationId xmlns:a16="http://schemas.microsoft.com/office/drawing/2014/main" id="{A6F30889-31DB-9A6C-379C-3B0014AD5F04}"/>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pic>
        <p:nvPicPr>
          <p:cNvPr id="33" name="Bilde 3">
            <a:extLst>
              <a:ext uri="{FF2B5EF4-FFF2-40B4-BE49-F238E27FC236}">
                <a16:creationId xmlns:a16="http://schemas.microsoft.com/office/drawing/2014/main" id="{7F36F31A-B85F-ECCC-EE19-25B832DA9B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24855270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7" y="1606947"/>
            <a:ext cx="9063966"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41777"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84024" y="1850244"/>
            <a:ext cx="6770384" cy="3804619"/>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34" name="Bilde 13" descr="Et bilde som inneholder innendørs, datamaskin, leke, bord&#10;&#10;Automatisk generert beskrivelse">
            <a:extLst>
              <a:ext uri="{FF2B5EF4-FFF2-40B4-BE49-F238E27FC236}">
                <a16:creationId xmlns:a16="http://schemas.microsoft.com/office/drawing/2014/main" id="{82ADC36C-C5B4-5446-B311-0999748BC0A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597963" y="2054672"/>
            <a:ext cx="4594037" cy="4254591"/>
          </a:xfrm>
          <a:prstGeom prst="rect">
            <a:avLst/>
          </a:prstGeom>
        </p:spPr>
      </p:pic>
      <p:sp>
        <p:nvSpPr>
          <p:cNvPr id="9" name="Title 1">
            <a:extLst>
              <a:ext uri="{FF2B5EF4-FFF2-40B4-BE49-F238E27FC236}">
                <a16:creationId xmlns:a16="http://schemas.microsoft.com/office/drawing/2014/main" id="{E57EA93B-AC9E-03E8-D91C-19CF2DA6B9C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pic>
        <p:nvPicPr>
          <p:cNvPr id="12" name="Bilde 3">
            <a:extLst>
              <a:ext uri="{FF2B5EF4-FFF2-40B4-BE49-F238E27FC236}">
                <a16:creationId xmlns:a16="http://schemas.microsoft.com/office/drawing/2014/main" id="{63E4AE8C-7FC8-B6DB-17CB-A62427F9C80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19759314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39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userDrawn="1"/>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9" name="Picture Placeholder 3">
            <a:extLst>
              <a:ext uri="{FF2B5EF4-FFF2-40B4-BE49-F238E27FC236}">
                <a16:creationId xmlns:a16="http://schemas.microsoft.com/office/drawing/2014/main" id="{038D6646-E4D2-DD44-A139-EB42716908C7}"/>
              </a:ext>
            </a:extLst>
          </p:cNvPr>
          <p:cNvSpPr>
            <a:spLocks noGrp="1"/>
          </p:cNvSpPr>
          <p:nvPr>
            <p:ph type="pic" sz="quarter" idx="16"/>
          </p:nvPr>
        </p:nvSpPr>
        <p:spPr>
          <a:xfrm>
            <a:off x="6678514" y="1635371"/>
            <a:ext cx="4735158" cy="4226168"/>
          </a:xfrm>
          <a:prstGeom prst="rect">
            <a:avLst/>
          </a:prstGeom>
        </p:spPr>
        <p:txBody>
          <a:bodyPr anchor="ctr"/>
          <a:lstStyle>
            <a:lvl1pPr marL="0" indent="0" algn="ctr">
              <a:buNone/>
              <a:defRPr b="0" i="0">
                <a:solidFill>
                  <a:schemeClr val="accent1"/>
                </a:solidFill>
                <a:latin typeface="Helvetica Light" panose="020B0403020202020204" pitchFamily="34" charset="0"/>
              </a:defRPr>
            </a:lvl1pPr>
          </a:lstStyle>
          <a:p>
            <a:r>
              <a:rPr lang="en-GB"/>
              <a:t>Click icon to add picture</a:t>
            </a:r>
          </a:p>
        </p:txBody>
      </p:sp>
      <p:sp>
        <p:nvSpPr>
          <p:cNvPr id="20" name="Rectangle 19">
            <a:extLst>
              <a:ext uri="{FF2B5EF4-FFF2-40B4-BE49-F238E27FC236}">
                <a16:creationId xmlns:a16="http://schemas.microsoft.com/office/drawing/2014/main" id="{68E4597E-D37D-6D49-A946-1A166440BD7E}"/>
              </a:ext>
            </a:extLst>
          </p:cNvPr>
          <p:cNvSpPr/>
          <p:nvPr/>
        </p:nvSpPr>
        <p:spPr>
          <a:xfrm>
            <a:off x="741778" y="1606947"/>
            <a:ext cx="5850934"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41777"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7579" y="1699192"/>
            <a:ext cx="5674814" cy="4068562"/>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 name="Title 1">
            <a:extLst>
              <a:ext uri="{FF2B5EF4-FFF2-40B4-BE49-F238E27FC236}">
                <a16:creationId xmlns:a16="http://schemas.microsoft.com/office/drawing/2014/main" id="{1E4EE4EB-D8A2-2E64-5C7C-82412718B6BF}"/>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pic>
        <p:nvPicPr>
          <p:cNvPr id="2" name="Bilde 1" descr="Et bilde som inneholder Font, Grafikk, logo, grafisk design&#10;&#10;Automatisk generert beskrivelse">
            <a:extLst>
              <a:ext uri="{FF2B5EF4-FFF2-40B4-BE49-F238E27FC236}">
                <a16:creationId xmlns:a16="http://schemas.microsoft.com/office/drawing/2014/main" id="{2F0AF816-3F96-577C-D001-353955B80D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8"/>
            <a:ext cx="1129876" cy="197538"/>
          </a:xfrm>
          <a:prstGeom prst="rect">
            <a:avLst/>
          </a:prstGeom>
        </p:spPr>
      </p:pic>
    </p:spTree>
    <p:extLst>
      <p:ext uri="{BB962C8B-B14F-4D97-AF65-F5344CB8AC3E}">
        <p14:creationId xmlns:p14="http://schemas.microsoft.com/office/powerpoint/2010/main" val="11869438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54_Custom Layout">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038D6646-E4D2-DD44-A139-EB42716908C7}"/>
              </a:ext>
            </a:extLst>
          </p:cNvPr>
          <p:cNvSpPr>
            <a:spLocks noGrp="1"/>
          </p:cNvSpPr>
          <p:nvPr>
            <p:ph type="pic" sz="quarter" idx="16"/>
          </p:nvPr>
        </p:nvSpPr>
        <p:spPr>
          <a:xfrm>
            <a:off x="4674124" y="1635371"/>
            <a:ext cx="6739548" cy="4226168"/>
          </a:xfrm>
          <a:prstGeom prst="rect">
            <a:avLst/>
          </a:prstGeom>
        </p:spPr>
        <p:txBody>
          <a:bodyPr anchor="ctr"/>
          <a:lstStyle>
            <a:lvl1pPr marL="0" indent="0" algn="ctr">
              <a:buNone/>
              <a:defRPr b="0" i="0">
                <a:solidFill>
                  <a:schemeClr val="accent1"/>
                </a:solidFill>
                <a:latin typeface="Helvetica Light" panose="020B0403020202020204" pitchFamily="34" charset="0"/>
              </a:defRPr>
            </a:lvl1pPr>
          </a:lstStyle>
          <a:p>
            <a:r>
              <a:rPr lang="en-GB"/>
              <a:t>Click icon to add picture</a:t>
            </a:r>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8" y="1606947"/>
            <a:ext cx="3846545"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41777"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7579" y="1699192"/>
            <a:ext cx="3597460" cy="4068562"/>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 name="Title 1">
            <a:extLst>
              <a:ext uri="{FF2B5EF4-FFF2-40B4-BE49-F238E27FC236}">
                <a16:creationId xmlns:a16="http://schemas.microsoft.com/office/drawing/2014/main" id="{1E4EE4EB-D8A2-2E64-5C7C-82412718B6BF}"/>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pic>
        <p:nvPicPr>
          <p:cNvPr id="12" name="Bilde 3">
            <a:extLst>
              <a:ext uri="{FF2B5EF4-FFF2-40B4-BE49-F238E27FC236}">
                <a16:creationId xmlns:a16="http://schemas.microsoft.com/office/drawing/2014/main" id="{0327E981-B6C3-CD4C-0EF0-126DBFD1988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26455416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55_Custom Layout">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038D6646-E4D2-DD44-A139-EB42716908C7}"/>
              </a:ext>
            </a:extLst>
          </p:cNvPr>
          <p:cNvSpPr>
            <a:spLocks noGrp="1"/>
          </p:cNvSpPr>
          <p:nvPr>
            <p:ph type="pic" sz="quarter" idx="16"/>
          </p:nvPr>
        </p:nvSpPr>
        <p:spPr>
          <a:xfrm>
            <a:off x="8271590" y="1635371"/>
            <a:ext cx="3142081" cy="4226168"/>
          </a:xfrm>
          <a:prstGeom prst="rect">
            <a:avLst/>
          </a:prstGeom>
        </p:spPr>
        <p:txBody>
          <a:bodyPr anchor="ctr"/>
          <a:lstStyle>
            <a:lvl1pPr marL="0" indent="0" algn="ctr">
              <a:buNone/>
              <a:defRPr b="0" i="0">
                <a:solidFill>
                  <a:schemeClr val="accent1"/>
                </a:solidFill>
                <a:latin typeface="Helvetica Light" panose="020B0403020202020204" pitchFamily="34" charset="0"/>
              </a:defRPr>
            </a:lvl1pPr>
          </a:lstStyle>
          <a:p>
            <a:r>
              <a:rPr lang="en-GB"/>
              <a:t>Click icon to add picture</a:t>
            </a:r>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8" y="1606947"/>
            <a:ext cx="3896132"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41777"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7578" y="1699192"/>
            <a:ext cx="3680615" cy="4068562"/>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 name="Title 1">
            <a:extLst>
              <a:ext uri="{FF2B5EF4-FFF2-40B4-BE49-F238E27FC236}">
                <a16:creationId xmlns:a16="http://schemas.microsoft.com/office/drawing/2014/main" id="{1E4EE4EB-D8A2-2E64-5C7C-82412718B6BF}"/>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sp>
        <p:nvSpPr>
          <p:cNvPr id="11" name="Picture Placeholder 3">
            <a:extLst>
              <a:ext uri="{FF2B5EF4-FFF2-40B4-BE49-F238E27FC236}">
                <a16:creationId xmlns:a16="http://schemas.microsoft.com/office/drawing/2014/main" id="{3CC9F20E-3553-313F-ADE6-7FAB12C7B417}"/>
              </a:ext>
            </a:extLst>
          </p:cNvPr>
          <p:cNvSpPr>
            <a:spLocks noGrp="1"/>
          </p:cNvSpPr>
          <p:nvPr>
            <p:ph type="pic" sz="quarter" idx="17"/>
          </p:nvPr>
        </p:nvSpPr>
        <p:spPr>
          <a:xfrm>
            <a:off x="4764746" y="1635371"/>
            <a:ext cx="3380014" cy="4226168"/>
          </a:xfrm>
          <a:prstGeom prst="rect">
            <a:avLst/>
          </a:prstGeom>
        </p:spPr>
        <p:txBody>
          <a:bodyPr anchor="ctr"/>
          <a:lstStyle>
            <a:lvl1pPr marL="0" indent="0" algn="ctr">
              <a:buNone/>
              <a:defRPr b="0" i="0">
                <a:solidFill>
                  <a:schemeClr val="accent1"/>
                </a:solidFill>
                <a:latin typeface="Helvetica Light" panose="020B0403020202020204" pitchFamily="34" charset="0"/>
              </a:defRPr>
            </a:lvl1pPr>
          </a:lstStyle>
          <a:p>
            <a:r>
              <a:rPr lang="en-GB"/>
              <a:t>Click icon to add picture</a:t>
            </a:r>
          </a:p>
        </p:txBody>
      </p:sp>
      <p:pic>
        <p:nvPicPr>
          <p:cNvPr id="13" name="Bilde 3">
            <a:extLst>
              <a:ext uri="{FF2B5EF4-FFF2-40B4-BE49-F238E27FC236}">
                <a16:creationId xmlns:a16="http://schemas.microsoft.com/office/drawing/2014/main" id="{5F1C00DC-FD44-9124-9788-8918143E08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7537290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grpSp>
        <p:nvGrpSpPr>
          <p:cNvPr id="19" name="Group 18">
            <a:extLst>
              <a:ext uri="{FF2B5EF4-FFF2-40B4-BE49-F238E27FC236}">
                <a16:creationId xmlns:a16="http://schemas.microsoft.com/office/drawing/2014/main" id="{B2E54100-83F6-3840-9740-66AEE324BF5D}"/>
              </a:ext>
            </a:extLst>
          </p:cNvPr>
          <p:cNvGrpSpPr/>
          <p:nvPr/>
        </p:nvGrpSpPr>
        <p:grpSpPr>
          <a:xfrm>
            <a:off x="1187723" y="1964633"/>
            <a:ext cx="9298521" cy="1070771"/>
            <a:chOff x="558331" y="2312872"/>
            <a:chExt cx="9298521" cy="756000"/>
          </a:xfrm>
        </p:grpSpPr>
        <p:sp>
          <p:nvSpPr>
            <p:cNvPr id="20" name="Rectangle 19">
              <a:extLst>
                <a:ext uri="{FF2B5EF4-FFF2-40B4-BE49-F238E27FC236}">
                  <a16:creationId xmlns:a16="http://schemas.microsoft.com/office/drawing/2014/main" id="{68E4597E-D37D-6D49-A946-1A166440BD7E}"/>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1273524" y="2040887"/>
            <a:ext cx="8988074" cy="942012"/>
          </a:xfrm>
          <a:prstGeom prst="rect">
            <a:avLst/>
          </a:prstGeom>
        </p:spPr>
        <p:txBody>
          <a:bodyPr anchor="ctr">
            <a:noAutofit/>
          </a:bodyPr>
          <a:lstStyle>
            <a:lvl1pPr>
              <a:defRPr sz="16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33" name="Group 32">
            <a:extLst>
              <a:ext uri="{FF2B5EF4-FFF2-40B4-BE49-F238E27FC236}">
                <a16:creationId xmlns:a16="http://schemas.microsoft.com/office/drawing/2014/main" id="{8CF6493A-85E1-3947-8DFF-8992C3EB5575}"/>
              </a:ext>
            </a:extLst>
          </p:cNvPr>
          <p:cNvGrpSpPr/>
          <p:nvPr/>
        </p:nvGrpSpPr>
        <p:grpSpPr>
          <a:xfrm>
            <a:off x="1187723" y="3221669"/>
            <a:ext cx="9298521" cy="1070771"/>
            <a:chOff x="558331" y="2312872"/>
            <a:chExt cx="9298521" cy="756000"/>
          </a:xfrm>
        </p:grpSpPr>
        <p:sp>
          <p:nvSpPr>
            <p:cNvPr id="34" name="Rectangle 33">
              <a:extLst>
                <a:ext uri="{FF2B5EF4-FFF2-40B4-BE49-F238E27FC236}">
                  <a16:creationId xmlns:a16="http://schemas.microsoft.com/office/drawing/2014/main" id="{5E8ECC9D-C46B-2A4B-BE5F-C9E1BCA7AAB3}"/>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5" name="Straight Connector 34">
              <a:extLst>
                <a:ext uri="{FF2B5EF4-FFF2-40B4-BE49-F238E27FC236}">
                  <a16:creationId xmlns:a16="http://schemas.microsoft.com/office/drawing/2014/main" id="{43F1115C-F8E4-1A46-B855-3890FC0AD164}"/>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9" name="Text Placeholder 20">
            <a:extLst>
              <a:ext uri="{FF2B5EF4-FFF2-40B4-BE49-F238E27FC236}">
                <a16:creationId xmlns:a16="http://schemas.microsoft.com/office/drawing/2014/main" id="{8AA3BD84-2566-4A4F-935C-DC90EF27B068}"/>
              </a:ext>
            </a:extLst>
          </p:cNvPr>
          <p:cNvSpPr>
            <a:spLocks noGrp="1"/>
          </p:cNvSpPr>
          <p:nvPr>
            <p:ph type="body" sz="quarter" idx="16" hasCustomPrompt="1"/>
          </p:nvPr>
        </p:nvSpPr>
        <p:spPr>
          <a:xfrm>
            <a:off x="1273524" y="3297923"/>
            <a:ext cx="8988074" cy="942012"/>
          </a:xfrm>
          <a:prstGeom prst="rect">
            <a:avLst/>
          </a:prstGeom>
        </p:spPr>
        <p:txBody>
          <a:bodyPr anchor="ctr">
            <a:noAutofit/>
          </a:bodyPr>
          <a:lstStyle>
            <a:lvl1pPr>
              <a:defRPr sz="16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40" name="Group 39">
            <a:extLst>
              <a:ext uri="{FF2B5EF4-FFF2-40B4-BE49-F238E27FC236}">
                <a16:creationId xmlns:a16="http://schemas.microsoft.com/office/drawing/2014/main" id="{988AB194-4E6C-E643-89BB-F483B519222E}"/>
              </a:ext>
            </a:extLst>
          </p:cNvPr>
          <p:cNvGrpSpPr/>
          <p:nvPr/>
        </p:nvGrpSpPr>
        <p:grpSpPr>
          <a:xfrm>
            <a:off x="1187723" y="4476771"/>
            <a:ext cx="9298521" cy="1070771"/>
            <a:chOff x="558331" y="2312872"/>
            <a:chExt cx="9298521" cy="756000"/>
          </a:xfrm>
        </p:grpSpPr>
        <p:sp>
          <p:nvSpPr>
            <p:cNvPr id="41" name="Rectangle 40">
              <a:extLst>
                <a:ext uri="{FF2B5EF4-FFF2-40B4-BE49-F238E27FC236}">
                  <a16:creationId xmlns:a16="http://schemas.microsoft.com/office/drawing/2014/main" id="{7B794547-A81B-B146-9F79-83EF1310EF3B}"/>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2" name="Straight Connector 41">
              <a:extLst>
                <a:ext uri="{FF2B5EF4-FFF2-40B4-BE49-F238E27FC236}">
                  <a16:creationId xmlns:a16="http://schemas.microsoft.com/office/drawing/2014/main" id="{1281F5AA-DC43-4A4F-9B6D-F2524A03C140}"/>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4" name="Text Placeholder 20">
            <a:extLst>
              <a:ext uri="{FF2B5EF4-FFF2-40B4-BE49-F238E27FC236}">
                <a16:creationId xmlns:a16="http://schemas.microsoft.com/office/drawing/2014/main" id="{BFEE6F6E-0ACE-CB4C-AE62-AD392FEF8D6B}"/>
              </a:ext>
            </a:extLst>
          </p:cNvPr>
          <p:cNvSpPr>
            <a:spLocks noGrp="1"/>
          </p:cNvSpPr>
          <p:nvPr>
            <p:ph type="body" sz="quarter" idx="17" hasCustomPrompt="1"/>
          </p:nvPr>
        </p:nvSpPr>
        <p:spPr>
          <a:xfrm>
            <a:off x="1273524" y="4553025"/>
            <a:ext cx="8988074" cy="942012"/>
          </a:xfrm>
          <a:prstGeom prst="rect">
            <a:avLst/>
          </a:prstGeom>
        </p:spPr>
        <p:txBody>
          <a:bodyPr anchor="ctr">
            <a:noAutofit/>
          </a:bodyPr>
          <a:lstStyle>
            <a:lvl1pPr>
              <a:defRPr sz="16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itle 1">
            <a:extLst>
              <a:ext uri="{FF2B5EF4-FFF2-40B4-BE49-F238E27FC236}">
                <a16:creationId xmlns:a16="http://schemas.microsoft.com/office/drawing/2014/main" id="{5A8ED574-45A5-BA5F-83D9-501C74743261}"/>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4" name="Bilde 3">
            <a:extLst>
              <a:ext uri="{FF2B5EF4-FFF2-40B4-BE49-F238E27FC236}">
                <a16:creationId xmlns:a16="http://schemas.microsoft.com/office/drawing/2014/main" id="{A611CCAD-80C3-06B4-705B-1B5115DACC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F9946F15-B6F1-AD65-1F0F-84F361170B27}"/>
              </a:ext>
            </a:extLst>
          </p:cNvPr>
          <p:cNvSpPr>
            <a:spLocks noGrp="1"/>
          </p:cNvSpPr>
          <p:nvPr>
            <p:ph type="dt" sz="half" idx="18"/>
          </p:nvPr>
        </p:nvSpPr>
        <p:spPr>
          <a:xfrm>
            <a:off x="2303627" y="6492875"/>
            <a:ext cx="528585" cy="365125"/>
          </a:xfrm>
        </p:spPr>
        <p:txBody>
          <a:bodyPr/>
          <a:lstStyle/>
          <a:p>
            <a:fld id="{D869A89F-3C01-2C4C-871C-313BD426D929}" type="datetime1">
              <a:rPr lang="nb-NO" smtClean="0"/>
              <a:t>20.08.2024</a:t>
            </a:fld>
            <a:endParaRPr lang="en-US"/>
          </a:p>
        </p:txBody>
      </p:sp>
      <p:sp>
        <p:nvSpPr>
          <p:cNvPr id="25" name="Footer Placeholder 3">
            <a:extLst>
              <a:ext uri="{FF2B5EF4-FFF2-40B4-BE49-F238E27FC236}">
                <a16:creationId xmlns:a16="http://schemas.microsoft.com/office/drawing/2014/main" id="{D3677154-2D1D-755A-7A98-B9A188F49124}"/>
              </a:ext>
            </a:extLst>
          </p:cNvPr>
          <p:cNvSpPr>
            <a:spLocks noGrp="1"/>
          </p:cNvSpPr>
          <p:nvPr>
            <p:ph type="ftr" sz="quarter" idx="19"/>
          </p:nvPr>
        </p:nvSpPr>
        <p:spPr>
          <a:xfrm>
            <a:off x="175116" y="6492875"/>
            <a:ext cx="2107096" cy="365125"/>
          </a:xfrm>
        </p:spPr>
        <p:txBody>
          <a:bodyPr/>
          <a:lstStyle/>
          <a:p>
            <a:r>
              <a:rPr lang="en-US"/>
              <a:t>© StrongPoint 2022</a:t>
            </a:r>
          </a:p>
        </p:txBody>
      </p:sp>
      <p:sp>
        <p:nvSpPr>
          <p:cNvPr id="26" name="Slide Number Placeholder 4">
            <a:extLst>
              <a:ext uri="{FF2B5EF4-FFF2-40B4-BE49-F238E27FC236}">
                <a16:creationId xmlns:a16="http://schemas.microsoft.com/office/drawing/2014/main" id="{DC439C8F-6268-A04D-43C5-37B3E15F0B04}"/>
              </a:ext>
            </a:extLst>
          </p:cNvPr>
          <p:cNvSpPr>
            <a:spLocks noGrp="1"/>
          </p:cNvSpPr>
          <p:nvPr>
            <p:ph type="sldNum" sz="quarter" idx="20"/>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0046568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37741" y="1606947"/>
            <a:ext cx="10630718"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37741"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3542" y="1699192"/>
            <a:ext cx="10338438" cy="4068562"/>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8" name="Title 1">
            <a:extLst>
              <a:ext uri="{FF2B5EF4-FFF2-40B4-BE49-F238E27FC236}">
                <a16:creationId xmlns:a16="http://schemas.microsoft.com/office/drawing/2014/main" id="{750EA6DB-7BE5-46DA-7D39-CE1BBA16615F}"/>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pic>
        <p:nvPicPr>
          <p:cNvPr id="11" name="Bilde 3">
            <a:extLst>
              <a:ext uri="{FF2B5EF4-FFF2-40B4-BE49-F238E27FC236}">
                <a16:creationId xmlns:a16="http://schemas.microsoft.com/office/drawing/2014/main" id="{30247BF6-FA19-7552-D334-E3C9D9D6DF4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33951443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1448411" y="237532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779147" y="1485777"/>
            <a:ext cx="2938011" cy="605707"/>
          </a:xfrm>
          <a:prstGeom prst="rect">
            <a:avLst/>
          </a:prstGeom>
        </p:spPr>
        <p:txBody>
          <a:bodyPr anchor="b">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529693" y="2380462"/>
            <a:ext cx="2187469"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6" name="Oval 5">
            <a:extLst>
              <a:ext uri="{FF2B5EF4-FFF2-40B4-BE49-F238E27FC236}">
                <a16:creationId xmlns:a16="http://schemas.microsoft.com/office/drawing/2014/main" id="{8DBB2A8D-B9A7-F046-8E3F-1F0126DB7CCD}"/>
              </a:ext>
            </a:extLst>
          </p:cNvPr>
          <p:cNvSpPr/>
          <p:nvPr userDrawn="1"/>
        </p:nvSpPr>
        <p:spPr>
          <a:xfrm>
            <a:off x="773262" y="2507190"/>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7" name="Straight Connector 46">
            <a:extLst>
              <a:ext uri="{FF2B5EF4-FFF2-40B4-BE49-F238E27FC236}">
                <a16:creationId xmlns:a16="http://schemas.microsoft.com/office/drawing/2014/main" id="{9319F917-FF3E-6F4A-8DED-9BD99CAF6CEC}"/>
              </a:ext>
            </a:extLst>
          </p:cNvPr>
          <p:cNvCxnSpPr>
            <a:cxnSpLocks/>
          </p:cNvCxnSpPr>
          <p:nvPr userDrawn="1"/>
        </p:nvCxnSpPr>
        <p:spPr>
          <a:xfrm>
            <a:off x="5202442" y="237532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8" name="Text Placeholder 20">
            <a:extLst>
              <a:ext uri="{FF2B5EF4-FFF2-40B4-BE49-F238E27FC236}">
                <a16:creationId xmlns:a16="http://schemas.microsoft.com/office/drawing/2014/main" id="{90110F60-89B8-F44F-86DF-237FA9EDC86F}"/>
              </a:ext>
            </a:extLst>
          </p:cNvPr>
          <p:cNvSpPr>
            <a:spLocks noGrp="1"/>
          </p:cNvSpPr>
          <p:nvPr>
            <p:ph type="body" sz="quarter" idx="31" hasCustomPrompt="1"/>
          </p:nvPr>
        </p:nvSpPr>
        <p:spPr>
          <a:xfrm>
            <a:off x="4533178" y="1485777"/>
            <a:ext cx="2938003" cy="605707"/>
          </a:xfrm>
          <a:prstGeom prst="rect">
            <a:avLst/>
          </a:prstGeom>
        </p:spPr>
        <p:txBody>
          <a:bodyPr anchor="b">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9" name="Text Placeholder 20">
            <a:extLst>
              <a:ext uri="{FF2B5EF4-FFF2-40B4-BE49-F238E27FC236}">
                <a16:creationId xmlns:a16="http://schemas.microsoft.com/office/drawing/2014/main" id="{8F9630DC-CA99-8F43-AA5B-00980E185C7F}"/>
              </a:ext>
            </a:extLst>
          </p:cNvPr>
          <p:cNvSpPr>
            <a:spLocks noGrp="1"/>
          </p:cNvSpPr>
          <p:nvPr>
            <p:ph type="body" sz="quarter" idx="32" hasCustomPrompt="1"/>
          </p:nvPr>
        </p:nvSpPr>
        <p:spPr>
          <a:xfrm>
            <a:off x="5283725" y="2380462"/>
            <a:ext cx="2187470"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3" name="Oval 52">
            <a:extLst>
              <a:ext uri="{FF2B5EF4-FFF2-40B4-BE49-F238E27FC236}">
                <a16:creationId xmlns:a16="http://schemas.microsoft.com/office/drawing/2014/main" id="{75A3B9E5-08F2-814D-9BEE-10B6FF734436}"/>
              </a:ext>
            </a:extLst>
          </p:cNvPr>
          <p:cNvSpPr/>
          <p:nvPr userDrawn="1"/>
        </p:nvSpPr>
        <p:spPr>
          <a:xfrm>
            <a:off x="4527293" y="2507190"/>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4" name="Straight Connector 53">
            <a:extLst>
              <a:ext uri="{FF2B5EF4-FFF2-40B4-BE49-F238E27FC236}">
                <a16:creationId xmlns:a16="http://schemas.microsoft.com/office/drawing/2014/main" id="{E613A742-D6B6-E547-AFAD-DAF27F529BB3}"/>
              </a:ext>
            </a:extLst>
          </p:cNvPr>
          <p:cNvCxnSpPr>
            <a:cxnSpLocks/>
          </p:cNvCxnSpPr>
          <p:nvPr userDrawn="1"/>
        </p:nvCxnSpPr>
        <p:spPr>
          <a:xfrm>
            <a:off x="9035840" y="237532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Text Placeholder 20">
            <a:extLst>
              <a:ext uri="{FF2B5EF4-FFF2-40B4-BE49-F238E27FC236}">
                <a16:creationId xmlns:a16="http://schemas.microsoft.com/office/drawing/2014/main" id="{FDAE3801-F6B0-9040-BFF6-0C2A999B3008}"/>
              </a:ext>
            </a:extLst>
          </p:cNvPr>
          <p:cNvSpPr>
            <a:spLocks noGrp="1"/>
          </p:cNvSpPr>
          <p:nvPr>
            <p:ph type="body" sz="quarter" idx="33" hasCustomPrompt="1"/>
          </p:nvPr>
        </p:nvSpPr>
        <p:spPr>
          <a:xfrm>
            <a:off x="8366577" y="1485777"/>
            <a:ext cx="2938004" cy="605707"/>
          </a:xfrm>
          <a:prstGeom prst="rect">
            <a:avLst/>
          </a:prstGeom>
        </p:spPr>
        <p:txBody>
          <a:bodyPr anchor="b">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6" name="Text Placeholder 20">
            <a:extLst>
              <a:ext uri="{FF2B5EF4-FFF2-40B4-BE49-F238E27FC236}">
                <a16:creationId xmlns:a16="http://schemas.microsoft.com/office/drawing/2014/main" id="{AC05E92B-0A22-F74F-A0A0-37E184796253}"/>
              </a:ext>
            </a:extLst>
          </p:cNvPr>
          <p:cNvSpPr>
            <a:spLocks noGrp="1"/>
          </p:cNvSpPr>
          <p:nvPr>
            <p:ph type="body" sz="quarter" idx="34" hasCustomPrompt="1"/>
          </p:nvPr>
        </p:nvSpPr>
        <p:spPr>
          <a:xfrm>
            <a:off x="9117123" y="2380462"/>
            <a:ext cx="219359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7" name="Oval 56">
            <a:extLst>
              <a:ext uri="{FF2B5EF4-FFF2-40B4-BE49-F238E27FC236}">
                <a16:creationId xmlns:a16="http://schemas.microsoft.com/office/drawing/2014/main" id="{3413011A-3D10-E14D-B233-D9B81B58D993}"/>
              </a:ext>
            </a:extLst>
          </p:cNvPr>
          <p:cNvSpPr/>
          <p:nvPr userDrawn="1"/>
        </p:nvSpPr>
        <p:spPr>
          <a:xfrm>
            <a:off x="8360691" y="2507190"/>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8" name="Straight Connector 57">
            <a:extLst>
              <a:ext uri="{FF2B5EF4-FFF2-40B4-BE49-F238E27FC236}">
                <a16:creationId xmlns:a16="http://schemas.microsoft.com/office/drawing/2014/main" id="{14D0E40A-826D-D447-875C-24BB261305E6}"/>
              </a:ext>
            </a:extLst>
          </p:cNvPr>
          <p:cNvCxnSpPr>
            <a:cxnSpLocks/>
          </p:cNvCxnSpPr>
          <p:nvPr userDrawn="1"/>
        </p:nvCxnSpPr>
        <p:spPr>
          <a:xfrm>
            <a:off x="1448411" y="3304813"/>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Text Placeholder 20">
            <a:extLst>
              <a:ext uri="{FF2B5EF4-FFF2-40B4-BE49-F238E27FC236}">
                <a16:creationId xmlns:a16="http://schemas.microsoft.com/office/drawing/2014/main" id="{8F334DBA-DB16-D64B-BA18-F61C21BB3599}"/>
              </a:ext>
            </a:extLst>
          </p:cNvPr>
          <p:cNvSpPr>
            <a:spLocks noGrp="1"/>
          </p:cNvSpPr>
          <p:nvPr>
            <p:ph type="body" sz="quarter" idx="35" hasCustomPrompt="1"/>
          </p:nvPr>
        </p:nvSpPr>
        <p:spPr>
          <a:xfrm>
            <a:off x="1529693" y="3309950"/>
            <a:ext cx="2187469"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64" name="Oval 63">
            <a:extLst>
              <a:ext uri="{FF2B5EF4-FFF2-40B4-BE49-F238E27FC236}">
                <a16:creationId xmlns:a16="http://schemas.microsoft.com/office/drawing/2014/main" id="{B2763EBF-B45B-7F4C-9541-765EF4D57406}"/>
              </a:ext>
            </a:extLst>
          </p:cNvPr>
          <p:cNvSpPr/>
          <p:nvPr userDrawn="1"/>
        </p:nvSpPr>
        <p:spPr>
          <a:xfrm>
            <a:off x="773262" y="3436678"/>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5" name="Straight Connector 64">
            <a:extLst>
              <a:ext uri="{FF2B5EF4-FFF2-40B4-BE49-F238E27FC236}">
                <a16:creationId xmlns:a16="http://schemas.microsoft.com/office/drawing/2014/main" id="{39C8D00F-526F-4D4A-87BC-AE247330FE55}"/>
              </a:ext>
            </a:extLst>
          </p:cNvPr>
          <p:cNvCxnSpPr>
            <a:cxnSpLocks/>
          </p:cNvCxnSpPr>
          <p:nvPr userDrawn="1"/>
        </p:nvCxnSpPr>
        <p:spPr>
          <a:xfrm>
            <a:off x="5202442" y="3304813"/>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6" name="Text Placeholder 20">
            <a:extLst>
              <a:ext uri="{FF2B5EF4-FFF2-40B4-BE49-F238E27FC236}">
                <a16:creationId xmlns:a16="http://schemas.microsoft.com/office/drawing/2014/main" id="{D58352EA-9911-8742-A2FE-08E11A7F4AA9}"/>
              </a:ext>
            </a:extLst>
          </p:cNvPr>
          <p:cNvSpPr>
            <a:spLocks noGrp="1"/>
          </p:cNvSpPr>
          <p:nvPr>
            <p:ph type="body" sz="quarter" idx="36" hasCustomPrompt="1"/>
          </p:nvPr>
        </p:nvSpPr>
        <p:spPr>
          <a:xfrm>
            <a:off x="5283725" y="3309950"/>
            <a:ext cx="2187470"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67" name="Oval 66">
            <a:extLst>
              <a:ext uri="{FF2B5EF4-FFF2-40B4-BE49-F238E27FC236}">
                <a16:creationId xmlns:a16="http://schemas.microsoft.com/office/drawing/2014/main" id="{CC472FC1-B8F3-434A-899E-A519F9565D65}"/>
              </a:ext>
            </a:extLst>
          </p:cNvPr>
          <p:cNvSpPr/>
          <p:nvPr userDrawn="1"/>
        </p:nvSpPr>
        <p:spPr>
          <a:xfrm>
            <a:off x="4527293" y="3436678"/>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8" name="Straight Connector 67">
            <a:extLst>
              <a:ext uri="{FF2B5EF4-FFF2-40B4-BE49-F238E27FC236}">
                <a16:creationId xmlns:a16="http://schemas.microsoft.com/office/drawing/2014/main" id="{0FBF096B-09C8-A742-8D7B-2CD71288F329}"/>
              </a:ext>
            </a:extLst>
          </p:cNvPr>
          <p:cNvCxnSpPr>
            <a:cxnSpLocks/>
          </p:cNvCxnSpPr>
          <p:nvPr userDrawn="1"/>
        </p:nvCxnSpPr>
        <p:spPr>
          <a:xfrm>
            <a:off x="9035840" y="3304813"/>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9" name="Text Placeholder 20">
            <a:extLst>
              <a:ext uri="{FF2B5EF4-FFF2-40B4-BE49-F238E27FC236}">
                <a16:creationId xmlns:a16="http://schemas.microsoft.com/office/drawing/2014/main" id="{693B4C3E-8292-A048-A211-BD35FDE740A1}"/>
              </a:ext>
            </a:extLst>
          </p:cNvPr>
          <p:cNvSpPr>
            <a:spLocks noGrp="1"/>
          </p:cNvSpPr>
          <p:nvPr>
            <p:ph type="body" sz="quarter" idx="37" hasCustomPrompt="1"/>
          </p:nvPr>
        </p:nvSpPr>
        <p:spPr>
          <a:xfrm>
            <a:off x="9117123" y="3309950"/>
            <a:ext cx="219359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70" name="Oval 69">
            <a:extLst>
              <a:ext uri="{FF2B5EF4-FFF2-40B4-BE49-F238E27FC236}">
                <a16:creationId xmlns:a16="http://schemas.microsoft.com/office/drawing/2014/main" id="{B40AD22E-5FFC-D145-9D3B-1CD5D45D23AA}"/>
              </a:ext>
            </a:extLst>
          </p:cNvPr>
          <p:cNvSpPr/>
          <p:nvPr userDrawn="1"/>
        </p:nvSpPr>
        <p:spPr>
          <a:xfrm>
            <a:off x="8360691" y="3436678"/>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1" name="Straight Connector 70">
            <a:extLst>
              <a:ext uri="{FF2B5EF4-FFF2-40B4-BE49-F238E27FC236}">
                <a16:creationId xmlns:a16="http://schemas.microsoft.com/office/drawing/2014/main" id="{9B854D38-8E94-2945-A6F3-1F4A80FB0143}"/>
              </a:ext>
            </a:extLst>
          </p:cNvPr>
          <p:cNvCxnSpPr>
            <a:cxnSpLocks/>
          </p:cNvCxnSpPr>
          <p:nvPr userDrawn="1"/>
        </p:nvCxnSpPr>
        <p:spPr>
          <a:xfrm>
            <a:off x="1448411" y="4229496"/>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Text Placeholder 20">
            <a:extLst>
              <a:ext uri="{FF2B5EF4-FFF2-40B4-BE49-F238E27FC236}">
                <a16:creationId xmlns:a16="http://schemas.microsoft.com/office/drawing/2014/main" id="{B03FB43F-DE17-034A-AD6E-863D0BF0C97A}"/>
              </a:ext>
            </a:extLst>
          </p:cNvPr>
          <p:cNvSpPr>
            <a:spLocks noGrp="1"/>
          </p:cNvSpPr>
          <p:nvPr>
            <p:ph type="body" sz="quarter" idx="38" hasCustomPrompt="1"/>
          </p:nvPr>
        </p:nvSpPr>
        <p:spPr>
          <a:xfrm>
            <a:off x="1529693" y="4234633"/>
            <a:ext cx="2187469"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73" name="Oval 72">
            <a:extLst>
              <a:ext uri="{FF2B5EF4-FFF2-40B4-BE49-F238E27FC236}">
                <a16:creationId xmlns:a16="http://schemas.microsoft.com/office/drawing/2014/main" id="{CCBBF6A3-F126-B341-869B-7CBDD189EB87}"/>
              </a:ext>
            </a:extLst>
          </p:cNvPr>
          <p:cNvSpPr/>
          <p:nvPr userDrawn="1"/>
        </p:nvSpPr>
        <p:spPr>
          <a:xfrm>
            <a:off x="773262" y="4361361"/>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4" name="Straight Connector 73">
            <a:extLst>
              <a:ext uri="{FF2B5EF4-FFF2-40B4-BE49-F238E27FC236}">
                <a16:creationId xmlns:a16="http://schemas.microsoft.com/office/drawing/2014/main" id="{B494456F-0DF8-A448-9114-AEF7CC59D455}"/>
              </a:ext>
            </a:extLst>
          </p:cNvPr>
          <p:cNvCxnSpPr>
            <a:cxnSpLocks/>
          </p:cNvCxnSpPr>
          <p:nvPr userDrawn="1"/>
        </p:nvCxnSpPr>
        <p:spPr>
          <a:xfrm>
            <a:off x="5202442" y="4229496"/>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5" name="Text Placeholder 20">
            <a:extLst>
              <a:ext uri="{FF2B5EF4-FFF2-40B4-BE49-F238E27FC236}">
                <a16:creationId xmlns:a16="http://schemas.microsoft.com/office/drawing/2014/main" id="{8AED9D6B-FA7A-9240-ACE9-40A615D0C77B}"/>
              </a:ext>
            </a:extLst>
          </p:cNvPr>
          <p:cNvSpPr>
            <a:spLocks noGrp="1"/>
          </p:cNvSpPr>
          <p:nvPr>
            <p:ph type="body" sz="quarter" idx="39" hasCustomPrompt="1"/>
          </p:nvPr>
        </p:nvSpPr>
        <p:spPr>
          <a:xfrm>
            <a:off x="5283725" y="4234633"/>
            <a:ext cx="2187470"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76" name="Oval 75">
            <a:extLst>
              <a:ext uri="{FF2B5EF4-FFF2-40B4-BE49-F238E27FC236}">
                <a16:creationId xmlns:a16="http://schemas.microsoft.com/office/drawing/2014/main" id="{B4E5386C-E801-E648-AE68-4E88E0AC2450}"/>
              </a:ext>
            </a:extLst>
          </p:cNvPr>
          <p:cNvSpPr/>
          <p:nvPr userDrawn="1"/>
        </p:nvSpPr>
        <p:spPr>
          <a:xfrm>
            <a:off x="4527293" y="4361361"/>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7" name="Straight Connector 76">
            <a:extLst>
              <a:ext uri="{FF2B5EF4-FFF2-40B4-BE49-F238E27FC236}">
                <a16:creationId xmlns:a16="http://schemas.microsoft.com/office/drawing/2014/main" id="{77F2F78F-ADE7-554C-A2FD-66B5759CE696}"/>
              </a:ext>
            </a:extLst>
          </p:cNvPr>
          <p:cNvCxnSpPr>
            <a:cxnSpLocks/>
          </p:cNvCxnSpPr>
          <p:nvPr userDrawn="1"/>
        </p:nvCxnSpPr>
        <p:spPr>
          <a:xfrm>
            <a:off x="9035840" y="4229496"/>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8" name="Text Placeholder 20">
            <a:extLst>
              <a:ext uri="{FF2B5EF4-FFF2-40B4-BE49-F238E27FC236}">
                <a16:creationId xmlns:a16="http://schemas.microsoft.com/office/drawing/2014/main" id="{0F8BCE60-D91B-E448-9707-12A4D5117841}"/>
              </a:ext>
            </a:extLst>
          </p:cNvPr>
          <p:cNvSpPr>
            <a:spLocks noGrp="1"/>
          </p:cNvSpPr>
          <p:nvPr>
            <p:ph type="body" sz="quarter" idx="40" hasCustomPrompt="1"/>
          </p:nvPr>
        </p:nvSpPr>
        <p:spPr>
          <a:xfrm>
            <a:off x="9117123" y="4234633"/>
            <a:ext cx="219359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79" name="Oval 78">
            <a:extLst>
              <a:ext uri="{FF2B5EF4-FFF2-40B4-BE49-F238E27FC236}">
                <a16:creationId xmlns:a16="http://schemas.microsoft.com/office/drawing/2014/main" id="{11D4FBDA-1686-F34C-A3EC-8C13DB3FF9E1}"/>
              </a:ext>
            </a:extLst>
          </p:cNvPr>
          <p:cNvSpPr/>
          <p:nvPr userDrawn="1"/>
        </p:nvSpPr>
        <p:spPr>
          <a:xfrm>
            <a:off x="8360691" y="4361361"/>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0" name="Straight Connector 79">
            <a:extLst>
              <a:ext uri="{FF2B5EF4-FFF2-40B4-BE49-F238E27FC236}">
                <a16:creationId xmlns:a16="http://schemas.microsoft.com/office/drawing/2014/main" id="{AFAC971E-6FED-A84A-AFF8-7D2BBE235176}"/>
              </a:ext>
            </a:extLst>
          </p:cNvPr>
          <p:cNvCxnSpPr>
            <a:cxnSpLocks/>
          </p:cNvCxnSpPr>
          <p:nvPr userDrawn="1"/>
        </p:nvCxnSpPr>
        <p:spPr>
          <a:xfrm>
            <a:off x="1448411" y="5171582"/>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1" name="Text Placeholder 20">
            <a:extLst>
              <a:ext uri="{FF2B5EF4-FFF2-40B4-BE49-F238E27FC236}">
                <a16:creationId xmlns:a16="http://schemas.microsoft.com/office/drawing/2014/main" id="{60FC510F-AB34-924E-942D-935C38146DE6}"/>
              </a:ext>
            </a:extLst>
          </p:cNvPr>
          <p:cNvSpPr>
            <a:spLocks noGrp="1"/>
          </p:cNvSpPr>
          <p:nvPr>
            <p:ph type="body" sz="quarter" idx="41" hasCustomPrompt="1"/>
          </p:nvPr>
        </p:nvSpPr>
        <p:spPr>
          <a:xfrm>
            <a:off x="1529693" y="5176719"/>
            <a:ext cx="2187469"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82" name="Oval 81">
            <a:extLst>
              <a:ext uri="{FF2B5EF4-FFF2-40B4-BE49-F238E27FC236}">
                <a16:creationId xmlns:a16="http://schemas.microsoft.com/office/drawing/2014/main" id="{963066B7-3415-694F-BD42-0686E65350FC}"/>
              </a:ext>
            </a:extLst>
          </p:cNvPr>
          <p:cNvSpPr/>
          <p:nvPr userDrawn="1"/>
        </p:nvSpPr>
        <p:spPr>
          <a:xfrm>
            <a:off x="773262" y="5303447"/>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3" name="Straight Connector 82">
            <a:extLst>
              <a:ext uri="{FF2B5EF4-FFF2-40B4-BE49-F238E27FC236}">
                <a16:creationId xmlns:a16="http://schemas.microsoft.com/office/drawing/2014/main" id="{C0A68C1A-30A7-A347-ADC7-875DF28D144E}"/>
              </a:ext>
            </a:extLst>
          </p:cNvPr>
          <p:cNvCxnSpPr>
            <a:cxnSpLocks/>
          </p:cNvCxnSpPr>
          <p:nvPr userDrawn="1"/>
        </p:nvCxnSpPr>
        <p:spPr>
          <a:xfrm>
            <a:off x="5202442" y="5171582"/>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4" name="Text Placeholder 20">
            <a:extLst>
              <a:ext uri="{FF2B5EF4-FFF2-40B4-BE49-F238E27FC236}">
                <a16:creationId xmlns:a16="http://schemas.microsoft.com/office/drawing/2014/main" id="{9BC348A1-0F4B-D748-9427-6CDF7D128789}"/>
              </a:ext>
            </a:extLst>
          </p:cNvPr>
          <p:cNvSpPr>
            <a:spLocks noGrp="1"/>
          </p:cNvSpPr>
          <p:nvPr>
            <p:ph type="body" sz="quarter" idx="42" hasCustomPrompt="1"/>
          </p:nvPr>
        </p:nvSpPr>
        <p:spPr>
          <a:xfrm>
            <a:off x="5283725" y="5176719"/>
            <a:ext cx="2187470"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85" name="Oval 84">
            <a:extLst>
              <a:ext uri="{FF2B5EF4-FFF2-40B4-BE49-F238E27FC236}">
                <a16:creationId xmlns:a16="http://schemas.microsoft.com/office/drawing/2014/main" id="{FC72BBE4-8608-3B46-AA33-6446773A0E7F}"/>
              </a:ext>
            </a:extLst>
          </p:cNvPr>
          <p:cNvSpPr/>
          <p:nvPr userDrawn="1"/>
        </p:nvSpPr>
        <p:spPr>
          <a:xfrm>
            <a:off x="4527293" y="5303447"/>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6" name="Straight Connector 85">
            <a:extLst>
              <a:ext uri="{FF2B5EF4-FFF2-40B4-BE49-F238E27FC236}">
                <a16:creationId xmlns:a16="http://schemas.microsoft.com/office/drawing/2014/main" id="{8C948146-17FD-DB4A-846E-F51BA988AE33}"/>
              </a:ext>
            </a:extLst>
          </p:cNvPr>
          <p:cNvCxnSpPr>
            <a:cxnSpLocks/>
          </p:cNvCxnSpPr>
          <p:nvPr userDrawn="1"/>
        </p:nvCxnSpPr>
        <p:spPr>
          <a:xfrm>
            <a:off x="9035840" y="5171582"/>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7" name="Text Placeholder 20">
            <a:extLst>
              <a:ext uri="{FF2B5EF4-FFF2-40B4-BE49-F238E27FC236}">
                <a16:creationId xmlns:a16="http://schemas.microsoft.com/office/drawing/2014/main" id="{75BDE792-8516-F140-98B5-E6555694FF9F}"/>
              </a:ext>
            </a:extLst>
          </p:cNvPr>
          <p:cNvSpPr>
            <a:spLocks noGrp="1"/>
          </p:cNvSpPr>
          <p:nvPr>
            <p:ph type="body" sz="quarter" idx="43" hasCustomPrompt="1"/>
          </p:nvPr>
        </p:nvSpPr>
        <p:spPr>
          <a:xfrm>
            <a:off x="9117123" y="5176719"/>
            <a:ext cx="219359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88" name="Oval 87">
            <a:extLst>
              <a:ext uri="{FF2B5EF4-FFF2-40B4-BE49-F238E27FC236}">
                <a16:creationId xmlns:a16="http://schemas.microsoft.com/office/drawing/2014/main" id="{DDDC840E-AD4E-2B46-B591-42777DAB80FF}"/>
              </a:ext>
            </a:extLst>
          </p:cNvPr>
          <p:cNvSpPr/>
          <p:nvPr userDrawn="1"/>
        </p:nvSpPr>
        <p:spPr>
          <a:xfrm>
            <a:off x="8360691" y="5303447"/>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Title 1">
            <a:extLst>
              <a:ext uri="{FF2B5EF4-FFF2-40B4-BE49-F238E27FC236}">
                <a16:creationId xmlns:a16="http://schemas.microsoft.com/office/drawing/2014/main" id="{F69BD680-0AAD-24E2-CE88-7D26D6861A10}"/>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pic>
        <p:nvPicPr>
          <p:cNvPr id="50" name="Bilde 3">
            <a:extLst>
              <a:ext uri="{FF2B5EF4-FFF2-40B4-BE49-F238E27FC236}">
                <a16:creationId xmlns:a16="http://schemas.microsoft.com/office/drawing/2014/main" id="{2DE1B364-CE7B-11B5-BC6E-1FAF7873E55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27045635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36_Custom Layout">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C7B5656-DA3F-9847-9792-691229FFB730}"/>
              </a:ext>
            </a:extLst>
          </p:cNvPr>
          <p:cNvSpPr/>
          <p:nvPr userDrawn="1"/>
        </p:nvSpPr>
        <p:spPr>
          <a:xfrm>
            <a:off x="1081661" y="1477481"/>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1108209" y="2551410"/>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213240" y="1625928"/>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225116" y="2556547"/>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58" name="Straight Connector 57">
            <a:extLst>
              <a:ext uri="{FF2B5EF4-FFF2-40B4-BE49-F238E27FC236}">
                <a16:creationId xmlns:a16="http://schemas.microsoft.com/office/drawing/2014/main" id="{14D0E40A-826D-D447-875C-24BB261305E6}"/>
              </a:ext>
            </a:extLst>
          </p:cNvPr>
          <p:cNvCxnSpPr>
            <a:cxnSpLocks/>
          </p:cNvCxnSpPr>
          <p:nvPr userDrawn="1"/>
        </p:nvCxnSpPr>
        <p:spPr>
          <a:xfrm>
            <a:off x="1108209" y="3480898"/>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Text Placeholder 20">
            <a:extLst>
              <a:ext uri="{FF2B5EF4-FFF2-40B4-BE49-F238E27FC236}">
                <a16:creationId xmlns:a16="http://schemas.microsoft.com/office/drawing/2014/main" id="{8F334DBA-DB16-D64B-BA18-F61C21BB3599}"/>
              </a:ext>
            </a:extLst>
          </p:cNvPr>
          <p:cNvSpPr>
            <a:spLocks noGrp="1"/>
          </p:cNvSpPr>
          <p:nvPr>
            <p:ph type="body" sz="quarter" idx="35" hasCustomPrompt="1"/>
          </p:nvPr>
        </p:nvSpPr>
        <p:spPr>
          <a:xfrm>
            <a:off x="1225116" y="3486035"/>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71" name="Straight Connector 70">
            <a:extLst>
              <a:ext uri="{FF2B5EF4-FFF2-40B4-BE49-F238E27FC236}">
                <a16:creationId xmlns:a16="http://schemas.microsoft.com/office/drawing/2014/main" id="{9B854D38-8E94-2945-A6F3-1F4A80FB0143}"/>
              </a:ext>
            </a:extLst>
          </p:cNvPr>
          <p:cNvCxnSpPr>
            <a:cxnSpLocks/>
          </p:cNvCxnSpPr>
          <p:nvPr userDrawn="1"/>
        </p:nvCxnSpPr>
        <p:spPr>
          <a:xfrm>
            <a:off x="1108209" y="4405581"/>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Text Placeholder 20">
            <a:extLst>
              <a:ext uri="{FF2B5EF4-FFF2-40B4-BE49-F238E27FC236}">
                <a16:creationId xmlns:a16="http://schemas.microsoft.com/office/drawing/2014/main" id="{B03FB43F-DE17-034A-AD6E-863D0BF0C97A}"/>
              </a:ext>
            </a:extLst>
          </p:cNvPr>
          <p:cNvSpPr>
            <a:spLocks noGrp="1"/>
          </p:cNvSpPr>
          <p:nvPr>
            <p:ph type="body" sz="quarter" idx="38" hasCustomPrompt="1"/>
          </p:nvPr>
        </p:nvSpPr>
        <p:spPr>
          <a:xfrm>
            <a:off x="1225116" y="4410718"/>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80" name="Straight Connector 79">
            <a:extLst>
              <a:ext uri="{FF2B5EF4-FFF2-40B4-BE49-F238E27FC236}">
                <a16:creationId xmlns:a16="http://schemas.microsoft.com/office/drawing/2014/main" id="{AFAC971E-6FED-A84A-AFF8-7D2BBE235176}"/>
              </a:ext>
            </a:extLst>
          </p:cNvPr>
          <p:cNvCxnSpPr>
            <a:cxnSpLocks/>
          </p:cNvCxnSpPr>
          <p:nvPr userDrawn="1"/>
        </p:nvCxnSpPr>
        <p:spPr>
          <a:xfrm>
            <a:off x="1108209" y="534766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1" name="Text Placeholder 20">
            <a:extLst>
              <a:ext uri="{FF2B5EF4-FFF2-40B4-BE49-F238E27FC236}">
                <a16:creationId xmlns:a16="http://schemas.microsoft.com/office/drawing/2014/main" id="{60FC510F-AB34-924E-942D-935C38146DE6}"/>
              </a:ext>
            </a:extLst>
          </p:cNvPr>
          <p:cNvSpPr>
            <a:spLocks noGrp="1"/>
          </p:cNvSpPr>
          <p:nvPr>
            <p:ph type="body" sz="quarter" idx="41" hasCustomPrompt="1"/>
          </p:nvPr>
        </p:nvSpPr>
        <p:spPr>
          <a:xfrm>
            <a:off x="1225116" y="535280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 name="TextBox 2">
            <a:extLst>
              <a:ext uri="{FF2B5EF4-FFF2-40B4-BE49-F238E27FC236}">
                <a16:creationId xmlns:a16="http://schemas.microsoft.com/office/drawing/2014/main" id="{F3A29A19-CBAD-DB4D-A8E8-E75B17885703}"/>
              </a:ext>
            </a:extLst>
          </p:cNvPr>
          <p:cNvSpPr txBox="1"/>
          <p:nvPr userDrawn="1"/>
        </p:nvSpPr>
        <p:spPr>
          <a:xfrm>
            <a:off x="665830" y="1665452"/>
            <a:ext cx="559286" cy="523220"/>
          </a:xfrm>
          <a:prstGeom prst="rect">
            <a:avLst/>
          </a:prstGeom>
        </p:spPr>
        <p:txBody>
          <a:bodyPr wrap="square" rtlCol="0">
            <a:spAutoFit/>
          </a:bodyPr>
          <a:lstStyle/>
          <a:p>
            <a:r>
              <a:rPr lang="en-GB" sz="2800" b="1" i="0">
                <a:solidFill>
                  <a:schemeClr val="accent1"/>
                </a:solidFill>
                <a:latin typeface="Helvetica" pitchFamily="2" charset="0"/>
              </a:rPr>
              <a:t>1</a:t>
            </a:r>
          </a:p>
        </p:txBody>
      </p:sp>
      <p:sp>
        <p:nvSpPr>
          <p:cNvPr id="51" name="Rectangle 50">
            <a:extLst>
              <a:ext uri="{FF2B5EF4-FFF2-40B4-BE49-F238E27FC236}">
                <a16:creationId xmlns:a16="http://schemas.microsoft.com/office/drawing/2014/main" id="{25FF2627-BFD7-7245-8BBD-EF14EE38529E}"/>
              </a:ext>
            </a:extLst>
          </p:cNvPr>
          <p:cNvSpPr/>
          <p:nvPr userDrawn="1"/>
        </p:nvSpPr>
        <p:spPr>
          <a:xfrm>
            <a:off x="4721017" y="1477481"/>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a16="http://schemas.microsoft.com/office/drawing/2014/main" id="{9D94247F-1687-1C46-BCBA-B35359725D0B}"/>
              </a:ext>
            </a:extLst>
          </p:cNvPr>
          <p:cNvCxnSpPr>
            <a:cxnSpLocks/>
          </p:cNvCxnSpPr>
          <p:nvPr userDrawn="1"/>
        </p:nvCxnSpPr>
        <p:spPr>
          <a:xfrm>
            <a:off x="4747565" y="2551410"/>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9" name="Text Placeholder 20">
            <a:extLst>
              <a:ext uri="{FF2B5EF4-FFF2-40B4-BE49-F238E27FC236}">
                <a16:creationId xmlns:a16="http://schemas.microsoft.com/office/drawing/2014/main" id="{DF30A173-A5B6-1947-B430-0C6C140A1F01}"/>
              </a:ext>
            </a:extLst>
          </p:cNvPr>
          <p:cNvSpPr>
            <a:spLocks noGrp="1"/>
          </p:cNvSpPr>
          <p:nvPr>
            <p:ph type="body" sz="quarter" idx="42" hasCustomPrompt="1"/>
          </p:nvPr>
        </p:nvSpPr>
        <p:spPr>
          <a:xfrm>
            <a:off x="4852596" y="1625928"/>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60" name="Text Placeholder 20">
            <a:extLst>
              <a:ext uri="{FF2B5EF4-FFF2-40B4-BE49-F238E27FC236}">
                <a16:creationId xmlns:a16="http://schemas.microsoft.com/office/drawing/2014/main" id="{5B1BD81B-610E-C040-9E12-9890AAD2A079}"/>
              </a:ext>
            </a:extLst>
          </p:cNvPr>
          <p:cNvSpPr>
            <a:spLocks noGrp="1"/>
          </p:cNvSpPr>
          <p:nvPr>
            <p:ph type="body" sz="quarter" idx="43" hasCustomPrompt="1"/>
          </p:nvPr>
        </p:nvSpPr>
        <p:spPr>
          <a:xfrm>
            <a:off x="4864472" y="2556547"/>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61" name="Straight Connector 60">
            <a:extLst>
              <a:ext uri="{FF2B5EF4-FFF2-40B4-BE49-F238E27FC236}">
                <a16:creationId xmlns:a16="http://schemas.microsoft.com/office/drawing/2014/main" id="{2FF13610-5A03-124C-A6D3-AA5918F132C9}"/>
              </a:ext>
            </a:extLst>
          </p:cNvPr>
          <p:cNvCxnSpPr>
            <a:cxnSpLocks/>
          </p:cNvCxnSpPr>
          <p:nvPr userDrawn="1"/>
        </p:nvCxnSpPr>
        <p:spPr>
          <a:xfrm>
            <a:off x="4747565" y="3480898"/>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2" name="Text Placeholder 20">
            <a:extLst>
              <a:ext uri="{FF2B5EF4-FFF2-40B4-BE49-F238E27FC236}">
                <a16:creationId xmlns:a16="http://schemas.microsoft.com/office/drawing/2014/main" id="{CA1B7917-580E-9844-8A05-6C5610890CE7}"/>
              </a:ext>
            </a:extLst>
          </p:cNvPr>
          <p:cNvSpPr>
            <a:spLocks noGrp="1"/>
          </p:cNvSpPr>
          <p:nvPr>
            <p:ph type="body" sz="quarter" idx="44" hasCustomPrompt="1"/>
          </p:nvPr>
        </p:nvSpPr>
        <p:spPr>
          <a:xfrm>
            <a:off x="4864472" y="3486035"/>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89" name="Straight Connector 88">
            <a:extLst>
              <a:ext uri="{FF2B5EF4-FFF2-40B4-BE49-F238E27FC236}">
                <a16:creationId xmlns:a16="http://schemas.microsoft.com/office/drawing/2014/main" id="{E2BF938D-CBAC-4B44-9556-DF0C3CA4DF8F}"/>
              </a:ext>
            </a:extLst>
          </p:cNvPr>
          <p:cNvCxnSpPr>
            <a:cxnSpLocks/>
          </p:cNvCxnSpPr>
          <p:nvPr userDrawn="1"/>
        </p:nvCxnSpPr>
        <p:spPr>
          <a:xfrm>
            <a:off x="4747565" y="4405581"/>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0" name="Text Placeholder 20">
            <a:extLst>
              <a:ext uri="{FF2B5EF4-FFF2-40B4-BE49-F238E27FC236}">
                <a16:creationId xmlns:a16="http://schemas.microsoft.com/office/drawing/2014/main" id="{4603BFF9-BFF5-6841-9F55-9A442D528BCD}"/>
              </a:ext>
            </a:extLst>
          </p:cNvPr>
          <p:cNvSpPr>
            <a:spLocks noGrp="1"/>
          </p:cNvSpPr>
          <p:nvPr>
            <p:ph type="body" sz="quarter" idx="45" hasCustomPrompt="1"/>
          </p:nvPr>
        </p:nvSpPr>
        <p:spPr>
          <a:xfrm>
            <a:off x="4864472" y="4410718"/>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91" name="Straight Connector 90">
            <a:extLst>
              <a:ext uri="{FF2B5EF4-FFF2-40B4-BE49-F238E27FC236}">
                <a16:creationId xmlns:a16="http://schemas.microsoft.com/office/drawing/2014/main" id="{9DC2EED5-BB61-9444-A911-2C32CB804CC5}"/>
              </a:ext>
            </a:extLst>
          </p:cNvPr>
          <p:cNvCxnSpPr>
            <a:cxnSpLocks/>
          </p:cNvCxnSpPr>
          <p:nvPr userDrawn="1"/>
        </p:nvCxnSpPr>
        <p:spPr>
          <a:xfrm>
            <a:off x="4747565" y="534766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2" name="Text Placeholder 20">
            <a:extLst>
              <a:ext uri="{FF2B5EF4-FFF2-40B4-BE49-F238E27FC236}">
                <a16:creationId xmlns:a16="http://schemas.microsoft.com/office/drawing/2014/main" id="{E7161696-114D-3C41-BE58-292DC3B4482B}"/>
              </a:ext>
            </a:extLst>
          </p:cNvPr>
          <p:cNvSpPr>
            <a:spLocks noGrp="1"/>
          </p:cNvSpPr>
          <p:nvPr>
            <p:ph type="body" sz="quarter" idx="46" hasCustomPrompt="1"/>
          </p:nvPr>
        </p:nvSpPr>
        <p:spPr>
          <a:xfrm>
            <a:off x="4864472" y="535280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93" name="TextBox 92">
            <a:extLst>
              <a:ext uri="{FF2B5EF4-FFF2-40B4-BE49-F238E27FC236}">
                <a16:creationId xmlns:a16="http://schemas.microsoft.com/office/drawing/2014/main" id="{CB751464-8A7F-FA49-856D-4334A4C81AF1}"/>
              </a:ext>
            </a:extLst>
          </p:cNvPr>
          <p:cNvSpPr txBox="1"/>
          <p:nvPr userDrawn="1"/>
        </p:nvSpPr>
        <p:spPr>
          <a:xfrm>
            <a:off x="4305186" y="1665452"/>
            <a:ext cx="559286" cy="523220"/>
          </a:xfrm>
          <a:prstGeom prst="rect">
            <a:avLst/>
          </a:prstGeom>
        </p:spPr>
        <p:txBody>
          <a:bodyPr wrap="square" rtlCol="0">
            <a:spAutoFit/>
          </a:bodyPr>
          <a:lstStyle/>
          <a:p>
            <a:r>
              <a:rPr lang="en-GB" sz="2800" b="1" i="0">
                <a:solidFill>
                  <a:schemeClr val="accent1"/>
                </a:solidFill>
                <a:latin typeface="Helvetica" pitchFamily="2" charset="0"/>
              </a:rPr>
              <a:t>2</a:t>
            </a:r>
          </a:p>
        </p:txBody>
      </p:sp>
      <p:sp>
        <p:nvSpPr>
          <p:cNvPr id="94" name="Rectangle 93">
            <a:extLst>
              <a:ext uri="{FF2B5EF4-FFF2-40B4-BE49-F238E27FC236}">
                <a16:creationId xmlns:a16="http://schemas.microsoft.com/office/drawing/2014/main" id="{EF0334F8-DBA7-D04B-8D45-8AECC5324BDE}"/>
              </a:ext>
            </a:extLst>
          </p:cNvPr>
          <p:cNvSpPr/>
          <p:nvPr userDrawn="1"/>
        </p:nvSpPr>
        <p:spPr>
          <a:xfrm>
            <a:off x="8307365" y="1471229"/>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Straight Connector 94">
            <a:extLst>
              <a:ext uri="{FF2B5EF4-FFF2-40B4-BE49-F238E27FC236}">
                <a16:creationId xmlns:a16="http://schemas.microsoft.com/office/drawing/2014/main" id="{3D13591D-6EC1-AB4F-9969-6302E362784E}"/>
              </a:ext>
            </a:extLst>
          </p:cNvPr>
          <p:cNvCxnSpPr>
            <a:cxnSpLocks/>
          </p:cNvCxnSpPr>
          <p:nvPr userDrawn="1"/>
        </p:nvCxnSpPr>
        <p:spPr>
          <a:xfrm>
            <a:off x="8333913" y="2545158"/>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6" name="Text Placeholder 20">
            <a:extLst>
              <a:ext uri="{FF2B5EF4-FFF2-40B4-BE49-F238E27FC236}">
                <a16:creationId xmlns:a16="http://schemas.microsoft.com/office/drawing/2014/main" id="{14BEE252-4639-114D-AFB0-243BBC85FDD9}"/>
              </a:ext>
            </a:extLst>
          </p:cNvPr>
          <p:cNvSpPr>
            <a:spLocks noGrp="1"/>
          </p:cNvSpPr>
          <p:nvPr>
            <p:ph type="body" sz="quarter" idx="47" hasCustomPrompt="1"/>
          </p:nvPr>
        </p:nvSpPr>
        <p:spPr>
          <a:xfrm>
            <a:off x="8438944" y="1619676"/>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97" name="Text Placeholder 20">
            <a:extLst>
              <a:ext uri="{FF2B5EF4-FFF2-40B4-BE49-F238E27FC236}">
                <a16:creationId xmlns:a16="http://schemas.microsoft.com/office/drawing/2014/main" id="{FC6370E8-D75B-1844-A610-8287D1D8E14C}"/>
              </a:ext>
            </a:extLst>
          </p:cNvPr>
          <p:cNvSpPr>
            <a:spLocks noGrp="1"/>
          </p:cNvSpPr>
          <p:nvPr>
            <p:ph type="body" sz="quarter" idx="48" hasCustomPrompt="1"/>
          </p:nvPr>
        </p:nvSpPr>
        <p:spPr>
          <a:xfrm>
            <a:off x="8450820" y="2550295"/>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98" name="Straight Connector 97">
            <a:extLst>
              <a:ext uri="{FF2B5EF4-FFF2-40B4-BE49-F238E27FC236}">
                <a16:creationId xmlns:a16="http://schemas.microsoft.com/office/drawing/2014/main" id="{C0D779F3-6521-3942-8C9F-C999AF5DED7E}"/>
              </a:ext>
            </a:extLst>
          </p:cNvPr>
          <p:cNvCxnSpPr>
            <a:cxnSpLocks/>
          </p:cNvCxnSpPr>
          <p:nvPr userDrawn="1"/>
        </p:nvCxnSpPr>
        <p:spPr>
          <a:xfrm>
            <a:off x="8333913" y="3474646"/>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9" name="Text Placeholder 20">
            <a:extLst>
              <a:ext uri="{FF2B5EF4-FFF2-40B4-BE49-F238E27FC236}">
                <a16:creationId xmlns:a16="http://schemas.microsoft.com/office/drawing/2014/main" id="{C51B118D-026B-804A-A087-4B2F7080C4CB}"/>
              </a:ext>
            </a:extLst>
          </p:cNvPr>
          <p:cNvSpPr>
            <a:spLocks noGrp="1"/>
          </p:cNvSpPr>
          <p:nvPr>
            <p:ph type="body" sz="quarter" idx="49" hasCustomPrompt="1"/>
          </p:nvPr>
        </p:nvSpPr>
        <p:spPr>
          <a:xfrm>
            <a:off x="8450820" y="3479783"/>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100" name="Straight Connector 99">
            <a:extLst>
              <a:ext uri="{FF2B5EF4-FFF2-40B4-BE49-F238E27FC236}">
                <a16:creationId xmlns:a16="http://schemas.microsoft.com/office/drawing/2014/main" id="{9B8AEA03-D8B2-AF4D-8117-E6BB4A0DD32B}"/>
              </a:ext>
            </a:extLst>
          </p:cNvPr>
          <p:cNvCxnSpPr>
            <a:cxnSpLocks/>
          </p:cNvCxnSpPr>
          <p:nvPr userDrawn="1"/>
        </p:nvCxnSpPr>
        <p:spPr>
          <a:xfrm>
            <a:off x="8333913" y="4399329"/>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1" name="Text Placeholder 20">
            <a:extLst>
              <a:ext uri="{FF2B5EF4-FFF2-40B4-BE49-F238E27FC236}">
                <a16:creationId xmlns:a16="http://schemas.microsoft.com/office/drawing/2014/main" id="{BBEB6736-19B2-5B4F-8A4E-C0BDDEB6F0BD}"/>
              </a:ext>
            </a:extLst>
          </p:cNvPr>
          <p:cNvSpPr>
            <a:spLocks noGrp="1"/>
          </p:cNvSpPr>
          <p:nvPr>
            <p:ph type="body" sz="quarter" idx="50" hasCustomPrompt="1"/>
          </p:nvPr>
        </p:nvSpPr>
        <p:spPr>
          <a:xfrm>
            <a:off x="8450820" y="4404466"/>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102" name="Straight Connector 101">
            <a:extLst>
              <a:ext uri="{FF2B5EF4-FFF2-40B4-BE49-F238E27FC236}">
                <a16:creationId xmlns:a16="http://schemas.microsoft.com/office/drawing/2014/main" id="{4ABA2814-393E-934A-ABEB-748B137485D0}"/>
              </a:ext>
            </a:extLst>
          </p:cNvPr>
          <p:cNvCxnSpPr>
            <a:cxnSpLocks/>
          </p:cNvCxnSpPr>
          <p:nvPr userDrawn="1"/>
        </p:nvCxnSpPr>
        <p:spPr>
          <a:xfrm>
            <a:off x="8333913" y="534141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3" name="Text Placeholder 20">
            <a:extLst>
              <a:ext uri="{FF2B5EF4-FFF2-40B4-BE49-F238E27FC236}">
                <a16:creationId xmlns:a16="http://schemas.microsoft.com/office/drawing/2014/main" id="{DE66B957-6AB7-A74D-A611-8A2CBDFEF9E8}"/>
              </a:ext>
            </a:extLst>
          </p:cNvPr>
          <p:cNvSpPr>
            <a:spLocks noGrp="1"/>
          </p:cNvSpPr>
          <p:nvPr>
            <p:ph type="body" sz="quarter" idx="51" hasCustomPrompt="1"/>
          </p:nvPr>
        </p:nvSpPr>
        <p:spPr>
          <a:xfrm>
            <a:off x="8450820" y="5346552"/>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4" name="TextBox 103">
            <a:extLst>
              <a:ext uri="{FF2B5EF4-FFF2-40B4-BE49-F238E27FC236}">
                <a16:creationId xmlns:a16="http://schemas.microsoft.com/office/drawing/2014/main" id="{6969653A-6C2C-8147-ACCB-D4F972B28B3B}"/>
              </a:ext>
            </a:extLst>
          </p:cNvPr>
          <p:cNvSpPr txBox="1"/>
          <p:nvPr userDrawn="1"/>
        </p:nvSpPr>
        <p:spPr>
          <a:xfrm>
            <a:off x="7891534" y="1659200"/>
            <a:ext cx="559286" cy="523220"/>
          </a:xfrm>
          <a:prstGeom prst="rect">
            <a:avLst/>
          </a:prstGeom>
        </p:spPr>
        <p:txBody>
          <a:bodyPr wrap="square" rtlCol="0">
            <a:spAutoFit/>
          </a:bodyPr>
          <a:lstStyle/>
          <a:p>
            <a:r>
              <a:rPr lang="en-GB" sz="2800" b="1" i="0">
                <a:solidFill>
                  <a:schemeClr val="accent1"/>
                </a:solidFill>
                <a:latin typeface="Helvetica" pitchFamily="2" charset="0"/>
              </a:rPr>
              <a:t>3</a:t>
            </a:r>
          </a:p>
        </p:txBody>
      </p:sp>
      <p:sp>
        <p:nvSpPr>
          <p:cNvPr id="38" name="Title 1">
            <a:extLst>
              <a:ext uri="{FF2B5EF4-FFF2-40B4-BE49-F238E27FC236}">
                <a16:creationId xmlns:a16="http://schemas.microsoft.com/office/drawing/2014/main" id="{00D9EB27-355B-C0ED-84F3-A25252382F8B}"/>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pic>
        <p:nvPicPr>
          <p:cNvPr id="41" name="Bilde 3">
            <a:extLst>
              <a:ext uri="{FF2B5EF4-FFF2-40B4-BE49-F238E27FC236}">
                <a16:creationId xmlns:a16="http://schemas.microsoft.com/office/drawing/2014/main" id="{802CD67E-099A-F1EE-76BF-B44552A10B5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11419525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37_Custom Layout">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C7B5656-DA3F-9847-9792-691229FFB730}"/>
              </a:ext>
            </a:extLst>
          </p:cNvPr>
          <p:cNvSpPr/>
          <p:nvPr userDrawn="1"/>
        </p:nvSpPr>
        <p:spPr>
          <a:xfrm>
            <a:off x="1081661" y="1716020"/>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1108209" y="2789949"/>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213240" y="1864467"/>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225116" y="2795086"/>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58" name="Straight Connector 57">
            <a:extLst>
              <a:ext uri="{FF2B5EF4-FFF2-40B4-BE49-F238E27FC236}">
                <a16:creationId xmlns:a16="http://schemas.microsoft.com/office/drawing/2014/main" id="{14D0E40A-826D-D447-875C-24BB261305E6}"/>
              </a:ext>
            </a:extLst>
          </p:cNvPr>
          <p:cNvCxnSpPr>
            <a:cxnSpLocks/>
          </p:cNvCxnSpPr>
          <p:nvPr userDrawn="1"/>
        </p:nvCxnSpPr>
        <p:spPr>
          <a:xfrm>
            <a:off x="1108209" y="371943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Text Placeholder 20">
            <a:extLst>
              <a:ext uri="{FF2B5EF4-FFF2-40B4-BE49-F238E27FC236}">
                <a16:creationId xmlns:a16="http://schemas.microsoft.com/office/drawing/2014/main" id="{8F334DBA-DB16-D64B-BA18-F61C21BB3599}"/>
              </a:ext>
            </a:extLst>
          </p:cNvPr>
          <p:cNvSpPr>
            <a:spLocks noGrp="1"/>
          </p:cNvSpPr>
          <p:nvPr>
            <p:ph type="body" sz="quarter" idx="35" hasCustomPrompt="1"/>
          </p:nvPr>
        </p:nvSpPr>
        <p:spPr>
          <a:xfrm>
            <a:off x="1225116" y="372457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71" name="Straight Connector 70">
            <a:extLst>
              <a:ext uri="{FF2B5EF4-FFF2-40B4-BE49-F238E27FC236}">
                <a16:creationId xmlns:a16="http://schemas.microsoft.com/office/drawing/2014/main" id="{9B854D38-8E94-2945-A6F3-1F4A80FB0143}"/>
              </a:ext>
            </a:extLst>
          </p:cNvPr>
          <p:cNvCxnSpPr>
            <a:cxnSpLocks/>
          </p:cNvCxnSpPr>
          <p:nvPr userDrawn="1"/>
        </p:nvCxnSpPr>
        <p:spPr>
          <a:xfrm>
            <a:off x="1108209" y="4644120"/>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Text Placeholder 20">
            <a:extLst>
              <a:ext uri="{FF2B5EF4-FFF2-40B4-BE49-F238E27FC236}">
                <a16:creationId xmlns:a16="http://schemas.microsoft.com/office/drawing/2014/main" id="{B03FB43F-DE17-034A-AD6E-863D0BF0C97A}"/>
              </a:ext>
            </a:extLst>
          </p:cNvPr>
          <p:cNvSpPr>
            <a:spLocks noGrp="1"/>
          </p:cNvSpPr>
          <p:nvPr>
            <p:ph type="body" sz="quarter" idx="38" hasCustomPrompt="1"/>
          </p:nvPr>
        </p:nvSpPr>
        <p:spPr>
          <a:xfrm>
            <a:off x="1225116" y="4649257"/>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 name="TextBox 2">
            <a:extLst>
              <a:ext uri="{FF2B5EF4-FFF2-40B4-BE49-F238E27FC236}">
                <a16:creationId xmlns:a16="http://schemas.microsoft.com/office/drawing/2014/main" id="{F3A29A19-CBAD-DB4D-A8E8-E75B17885703}"/>
              </a:ext>
            </a:extLst>
          </p:cNvPr>
          <p:cNvSpPr txBox="1"/>
          <p:nvPr userDrawn="1"/>
        </p:nvSpPr>
        <p:spPr>
          <a:xfrm>
            <a:off x="665830" y="1903991"/>
            <a:ext cx="559286" cy="523220"/>
          </a:xfrm>
          <a:prstGeom prst="rect">
            <a:avLst/>
          </a:prstGeom>
        </p:spPr>
        <p:txBody>
          <a:bodyPr wrap="square" rtlCol="0">
            <a:spAutoFit/>
          </a:bodyPr>
          <a:lstStyle/>
          <a:p>
            <a:r>
              <a:rPr lang="en-GB" sz="2800" b="1" i="0">
                <a:solidFill>
                  <a:schemeClr val="accent1"/>
                </a:solidFill>
                <a:latin typeface="Helvetica" pitchFamily="2" charset="0"/>
              </a:rPr>
              <a:t>1</a:t>
            </a:r>
          </a:p>
        </p:txBody>
      </p:sp>
      <p:sp>
        <p:nvSpPr>
          <p:cNvPr id="51" name="Rectangle 50">
            <a:extLst>
              <a:ext uri="{FF2B5EF4-FFF2-40B4-BE49-F238E27FC236}">
                <a16:creationId xmlns:a16="http://schemas.microsoft.com/office/drawing/2014/main" id="{25FF2627-BFD7-7245-8BBD-EF14EE38529E}"/>
              </a:ext>
            </a:extLst>
          </p:cNvPr>
          <p:cNvSpPr/>
          <p:nvPr userDrawn="1"/>
        </p:nvSpPr>
        <p:spPr>
          <a:xfrm>
            <a:off x="4721017" y="1716020"/>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a16="http://schemas.microsoft.com/office/drawing/2014/main" id="{9D94247F-1687-1C46-BCBA-B35359725D0B}"/>
              </a:ext>
            </a:extLst>
          </p:cNvPr>
          <p:cNvCxnSpPr>
            <a:cxnSpLocks/>
          </p:cNvCxnSpPr>
          <p:nvPr userDrawn="1"/>
        </p:nvCxnSpPr>
        <p:spPr>
          <a:xfrm>
            <a:off x="4747565" y="2789949"/>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9" name="Text Placeholder 20">
            <a:extLst>
              <a:ext uri="{FF2B5EF4-FFF2-40B4-BE49-F238E27FC236}">
                <a16:creationId xmlns:a16="http://schemas.microsoft.com/office/drawing/2014/main" id="{DF30A173-A5B6-1947-B430-0C6C140A1F01}"/>
              </a:ext>
            </a:extLst>
          </p:cNvPr>
          <p:cNvSpPr>
            <a:spLocks noGrp="1"/>
          </p:cNvSpPr>
          <p:nvPr>
            <p:ph type="body" sz="quarter" idx="42" hasCustomPrompt="1"/>
          </p:nvPr>
        </p:nvSpPr>
        <p:spPr>
          <a:xfrm>
            <a:off x="4852596" y="1864467"/>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60" name="Text Placeholder 20">
            <a:extLst>
              <a:ext uri="{FF2B5EF4-FFF2-40B4-BE49-F238E27FC236}">
                <a16:creationId xmlns:a16="http://schemas.microsoft.com/office/drawing/2014/main" id="{5B1BD81B-610E-C040-9E12-9890AAD2A079}"/>
              </a:ext>
            </a:extLst>
          </p:cNvPr>
          <p:cNvSpPr>
            <a:spLocks noGrp="1"/>
          </p:cNvSpPr>
          <p:nvPr>
            <p:ph type="body" sz="quarter" idx="43" hasCustomPrompt="1"/>
          </p:nvPr>
        </p:nvSpPr>
        <p:spPr>
          <a:xfrm>
            <a:off x="4864472" y="2795086"/>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61" name="Straight Connector 60">
            <a:extLst>
              <a:ext uri="{FF2B5EF4-FFF2-40B4-BE49-F238E27FC236}">
                <a16:creationId xmlns:a16="http://schemas.microsoft.com/office/drawing/2014/main" id="{2FF13610-5A03-124C-A6D3-AA5918F132C9}"/>
              </a:ext>
            </a:extLst>
          </p:cNvPr>
          <p:cNvCxnSpPr>
            <a:cxnSpLocks/>
          </p:cNvCxnSpPr>
          <p:nvPr userDrawn="1"/>
        </p:nvCxnSpPr>
        <p:spPr>
          <a:xfrm>
            <a:off x="4747565" y="371943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2" name="Text Placeholder 20">
            <a:extLst>
              <a:ext uri="{FF2B5EF4-FFF2-40B4-BE49-F238E27FC236}">
                <a16:creationId xmlns:a16="http://schemas.microsoft.com/office/drawing/2014/main" id="{CA1B7917-580E-9844-8A05-6C5610890CE7}"/>
              </a:ext>
            </a:extLst>
          </p:cNvPr>
          <p:cNvSpPr>
            <a:spLocks noGrp="1"/>
          </p:cNvSpPr>
          <p:nvPr>
            <p:ph type="body" sz="quarter" idx="44" hasCustomPrompt="1"/>
          </p:nvPr>
        </p:nvSpPr>
        <p:spPr>
          <a:xfrm>
            <a:off x="4864472" y="372457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89" name="Straight Connector 88">
            <a:extLst>
              <a:ext uri="{FF2B5EF4-FFF2-40B4-BE49-F238E27FC236}">
                <a16:creationId xmlns:a16="http://schemas.microsoft.com/office/drawing/2014/main" id="{E2BF938D-CBAC-4B44-9556-DF0C3CA4DF8F}"/>
              </a:ext>
            </a:extLst>
          </p:cNvPr>
          <p:cNvCxnSpPr>
            <a:cxnSpLocks/>
          </p:cNvCxnSpPr>
          <p:nvPr userDrawn="1"/>
        </p:nvCxnSpPr>
        <p:spPr>
          <a:xfrm>
            <a:off x="4747565" y="4644120"/>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0" name="Text Placeholder 20">
            <a:extLst>
              <a:ext uri="{FF2B5EF4-FFF2-40B4-BE49-F238E27FC236}">
                <a16:creationId xmlns:a16="http://schemas.microsoft.com/office/drawing/2014/main" id="{4603BFF9-BFF5-6841-9F55-9A442D528BCD}"/>
              </a:ext>
            </a:extLst>
          </p:cNvPr>
          <p:cNvSpPr>
            <a:spLocks noGrp="1"/>
          </p:cNvSpPr>
          <p:nvPr>
            <p:ph type="body" sz="quarter" idx="45" hasCustomPrompt="1"/>
          </p:nvPr>
        </p:nvSpPr>
        <p:spPr>
          <a:xfrm>
            <a:off x="4864472" y="4649257"/>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93" name="TextBox 92">
            <a:extLst>
              <a:ext uri="{FF2B5EF4-FFF2-40B4-BE49-F238E27FC236}">
                <a16:creationId xmlns:a16="http://schemas.microsoft.com/office/drawing/2014/main" id="{CB751464-8A7F-FA49-856D-4334A4C81AF1}"/>
              </a:ext>
            </a:extLst>
          </p:cNvPr>
          <p:cNvSpPr txBox="1"/>
          <p:nvPr userDrawn="1"/>
        </p:nvSpPr>
        <p:spPr>
          <a:xfrm>
            <a:off x="4305186" y="1903991"/>
            <a:ext cx="559286" cy="523220"/>
          </a:xfrm>
          <a:prstGeom prst="rect">
            <a:avLst/>
          </a:prstGeom>
        </p:spPr>
        <p:txBody>
          <a:bodyPr wrap="square" rtlCol="0">
            <a:spAutoFit/>
          </a:bodyPr>
          <a:lstStyle/>
          <a:p>
            <a:r>
              <a:rPr lang="en-GB" sz="2800" b="1" i="0">
                <a:solidFill>
                  <a:schemeClr val="accent1"/>
                </a:solidFill>
                <a:latin typeface="Helvetica" pitchFamily="2" charset="0"/>
              </a:rPr>
              <a:t>2</a:t>
            </a:r>
          </a:p>
        </p:txBody>
      </p:sp>
      <p:sp>
        <p:nvSpPr>
          <p:cNvPr id="94" name="Rectangle 93">
            <a:extLst>
              <a:ext uri="{FF2B5EF4-FFF2-40B4-BE49-F238E27FC236}">
                <a16:creationId xmlns:a16="http://schemas.microsoft.com/office/drawing/2014/main" id="{EF0334F8-DBA7-D04B-8D45-8AECC5324BDE}"/>
              </a:ext>
            </a:extLst>
          </p:cNvPr>
          <p:cNvSpPr/>
          <p:nvPr userDrawn="1"/>
        </p:nvSpPr>
        <p:spPr>
          <a:xfrm>
            <a:off x="8307365" y="1709768"/>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Straight Connector 94">
            <a:extLst>
              <a:ext uri="{FF2B5EF4-FFF2-40B4-BE49-F238E27FC236}">
                <a16:creationId xmlns:a16="http://schemas.microsoft.com/office/drawing/2014/main" id="{3D13591D-6EC1-AB4F-9969-6302E362784E}"/>
              </a:ext>
            </a:extLst>
          </p:cNvPr>
          <p:cNvCxnSpPr>
            <a:cxnSpLocks/>
          </p:cNvCxnSpPr>
          <p:nvPr userDrawn="1"/>
        </p:nvCxnSpPr>
        <p:spPr>
          <a:xfrm>
            <a:off x="8333913" y="278369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6" name="Text Placeholder 20">
            <a:extLst>
              <a:ext uri="{FF2B5EF4-FFF2-40B4-BE49-F238E27FC236}">
                <a16:creationId xmlns:a16="http://schemas.microsoft.com/office/drawing/2014/main" id="{14BEE252-4639-114D-AFB0-243BBC85FDD9}"/>
              </a:ext>
            </a:extLst>
          </p:cNvPr>
          <p:cNvSpPr>
            <a:spLocks noGrp="1"/>
          </p:cNvSpPr>
          <p:nvPr>
            <p:ph type="body" sz="quarter" idx="47" hasCustomPrompt="1"/>
          </p:nvPr>
        </p:nvSpPr>
        <p:spPr>
          <a:xfrm>
            <a:off x="8438944" y="1858215"/>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97" name="Text Placeholder 20">
            <a:extLst>
              <a:ext uri="{FF2B5EF4-FFF2-40B4-BE49-F238E27FC236}">
                <a16:creationId xmlns:a16="http://schemas.microsoft.com/office/drawing/2014/main" id="{FC6370E8-D75B-1844-A610-8287D1D8E14C}"/>
              </a:ext>
            </a:extLst>
          </p:cNvPr>
          <p:cNvSpPr>
            <a:spLocks noGrp="1"/>
          </p:cNvSpPr>
          <p:nvPr>
            <p:ph type="body" sz="quarter" idx="48" hasCustomPrompt="1"/>
          </p:nvPr>
        </p:nvSpPr>
        <p:spPr>
          <a:xfrm>
            <a:off x="8450820" y="278883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98" name="Straight Connector 97">
            <a:extLst>
              <a:ext uri="{FF2B5EF4-FFF2-40B4-BE49-F238E27FC236}">
                <a16:creationId xmlns:a16="http://schemas.microsoft.com/office/drawing/2014/main" id="{C0D779F3-6521-3942-8C9F-C999AF5DED7E}"/>
              </a:ext>
            </a:extLst>
          </p:cNvPr>
          <p:cNvCxnSpPr>
            <a:cxnSpLocks/>
          </p:cNvCxnSpPr>
          <p:nvPr userDrawn="1"/>
        </p:nvCxnSpPr>
        <p:spPr>
          <a:xfrm>
            <a:off x="8333913" y="371318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9" name="Text Placeholder 20">
            <a:extLst>
              <a:ext uri="{FF2B5EF4-FFF2-40B4-BE49-F238E27FC236}">
                <a16:creationId xmlns:a16="http://schemas.microsoft.com/office/drawing/2014/main" id="{C51B118D-026B-804A-A087-4B2F7080C4CB}"/>
              </a:ext>
            </a:extLst>
          </p:cNvPr>
          <p:cNvSpPr>
            <a:spLocks noGrp="1"/>
          </p:cNvSpPr>
          <p:nvPr>
            <p:ph type="body" sz="quarter" idx="49" hasCustomPrompt="1"/>
          </p:nvPr>
        </p:nvSpPr>
        <p:spPr>
          <a:xfrm>
            <a:off x="8450820" y="3718322"/>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100" name="Straight Connector 99">
            <a:extLst>
              <a:ext uri="{FF2B5EF4-FFF2-40B4-BE49-F238E27FC236}">
                <a16:creationId xmlns:a16="http://schemas.microsoft.com/office/drawing/2014/main" id="{9B8AEA03-D8B2-AF4D-8117-E6BB4A0DD32B}"/>
              </a:ext>
            </a:extLst>
          </p:cNvPr>
          <p:cNvCxnSpPr>
            <a:cxnSpLocks/>
          </p:cNvCxnSpPr>
          <p:nvPr userDrawn="1"/>
        </p:nvCxnSpPr>
        <p:spPr>
          <a:xfrm>
            <a:off x="8333913" y="4637868"/>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1" name="Text Placeholder 20">
            <a:extLst>
              <a:ext uri="{FF2B5EF4-FFF2-40B4-BE49-F238E27FC236}">
                <a16:creationId xmlns:a16="http://schemas.microsoft.com/office/drawing/2014/main" id="{BBEB6736-19B2-5B4F-8A4E-C0BDDEB6F0BD}"/>
              </a:ext>
            </a:extLst>
          </p:cNvPr>
          <p:cNvSpPr>
            <a:spLocks noGrp="1"/>
          </p:cNvSpPr>
          <p:nvPr>
            <p:ph type="body" sz="quarter" idx="50" hasCustomPrompt="1"/>
          </p:nvPr>
        </p:nvSpPr>
        <p:spPr>
          <a:xfrm>
            <a:off x="8450820" y="4643005"/>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4" name="TextBox 103">
            <a:extLst>
              <a:ext uri="{FF2B5EF4-FFF2-40B4-BE49-F238E27FC236}">
                <a16:creationId xmlns:a16="http://schemas.microsoft.com/office/drawing/2014/main" id="{6969653A-6C2C-8147-ACCB-D4F972B28B3B}"/>
              </a:ext>
            </a:extLst>
          </p:cNvPr>
          <p:cNvSpPr txBox="1"/>
          <p:nvPr userDrawn="1"/>
        </p:nvSpPr>
        <p:spPr>
          <a:xfrm>
            <a:off x="7891534" y="1897739"/>
            <a:ext cx="559286" cy="523220"/>
          </a:xfrm>
          <a:prstGeom prst="rect">
            <a:avLst/>
          </a:prstGeom>
        </p:spPr>
        <p:txBody>
          <a:bodyPr wrap="square" rtlCol="0">
            <a:spAutoFit/>
          </a:bodyPr>
          <a:lstStyle/>
          <a:p>
            <a:r>
              <a:rPr lang="en-GB" sz="2800" b="1" i="0">
                <a:solidFill>
                  <a:schemeClr val="accent1"/>
                </a:solidFill>
                <a:latin typeface="Helvetica" pitchFamily="2" charset="0"/>
              </a:rPr>
              <a:t>3</a:t>
            </a:r>
          </a:p>
        </p:txBody>
      </p:sp>
      <p:sp>
        <p:nvSpPr>
          <p:cNvPr id="38" name="Title 1">
            <a:extLst>
              <a:ext uri="{FF2B5EF4-FFF2-40B4-BE49-F238E27FC236}">
                <a16:creationId xmlns:a16="http://schemas.microsoft.com/office/drawing/2014/main" id="{00D9EB27-355B-C0ED-84F3-A25252382F8B}"/>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pic>
        <p:nvPicPr>
          <p:cNvPr id="35" name="Bilde 3">
            <a:extLst>
              <a:ext uri="{FF2B5EF4-FFF2-40B4-BE49-F238E27FC236}">
                <a16:creationId xmlns:a16="http://schemas.microsoft.com/office/drawing/2014/main" id="{FE2C0ED3-4F0D-76FE-4A81-DA2AEA5E0E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28893102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38_Custom Layout">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C7B5656-DA3F-9847-9792-691229FFB730}"/>
              </a:ext>
            </a:extLst>
          </p:cNvPr>
          <p:cNvSpPr/>
          <p:nvPr userDrawn="1"/>
        </p:nvSpPr>
        <p:spPr>
          <a:xfrm>
            <a:off x="1081661" y="1716020"/>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213240" y="1864467"/>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225116" y="2795085"/>
            <a:ext cx="2916256" cy="2636015"/>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 name="TextBox 2">
            <a:extLst>
              <a:ext uri="{FF2B5EF4-FFF2-40B4-BE49-F238E27FC236}">
                <a16:creationId xmlns:a16="http://schemas.microsoft.com/office/drawing/2014/main" id="{F3A29A19-CBAD-DB4D-A8E8-E75B17885703}"/>
              </a:ext>
            </a:extLst>
          </p:cNvPr>
          <p:cNvSpPr txBox="1"/>
          <p:nvPr userDrawn="1"/>
        </p:nvSpPr>
        <p:spPr>
          <a:xfrm>
            <a:off x="665830" y="1903991"/>
            <a:ext cx="559286" cy="523220"/>
          </a:xfrm>
          <a:prstGeom prst="rect">
            <a:avLst/>
          </a:prstGeom>
        </p:spPr>
        <p:txBody>
          <a:bodyPr wrap="square" rtlCol="0">
            <a:spAutoFit/>
          </a:bodyPr>
          <a:lstStyle/>
          <a:p>
            <a:r>
              <a:rPr lang="en-GB" sz="2800" b="1" i="0">
                <a:solidFill>
                  <a:schemeClr val="accent1"/>
                </a:solidFill>
                <a:latin typeface="Helvetica" pitchFamily="2" charset="0"/>
              </a:rPr>
              <a:t>1</a:t>
            </a:r>
          </a:p>
        </p:txBody>
      </p:sp>
      <p:sp>
        <p:nvSpPr>
          <p:cNvPr id="51" name="Rectangle 50">
            <a:extLst>
              <a:ext uri="{FF2B5EF4-FFF2-40B4-BE49-F238E27FC236}">
                <a16:creationId xmlns:a16="http://schemas.microsoft.com/office/drawing/2014/main" id="{25FF2627-BFD7-7245-8BBD-EF14EE38529E}"/>
              </a:ext>
            </a:extLst>
          </p:cNvPr>
          <p:cNvSpPr/>
          <p:nvPr userDrawn="1"/>
        </p:nvSpPr>
        <p:spPr>
          <a:xfrm>
            <a:off x="4721017" y="1716020"/>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 Placeholder 20">
            <a:extLst>
              <a:ext uri="{FF2B5EF4-FFF2-40B4-BE49-F238E27FC236}">
                <a16:creationId xmlns:a16="http://schemas.microsoft.com/office/drawing/2014/main" id="{DF30A173-A5B6-1947-B430-0C6C140A1F01}"/>
              </a:ext>
            </a:extLst>
          </p:cNvPr>
          <p:cNvSpPr>
            <a:spLocks noGrp="1"/>
          </p:cNvSpPr>
          <p:nvPr>
            <p:ph type="body" sz="quarter" idx="42" hasCustomPrompt="1"/>
          </p:nvPr>
        </p:nvSpPr>
        <p:spPr>
          <a:xfrm>
            <a:off x="4852596" y="1864467"/>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60" name="Text Placeholder 20">
            <a:extLst>
              <a:ext uri="{FF2B5EF4-FFF2-40B4-BE49-F238E27FC236}">
                <a16:creationId xmlns:a16="http://schemas.microsoft.com/office/drawing/2014/main" id="{5B1BD81B-610E-C040-9E12-9890AAD2A079}"/>
              </a:ext>
            </a:extLst>
          </p:cNvPr>
          <p:cNvSpPr>
            <a:spLocks noGrp="1"/>
          </p:cNvSpPr>
          <p:nvPr>
            <p:ph type="body" sz="quarter" idx="43" hasCustomPrompt="1"/>
          </p:nvPr>
        </p:nvSpPr>
        <p:spPr>
          <a:xfrm>
            <a:off x="4864472" y="2795085"/>
            <a:ext cx="2916256" cy="2636015"/>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93" name="TextBox 92">
            <a:extLst>
              <a:ext uri="{FF2B5EF4-FFF2-40B4-BE49-F238E27FC236}">
                <a16:creationId xmlns:a16="http://schemas.microsoft.com/office/drawing/2014/main" id="{CB751464-8A7F-FA49-856D-4334A4C81AF1}"/>
              </a:ext>
            </a:extLst>
          </p:cNvPr>
          <p:cNvSpPr txBox="1"/>
          <p:nvPr userDrawn="1"/>
        </p:nvSpPr>
        <p:spPr>
          <a:xfrm>
            <a:off x="4305186" y="1903991"/>
            <a:ext cx="559286" cy="523220"/>
          </a:xfrm>
          <a:prstGeom prst="rect">
            <a:avLst/>
          </a:prstGeom>
        </p:spPr>
        <p:txBody>
          <a:bodyPr wrap="square" rtlCol="0">
            <a:spAutoFit/>
          </a:bodyPr>
          <a:lstStyle/>
          <a:p>
            <a:r>
              <a:rPr lang="en-GB" sz="2800" b="1" i="0">
                <a:solidFill>
                  <a:schemeClr val="accent1"/>
                </a:solidFill>
                <a:latin typeface="Helvetica" pitchFamily="2" charset="0"/>
              </a:rPr>
              <a:t>2</a:t>
            </a:r>
          </a:p>
        </p:txBody>
      </p:sp>
      <p:sp>
        <p:nvSpPr>
          <p:cNvPr id="94" name="Rectangle 93">
            <a:extLst>
              <a:ext uri="{FF2B5EF4-FFF2-40B4-BE49-F238E27FC236}">
                <a16:creationId xmlns:a16="http://schemas.microsoft.com/office/drawing/2014/main" id="{EF0334F8-DBA7-D04B-8D45-8AECC5324BDE}"/>
              </a:ext>
            </a:extLst>
          </p:cNvPr>
          <p:cNvSpPr/>
          <p:nvPr userDrawn="1"/>
        </p:nvSpPr>
        <p:spPr>
          <a:xfrm>
            <a:off x="8307365" y="1709768"/>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1108209" y="2804934"/>
            <a:ext cx="0" cy="264115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D94247F-1687-1C46-BCBA-B35359725D0B}"/>
              </a:ext>
            </a:extLst>
          </p:cNvPr>
          <p:cNvCxnSpPr>
            <a:cxnSpLocks/>
          </p:cNvCxnSpPr>
          <p:nvPr userDrawn="1"/>
        </p:nvCxnSpPr>
        <p:spPr>
          <a:xfrm>
            <a:off x="4747565" y="2804934"/>
            <a:ext cx="0" cy="264115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3D13591D-6EC1-AB4F-9969-6302E362784E}"/>
              </a:ext>
            </a:extLst>
          </p:cNvPr>
          <p:cNvCxnSpPr>
            <a:cxnSpLocks/>
          </p:cNvCxnSpPr>
          <p:nvPr userDrawn="1"/>
        </p:nvCxnSpPr>
        <p:spPr>
          <a:xfrm>
            <a:off x="8333913" y="2783696"/>
            <a:ext cx="0" cy="264115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6" name="Text Placeholder 20">
            <a:extLst>
              <a:ext uri="{FF2B5EF4-FFF2-40B4-BE49-F238E27FC236}">
                <a16:creationId xmlns:a16="http://schemas.microsoft.com/office/drawing/2014/main" id="{14BEE252-4639-114D-AFB0-243BBC85FDD9}"/>
              </a:ext>
            </a:extLst>
          </p:cNvPr>
          <p:cNvSpPr>
            <a:spLocks noGrp="1"/>
          </p:cNvSpPr>
          <p:nvPr userDrawn="1">
            <p:ph type="body" sz="quarter" idx="47" hasCustomPrompt="1"/>
          </p:nvPr>
        </p:nvSpPr>
        <p:spPr>
          <a:xfrm>
            <a:off x="8438944" y="1858215"/>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97" name="Text Placeholder 20">
            <a:extLst>
              <a:ext uri="{FF2B5EF4-FFF2-40B4-BE49-F238E27FC236}">
                <a16:creationId xmlns:a16="http://schemas.microsoft.com/office/drawing/2014/main" id="{FC6370E8-D75B-1844-A610-8287D1D8E14C}"/>
              </a:ext>
            </a:extLst>
          </p:cNvPr>
          <p:cNvSpPr>
            <a:spLocks noGrp="1"/>
          </p:cNvSpPr>
          <p:nvPr userDrawn="1">
            <p:ph type="body" sz="quarter" idx="48" hasCustomPrompt="1"/>
          </p:nvPr>
        </p:nvSpPr>
        <p:spPr>
          <a:xfrm>
            <a:off x="8450820" y="2788833"/>
            <a:ext cx="2916256" cy="2636015"/>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4" name="TextBox 103">
            <a:extLst>
              <a:ext uri="{FF2B5EF4-FFF2-40B4-BE49-F238E27FC236}">
                <a16:creationId xmlns:a16="http://schemas.microsoft.com/office/drawing/2014/main" id="{6969653A-6C2C-8147-ACCB-D4F972B28B3B}"/>
              </a:ext>
            </a:extLst>
          </p:cNvPr>
          <p:cNvSpPr txBox="1"/>
          <p:nvPr userDrawn="1"/>
        </p:nvSpPr>
        <p:spPr>
          <a:xfrm>
            <a:off x="7891534" y="1897739"/>
            <a:ext cx="559286" cy="523220"/>
          </a:xfrm>
          <a:prstGeom prst="rect">
            <a:avLst/>
          </a:prstGeom>
        </p:spPr>
        <p:txBody>
          <a:bodyPr wrap="square" rtlCol="0">
            <a:spAutoFit/>
          </a:bodyPr>
          <a:lstStyle/>
          <a:p>
            <a:r>
              <a:rPr lang="en-GB" sz="2800" b="1" i="0">
                <a:solidFill>
                  <a:schemeClr val="accent1"/>
                </a:solidFill>
                <a:latin typeface="Helvetica" pitchFamily="2" charset="0"/>
              </a:rPr>
              <a:t>3</a:t>
            </a:r>
          </a:p>
        </p:txBody>
      </p:sp>
      <p:sp>
        <p:nvSpPr>
          <p:cNvPr id="38" name="Title 1">
            <a:extLst>
              <a:ext uri="{FF2B5EF4-FFF2-40B4-BE49-F238E27FC236}">
                <a16:creationId xmlns:a16="http://schemas.microsoft.com/office/drawing/2014/main" id="{00D9EB27-355B-C0ED-84F3-A25252382F8B}"/>
              </a:ext>
            </a:extLst>
          </p:cNvPr>
          <p:cNvSpPr>
            <a:spLocks noGrp="1"/>
          </p:cNvSpPr>
          <p:nvPr userDrawn="1">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pic>
        <p:nvPicPr>
          <p:cNvPr id="24" name="Bilde 3">
            <a:extLst>
              <a:ext uri="{FF2B5EF4-FFF2-40B4-BE49-F238E27FC236}">
                <a16:creationId xmlns:a16="http://schemas.microsoft.com/office/drawing/2014/main" id="{DBA068A6-7045-9B50-BF91-73FC6D7BEB6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6972165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40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B1796F2-5DEC-996C-ABCB-7228BC4850E5}"/>
              </a:ext>
            </a:extLst>
          </p:cNvPr>
          <p:cNvSpPr>
            <a:spLocks noGrp="1"/>
          </p:cNvSpPr>
          <p:nvPr>
            <p:ph type="pic" sz="quarter" idx="52"/>
          </p:nvPr>
        </p:nvSpPr>
        <p:spPr>
          <a:xfrm>
            <a:off x="941547" y="1445066"/>
            <a:ext cx="3060700" cy="1820862"/>
          </a:xfrm>
          <a:prstGeom prst="rect">
            <a:avLst/>
          </a:prstGeom>
        </p:spPr>
        <p:txBody>
          <a:bodyPr anchor="ctr"/>
          <a:lstStyle>
            <a:lvl1pPr algn="ctr">
              <a:defRPr sz="1800"/>
            </a:lvl1pPr>
          </a:lstStyle>
          <a:p>
            <a:r>
              <a:rPr lang="en-GB"/>
              <a:t>Click icon to add picture</a:t>
            </a:r>
            <a:endParaRPr lang="en-US"/>
          </a:p>
        </p:txBody>
      </p:sp>
      <p:sp>
        <p:nvSpPr>
          <p:cNvPr id="45" name="Rectangle 44">
            <a:extLst>
              <a:ext uri="{FF2B5EF4-FFF2-40B4-BE49-F238E27FC236}">
                <a16:creationId xmlns:a16="http://schemas.microsoft.com/office/drawing/2014/main" id="{1C7B5656-DA3F-9847-9792-691229FFB730}"/>
              </a:ext>
            </a:extLst>
          </p:cNvPr>
          <p:cNvSpPr/>
          <p:nvPr userDrawn="1"/>
        </p:nvSpPr>
        <p:spPr>
          <a:xfrm>
            <a:off x="942119" y="3332603"/>
            <a:ext cx="3065442" cy="28072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061370" y="3403048"/>
            <a:ext cx="2830400" cy="582683"/>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061370" y="4001634"/>
            <a:ext cx="2830400" cy="2090483"/>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flipH="1">
            <a:off x="942119" y="3281228"/>
            <a:ext cx="306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8" name="Title 1">
            <a:extLst>
              <a:ext uri="{FF2B5EF4-FFF2-40B4-BE49-F238E27FC236}">
                <a16:creationId xmlns:a16="http://schemas.microsoft.com/office/drawing/2014/main" id="{00D9EB27-355B-C0ED-84F3-A25252382F8B}"/>
              </a:ext>
            </a:extLst>
          </p:cNvPr>
          <p:cNvSpPr>
            <a:spLocks noGrp="1"/>
          </p:cNvSpPr>
          <p:nvPr userDrawn="1">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pic>
        <p:nvPicPr>
          <p:cNvPr id="24" name="Bilde 3">
            <a:extLst>
              <a:ext uri="{FF2B5EF4-FFF2-40B4-BE49-F238E27FC236}">
                <a16:creationId xmlns:a16="http://schemas.microsoft.com/office/drawing/2014/main" id="{DBA068A6-7045-9B50-BF91-73FC6D7BEB6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6" name="Picture Placeholder 7">
            <a:extLst>
              <a:ext uri="{FF2B5EF4-FFF2-40B4-BE49-F238E27FC236}">
                <a16:creationId xmlns:a16="http://schemas.microsoft.com/office/drawing/2014/main" id="{036ADB22-C59D-5054-F408-EBE475CB6330}"/>
              </a:ext>
            </a:extLst>
          </p:cNvPr>
          <p:cNvSpPr>
            <a:spLocks noGrp="1"/>
          </p:cNvSpPr>
          <p:nvPr>
            <p:ph type="pic" sz="quarter" idx="53"/>
          </p:nvPr>
        </p:nvSpPr>
        <p:spPr>
          <a:xfrm>
            <a:off x="4335930" y="1445066"/>
            <a:ext cx="3060700" cy="1820862"/>
          </a:xfrm>
          <a:prstGeom prst="rect">
            <a:avLst/>
          </a:prstGeom>
        </p:spPr>
        <p:txBody>
          <a:bodyPr anchor="ctr"/>
          <a:lstStyle>
            <a:lvl1pPr algn="ctr">
              <a:defRPr sz="1800"/>
            </a:lvl1pPr>
          </a:lstStyle>
          <a:p>
            <a:r>
              <a:rPr lang="en-GB"/>
              <a:t>Click icon to add picture</a:t>
            </a:r>
            <a:endParaRPr lang="en-US"/>
          </a:p>
        </p:txBody>
      </p:sp>
      <p:sp>
        <p:nvSpPr>
          <p:cNvPr id="27" name="Rectangle 26">
            <a:extLst>
              <a:ext uri="{FF2B5EF4-FFF2-40B4-BE49-F238E27FC236}">
                <a16:creationId xmlns:a16="http://schemas.microsoft.com/office/drawing/2014/main" id="{8B0ECE18-051B-DE63-AC4A-05752AB1499A}"/>
              </a:ext>
            </a:extLst>
          </p:cNvPr>
          <p:cNvSpPr/>
          <p:nvPr userDrawn="1"/>
        </p:nvSpPr>
        <p:spPr>
          <a:xfrm>
            <a:off x="4336502" y="3332603"/>
            <a:ext cx="3065442" cy="28072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 Placeholder 20">
            <a:extLst>
              <a:ext uri="{FF2B5EF4-FFF2-40B4-BE49-F238E27FC236}">
                <a16:creationId xmlns:a16="http://schemas.microsoft.com/office/drawing/2014/main" id="{456D4E1E-2C93-62C8-726C-E573B0A1F359}"/>
              </a:ext>
            </a:extLst>
          </p:cNvPr>
          <p:cNvSpPr>
            <a:spLocks noGrp="1"/>
          </p:cNvSpPr>
          <p:nvPr>
            <p:ph type="body" sz="quarter" idx="54" hasCustomPrompt="1"/>
          </p:nvPr>
        </p:nvSpPr>
        <p:spPr>
          <a:xfrm>
            <a:off x="4455753" y="3403048"/>
            <a:ext cx="2830400" cy="582683"/>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0" name="Text Placeholder 20">
            <a:extLst>
              <a:ext uri="{FF2B5EF4-FFF2-40B4-BE49-F238E27FC236}">
                <a16:creationId xmlns:a16="http://schemas.microsoft.com/office/drawing/2014/main" id="{C9E572EA-46BB-1ADC-2DCA-101125632D82}"/>
              </a:ext>
            </a:extLst>
          </p:cNvPr>
          <p:cNvSpPr>
            <a:spLocks noGrp="1"/>
          </p:cNvSpPr>
          <p:nvPr>
            <p:ph type="body" sz="quarter" idx="55" hasCustomPrompt="1"/>
          </p:nvPr>
        </p:nvSpPr>
        <p:spPr>
          <a:xfrm>
            <a:off x="4455753" y="4001634"/>
            <a:ext cx="2830400" cy="2090483"/>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31" name="Straight Connector 30">
            <a:extLst>
              <a:ext uri="{FF2B5EF4-FFF2-40B4-BE49-F238E27FC236}">
                <a16:creationId xmlns:a16="http://schemas.microsoft.com/office/drawing/2014/main" id="{FEAFBB64-B5C6-3C6D-951F-45E4DD827B97}"/>
              </a:ext>
            </a:extLst>
          </p:cNvPr>
          <p:cNvCxnSpPr>
            <a:cxnSpLocks/>
          </p:cNvCxnSpPr>
          <p:nvPr userDrawn="1"/>
        </p:nvCxnSpPr>
        <p:spPr>
          <a:xfrm flipH="1">
            <a:off x="4336502" y="3281228"/>
            <a:ext cx="306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Picture Placeholder 7">
            <a:extLst>
              <a:ext uri="{FF2B5EF4-FFF2-40B4-BE49-F238E27FC236}">
                <a16:creationId xmlns:a16="http://schemas.microsoft.com/office/drawing/2014/main" id="{226F6508-C1DE-4FDD-5D54-3E8CB0269374}"/>
              </a:ext>
            </a:extLst>
          </p:cNvPr>
          <p:cNvSpPr>
            <a:spLocks noGrp="1"/>
          </p:cNvSpPr>
          <p:nvPr>
            <p:ph type="pic" sz="quarter" idx="56"/>
          </p:nvPr>
        </p:nvSpPr>
        <p:spPr>
          <a:xfrm>
            <a:off x="7721049" y="1445066"/>
            <a:ext cx="3060700" cy="1820862"/>
          </a:xfrm>
          <a:prstGeom prst="rect">
            <a:avLst/>
          </a:prstGeom>
        </p:spPr>
        <p:txBody>
          <a:bodyPr anchor="ctr"/>
          <a:lstStyle>
            <a:lvl1pPr algn="ctr">
              <a:defRPr sz="1800"/>
            </a:lvl1pPr>
          </a:lstStyle>
          <a:p>
            <a:r>
              <a:rPr lang="en-GB"/>
              <a:t>Click icon to add picture</a:t>
            </a:r>
            <a:endParaRPr lang="en-US"/>
          </a:p>
        </p:txBody>
      </p:sp>
      <p:sp>
        <p:nvSpPr>
          <p:cNvPr id="33" name="Rectangle 32">
            <a:extLst>
              <a:ext uri="{FF2B5EF4-FFF2-40B4-BE49-F238E27FC236}">
                <a16:creationId xmlns:a16="http://schemas.microsoft.com/office/drawing/2014/main" id="{0C44F1A5-425E-87A2-2D24-3917E09030C5}"/>
              </a:ext>
            </a:extLst>
          </p:cNvPr>
          <p:cNvSpPr/>
          <p:nvPr userDrawn="1"/>
        </p:nvSpPr>
        <p:spPr>
          <a:xfrm>
            <a:off x="7721621" y="3332603"/>
            <a:ext cx="3065442" cy="28072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0">
            <a:extLst>
              <a:ext uri="{FF2B5EF4-FFF2-40B4-BE49-F238E27FC236}">
                <a16:creationId xmlns:a16="http://schemas.microsoft.com/office/drawing/2014/main" id="{71F3DA74-293C-7493-FE9F-ED46727177E4}"/>
              </a:ext>
            </a:extLst>
          </p:cNvPr>
          <p:cNvSpPr>
            <a:spLocks noGrp="1"/>
          </p:cNvSpPr>
          <p:nvPr>
            <p:ph type="body" sz="quarter" idx="57" hasCustomPrompt="1"/>
          </p:nvPr>
        </p:nvSpPr>
        <p:spPr>
          <a:xfrm>
            <a:off x="7840872" y="3403048"/>
            <a:ext cx="2830400" cy="582683"/>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5" name="Text Placeholder 20">
            <a:extLst>
              <a:ext uri="{FF2B5EF4-FFF2-40B4-BE49-F238E27FC236}">
                <a16:creationId xmlns:a16="http://schemas.microsoft.com/office/drawing/2014/main" id="{7C59F177-1602-67CB-884F-2E55B9C4C0BB}"/>
              </a:ext>
            </a:extLst>
          </p:cNvPr>
          <p:cNvSpPr>
            <a:spLocks noGrp="1"/>
          </p:cNvSpPr>
          <p:nvPr>
            <p:ph type="body" sz="quarter" idx="58" hasCustomPrompt="1"/>
          </p:nvPr>
        </p:nvSpPr>
        <p:spPr>
          <a:xfrm>
            <a:off x="7840872" y="4001634"/>
            <a:ext cx="2830400" cy="2090483"/>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36" name="Straight Connector 35">
            <a:extLst>
              <a:ext uri="{FF2B5EF4-FFF2-40B4-BE49-F238E27FC236}">
                <a16:creationId xmlns:a16="http://schemas.microsoft.com/office/drawing/2014/main" id="{75855995-0E07-4D27-6A42-BA419A06BB34}"/>
              </a:ext>
            </a:extLst>
          </p:cNvPr>
          <p:cNvCxnSpPr>
            <a:cxnSpLocks/>
          </p:cNvCxnSpPr>
          <p:nvPr userDrawn="1"/>
        </p:nvCxnSpPr>
        <p:spPr>
          <a:xfrm flipH="1">
            <a:off x="7721621" y="3281228"/>
            <a:ext cx="306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42557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33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7" name="Text Placeholder 20">
            <a:extLst>
              <a:ext uri="{FF2B5EF4-FFF2-40B4-BE49-F238E27FC236}">
                <a16:creationId xmlns:a16="http://schemas.microsoft.com/office/drawing/2014/main" id="{49356417-6D30-E548-B1B3-2604029A7EF5}"/>
              </a:ext>
            </a:extLst>
          </p:cNvPr>
          <p:cNvSpPr>
            <a:spLocks noGrp="1"/>
          </p:cNvSpPr>
          <p:nvPr>
            <p:ph type="body" sz="quarter" idx="23" hasCustomPrompt="1"/>
          </p:nvPr>
        </p:nvSpPr>
        <p:spPr>
          <a:xfrm>
            <a:off x="916850" y="4573616"/>
            <a:ext cx="3137757" cy="1534671"/>
          </a:xfrm>
          <a:prstGeom prst="rect">
            <a:avLst/>
          </a:prstGeom>
        </p:spPr>
        <p:txBody>
          <a:bodyPr anchor="t">
            <a:noAutofit/>
          </a:bodyPr>
          <a:lstStyle>
            <a:lvl1pPr marL="0" indent="0" algn="ctr">
              <a:spcBef>
                <a:spcPts val="0"/>
              </a:spcBef>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012918" y="3256113"/>
            <a:ext cx="2945621" cy="918683"/>
          </a:xfrm>
          <a:prstGeom prst="rect">
            <a:avLst/>
          </a:prstGeom>
        </p:spPr>
        <p:txBody>
          <a:bodyPr anchor="ctr">
            <a:noAutofit/>
          </a:bodyPr>
          <a:lstStyle>
            <a:lvl1pPr marL="0" indent="0" algn="ctr">
              <a:spcBef>
                <a:spcPts val="0"/>
              </a:spcBef>
              <a:buNone/>
              <a:defRPr sz="20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a:t>
            </a:r>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968418" y="4391374"/>
            <a:ext cx="303462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1883E524-E691-2542-8EAD-DFBDB929960C}"/>
              </a:ext>
            </a:extLst>
          </p:cNvPr>
          <p:cNvSpPr/>
          <p:nvPr userDrawn="1"/>
        </p:nvSpPr>
        <p:spPr>
          <a:xfrm>
            <a:off x="1686942" y="1578688"/>
            <a:ext cx="1597573" cy="1597573"/>
          </a:xfrm>
          <a:prstGeom prst="ellipse">
            <a:avLst/>
          </a:prstGeom>
          <a:solidFill>
            <a:schemeClr val="accent4">
              <a:lumMod val="20000"/>
              <a:lumOff val="8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9" name="Text Placeholder 20">
            <a:extLst>
              <a:ext uri="{FF2B5EF4-FFF2-40B4-BE49-F238E27FC236}">
                <a16:creationId xmlns:a16="http://schemas.microsoft.com/office/drawing/2014/main" id="{D9AD4255-D80E-7342-B2C4-C5F594A23C7A}"/>
              </a:ext>
            </a:extLst>
          </p:cNvPr>
          <p:cNvSpPr>
            <a:spLocks noGrp="1"/>
          </p:cNvSpPr>
          <p:nvPr>
            <p:ph type="body" sz="quarter" idx="25" hasCustomPrompt="1"/>
          </p:nvPr>
        </p:nvSpPr>
        <p:spPr>
          <a:xfrm>
            <a:off x="4537281" y="4573616"/>
            <a:ext cx="3137757" cy="1534671"/>
          </a:xfrm>
          <a:prstGeom prst="rect">
            <a:avLst/>
          </a:prstGeom>
        </p:spPr>
        <p:txBody>
          <a:bodyPr anchor="t">
            <a:noAutofit/>
          </a:bodyPr>
          <a:lstStyle>
            <a:lvl1pPr marL="0" indent="0" algn="ctr">
              <a:spcBef>
                <a:spcPts val="0"/>
              </a:spcBef>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24" name="Text Placeholder 20">
            <a:extLst>
              <a:ext uri="{FF2B5EF4-FFF2-40B4-BE49-F238E27FC236}">
                <a16:creationId xmlns:a16="http://schemas.microsoft.com/office/drawing/2014/main" id="{8366C65D-987E-F940-9669-8FC67DF547D6}"/>
              </a:ext>
            </a:extLst>
          </p:cNvPr>
          <p:cNvSpPr>
            <a:spLocks noGrp="1"/>
          </p:cNvSpPr>
          <p:nvPr>
            <p:ph type="body" sz="quarter" idx="26" hasCustomPrompt="1"/>
          </p:nvPr>
        </p:nvSpPr>
        <p:spPr>
          <a:xfrm>
            <a:off x="4633349" y="3256113"/>
            <a:ext cx="2945621" cy="918683"/>
          </a:xfrm>
          <a:prstGeom prst="rect">
            <a:avLst/>
          </a:prstGeom>
        </p:spPr>
        <p:txBody>
          <a:bodyPr anchor="ctr">
            <a:noAutofit/>
          </a:bodyPr>
          <a:lstStyle>
            <a:lvl1pPr marL="0" indent="0" algn="ctr">
              <a:spcBef>
                <a:spcPts val="0"/>
              </a:spcBef>
              <a:buNone/>
              <a:defRPr sz="20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a:t>
            </a:r>
          </a:p>
        </p:txBody>
      </p:sp>
      <p:cxnSp>
        <p:nvCxnSpPr>
          <p:cNvPr id="25" name="Straight Connector 24">
            <a:extLst>
              <a:ext uri="{FF2B5EF4-FFF2-40B4-BE49-F238E27FC236}">
                <a16:creationId xmlns:a16="http://schemas.microsoft.com/office/drawing/2014/main" id="{1C8D12F1-1584-DD43-9F53-43F3AA6A406A}"/>
              </a:ext>
            </a:extLst>
          </p:cNvPr>
          <p:cNvCxnSpPr>
            <a:cxnSpLocks/>
          </p:cNvCxnSpPr>
          <p:nvPr userDrawn="1"/>
        </p:nvCxnSpPr>
        <p:spPr>
          <a:xfrm>
            <a:off x="4588849" y="4391374"/>
            <a:ext cx="303462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2DE219C-FDB1-CD4B-86C9-B419D3423531}"/>
              </a:ext>
            </a:extLst>
          </p:cNvPr>
          <p:cNvSpPr/>
          <p:nvPr userDrawn="1"/>
        </p:nvSpPr>
        <p:spPr>
          <a:xfrm>
            <a:off x="5307373" y="1578688"/>
            <a:ext cx="1597573" cy="1597573"/>
          </a:xfrm>
          <a:prstGeom prst="ellipse">
            <a:avLst/>
          </a:prstGeom>
          <a:solidFill>
            <a:schemeClr val="accent4">
              <a:lumMod val="20000"/>
              <a:lumOff val="8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31" name="Text Placeholder 20">
            <a:extLst>
              <a:ext uri="{FF2B5EF4-FFF2-40B4-BE49-F238E27FC236}">
                <a16:creationId xmlns:a16="http://schemas.microsoft.com/office/drawing/2014/main" id="{54C66FC1-2D84-0C46-9D7E-D57CFB2A719F}"/>
              </a:ext>
            </a:extLst>
          </p:cNvPr>
          <p:cNvSpPr>
            <a:spLocks noGrp="1"/>
          </p:cNvSpPr>
          <p:nvPr>
            <p:ph type="body" sz="quarter" idx="27" hasCustomPrompt="1"/>
          </p:nvPr>
        </p:nvSpPr>
        <p:spPr>
          <a:xfrm>
            <a:off x="8137393" y="4573616"/>
            <a:ext cx="3137757" cy="1534671"/>
          </a:xfrm>
          <a:prstGeom prst="rect">
            <a:avLst/>
          </a:prstGeom>
        </p:spPr>
        <p:txBody>
          <a:bodyPr anchor="t">
            <a:noAutofit/>
          </a:bodyPr>
          <a:lstStyle>
            <a:lvl1pPr marL="0" indent="0" algn="ctr">
              <a:spcBef>
                <a:spcPts val="0"/>
              </a:spcBef>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2" name="Text Placeholder 20">
            <a:extLst>
              <a:ext uri="{FF2B5EF4-FFF2-40B4-BE49-F238E27FC236}">
                <a16:creationId xmlns:a16="http://schemas.microsoft.com/office/drawing/2014/main" id="{9A1F39ED-4F03-854D-B159-03CB2DC987D8}"/>
              </a:ext>
            </a:extLst>
          </p:cNvPr>
          <p:cNvSpPr>
            <a:spLocks noGrp="1"/>
          </p:cNvSpPr>
          <p:nvPr>
            <p:ph type="body" sz="quarter" idx="28" hasCustomPrompt="1"/>
          </p:nvPr>
        </p:nvSpPr>
        <p:spPr>
          <a:xfrm>
            <a:off x="8233461" y="3256113"/>
            <a:ext cx="2945621" cy="918683"/>
          </a:xfrm>
          <a:prstGeom prst="rect">
            <a:avLst/>
          </a:prstGeom>
        </p:spPr>
        <p:txBody>
          <a:bodyPr anchor="ctr">
            <a:noAutofit/>
          </a:bodyPr>
          <a:lstStyle>
            <a:lvl1pPr marL="0" indent="0" algn="ctr">
              <a:spcBef>
                <a:spcPts val="0"/>
              </a:spcBef>
              <a:buNone/>
              <a:defRPr sz="20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a:t>
            </a:r>
          </a:p>
        </p:txBody>
      </p:sp>
      <p:cxnSp>
        <p:nvCxnSpPr>
          <p:cNvPr id="33" name="Straight Connector 32">
            <a:extLst>
              <a:ext uri="{FF2B5EF4-FFF2-40B4-BE49-F238E27FC236}">
                <a16:creationId xmlns:a16="http://schemas.microsoft.com/office/drawing/2014/main" id="{131695BE-7EC4-254F-88F8-92DE21E21441}"/>
              </a:ext>
            </a:extLst>
          </p:cNvPr>
          <p:cNvCxnSpPr>
            <a:cxnSpLocks/>
          </p:cNvCxnSpPr>
          <p:nvPr userDrawn="1"/>
        </p:nvCxnSpPr>
        <p:spPr>
          <a:xfrm>
            <a:off x="8188961" y="4391374"/>
            <a:ext cx="303462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535F4D65-5C03-B047-9C33-37F966AF2003}"/>
              </a:ext>
            </a:extLst>
          </p:cNvPr>
          <p:cNvSpPr/>
          <p:nvPr userDrawn="1"/>
        </p:nvSpPr>
        <p:spPr>
          <a:xfrm>
            <a:off x="8907485" y="1578688"/>
            <a:ext cx="1597573" cy="1597573"/>
          </a:xfrm>
          <a:prstGeom prst="ellipse">
            <a:avLst/>
          </a:prstGeom>
          <a:solidFill>
            <a:schemeClr val="accent4">
              <a:lumMod val="20000"/>
              <a:lumOff val="8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7" name="Title 1">
            <a:extLst>
              <a:ext uri="{FF2B5EF4-FFF2-40B4-BE49-F238E27FC236}">
                <a16:creationId xmlns:a16="http://schemas.microsoft.com/office/drawing/2014/main" id="{51B9A6BB-8E74-6CCC-357E-4A3C6975D961}"/>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mj-lt"/>
              </a:defRPr>
            </a:lvl1pPr>
          </a:lstStyle>
          <a:p>
            <a:r>
              <a:rPr lang="en-GB"/>
              <a:t>Slide title here</a:t>
            </a:r>
            <a:endParaRPr lang="en-US"/>
          </a:p>
        </p:txBody>
      </p:sp>
      <p:sp>
        <p:nvSpPr>
          <p:cNvPr id="4" name="Picture Placeholder 3">
            <a:extLst>
              <a:ext uri="{FF2B5EF4-FFF2-40B4-BE49-F238E27FC236}">
                <a16:creationId xmlns:a16="http://schemas.microsoft.com/office/drawing/2014/main" id="{807C389F-EE04-F928-A905-8D5A0A8319F6}"/>
              </a:ext>
            </a:extLst>
          </p:cNvPr>
          <p:cNvSpPr>
            <a:spLocks noGrp="1"/>
          </p:cNvSpPr>
          <p:nvPr>
            <p:ph type="pic" sz="quarter" idx="29"/>
          </p:nvPr>
        </p:nvSpPr>
        <p:spPr>
          <a:xfrm>
            <a:off x="1791990" y="1686396"/>
            <a:ext cx="1387475" cy="1387475"/>
          </a:xfrm>
          <a:prstGeom prst="ellipse">
            <a:avLst/>
          </a:prstGeom>
        </p:spPr>
        <p:txBody>
          <a:bodyPr anchor="ctr"/>
          <a:lstStyle>
            <a:lvl1pPr marL="0" indent="0" algn="ctr">
              <a:buNone/>
              <a:defRPr sz="1600"/>
            </a:lvl1pPr>
          </a:lstStyle>
          <a:p>
            <a:r>
              <a:rPr lang="en-GB"/>
              <a:t>Click icon to add picture</a:t>
            </a:r>
            <a:endParaRPr lang="en-US"/>
          </a:p>
        </p:txBody>
      </p:sp>
      <p:sp>
        <p:nvSpPr>
          <p:cNvPr id="20" name="Picture Placeholder 3">
            <a:extLst>
              <a:ext uri="{FF2B5EF4-FFF2-40B4-BE49-F238E27FC236}">
                <a16:creationId xmlns:a16="http://schemas.microsoft.com/office/drawing/2014/main" id="{C344D4AD-0C44-0016-1984-DEE4E4A47A86}"/>
              </a:ext>
            </a:extLst>
          </p:cNvPr>
          <p:cNvSpPr>
            <a:spLocks noGrp="1"/>
          </p:cNvSpPr>
          <p:nvPr>
            <p:ph type="pic" sz="quarter" idx="30"/>
          </p:nvPr>
        </p:nvSpPr>
        <p:spPr>
          <a:xfrm>
            <a:off x="5423086" y="1686396"/>
            <a:ext cx="1387475" cy="1387475"/>
          </a:xfrm>
          <a:prstGeom prst="ellipse">
            <a:avLst/>
          </a:prstGeom>
        </p:spPr>
        <p:txBody>
          <a:bodyPr anchor="ctr"/>
          <a:lstStyle>
            <a:lvl1pPr marL="0" indent="0" algn="ctr">
              <a:buNone/>
              <a:defRPr sz="1600"/>
            </a:lvl1pPr>
          </a:lstStyle>
          <a:p>
            <a:r>
              <a:rPr lang="en-GB"/>
              <a:t>Click icon to add picture</a:t>
            </a:r>
            <a:endParaRPr lang="en-US"/>
          </a:p>
        </p:txBody>
      </p:sp>
      <p:sp>
        <p:nvSpPr>
          <p:cNvPr id="21" name="Picture Placeholder 3">
            <a:extLst>
              <a:ext uri="{FF2B5EF4-FFF2-40B4-BE49-F238E27FC236}">
                <a16:creationId xmlns:a16="http://schemas.microsoft.com/office/drawing/2014/main" id="{9126EBDC-8FE3-E299-69BB-1724B93F2D1C}"/>
              </a:ext>
            </a:extLst>
          </p:cNvPr>
          <p:cNvSpPr>
            <a:spLocks noGrp="1"/>
          </p:cNvSpPr>
          <p:nvPr>
            <p:ph type="pic" sz="quarter" idx="31"/>
          </p:nvPr>
        </p:nvSpPr>
        <p:spPr>
          <a:xfrm>
            <a:off x="9001173" y="1686396"/>
            <a:ext cx="1387475" cy="1387475"/>
          </a:xfrm>
          <a:prstGeom prst="ellipse">
            <a:avLst/>
          </a:prstGeom>
        </p:spPr>
        <p:txBody>
          <a:bodyPr anchor="ctr"/>
          <a:lstStyle>
            <a:lvl1pPr marL="0" indent="0" algn="ctr">
              <a:buNone/>
              <a:defRPr sz="1600"/>
            </a:lvl1pPr>
          </a:lstStyle>
          <a:p>
            <a:r>
              <a:rPr lang="en-GB"/>
              <a:t>Click icon to add picture</a:t>
            </a:r>
            <a:endParaRPr lang="en-US"/>
          </a:p>
        </p:txBody>
      </p:sp>
      <p:pic>
        <p:nvPicPr>
          <p:cNvPr id="29" name="Bilde 3">
            <a:extLst>
              <a:ext uri="{FF2B5EF4-FFF2-40B4-BE49-F238E27FC236}">
                <a16:creationId xmlns:a16="http://schemas.microsoft.com/office/drawing/2014/main" id="{2D4B3CC7-6177-04CF-F34E-5EB758235AE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Tree>
    <p:extLst>
      <p:ext uri="{BB962C8B-B14F-4D97-AF65-F5344CB8AC3E}">
        <p14:creationId xmlns:p14="http://schemas.microsoft.com/office/powerpoint/2010/main" val="35721855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28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A019B-26AC-9447-B4BF-2724BB5F72BC}"/>
              </a:ext>
            </a:extLst>
          </p:cNvPr>
          <p:cNvSpPr>
            <a:spLocks noGrp="1"/>
          </p:cNvSpPr>
          <p:nvPr>
            <p:ph type="title"/>
          </p:nvPr>
        </p:nvSpPr>
        <p:spPr>
          <a:xfrm>
            <a:off x="466893" y="365125"/>
            <a:ext cx="7627623" cy="1819275"/>
          </a:xfrm>
          <a:prstGeom prst="rect">
            <a:avLst/>
          </a:prstGeom>
        </p:spPr>
        <p:txBody>
          <a:bodyPr anchor="t">
            <a:normAutofit/>
          </a:bodyPr>
          <a:lstStyle>
            <a:lvl1pPr algn="l" defTabSz="914400" rtl="0" eaLnBrk="1" latinLnBrk="0" hangingPunct="1">
              <a:lnSpc>
                <a:spcPct val="90000"/>
              </a:lnSpc>
              <a:spcBef>
                <a:spcPct val="0"/>
              </a:spcBef>
              <a:buNone/>
              <a:defRPr lang="en-US" sz="4000" b="0" i="0" kern="1200" dirty="0">
                <a:solidFill>
                  <a:schemeClr val="accent1"/>
                </a:solidFill>
                <a:latin typeface="+mj-lt"/>
                <a:ea typeface="+mj-ea"/>
                <a:cs typeface="Arial" panose="020B0604020202020204" pitchFamily="34" charset="0"/>
              </a:defRPr>
            </a:lvl1pPr>
          </a:lstStyle>
          <a:p>
            <a:r>
              <a:rPr lang="en-GB"/>
              <a:t>Click to edit Master title styl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pic>
        <p:nvPicPr>
          <p:cNvPr id="23" name="Bilde 3">
            <a:extLst>
              <a:ext uri="{FF2B5EF4-FFF2-40B4-BE49-F238E27FC236}">
                <a16:creationId xmlns:a16="http://schemas.microsoft.com/office/drawing/2014/main" id="{D00E2AFF-DEA5-0D40-A283-8310B81ED59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486244" y="6495625"/>
            <a:ext cx="1430695" cy="250132"/>
          </a:xfrm>
          <a:prstGeom prst="rect">
            <a:avLst/>
          </a:prstGeom>
        </p:spPr>
      </p:pic>
    </p:spTree>
    <p:extLst>
      <p:ext uri="{BB962C8B-B14F-4D97-AF65-F5344CB8AC3E}">
        <p14:creationId xmlns:p14="http://schemas.microsoft.com/office/powerpoint/2010/main" val="1495957695"/>
      </p:ext>
    </p:extLst>
  </p:cSld>
  <p:clrMapOvr>
    <a:masterClrMapping/>
  </p:clrMapOvr>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4_Egendefinert oppset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E1AFD766-5E41-CF4C-ACA5-3339F45FD832}"/>
              </a:ext>
            </a:extLst>
          </p:cNvPr>
          <p:cNvSpPr/>
          <p:nvPr userDrawn="1"/>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4" name="Bilde 3">
            <a:extLst>
              <a:ext uri="{FF2B5EF4-FFF2-40B4-BE49-F238E27FC236}">
                <a16:creationId xmlns:a16="http://schemas.microsoft.com/office/drawing/2014/main" id="{126535A1-F925-FF4D-B731-6EDB301F596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83809" y="6517331"/>
            <a:ext cx="1182393" cy="206721"/>
          </a:xfrm>
          <a:prstGeom prst="rect">
            <a:avLst/>
          </a:prstGeom>
        </p:spPr>
      </p:pic>
      <p:sp>
        <p:nvSpPr>
          <p:cNvPr id="2" name="Title 1">
            <a:extLst>
              <a:ext uri="{FF2B5EF4-FFF2-40B4-BE49-F238E27FC236}">
                <a16:creationId xmlns:a16="http://schemas.microsoft.com/office/drawing/2014/main" id="{45AF8285-76BE-46FF-822E-B5EFBB82AB93}"/>
              </a:ext>
            </a:extLst>
          </p:cNvPr>
          <p:cNvSpPr>
            <a:spLocks noGrp="1"/>
          </p:cNvSpPr>
          <p:nvPr>
            <p:ph type="title"/>
          </p:nvPr>
        </p:nvSpPr>
        <p:spPr>
          <a:xfrm>
            <a:off x="647166" y="741426"/>
            <a:ext cx="4900863" cy="1273864"/>
          </a:xfrm>
          <a:prstGeom prst="rect">
            <a:avLst/>
          </a:prstGeom>
        </p:spPr>
        <p:txBody>
          <a:bodyPr/>
          <a:lstStyle>
            <a:lvl1pPr>
              <a:defRPr sz="3600" b="1">
                <a:solidFill>
                  <a:schemeClr val="accent1"/>
                </a:solidFill>
              </a:defRPr>
            </a:lvl1pPr>
          </a:lstStyle>
          <a:p>
            <a:r>
              <a:rPr lang="en-US"/>
              <a:t>Click to edit Master title style</a:t>
            </a:r>
            <a:endParaRPr lang="lt-LT"/>
          </a:p>
        </p:txBody>
      </p:sp>
      <p:sp>
        <p:nvSpPr>
          <p:cNvPr id="11" name="Text Placeholder 10">
            <a:extLst>
              <a:ext uri="{FF2B5EF4-FFF2-40B4-BE49-F238E27FC236}">
                <a16:creationId xmlns:a16="http://schemas.microsoft.com/office/drawing/2014/main" id="{2D4F1D51-9CC9-41DE-91EA-838201D9EDCC}"/>
              </a:ext>
            </a:extLst>
          </p:cNvPr>
          <p:cNvSpPr>
            <a:spLocks noGrp="1"/>
          </p:cNvSpPr>
          <p:nvPr>
            <p:ph type="body" sz="quarter" idx="10"/>
          </p:nvPr>
        </p:nvSpPr>
        <p:spPr>
          <a:xfrm>
            <a:off x="647166" y="2185988"/>
            <a:ext cx="3878263" cy="2462212"/>
          </a:xfrm>
          <a:prstGeom prst="rect">
            <a:avLst/>
          </a:prstGeom>
        </p:spPr>
        <p:txBody>
          <a:bodyPr/>
          <a:lstStyle>
            <a:lvl1pPr marL="0" indent="0">
              <a:buNone/>
              <a:defRPr sz="1400"/>
            </a:lvl1pPr>
            <a:lvl2pPr>
              <a:buNone/>
              <a:defRPr sz="1200"/>
            </a:lvl2pPr>
            <a:lvl3pPr>
              <a:buNone/>
              <a:defRPr sz="1100"/>
            </a:lvl3pPr>
            <a:lvl4pPr>
              <a:buNone/>
              <a:defRPr sz="1050"/>
            </a:lvl4pPr>
            <a:lvl5pPr>
              <a:buNone/>
              <a:defRPr sz="1050"/>
            </a:lvl5pPr>
          </a:lstStyle>
          <a:p>
            <a:pPr lvl="0"/>
            <a:r>
              <a:rPr lang="en-US"/>
              <a:t>Click to edit Master text styles</a:t>
            </a:r>
          </a:p>
        </p:txBody>
      </p:sp>
    </p:spTree>
    <p:extLst>
      <p:ext uri="{BB962C8B-B14F-4D97-AF65-F5344CB8AC3E}">
        <p14:creationId xmlns:p14="http://schemas.microsoft.com/office/powerpoint/2010/main" val="33749671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userDrawn="1">
  <p:cSld name="43_Custom Layou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5D4AB-B803-4643-BCDF-D6393E1CDC9B}"/>
              </a:ext>
            </a:extLst>
          </p:cNvPr>
          <p:cNvSpPr>
            <a:spLocks noGrp="1"/>
          </p:cNvSpPr>
          <p:nvPr>
            <p:ph type="title"/>
          </p:nvPr>
        </p:nvSpPr>
        <p:spPr>
          <a:xfrm>
            <a:off x="1218623" y="913943"/>
            <a:ext cx="8567928" cy="1325563"/>
          </a:xfrm>
          <a:prstGeom prst="rect">
            <a:avLst/>
          </a:prstGeom>
        </p:spPr>
        <p:txBody>
          <a:bodyPr/>
          <a:lstStyle>
            <a:lvl1pPr>
              <a:defRPr b="0" i="0">
                <a:solidFill>
                  <a:schemeClr val="bg1"/>
                </a:solidFill>
                <a:latin typeface="Helvetica Light" panose="020B0403020202020204" pitchFamily="34" charset="0"/>
              </a:defRPr>
            </a:lvl1pPr>
          </a:lstStyle>
          <a:p>
            <a:r>
              <a:rPr lang="en-GB"/>
              <a:t>Click to edit Master title style</a:t>
            </a:r>
            <a:endParaRPr lang="en-US"/>
          </a:p>
        </p:txBody>
      </p:sp>
      <p:pic>
        <p:nvPicPr>
          <p:cNvPr id="5" name="Bilde 5">
            <a:extLst>
              <a:ext uri="{FF2B5EF4-FFF2-40B4-BE49-F238E27FC236}">
                <a16:creationId xmlns:a16="http://schemas.microsoft.com/office/drawing/2014/main" id="{826408B4-1F28-DA4C-9BD1-39058BB264B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218623" y="5599967"/>
            <a:ext cx="2822031" cy="493381"/>
          </a:xfrm>
          <a:prstGeom prst="rect">
            <a:avLst/>
          </a:prstGeom>
        </p:spPr>
      </p:pic>
      <p:cxnSp>
        <p:nvCxnSpPr>
          <p:cNvPr id="6" name="Straight Connector 5">
            <a:extLst>
              <a:ext uri="{FF2B5EF4-FFF2-40B4-BE49-F238E27FC236}">
                <a16:creationId xmlns:a16="http://schemas.microsoft.com/office/drawing/2014/main" id="{2982B310-7E67-7C47-9E67-4430CA714644}"/>
              </a:ext>
            </a:extLst>
          </p:cNvPr>
          <p:cNvCxnSpPr>
            <a:cxnSpLocks/>
          </p:cNvCxnSpPr>
          <p:nvPr userDrawn="1"/>
        </p:nvCxnSpPr>
        <p:spPr>
          <a:xfrm>
            <a:off x="1315186" y="4964483"/>
            <a:ext cx="92835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20">
            <a:extLst>
              <a:ext uri="{FF2B5EF4-FFF2-40B4-BE49-F238E27FC236}">
                <a16:creationId xmlns:a16="http://schemas.microsoft.com/office/drawing/2014/main" id="{1D537A84-0006-344B-B900-FF658484079B}"/>
              </a:ext>
            </a:extLst>
          </p:cNvPr>
          <p:cNvSpPr>
            <a:spLocks noGrp="1"/>
          </p:cNvSpPr>
          <p:nvPr>
            <p:ph type="body" sz="quarter" idx="25"/>
          </p:nvPr>
        </p:nvSpPr>
        <p:spPr>
          <a:xfrm>
            <a:off x="1218623" y="3529464"/>
            <a:ext cx="5145898" cy="1227888"/>
          </a:xfrm>
          <a:prstGeom prst="rect">
            <a:avLst/>
          </a:prstGeom>
        </p:spPr>
        <p:txBody>
          <a:bodyPr anchor="t">
            <a:noAutofit/>
          </a:bodyPr>
          <a:lstStyle>
            <a:lvl1pPr marL="0" indent="0">
              <a:buNone/>
              <a:defRPr sz="14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Click to edit Master text styles</a:t>
            </a:r>
          </a:p>
        </p:txBody>
      </p:sp>
    </p:spTree>
    <p:extLst>
      <p:ext uri="{BB962C8B-B14F-4D97-AF65-F5344CB8AC3E}">
        <p14:creationId xmlns:p14="http://schemas.microsoft.com/office/powerpoint/2010/main" val="38463727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grpSp>
        <p:nvGrpSpPr>
          <p:cNvPr id="19" name="Group 18">
            <a:extLst>
              <a:ext uri="{FF2B5EF4-FFF2-40B4-BE49-F238E27FC236}">
                <a16:creationId xmlns:a16="http://schemas.microsoft.com/office/drawing/2014/main" id="{B2E54100-83F6-3840-9740-66AEE324BF5D}"/>
              </a:ext>
            </a:extLst>
          </p:cNvPr>
          <p:cNvGrpSpPr/>
          <p:nvPr/>
        </p:nvGrpSpPr>
        <p:grpSpPr>
          <a:xfrm>
            <a:off x="1187723" y="1869808"/>
            <a:ext cx="9298521" cy="863468"/>
            <a:chOff x="558331" y="2312872"/>
            <a:chExt cx="9298521" cy="756000"/>
          </a:xfrm>
        </p:grpSpPr>
        <p:sp>
          <p:nvSpPr>
            <p:cNvPr id="20" name="Rectangle 19">
              <a:extLst>
                <a:ext uri="{FF2B5EF4-FFF2-40B4-BE49-F238E27FC236}">
                  <a16:creationId xmlns:a16="http://schemas.microsoft.com/office/drawing/2014/main" id="{68E4597E-D37D-6D49-A946-1A166440BD7E}"/>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1273524" y="1946061"/>
            <a:ext cx="8988074"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17" name="Group 16">
            <a:extLst>
              <a:ext uri="{FF2B5EF4-FFF2-40B4-BE49-F238E27FC236}">
                <a16:creationId xmlns:a16="http://schemas.microsoft.com/office/drawing/2014/main" id="{3C27F867-309D-EA46-8C0F-93359D32C6CB}"/>
              </a:ext>
            </a:extLst>
          </p:cNvPr>
          <p:cNvGrpSpPr/>
          <p:nvPr/>
        </p:nvGrpSpPr>
        <p:grpSpPr>
          <a:xfrm>
            <a:off x="1187723" y="2835884"/>
            <a:ext cx="9298521" cy="863468"/>
            <a:chOff x="558331" y="2312872"/>
            <a:chExt cx="9298521" cy="756000"/>
          </a:xfrm>
        </p:grpSpPr>
        <p:sp>
          <p:nvSpPr>
            <p:cNvPr id="18" name="Rectangle 17">
              <a:extLst>
                <a:ext uri="{FF2B5EF4-FFF2-40B4-BE49-F238E27FC236}">
                  <a16:creationId xmlns:a16="http://schemas.microsoft.com/office/drawing/2014/main" id="{99E19D7A-E6A9-054C-AB01-00DB0026F10D}"/>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82A16F31-8845-CC4C-9AD4-2BC372F49F8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5" name="Text Placeholder 20">
            <a:extLst>
              <a:ext uri="{FF2B5EF4-FFF2-40B4-BE49-F238E27FC236}">
                <a16:creationId xmlns:a16="http://schemas.microsoft.com/office/drawing/2014/main" id="{FC0F6143-34C5-944F-BEB1-CDAB609C4E6E}"/>
              </a:ext>
            </a:extLst>
          </p:cNvPr>
          <p:cNvSpPr>
            <a:spLocks noGrp="1"/>
          </p:cNvSpPr>
          <p:nvPr>
            <p:ph type="body" sz="quarter" idx="16" hasCustomPrompt="1"/>
          </p:nvPr>
        </p:nvSpPr>
        <p:spPr>
          <a:xfrm>
            <a:off x="1273524" y="2912137"/>
            <a:ext cx="8988074"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26" name="Group 25">
            <a:extLst>
              <a:ext uri="{FF2B5EF4-FFF2-40B4-BE49-F238E27FC236}">
                <a16:creationId xmlns:a16="http://schemas.microsoft.com/office/drawing/2014/main" id="{B34B0E98-BDEB-A143-938B-9D5929ECC2A1}"/>
              </a:ext>
            </a:extLst>
          </p:cNvPr>
          <p:cNvGrpSpPr/>
          <p:nvPr/>
        </p:nvGrpSpPr>
        <p:grpSpPr>
          <a:xfrm>
            <a:off x="1187723" y="3801960"/>
            <a:ext cx="9298521" cy="863468"/>
            <a:chOff x="558331" y="2312872"/>
            <a:chExt cx="9298521" cy="756000"/>
          </a:xfrm>
        </p:grpSpPr>
        <p:sp>
          <p:nvSpPr>
            <p:cNvPr id="27" name="Rectangle 26">
              <a:extLst>
                <a:ext uri="{FF2B5EF4-FFF2-40B4-BE49-F238E27FC236}">
                  <a16:creationId xmlns:a16="http://schemas.microsoft.com/office/drawing/2014/main" id="{154CD58A-8677-9545-B209-DF3C50FFCE03}"/>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CDD90E82-23AD-3E41-AFF1-C14FF24768FB}"/>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9" name="Text Placeholder 20">
            <a:extLst>
              <a:ext uri="{FF2B5EF4-FFF2-40B4-BE49-F238E27FC236}">
                <a16:creationId xmlns:a16="http://schemas.microsoft.com/office/drawing/2014/main" id="{CBE9FA2F-6631-2348-B5E8-CB1404D78870}"/>
              </a:ext>
            </a:extLst>
          </p:cNvPr>
          <p:cNvSpPr>
            <a:spLocks noGrp="1"/>
          </p:cNvSpPr>
          <p:nvPr>
            <p:ph type="body" sz="quarter" idx="17" hasCustomPrompt="1"/>
          </p:nvPr>
        </p:nvSpPr>
        <p:spPr>
          <a:xfrm>
            <a:off x="1273524" y="3878213"/>
            <a:ext cx="8988074"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30" name="Group 29">
            <a:extLst>
              <a:ext uri="{FF2B5EF4-FFF2-40B4-BE49-F238E27FC236}">
                <a16:creationId xmlns:a16="http://schemas.microsoft.com/office/drawing/2014/main" id="{2FEE898A-C06A-E34F-A972-FD3103EE3129}"/>
              </a:ext>
            </a:extLst>
          </p:cNvPr>
          <p:cNvGrpSpPr/>
          <p:nvPr/>
        </p:nvGrpSpPr>
        <p:grpSpPr>
          <a:xfrm>
            <a:off x="1194774" y="4768036"/>
            <a:ext cx="9298521" cy="863468"/>
            <a:chOff x="558331" y="2312872"/>
            <a:chExt cx="9298521" cy="756000"/>
          </a:xfrm>
        </p:grpSpPr>
        <p:sp>
          <p:nvSpPr>
            <p:cNvPr id="31" name="Rectangle 30">
              <a:extLst>
                <a:ext uri="{FF2B5EF4-FFF2-40B4-BE49-F238E27FC236}">
                  <a16:creationId xmlns:a16="http://schemas.microsoft.com/office/drawing/2014/main" id="{DA81EE83-C4CA-464B-95C0-5BA7057E8005}"/>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Connector 35">
              <a:extLst>
                <a:ext uri="{FF2B5EF4-FFF2-40B4-BE49-F238E27FC236}">
                  <a16:creationId xmlns:a16="http://schemas.microsoft.com/office/drawing/2014/main" id="{30F7734C-D965-A94B-944D-9E59C1C659A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7" name="Text Placeholder 20">
            <a:extLst>
              <a:ext uri="{FF2B5EF4-FFF2-40B4-BE49-F238E27FC236}">
                <a16:creationId xmlns:a16="http://schemas.microsoft.com/office/drawing/2014/main" id="{2E0AC1D5-7922-AD4E-9F76-639646857156}"/>
              </a:ext>
            </a:extLst>
          </p:cNvPr>
          <p:cNvSpPr>
            <a:spLocks noGrp="1"/>
          </p:cNvSpPr>
          <p:nvPr>
            <p:ph type="body" sz="quarter" idx="18" hasCustomPrompt="1"/>
          </p:nvPr>
        </p:nvSpPr>
        <p:spPr>
          <a:xfrm>
            <a:off x="1280575" y="4844289"/>
            <a:ext cx="8988074"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4" name="Title 1">
            <a:extLst>
              <a:ext uri="{FF2B5EF4-FFF2-40B4-BE49-F238E27FC236}">
                <a16:creationId xmlns:a16="http://schemas.microsoft.com/office/drawing/2014/main" id="{3D98C387-A2A9-7ECF-B58A-43D17D41B545}"/>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33" name="Bilde 3">
            <a:extLst>
              <a:ext uri="{FF2B5EF4-FFF2-40B4-BE49-F238E27FC236}">
                <a16:creationId xmlns:a16="http://schemas.microsoft.com/office/drawing/2014/main" id="{5A493850-0919-73DC-4660-940F19B6928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5" name="Date Placeholder 2">
            <a:extLst>
              <a:ext uri="{FF2B5EF4-FFF2-40B4-BE49-F238E27FC236}">
                <a16:creationId xmlns:a16="http://schemas.microsoft.com/office/drawing/2014/main" id="{CD3C5EDB-8EF3-32E0-4CB6-0B791BC79CDC}"/>
              </a:ext>
            </a:extLst>
          </p:cNvPr>
          <p:cNvSpPr>
            <a:spLocks noGrp="1"/>
          </p:cNvSpPr>
          <p:nvPr>
            <p:ph type="dt" sz="half" idx="19"/>
          </p:nvPr>
        </p:nvSpPr>
        <p:spPr>
          <a:xfrm>
            <a:off x="2303627" y="6492875"/>
            <a:ext cx="528585" cy="365125"/>
          </a:xfrm>
        </p:spPr>
        <p:txBody>
          <a:bodyPr/>
          <a:lstStyle/>
          <a:p>
            <a:fld id="{4B237883-CA11-5644-8513-A17350172924}" type="datetime1">
              <a:rPr lang="nb-NO" smtClean="0"/>
              <a:t>20.08.2024</a:t>
            </a:fld>
            <a:endParaRPr lang="en-US"/>
          </a:p>
        </p:txBody>
      </p:sp>
      <p:sp>
        <p:nvSpPr>
          <p:cNvPr id="38" name="Footer Placeholder 3">
            <a:extLst>
              <a:ext uri="{FF2B5EF4-FFF2-40B4-BE49-F238E27FC236}">
                <a16:creationId xmlns:a16="http://schemas.microsoft.com/office/drawing/2014/main" id="{14E8C576-3009-3581-06ED-C2DA5B0955E0}"/>
              </a:ext>
            </a:extLst>
          </p:cNvPr>
          <p:cNvSpPr>
            <a:spLocks noGrp="1"/>
          </p:cNvSpPr>
          <p:nvPr>
            <p:ph type="ftr" sz="quarter" idx="20"/>
          </p:nvPr>
        </p:nvSpPr>
        <p:spPr>
          <a:xfrm>
            <a:off x="175116" y="6492875"/>
            <a:ext cx="2107096" cy="365125"/>
          </a:xfrm>
        </p:spPr>
        <p:txBody>
          <a:bodyPr/>
          <a:lstStyle/>
          <a:p>
            <a:r>
              <a:rPr lang="en-US"/>
              <a:t>© StrongPoint 2022</a:t>
            </a:r>
          </a:p>
        </p:txBody>
      </p:sp>
      <p:sp>
        <p:nvSpPr>
          <p:cNvPr id="39" name="Slide Number Placeholder 4">
            <a:extLst>
              <a:ext uri="{FF2B5EF4-FFF2-40B4-BE49-F238E27FC236}">
                <a16:creationId xmlns:a16="http://schemas.microsoft.com/office/drawing/2014/main" id="{BCCE60F8-4242-58AF-4166-CEDF8927560F}"/>
              </a:ext>
            </a:extLst>
          </p:cNvPr>
          <p:cNvSpPr>
            <a:spLocks noGrp="1"/>
          </p:cNvSpPr>
          <p:nvPr>
            <p:ph type="sldNum" sz="quarter" idx="21"/>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9737583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53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6" name="Title 1">
            <a:extLst>
              <a:ext uri="{FF2B5EF4-FFF2-40B4-BE49-F238E27FC236}">
                <a16:creationId xmlns:a16="http://schemas.microsoft.com/office/drawing/2014/main" id="{B4A3ECC9-8F4D-E101-59A0-077077FE57B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8" name="Bilde 3">
            <a:extLst>
              <a:ext uri="{FF2B5EF4-FFF2-40B4-BE49-F238E27FC236}">
                <a16:creationId xmlns:a16="http://schemas.microsoft.com/office/drawing/2014/main" id="{3420C06F-BD3E-F705-FE57-5A3BA80667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9" name="Date Placeholder 2">
            <a:extLst>
              <a:ext uri="{FF2B5EF4-FFF2-40B4-BE49-F238E27FC236}">
                <a16:creationId xmlns:a16="http://schemas.microsoft.com/office/drawing/2014/main" id="{3715DC52-4B33-BE62-CDE3-71452BD46731}"/>
              </a:ext>
            </a:extLst>
          </p:cNvPr>
          <p:cNvSpPr>
            <a:spLocks noGrp="1"/>
          </p:cNvSpPr>
          <p:nvPr>
            <p:ph type="dt" sz="half" idx="16"/>
          </p:nvPr>
        </p:nvSpPr>
        <p:spPr>
          <a:xfrm>
            <a:off x="2303627" y="6492875"/>
            <a:ext cx="528585" cy="365125"/>
          </a:xfrm>
        </p:spPr>
        <p:txBody>
          <a:bodyPr/>
          <a:lstStyle/>
          <a:p>
            <a:fld id="{BFBA4834-A04D-3746-9956-FB85C35CCB93}" type="datetime1">
              <a:rPr lang="nb-NO" smtClean="0"/>
              <a:t>20.08.2024</a:t>
            </a:fld>
            <a:endParaRPr lang="en-US"/>
          </a:p>
        </p:txBody>
      </p:sp>
      <p:sp>
        <p:nvSpPr>
          <p:cNvPr id="10" name="Footer Placeholder 3">
            <a:extLst>
              <a:ext uri="{FF2B5EF4-FFF2-40B4-BE49-F238E27FC236}">
                <a16:creationId xmlns:a16="http://schemas.microsoft.com/office/drawing/2014/main" id="{1C77C9C1-3D73-870B-D81D-B51E5E3A470C}"/>
              </a:ext>
            </a:extLst>
          </p:cNvPr>
          <p:cNvSpPr>
            <a:spLocks noGrp="1"/>
          </p:cNvSpPr>
          <p:nvPr>
            <p:ph type="ftr" sz="quarter" idx="17"/>
          </p:nvPr>
        </p:nvSpPr>
        <p:spPr>
          <a:xfrm>
            <a:off x="175116" y="6492875"/>
            <a:ext cx="2107096" cy="365125"/>
          </a:xfrm>
        </p:spPr>
        <p:txBody>
          <a:bodyPr/>
          <a:lstStyle/>
          <a:p>
            <a:r>
              <a:rPr lang="en-US"/>
              <a:t>© StrongPoint 2022. All rights reserved.</a:t>
            </a:r>
          </a:p>
        </p:txBody>
      </p:sp>
      <p:sp>
        <p:nvSpPr>
          <p:cNvPr id="11" name="Slide Number Placeholder 4">
            <a:extLst>
              <a:ext uri="{FF2B5EF4-FFF2-40B4-BE49-F238E27FC236}">
                <a16:creationId xmlns:a16="http://schemas.microsoft.com/office/drawing/2014/main" id="{67F64C78-F787-DDB6-45BD-07EC8DE8E7D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9129492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guide id="2" pos="660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7" y="1980018"/>
            <a:ext cx="5629107" cy="37616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920607" y="2173414"/>
            <a:ext cx="5189583" cy="3418494"/>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cxnSp>
        <p:nvCxnSpPr>
          <p:cNvPr id="38" name="Straight Connector 37">
            <a:extLst>
              <a:ext uri="{FF2B5EF4-FFF2-40B4-BE49-F238E27FC236}">
                <a16:creationId xmlns:a16="http://schemas.microsoft.com/office/drawing/2014/main" id="{50BA0497-110B-3B4D-9B26-9615B579AE79}"/>
              </a:ext>
            </a:extLst>
          </p:cNvPr>
          <p:cNvCxnSpPr>
            <a:cxnSpLocks/>
          </p:cNvCxnSpPr>
          <p:nvPr/>
        </p:nvCxnSpPr>
        <p:spPr>
          <a:xfrm>
            <a:off x="6764797" y="1968295"/>
            <a:ext cx="0" cy="377341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C4E265A3-E59C-4BC7-CBFB-20219EE3DCE7}"/>
              </a:ext>
            </a:extLst>
          </p:cNvPr>
          <p:cNvSpPr>
            <a:spLocks noGrp="1"/>
          </p:cNvSpPr>
          <p:nvPr>
            <p:ph type="body" sz="quarter" idx="20"/>
          </p:nvPr>
        </p:nvSpPr>
        <p:spPr>
          <a:xfrm>
            <a:off x="6961306" y="2732861"/>
            <a:ext cx="4520840" cy="2859047"/>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Click to edit Master text styles</a:t>
            </a:r>
          </a:p>
        </p:txBody>
      </p:sp>
      <p:sp>
        <p:nvSpPr>
          <p:cNvPr id="39" name="Text Placeholder 20">
            <a:extLst>
              <a:ext uri="{FF2B5EF4-FFF2-40B4-BE49-F238E27FC236}">
                <a16:creationId xmlns:a16="http://schemas.microsoft.com/office/drawing/2014/main" id="{0620665D-BB66-4164-1374-A28DAD6902DA}"/>
              </a:ext>
            </a:extLst>
          </p:cNvPr>
          <p:cNvSpPr>
            <a:spLocks noGrp="1"/>
          </p:cNvSpPr>
          <p:nvPr>
            <p:ph type="body" sz="quarter" idx="28" hasCustomPrompt="1"/>
          </p:nvPr>
        </p:nvSpPr>
        <p:spPr>
          <a:xfrm>
            <a:off x="6961306" y="1986725"/>
            <a:ext cx="4520835" cy="629219"/>
          </a:xfrm>
          <a:prstGeom prst="rect">
            <a:avLst/>
          </a:prstGeom>
        </p:spPr>
        <p:txBody>
          <a:bodyPr anchor="t">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0" name="Title 1">
            <a:extLst>
              <a:ext uri="{FF2B5EF4-FFF2-40B4-BE49-F238E27FC236}">
                <a16:creationId xmlns:a16="http://schemas.microsoft.com/office/drawing/2014/main" id="{51F252D0-5EDA-7351-60DB-CC72A28D7A48}"/>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3" name="Bilde 3">
            <a:extLst>
              <a:ext uri="{FF2B5EF4-FFF2-40B4-BE49-F238E27FC236}">
                <a16:creationId xmlns:a16="http://schemas.microsoft.com/office/drawing/2014/main" id="{94408A45-5155-B048-3606-450C4DFB675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4" name="Date Placeholder 2">
            <a:extLst>
              <a:ext uri="{FF2B5EF4-FFF2-40B4-BE49-F238E27FC236}">
                <a16:creationId xmlns:a16="http://schemas.microsoft.com/office/drawing/2014/main" id="{3C9C0C90-AE8A-48F2-1EBA-7E27ACD7BA9F}"/>
              </a:ext>
            </a:extLst>
          </p:cNvPr>
          <p:cNvSpPr>
            <a:spLocks noGrp="1"/>
          </p:cNvSpPr>
          <p:nvPr>
            <p:ph type="dt" sz="half" idx="16"/>
          </p:nvPr>
        </p:nvSpPr>
        <p:spPr>
          <a:xfrm>
            <a:off x="2303627" y="6492875"/>
            <a:ext cx="528585" cy="365125"/>
          </a:xfrm>
        </p:spPr>
        <p:txBody>
          <a:bodyPr/>
          <a:lstStyle/>
          <a:p>
            <a:fld id="{8488975D-C7D4-D446-9086-84261618991E}" type="datetime1">
              <a:rPr lang="nb-NO" smtClean="0"/>
              <a:t>20.08.2024</a:t>
            </a:fld>
            <a:endParaRPr lang="en-US"/>
          </a:p>
        </p:txBody>
      </p:sp>
      <p:sp>
        <p:nvSpPr>
          <p:cNvPr id="15" name="Footer Placeholder 3">
            <a:extLst>
              <a:ext uri="{FF2B5EF4-FFF2-40B4-BE49-F238E27FC236}">
                <a16:creationId xmlns:a16="http://schemas.microsoft.com/office/drawing/2014/main" id="{E26AB59A-D5D9-39F1-D704-0AFB2691E90A}"/>
              </a:ext>
            </a:extLst>
          </p:cNvPr>
          <p:cNvSpPr>
            <a:spLocks noGrp="1"/>
          </p:cNvSpPr>
          <p:nvPr>
            <p:ph type="ftr" sz="quarter" idx="17"/>
          </p:nvPr>
        </p:nvSpPr>
        <p:spPr>
          <a:xfrm>
            <a:off x="175116" y="6492875"/>
            <a:ext cx="2107096" cy="365125"/>
          </a:xfrm>
        </p:spPr>
        <p:txBody>
          <a:bodyPr/>
          <a:lstStyle/>
          <a:p>
            <a:r>
              <a:rPr lang="en-US"/>
              <a:t>© StrongPoint 2022</a:t>
            </a:r>
          </a:p>
        </p:txBody>
      </p:sp>
      <p:sp>
        <p:nvSpPr>
          <p:cNvPr id="16" name="Slide Number Placeholder 4">
            <a:extLst>
              <a:ext uri="{FF2B5EF4-FFF2-40B4-BE49-F238E27FC236}">
                <a16:creationId xmlns:a16="http://schemas.microsoft.com/office/drawing/2014/main" id="{8FA05EBA-527C-CFCE-E5AE-2CA4589D5691}"/>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4204134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2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grpSp>
        <p:nvGrpSpPr>
          <p:cNvPr id="19" name="Group 18">
            <a:extLst>
              <a:ext uri="{FF2B5EF4-FFF2-40B4-BE49-F238E27FC236}">
                <a16:creationId xmlns:a16="http://schemas.microsoft.com/office/drawing/2014/main" id="{B2E54100-83F6-3840-9740-66AEE324BF5D}"/>
              </a:ext>
            </a:extLst>
          </p:cNvPr>
          <p:cNvGrpSpPr/>
          <p:nvPr/>
        </p:nvGrpSpPr>
        <p:grpSpPr>
          <a:xfrm>
            <a:off x="741777" y="1980018"/>
            <a:ext cx="5629107" cy="863468"/>
            <a:chOff x="558331" y="2312872"/>
            <a:chExt cx="9298521" cy="756000"/>
          </a:xfrm>
        </p:grpSpPr>
        <p:sp>
          <p:nvSpPr>
            <p:cNvPr id="20" name="Rectangle 19">
              <a:extLst>
                <a:ext uri="{FF2B5EF4-FFF2-40B4-BE49-F238E27FC236}">
                  <a16:creationId xmlns:a16="http://schemas.microsoft.com/office/drawing/2014/main" id="{68E4597E-D37D-6D49-A946-1A166440BD7E}"/>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7578" y="2056271"/>
            <a:ext cx="5189583"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grpSp>
        <p:nvGrpSpPr>
          <p:cNvPr id="17" name="Group 16">
            <a:extLst>
              <a:ext uri="{FF2B5EF4-FFF2-40B4-BE49-F238E27FC236}">
                <a16:creationId xmlns:a16="http://schemas.microsoft.com/office/drawing/2014/main" id="{3C27F867-309D-EA46-8C0F-93359D32C6CB}"/>
              </a:ext>
            </a:extLst>
          </p:cNvPr>
          <p:cNvGrpSpPr/>
          <p:nvPr/>
        </p:nvGrpSpPr>
        <p:grpSpPr>
          <a:xfrm>
            <a:off x="741777" y="2946094"/>
            <a:ext cx="5629107" cy="863468"/>
            <a:chOff x="558331" y="2312872"/>
            <a:chExt cx="9298521" cy="756000"/>
          </a:xfrm>
        </p:grpSpPr>
        <p:sp>
          <p:nvSpPr>
            <p:cNvPr id="18" name="Rectangle 17">
              <a:extLst>
                <a:ext uri="{FF2B5EF4-FFF2-40B4-BE49-F238E27FC236}">
                  <a16:creationId xmlns:a16="http://schemas.microsoft.com/office/drawing/2014/main" id="{99E19D7A-E6A9-054C-AB01-00DB0026F10D}"/>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82A16F31-8845-CC4C-9AD4-2BC372F49F8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5" name="Text Placeholder 20">
            <a:extLst>
              <a:ext uri="{FF2B5EF4-FFF2-40B4-BE49-F238E27FC236}">
                <a16:creationId xmlns:a16="http://schemas.microsoft.com/office/drawing/2014/main" id="{FC0F6143-34C5-944F-BEB1-CDAB609C4E6E}"/>
              </a:ext>
            </a:extLst>
          </p:cNvPr>
          <p:cNvSpPr>
            <a:spLocks noGrp="1"/>
          </p:cNvSpPr>
          <p:nvPr>
            <p:ph type="body" sz="quarter" idx="16" hasCustomPrompt="1"/>
          </p:nvPr>
        </p:nvSpPr>
        <p:spPr>
          <a:xfrm>
            <a:off x="827578" y="3022347"/>
            <a:ext cx="5189583" cy="710960"/>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grpSp>
        <p:nvGrpSpPr>
          <p:cNvPr id="26" name="Group 25">
            <a:extLst>
              <a:ext uri="{FF2B5EF4-FFF2-40B4-BE49-F238E27FC236}">
                <a16:creationId xmlns:a16="http://schemas.microsoft.com/office/drawing/2014/main" id="{B34B0E98-BDEB-A143-938B-9D5929ECC2A1}"/>
              </a:ext>
            </a:extLst>
          </p:cNvPr>
          <p:cNvGrpSpPr/>
          <p:nvPr/>
        </p:nvGrpSpPr>
        <p:grpSpPr>
          <a:xfrm>
            <a:off x="741777" y="3912170"/>
            <a:ext cx="5629107" cy="863468"/>
            <a:chOff x="558331" y="2312872"/>
            <a:chExt cx="9298521" cy="756000"/>
          </a:xfrm>
        </p:grpSpPr>
        <p:sp>
          <p:nvSpPr>
            <p:cNvPr id="27" name="Rectangle 26">
              <a:extLst>
                <a:ext uri="{FF2B5EF4-FFF2-40B4-BE49-F238E27FC236}">
                  <a16:creationId xmlns:a16="http://schemas.microsoft.com/office/drawing/2014/main" id="{154CD58A-8677-9545-B209-DF3C50FFCE03}"/>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CDD90E82-23AD-3E41-AFF1-C14FF24768FB}"/>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9" name="Text Placeholder 20">
            <a:extLst>
              <a:ext uri="{FF2B5EF4-FFF2-40B4-BE49-F238E27FC236}">
                <a16:creationId xmlns:a16="http://schemas.microsoft.com/office/drawing/2014/main" id="{CBE9FA2F-6631-2348-B5E8-CB1404D78870}"/>
              </a:ext>
            </a:extLst>
          </p:cNvPr>
          <p:cNvSpPr>
            <a:spLocks noGrp="1"/>
          </p:cNvSpPr>
          <p:nvPr>
            <p:ph type="body" sz="quarter" idx="17" hasCustomPrompt="1"/>
          </p:nvPr>
        </p:nvSpPr>
        <p:spPr>
          <a:xfrm>
            <a:off x="827578" y="3988423"/>
            <a:ext cx="5189583" cy="710960"/>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grpSp>
        <p:nvGrpSpPr>
          <p:cNvPr id="30" name="Group 29">
            <a:extLst>
              <a:ext uri="{FF2B5EF4-FFF2-40B4-BE49-F238E27FC236}">
                <a16:creationId xmlns:a16="http://schemas.microsoft.com/office/drawing/2014/main" id="{2FEE898A-C06A-E34F-A972-FD3103EE3129}"/>
              </a:ext>
            </a:extLst>
          </p:cNvPr>
          <p:cNvGrpSpPr/>
          <p:nvPr/>
        </p:nvGrpSpPr>
        <p:grpSpPr>
          <a:xfrm>
            <a:off x="748828" y="4878246"/>
            <a:ext cx="5629107" cy="863468"/>
            <a:chOff x="558331" y="2312872"/>
            <a:chExt cx="9298521" cy="756000"/>
          </a:xfrm>
        </p:grpSpPr>
        <p:sp>
          <p:nvSpPr>
            <p:cNvPr id="31" name="Rectangle 30">
              <a:extLst>
                <a:ext uri="{FF2B5EF4-FFF2-40B4-BE49-F238E27FC236}">
                  <a16:creationId xmlns:a16="http://schemas.microsoft.com/office/drawing/2014/main" id="{DA81EE83-C4CA-464B-95C0-5BA7057E8005}"/>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Connector 35">
              <a:extLst>
                <a:ext uri="{FF2B5EF4-FFF2-40B4-BE49-F238E27FC236}">
                  <a16:creationId xmlns:a16="http://schemas.microsoft.com/office/drawing/2014/main" id="{30F7734C-D965-A94B-944D-9E59C1C659A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7" name="Text Placeholder 20">
            <a:extLst>
              <a:ext uri="{FF2B5EF4-FFF2-40B4-BE49-F238E27FC236}">
                <a16:creationId xmlns:a16="http://schemas.microsoft.com/office/drawing/2014/main" id="{2E0AC1D5-7922-AD4E-9F76-639646857156}"/>
              </a:ext>
            </a:extLst>
          </p:cNvPr>
          <p:cNvSpPr>
            <a:spLocks noGrp="1"/>
          </p:cNvSpPr>
          <p:nvPr>
            <p:ph type="body" sz="quarter" idx="18" hasCustomPrompt="1"/>
          </p:nvPr>
        </p:nvSpPr>
        <p:spPr>
          <a:xfrm>
            <a:off x="834629" y="4954499"/>
            <a:ext cx="5189583" cy="710960"/>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cxnSp>
        <p:nvCxnSpPr>
          <p:cNvPr id="38" name="Straight Connector 37">
            <a:extLst>
              <a:ext uri="{FF2B5EF4-FFF2-40B4-BE49-F238E27FC236}">
                <a16:creationId xmlns:a16="http://schemas.microsoft.com/office/drawing/2014/main" id="{50BA0497-110B-3B4D-9B26-9615B579AE79}"/>
              </a:ext>
            </a:extLst>
          </p:cNvPr>
          <p:cNvCxnSpPr>
            <a:cxnSpLocks/>
          </p:cNvCxnSpPr>
          <p:nvPr userDrawn="1"/>
        </p:nvCxnSpPr>
        <p:spPr>
          <a:xfrm>
            <a:off x="6764797" y="1968295"/>
            <a:ext cx="0" cy="377341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48532500-70E3-56B8-5408-3B19292DC938}"/>
              </a:ext>
            </a:extLst>
          </p:cNvPr>
          <p:cNvSpPr>
            <a:spLocks noGrp="1"/>
          </p:cNvSpPr>
          <p:nvPr>
            <p:ph type="body" sz="quarter" idx="20"/>
          </p:nvPr>
        </p:nvSpPr>
        <p:spPr>
          <a:xfrm>
            <a:off x="6961306" y="2732861"/>
            <a:ext cx="4520840" cy="2859047"/>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Click to edit Master text styles</a:t>
            </a:r>
          </a:p>
        </p:txBody>
      </p:sp>
      <p:sp>
        <p:nvSpPr>
          <p:cNvPr id="39" name="Text Placeholder 20">
            <a:extLst>
              <a:ext uri="{FF2B5EF4-FFF2-40B4-BE49-F238E27FC236}">
                <a16:creationId xmlns:a16="http://schemas.microsoft.com/office/drawing/2014/main" id="{70055568-A992-C0C3-247D-12598FCCA433}"/>
              </a:ext>
            </a:extLst>
          </p:cNvPr>
          <p:cNvSpPr>
            <a:spLocks noGrp="1"/>
          </p:cNvSpPr>
          <p:nvPr>
            <p:ph type="body" sz="quarter" idx="28" hasCustomPrompt="1"/>
          </p:nvPr>
        </p:nvSpPr>
        <p:spPr>
          <a:xfrm>
            <a:off x="6961306" y="1986725"/>
            <a:ext cx="4520835" cy="629219"/>
          </a:xfrm>
          <a:prstGeom prst="rect">
            <a:avLst/>
          </a:prstGeom>
        </p:spPr>
        <p:txBody>
          <a:bodyPr anchor="t">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0" name="Title 1">
            <a:extLst>
              <a:ext uri="{FF2B5EF4-FFF2-40B4-BE49-F238E27FC236}">
                <a16:creationId xmlns:a16="http://schemas.microsoft.com/office/drawing/2014/main" id="{A6F30889-31DB-9A6C-379C-3B0014AD5F04}"/>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33" name="Bilde 3">
            <a:extLst>
              <a:ext uri="{FF2B5EF4-FFF2-40B4-BE49-F238E27FC236}">
                <a16:creationId xmlns:a16="http://schemas.microsoft.com/office/drawing/2014/main" id="{7F36F31A-B85F-ECCC-EE19-25B832DA9B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4" name="Date Placeholder 2">
            <a:extLst>
              <a:ext uri="{FF2B5EF4-FFF2-40B4-BE49-F238E27FC236}">
                <a16:creationId xmlns:a16="http://schemas.microsoft.com/office/drawing/2014/main" id="{11A5783A-4D89-B982-66F2-1C55D2A4FF15}"/>
              </a:ext>
            </a:extLst>
          </p:cNvPr>
          <p:cNvSpPr>
            <a:spLocks noGrp="1"/>
          </p:cNvSpPr>
          <p:nvPr>
            <p:ph type="dt" sz="half" idx="29"/>
          </p:nvPr>
        </p:nvSpPr>
        <p:spPr>
          <a:xfrm>
            <a:off x="2303627" y="6492875"/>
            <a:ext cx="528585" cy="365125"/>
          </a:xfrm>
        </p:spPr>
        <p:txBody>
          <a:bodyPr/>
          <a:lstStyle/>
          <a:p>
            <a:fld id="{6F3C5600-BEFA-B140-A432-7B53A8DE5B66}" type="datetime1">
              <a:rPr lang="nb-NO" smtClean="0"/>
              <a:t>20.08.2024</a:t>
            </a:fld>
            <a:endParaRPr lang="en-US"/>
          </a:p>
        </p:txBody>
      </p:sp>
      <p:sp>
        <p:nvSpPr>
          <p:cNvPr id="41" name="Footer Placeholder 3">
            <a:extLst>
              <a:ext uri="{FF2B5EF4-FFF2-40B4-BE49-F238E27FC236}">
                <a16:creationId xmlns:a16="http://schemas.microsoft.com/office/drawing/2014/main" id="{E43AA8C9-01E7-D4A7-9845-3A5D50C9A1D1}"/>
              </a:ext>
            </a:extLst>
          </p:cNvPr>
          <p:cNvSpPr>
            <a:spLocks noGrp="1"/>
          </p:cNvSpPr>
          <p:nvPr>
            <p:ph type="ftr" sz="quarter" idx="30"/>
          </p:nvPr>
        </p:nvSpPr>
        <p:spPr>
          <a:xfrm>
            <a:off x="175116" y="6492875"/>
            <a:ext cx="2107096" cy="365125"/>
          </a:xfrm>
        </p:spPr>
        <p:txBody>
          <a:bodyPr/>
          <a:lstStyle/>
          <a:p>
            <a:r>
              <a:rPr lang="en-US"/>
              <a:t>© StrongPoint 2022</a:t>
            </a:r>
          </a:p>
        </p:txBody>
      </p:sp>
      <p:sp>
        <p:nvSpPr>
          <p:cNvPr id="42" name="Slide Number Placeholder 4">
            <a:extLst>
              <a:ext uri="{FF2B5EF4-FFF2-40B4-BE49-F238E27FC236}">
                <a16:creationId xmlns:a16="http://schemas.microsoft.com/office/drawing/2014/main" id="{26E63F40-F6DA-BE09-86BD-4CDD968104DB}"/>
              </a:ext>
            </a:extLst>
          </p:cNvPr>
          <p:cNvSpPr>
            <a:spLocks noGrp="1"/>
          </p:cNvSpPr>
          <p:nvPr>
            <p:ph type="sldNum" sz="quarter" idx="31"/>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7867700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7" y="1606947"/>
            <a:ext cx="9063966"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41777"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84024" y="1850244"/>
            <a:ext cx="6770384" cy="3804619"/>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34" name="Bilde 13" descr="Et bilde som inneholder innendørs, datamaskin, leke, bord&#10;&#10;Automatisk generert beskrivelse">
            <a:extLst>
              <a:ext uri="{FF2B5EF4-FFF2-40B4-BE49-F238E27FC236}">
                <a16:creationId xmlns:a16="http://schemas.microsoft.com/office/drawing/2014/main" id="{82ADC36C-C5B4-5446-B311-0999748BC0A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597963" y="2054672"/>
            <a:ext cx="4594037" cy="4254591"/>
          </a:xfrm>
          <a:prstGeom prst="rect">
            <a:avLst/>
          </a:prstGeom>
        </p:spPr>
      </p:pic>
      <p:sp>
        <p:nvSpPr>
          <p:cNvPr id="9" name="Title 1">
            <a:extLst>
              <a:ext uri="{FF2B5EF4-FFF2-40B4-BE49-F238E27FC236}">
                <a16:creationId xmlns:a16="http://schemas.microsoft.com/office/drawing/2014/main" id="{E57EA93B-AC9E-03E8-D91C-19CF2DA6B9C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2" name="Bilde 3">
            <a:extLst>
              <a:ext uri="{FF2B5EF4-FFF2-40B4-BE49-F238E27FC236}">
                <a16:creationId xmlns:a16="http://schemas.microsoft.com/office/drawing/2014/main" id="{63E4AE8C-7FC8-B6DB-17CB-A62427F9C80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3" name="Date Placeholder 2">
            <a:extLst>
              <a:ext uri="{FF2B5EF4-FFF2-40B4-BE49-F238E27FC236}">
                <a16:creationId xmlns:a16="http://schemas.microsoft.com/office/drawing/2014/main" id="{601DC5CA-617F-ECD5-4035-EC54D988924A}"/>
              </a:ext>
            </a:extLst>
          </p:cNvPr>
          <p:cNvSpPr>
            <a:spLocks noGrp="1"/>
          </p:cNvSpPr>
          <p:nvPr>
            <p:ph type="dt" sz="half" idx="16"/>
          </p:nvPr>
        </p:nvSpPr>
        <p:spPr>
          <a:xfrm>
            <a:off x="2303627" y="6492875"/>
            <a:ext cx="528585" cy="365125"/>
          </a:xfrm>
        </p:spPr>
        <p:txBody>
          <a:bodyPr/>
          <a:lstStyle/>
          <a:p>
            <a:fld id="{CAAA3BD6-10D1-E84A-9255-6C682AC43D4C}" type="datetime1">
              <a:rPr lang="nb-NO" smtClean="0"/>
              <a:t>20.08.2024</a:t>
            </a:fld>
            <a:endParaRPr lang="en-US"/>
          </a:p>
        </p:txBody>
      </p:sp>
      <p:sp>
        <p:nvSpPr>
          <p:cNvPr id="14" name="Footer Placeholder 3">
            <a:extLst>
              <a:ext uri="{FF2B5EF4-FFF2-40B4-BE49-F238E27FC236}">
                <a16:creationId xmlns:a16="http://schemas.microsoft.com/office/drawing/2014/main" id="{D69B4FC8-AC6B-54DD-EAE6-85D02AD3BF20}"/>
              </a:ext>
            </a:extLst>
          </p:cNvPr>
          <p:cNvSpPr>
            <a:spLocks noGrp="1"/>
          </p:cNvSpPr>
          <p:nvPr>
            <p:ph type="ftr" sz="quarter" idx="17"/>
          </p:nvPr>
        </p:nvSpPr>
        <p:spPr>
          <a:xfrm>
            <a:off x="175116" y="6492875"/>
            <a:ext cx="2107096" cy="365125"/>
          </a:xfrm>
        </p:spPr>
        <p:txBody>
          <a:bodyPr/>
          <a:lstStyle/>
          <a:p>
            <a:r>
              <a:rPr lang="en-US"/>
              <a:t>© StrongPoint 2022</a:t>
            </a:r>
          </a:p>
        </p:txBody>
      </p:sp>
      <p:sp>
        <p:nvSpPr>
          <p:cNvPr id="15" name="Slide Number Placeholder 4">
            <a:extLst>
              <a:ext uri="{FF2B5EF4-FFF2-40B4-BE49-F238E27FC236}">
                <a16:creationId xmlns:a16="http://schemas.microsoft.com/office/drawing/2014/main" id="{BBE056E2-6CC0-262C-7F2E-B95D44CED5BA}"/>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7062187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9_Custom Layout">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038D6646-E4D2-DD44-A139-EB42716908C7}"/>
              </a:ext>
            </a:extLst>
          </p:cNvPr>
          <p:cNvSpPr>
            <a:spLocks noGrp="1"/>
          </p:cNvSpPr>
          <p:nvPr>
            <p:ph type="pic" sz="quarter" idx="16"/>
          </p:nvPr>
        </p:nvSpPr>
        <p:spPr>
          <a:xfrm>
            <a:off x="6678514" y="1635371"/>
            <a:ext cx="4735158" cy="4226168"/>
          </a:xfrm>
          <a:prstGeom prst="rect">
            <a:avLst/>
          </a:prstGeom>
        </p:spPr>
        <p:txBody>
          <a:bodyPr anchor="ctr"/>
          <a:lstStyle>
            <a:lvl1pPr marL="0" indent="0" algn="ctr">
              <a:buNone/>
              <a:defRPr b="0" i="0">
                <a:solidFill>
                  <a:schemeClr val="accent1"/>
                </a:solidFill>
                <a:latin typeface="Helvetica Light" panose="020B0403020202020204" pitchFamily="34" charset="0"/>
              </a:defRPr>
            </a:lvl1pPr>
          </a:lstStyle>
          <a:p>
            <a:r>
              <a:rPr lang="en-GB"/>
              <a:t>Click icon to add picture</a:t>
            </a:r>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8" y="1606947"/>
            <a:ext cx="5850934"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41777"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7579" y="1699192"/>
            <a:ext cx="5674814" cy="4068562"/>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 name="Title 1">
            <a:extLst>
              <a:ext uri="{FF2B5EF4-FFF2-40B4-BE49-F238E27FC236}">
                <a16:creationId xmlns:a16="http://schemas.microsoft.com/office/drawing/2014/main" id="{1E4EE4EB-D8A2-2E64-5C7C-82412718B6BF}"/>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11" name="Date Placeholder 2">
            <a:extLst>
              <a:ext uri="{FF2B5EF4-FFF2-40B4-BE49-F238E27FC236}">
                <a16:creationId xmlns:a16="http://schemas.microsoft.com/office/drawing/2014/main" id="{7F4BF283-092E-C00E-953E-068744DAAA49}"/>
              </a:ext>
            </a:extLst>
          </p:cNvPr>
          <p:cNvSpPr>
            <a:spLocks noGrp="1"/>
          </p:cNvSpPr>
          <p:nvPr>
            <p:ph type="dt" sz="half" idx="17"/>
          </p:nvPr>
        </p:nvSpPr>
        <p:spPr>
          <a:xfrm>
            <a:off x="2303627" y="6492875"/>
            <a:ext cx="528585" cy="365125"/>
          </a:xfrm>
        </p:spPr>
        <p:txBody>
          <a:bodyPr/>
          <a:lstStyle/>
          <a:p>
            <a:fld id="{69772E1A-DCDD-9546-9F6D-8153EE85EC81}" type="datetime1">
              <a:rPr lang="nb-NO" smtClean="0"/>
              <a:t>20.08.2024</a:t>
            </a:fld>
            <a:endParaRPr lang="en-US"/>
          </a:p>
        </p:txBody>
      </p:sp>
      <p:sp>
        <p:nvSpPr>
          <p:cNvPr id="12" name="Footer Placeholder 3">
            <a:extLst>
              <a:ext uri="{FF2B5EF4-FFF2-40B4-BE49-F238E27FC236}">
                <a16:creationId xmlns:a16="http://schemas.microsoft.com/office/drawing/2014/main" id="{2D503D9A-B423-C00F-2CB6-41A20DB6790B}"/>
              </a:ext>
            </a:extLst>
          </p:cNvPr>
          <p:cNvSpPr>
            <a:spLocks noGrp="1"/>
          </p:cNvSpPr>
          <p:nvPr>
            <p:ph type="ftr" sz="quarter" idx="18"/>
          </p:nvPr>
        </p:nvSpPr>
        <p:spPr>
          <a:xfrm>
            <a:off x="175116" y="6492875"/>
            <a:ext cx="2107096" cy="365125"/>
          </a:xfrm>
        </p:spPr>
        <p:txBody>
          <a:bodyPr/>
          <a:lstStyle/>
          <a:p>
            <a:r>
              <a:rPr lang="en-US"/>
              <a:t>© StrongPoint 2022</a:t>
            </a:r>
          </a:p>
        </p:txBody>
      </p:sp>
      <p:sp>
        <p:nvSpPr>
          <p:cNvPr id="13" name="Slide Number Placeholder 4">
            <a:extLst>
              <a:ext uri="{FF2B5EF4-FFF2-40B4-BE49-F238E27FC236}">
                <a16:creationId xmlns:a16="http://schemas.microsoft.com/office/drawing/2014/main" id="{E31BBD39-6B1B-18BF-C0CF-DAD8F2A95290}"/>
              </a:ext>
            </a:extLst>
          </p:cNvPr>
          <p:cNvSpPr>
            <a:spLocks noGrp="1"/>
          </p:cNvSpPr>
          <p:nvPr>
            <p:ph type="sldNum" sz="quarter" idx="19"/>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43128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4_Custom Layout">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038D6646-E4D2-DD44-A139-EB42716908C7}"/>
              </a:ext>
            </a:extLst>
          </p:cNvPr>
          <p:cNvSpPr>
            <a:spLocks noGrp="1"/>
          </p:cNvSpPr>
          <p:nvPr>
            <p:ph type="pic" sz="quarter" idx="16"/>
          </p:nvPr>
        </p:nvSpPr>
        <p:spPr>
          <a:xfrm>
            <a:off x="4674124" y="1635371"/>
            <a:ext cx="6739548" cy="4226168"/>
          </a:xfrm>
          <a:prstGeom prst="rect">
            <a:avLst/>
          </a:prstGeom>
        </p:spPr>
        <p:txBody>
          <a:bodyPr anchor="ctr"/>
          <a:lstStyle>
            <a:lvl1pPr marL="0" indent="0" algn="ctr">
              <a:buNone/>
              <a:defRPr b="0" i="0">
                <a:solidFill>
                  <a:schemeClr val="accent1"/>
                </a:solidFill>
                <a:latin typeface="Helvetica Light" panose="020B0403020202020204" pitchFamily="34" charset="0"/>
              </a:defRPr>
            </a:lvl1pPr>
          </a:lstStyle>
          <a:p>
            <a:r>
              <a:rPr lang="en-GB"/>
              <a:t>Click icon to add picture</a:t>
            </a:r>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8" y="1606947"/>
            <a:ext cx="3846545"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41777"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7579" y="1699192"/>
            <a:ext cx="3597460" cy="4068562"/>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 name="Title 1">
            <a:extLst>
              <a:ext uri="{FF2B5EF4-FFF2-40B4-BE49-F238E27FC236}">
                <a16:creationId xmlns:a16="http://schemas.microsoft.com/office/drawing/2014/main" id="{1E4EE4EB-D8A2-2E64-5C7C-82412718B6BF}"/>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2" name="Bilde 3">
            <a:extLst>
              <a:ext uri="{FF2B5EF4-FFF2-40B4-BE49-F238E27FC236}">
                <a16:creationId xmlns:a16="http://schemas.microsoft.com/office/drawing/2014/main" id="{0327E981-B6C3-CD4C-0EF0-126DBFD1988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3" name="Date Placeholder 2">
            <a:extLst>
              <a:ext uri="{FF2B5EF4-FFF2-40B4-BE49-F238E27FC236}">
                <a16:creationId xmlns:a16="http://schemas.microsoft.com/office/drawing/2014/main" id="{DC9AEC75-ADB7-C1ED-BDB5-2C7758DE421F}"/>
              </a:ext>
            </a:extLst>
          </p:cNvPr>
          <p:cNvSpPr>
            <a:spLocks noGrp="1"/>
          </p:cNvSpPr>
          <p:nvPr>
            <p:ph type="dt" sz="half" idx="17"/>
          </p:nvPr>
        </p:nvSpPr>
        <p:spPr>
          <a:xfrm>
            <a:off x="2303627" y="6492875"/>
            <a:ext cx="528585" cy="365125"/>
          </a:xfrm>
        </p:spPr>
        <p:txBody>
          <a:bodyPr/>
          <a:lstStyle/>
          <a:p>
            <a:fld id="{1FB17CAD-4918-4F4E-8BBC-E9AEDFB06138}" type="datetime1">
              <a:rPr lang="nb-NO" smtClean="0"/>
              <a:t>20.08.2024</a:t>
            </a:fld>
            <a:endParaRPr lang="en-US"/>
          </a:p>
        </p:txBody>
      </p:sp>
      <p:sp>
        <p:nvSpPr>
          <p:cNvPr id="14" name="Footer Placeholder 3">
            <a:extLst>
              <a:ext uri="{FF2B5EF4-FFF2-40B4-BE49-F238E27FC236}">
                <a16:creationId xmlns:a16="http://schemas.microsoft.com/office/drawing/2014/main" id="{737E5B01-DCF8-EE11-DF60-D46A5131CF87}"/>
              </a:ext>
            </a:extLst>
          </p:cNvPr>
          <p:cNvSpPr>
            <a:spLocks noGrp="1"/>
          </p:cNvSpPr>
          <p:nvPr>
            <p:ph type="ftr" sz="quarter" idx="18"/>
          </p:nvPr>
        </p:nvSpPr>
        <p:spPr>
          <a:xfrm>
            <a:off x="175116" y="6492875"/>
            <a:ext cx="2107096" cy="365125"/>
          </a:xfrm>
        </p:spPr>
        <p:txBody>
          <a:bodyPr/>
          <a:lstStyle/>
          <a:p>
            <a:r>
              <a:rPr lang="en-US"/>
              <a:t>© StrongPoint 2022</a:t>
            </a:r>
          </a:p>
        </p:txBody>
      </p:sp>
      <p:sp>
        <p:nvSpPr>
          <p:cNvPr id="15" name="Slide Number Placeholder 4">
            <a:extLst>
              <a:ext uri="{FF2B5EF4-FFF2-40B4-BE49-F238E27FC236}">
                <a16:creationId xmlns:a16="http://schemas.microsoft.com/office/drawing/2014/main" id="{6DBBC043-34AD-A698-EA2B-CF6680B72D21}"/>
              </a:ext>
            </a:extLst>
          </p:cNvPr>
          <p:cNvSpPr>
            <a:spLocks noGrp="1"/>
          </p:cNvSpPr>
          <p:nvPr>
            <p:ph type="sldNum" sz="quarter" idx="19"/>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5859206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5_Custom Layout">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038D6646-E4D2-DD44-A139-EB42716908C7}"/>
              </a:ext>
            </a:extLst>
          </p:cNvPr>
          <p:cNvSpPr>
            <a:spLocks noGrp="1"/>
          </p:cNvSpPr>
          <p:nvPr>
            <p:ph type="pic" sz="quarter" idx="16"/>
          </p:nvPr>
        </p:nvSpPr>
        <p:spPr>
          <a:xfrm>
            <a:off x="8271590" y="1635371"/>
            <a:ext cx="3142081" cy="4226168"/>
          </a:xfrm>
          <a:prstGeom prst="rect">
            <a:avLst/>
          </a:prstGeom>
        </p:spPr>
        <p:txBody>
          <a:bodyPr anchor="ctr"/>
          <a:lstStyle>
            <a:lvl1pPr marL="0" indent="0" algn="ctr">
              <a:buNone/>
              <a:defRPr b="0" i="0">
                <a:solidFill>
                  <a:schemeClr val="accent1"/>
                </a:solidFill>
                <a:latin typeface="Helvetica Light" panose="020B0403020202020204" pitchFamily="34" charset="0"/>
              </a:defRPr>
            </a:lvl1pPr>
          </a:lstStyle>
          <a:p>
            <a:r>
              <a:rPr lang="en-GB"/>
              <a:t>Click icon to add picture</a:t>
            </a:r>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8" y="1606947"/>
            <a:ext cx="3896132"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41777"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7578" y="1699192"/>
            <a:ext cx="3680615" cy="4068562"/>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 name="Title 1">
            <a:extLst>
              <a:ext uri="{FF2B5EF4-FFF2-40B4-BE49-F238E27FC236}">
                <a16:creationId xmlns:a16="http://schemas.microsoft.com/office/drawing/2014/main" id="{1E4EE4EB-D8A2-2E64-5C7C-82412718B6BF}"/>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11" name="Picture Placeholder 3">
            <a:extLst>
              <a:ext uri="{FF2B5EF4-FFF2-40B4-BE49-F238E27FC236}">
                <a16:creationId xmlns:a16="http://schemas.microsoft.com/office/drawing/2014/main" id="{3CC9F20E-3553-313F-ADE6-7FAB12C7B417}"/>
              </a:ext>
            </a:extLst>
          </p:cNvPr>
          <p:cNvSpPr>
            <a:spLocks noGrp="1"/>
          </p:cNvSpPr>
          <p:nvPr>
            <p:ph type="pic" sz="quarter" idx="17"/>
          </p:nvPr>
        </p:nvSpPr>
        <p:spPr>
          <a:xfrm>
            <a:off x="4764746" y="1635371"/>
            <a:ext cx="3380014" cy="4226168"/>
          </a:xfrm>
          <a:prstGeom prst="rect">
            <a:avLst/>
          </a:prstGeom>
        </p:spPr>
        <p:txBody>
          <a:bodyPr anchor="ctr"/>
          <a:lstStyle>
            <a:lvl1pPr marL="0" indent="0" algn="ctr">
              <a:buNone/>
              <a:defRPr b="0" i="0">
                <a:solidFill>
                  <a:schemeClr val="accent1"/>
                </a:solidFill>
                <a:latin typeface="Helvetica Light" panose="020B0403020202020204" pitchFamily="34" charset="0"/>
              </a:defRPr>
            </a:lvl1pPr>
          </a:lstStyle>
          <a:p>
            <a:r>
              <a:rPr lang="en-GB"/>
              <a:t>Click icon to add picture</a:t>
            </a:r>
          </a:p>
        </p:txBody>
      </p:sp>
      <p:pic>
        <p:nvPicPr>
          <p:cNvPr id="13" name="Bilde 3">
            <a:extLst>
              <a:ext uri="{FF2B5EF4-FFF2-40B4-BE49-F238E27FC236}">
                <a16:creationId xmlns:a16="http://schemas.microsoft.com/office/drawing/2014/main" id="{5F1C00DC-FD44-9124-9788-8918143E08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4" name="Date Placeholder 2">
            <a:extLst>
              <a:ext uri="{FF2B5EF4-FFF2-40B4-BE49-F238E27FC236}">
                <a16:creationId xmlns:a16="http://schemas.microsoft.com/office/drawing/2014/main" id="{E7111538-68AD-F0AD-97EF-F3CFFC032DA1}"/>
              </a:ext>
            </a:extLst>
          </p:cNvPr>
          <p:cNvSpPr>
            <a:spLocks noGrp="1"/>
          </p:cNvSpPr>
          <p:nvPr>
            <p:ph type="dt" sz="half" idx="18"/>
          </p:nvPr>
        </p:nvSpPr>
        <p:spPr>
          <a:xfrm>
            <a:off x="2303627" y="6492875"/>
            <a:ext cx="528585" cy="365125"/>
          </a:xfrm>
        </p:spPr>
        <p:txBody>
          <a:bodyPr/>
          <a:lstStyle/>
          <a:p>
            <a:fld id="{995142D8-6BD6-5641-8DF3-9F87BB6DE69E}" type="datetime1">
              <a:rPr lang="nb-NO" smtClean="0"/>
              <a:t>20.08.2024</a:t>
            </a:fld>
            <a:endParaRPr lang="en-US"/>
          </a:p>
        </p:txBody>
      </p:sp>
      <p:sp>
        <p:nvSpPr>
          <p:cNvPr id="15" name="Footer Placeholder 3">
            <a:extLst>
              <a:ext uri="{FF2B5EF4-FFF2-40B4-BE49-F238E27FC236}">
                <a16:creationId xmlns:a16="http://schemas.microsoft.com/office/drawing/2014/main" id="{01142E11-F214-36F3-8C13-CB4805DA263C}"/>
              </a:ext>
            </a:extLst>
          </p:cNvPr>
          <p:cNvSpPr>
            <a:spLocks noGrp="1"/>
          </p:cNvSpPr>
          <p:nvPr>
            <p:ph type="ftr" sz="quarter" idx="19"/>
          </p:nvPr>
        </p:nvSpPr>
        <p:spPr>
          <a:xfrm>
            <a:off x="175116" y="6492875"/>
            <a:ext cx="2107096" cy="365125"/>
          </a:xfrm>
        </p:spPr>
        <p:txBody>
          <a:bodyPr/>
          <a:lstStyle/>
          <a:p>
            <a:r>
              <a:rPr lang="en-US"/>
              <a:t>© StrongPoint 2022</a:t>
            </a:r>
          </a:p>
        </p:txBody>
      </p:sp>
      <p:sp>
        <p:nvSpPr>
          <p:cNvPr id="16" name="Slide Number Placeholder 4">
            <a:extLst>
              <a:ext uri="{FF2B5EF4-FFF2-40B4-BE49-F238E27FC236}">
                <a16:creationId xmlns:a16="http://schemas.microsoft.com/office/drawing/2014/main" id="{6FB8189E-9F09-A4BD-84B5-48D52AF3348E}"/>
              </a:ext>
            </a:extLst>
          </p:cNvPr>
          <p:cNvSpPr>
            <a:spLocks noGrp="1"/>
          </p:cNvSpPr>
          <p:nvPr>
            <p:ph type="sldNum" sz="quarter" idx="20"/>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6120305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picture, Title">
    <p:bg>
      <p:bgPr>
        <a:solidFill>
          <a:schemeClr val="bg1"/>
        </a:solidFill>
        <a:effectLst/>
      </p:bgPr>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158D014F-728F-437C-9904-BA1DBBEB82AA}"/>
              </a:ext>
            </a:extLst>
          </p:cNvPr>
          <p:cNvSpPr>
            <a:spLocks noGrp="1"/>
          </p:cNvSpPr>
          <p:nvPr>
            <p:ph type="pic" sz="quarter" idx="10" hasCustomPrompt="1"/>
          </p:nvPr>
        </p:nvSpPr>
        <p:spPr>
          <a:xfrm>
            <a:off x="0" y="-28707"/>
            <a:ext cx="12192000" cy="4661452"/>
          </a:xfrm>
          <a:prstGeom prst="rect">
            <a:avLst/>
          </a:prstGeom>
          <a:no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GB" noProof="0"/>
              <a:t>Image Placeholder</a:t>
            </a:r>
          </a:p>
        </p:txBody>
      </p:sp>
      <p:sp>
        <p:nvSpPr>
          <p:cNvPr id="5" name="!!Blue">
            <a:extLst>
              <a:ext uri="{FF2B5EF4-FFF2-40B4-BE49-F238E27FC236}">
                <a16:creationId xmlns:a16="http://schemas.microsoft.com/office/drawing/2014/main" id="{5E24F489-E6BB-4384-B378-663B8C919357}"/>
              </a:ext>
            </a:extLst>
          </p:cNvPr>
          <p:cNvSpPr/>
          <p:nvPr userDrawn="1"/>
        </p:nvSpPr>
        <p:spPr>
          <a:xfrm>
            <a:off x="0" y="4616322"/>
            <a:ext cx="12192000" cy="21965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cxnSp>
        <p:nvCxnSpPr>
          <p:cNvPr id="7" name="!!Yellow">
            <a:extLst>
              <a:ext uri="{FF2B5EF4-FFF2-40B4-BE49-F238E27FC236}">
                <a16:creationId xmlns:a16="http://schemas.microsoft.com/office/drawing/2014/main" id="{DE98A62D-C220-4B5B-AD26-81FFF33E5164}"/>
              </a:ext>
            </a:extLst>
          </p:cNvPr>
          <p:cNvCxnSpPr>
            <a:cxnSpLocks/>
          </p:cNvCxnSpPr>
          <p:nvPr userDrawn="1"/>
        </p:nvCxnSpPr>
        <p:spPr>
          <a:xfrm>
            <a:off x="10477500" y="5348056"/>
            <a:ext cx="1714500" cy="0"/>
          </a:xfrm>
          <a:prstGeom prst="line">
            <a:avLst/>
          </a:prstGeom>
          <a:ln w="149225">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Plassholder for tekst 8">
            <a:extLst>
              <a:ext uri="{FF2B5EF4-FFF2-40B4-BE49-F238E27FC236}">
                <a16:creationId xmlns:a16="http://schemas.microsoft.com/office/drawing/2014/main" id="{38C7107A-0111-432E-8F72-D19B67E72E16}"/>
              </a:ext>
            </a:extLst>
          </p:cNvPr>
          <p:cNvSpPr>
            <a:spLocks noGrp="1"/>
          </p:cNvSpPr>
          <p:nvPr>
            <p:ph type="body" sz="quarter" idx="11" hasCustomPrompt="1"/>
          </p:nvPr>
        </p:nvSpPr>
        <p:spPr>
          <a:xfrm>
            <a:off x="1066800" y="4959624"/>
            <a:ext cx="9410700" cy="160020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3600" cap="all" baseline="0">
                <a:solidFill>
                  <a:schemeClr val="bg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prstClr val="white"/>
                </a:solidFill>
                <a:effectLst/>
                <a:uLnTx/>
                <a:uFillTx/>
                <a:latin typeface="+mn-lt"/>
                <a:ea typeface="Roboto Condensed" panose="02000000000000000000" pitchFamily="2" charset="0"/>
                <a:cs typeface="Arial" panose="020B0604020202020204" pitchFamily="34" charset="0"/>
              </a:rPr>
              <a:t>PRESENTATION TITLE</a:t>
            </a:r>
            <a:br>
              <a:rPr kumimoji="0" lang="en-GB" sz="4800" b="1" i="0" u="none" strike="noStrike" kern="1200" cap="none" spc="0" normalizeH="0" baseline="0" noProof="0">
                <a:ln>
                  <a:noFill/>
                </a:ln>
                <a:solidFill>
                  <a:prstClr val="white"/>
                </a:solidFill>
                <a:effectLst/>
                <a:uLnTx/>
                <a:uFillTx/>
                <a:latin typeface="+mn-lt"/>
                <a:ea typeface="Roboto Condensed" panose="02000000000000000000" pitchFamily="2" charset="0"/>
                <a:cs typeface="Arial" panose="020B0604020202020204" pitchFamily="34" charset="0"/>
              </a:rPr>
            </a:br>
            <a:r>
              <a:rPr kumimoji="0" lang="en-GB" sz="4800" b="1" i="0" u="none" strike="noStrike" kern="1200" cap="none" spc="0" normalizeH="0" baseline="0" noProof="0">
                <a:ln>
                  <a:noFill/>
                </a:ln>
                <a:solidFill>
                  <a:prstClr val="white"/>
                </a:solidFill>
                <a:effectLst/>
                <a:uLnTx/>
                <a:uFillTx/>
                <a:latin typeface="+mn-lt"/>
                <a:ea typeface="Roboto Condensed" panose="02000000000000000000" pitchFamily="2" charset="0"/>
                <a:cs typeface="Arial" panose="020B0604020202020204" pitchFamily="34" charset="0"/>
              </a:rPr>
              <a:t>HERE</a:t>
            </a:r>
          </a:p>
          <a:p>
            <a:pPr lvl="0"/>
            <a:endParaRPr lang="en-GB" noProof="0"/>
          </a:p>
        </p:txBody>
      </p:sp>
    </p:spTree>
    <p:extLst>
      <p:ext uri="{BB962C8B-B14F-4D97-AF65-F5344CB8AC3E}">
        <p14:creationId xmlns:p14="http://schemas.microsoft.com/office/powerpoint/2010/main" val="42470810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37741" y="1606947"/>
            <a:ext cx="10630718"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37741"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3542" y="1699192"/>
            <a:ext cx="10338438" cy="4068562"/>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8" name="Title 1">
            <a:extLst>
              <a:ext uri="{FF2B5EF4-FFF2-40B4-BE49-F238E27FC236}">
                <a16:creationId xmlns:a16="http://schemas.microsoft.com/office/drawing/2014/main" id="{750EA6DB-7BE5-46DA-7D39-CE1BBA16615F}"/>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1" name="Bilde 3">
            <a:extLst>
              <a:ext uri="{FF2B5EF4-FFF2-40B4-BE49-F238E27FC236}">
                <a16:creationId xmlns:a16="http://schemas.microsoft.com/office/drawing/2014/main" id="{30247BF6-FA19-7552-D334-E3C9D9D6DF4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2" name="Date Placeholder 2">
            <a:extLst>
              <a:ext uri="{FF2B5EF4-FFF2-40B4-BE49-F238E27FC236}">
                <a16:creationId xmlns:a16="http://schemas.microsoft.com/office/drawing/2014/main" id="{8A1D8C01-17C6-A91E-6D56-51CD8050B615}"/>
              </a:ext>
            </a:extLst>
          </p:cNvPr>
          <p:cNvSpPr>
            <a:spLocks noGrp="1"/>
          </p:cNvSpPr>
          <p:nvPr>
            <p:ph type="dt" sz="half" idx="16"/>
          </p:nvPr>
        </p:nvSpPr>
        <p:spPr>
          <a:xfrm>
            <a:off x="2303627" y="6492875"/>
            <a:ext cx="528585" cy="365125"/>
          </a:xfrm>
        </p:spPr>
        <p:txBody>
          <a:bodyPr/>
          <a:lstStyle/>
          <a:p>
            <a:fld id="{A7EF0E65-1C97-6641-9A4B-75B4EF66606D}" type="datetime1">
              <a:rPr lang="nb-NO" smtClean="0"/>
              <a:t>20.08.2024</a:t>
            </a:fld>
            <a:endParaRPr lang="en-US"/>
          </a:p>
        </p:txBody>
      </p:sp>
      <p:sp>
        <p:nvSpPr>
          <p:cNvPr id="13" name="Footer Placeholder 3">
            <a:extLst>
              <a:ext uri="{FF2B5EF4-FFF2-40B4-BE49-F238E27FC236}">
                <a16:creationId xmlns:a16="http://schemas.microsoft.com/office/drawing/2014/main" id="{6B02DFB0-2518-39B7-471B-1FD6736FDFAA}"/>
              </a:ext>
            </a:extLst>
          </p:cNvPr>
          <p:cNvSpPr>
            <a:spLocks noGrp="1"/>
          </p:cNvSpPr>
          <p:nvPr>
            <p:ph type="ftr" sz="quarter" idx="17"/>
          </p:nvPr>
        </p:nvSpPr>
        <p:spPr>
          <a:xfrm>
            <a:off x="175116" y="6492875"/>
            <a:ext cx="2107096" cy="365125"/>
          </a:xfrm>
        </p:spPr>
        <p:txBody>
          <a:bodyPr/>
          <a:lstStyle/>
          <a:p>
            <a:r>
              <a:rPr lang="en-US"/>
              <a:t>© StrongPoint 2022</a:t>
            </a:r>
          </a:p>
        </p:txBody>
      </p:sp>
      <p:sp>
        <p:nvSpPr>
          <p:cNvPr id="14" name="Slide Number Placeholder 4">
            <a:extLst>
              <a:ext uri="{FF2B5EF4-FFF2-40B4-BE49-F238E27FC236}">
                <a16:creationId xmlns:a16="http://schemas.microsoft.com/office/drawing/2014/main" id="{A7D45FAD-36C9-58C2-B818-7F227551A5A8}"/>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9389901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1448411" y="237532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779147" y="1485777"/>
            <a:ext cx="2938011" cy="605707"/>
          </a:xfrm>
          <a:prstGeom prst="rect">
            <a:avLst/>
          </a:prstGeom>
        </p:spPr>
        <p:txBody>
          <a:bodyPr anchor="b">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529693" y="2380462"/>
            <a:ext cx="2187469"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6" name="Oval 5">
            <a:extLst>
              <a:ext uri="{FF2B5EF4-FFF2-40B4-BE49-F238E27FC236}">
                <a16:creationId xmlns:a16="http://schemas.microsoft.com/office/drawing/2014/main" id="{8DBB2A8D-B9A7-F046-8E3F-1F0126DB7CCD}"/>
              </a:ext>
            </a:extLst>
          </p:cNvPr>
          <p:cNvSpPr/>
          <p:nvPr userDrawn="1"/>
        </p:nvSpPr>
        <p:spPr>
          <a:xfrm>
            <a:off x="773262" y="2507190"/>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7" name="Straight Connector 46">
            <a:extLst>
              <a:ext uri="{FF2B5EF4-FFF2-40B4-BE49-F238E27FC236}">
                <a16:creationId xmlns:a16="http://schemas.microsoft.com/office/drawing/2014/main" id="{9319F917-FF3E-6F4A-8DED-9BD99CAF6CEC}"/>
              </a:ext>
            </a:extLst>
          </p:cNvPr>
          <p:cNvCxnSpPr>
            <a:cxnSpLocks/>
          </p:cNvCxnSpPr>
          <p:nvPr userDrawn="1"/>
        </p:nvCxnSpPr>
        <p:spPr>
          <a:xfrm>
            <a:off x="5202442" y="237532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8" name="Text Placeholder 20">
            <a:extLst>
              <a:ext uri="{FF2B5EF4-FFF2-40B4-BE49-F238E27FC236}">
                <a16:creationId xmlns:a16="http://schemas.microsoft.com/office/drawing/2014/main" id="{90110F60-89B8-F44F-86DF-237FA9EDC86F}"/>
              </a:ext>
            </a:extLst>
          </p:cNvPr>
          <p:cNvSpPr>
            <a:spLocks noGrp="1"/>
          </p:cNvSpPr>
          <p:nvPr>
            <p:ph type="body" sz="quarter" idx="31" hasCustomPrompt="1"/>
          </p:nvPr>
        </p:nvSpPr>
        <p:spPr>
          <a:xfrm>
            <a:off x="4533178" y="1485777"/>
            <a:ext cx="2938003" cy="605707"/>
          </a:xfrm>
          <a:prstGeom prst="rect">
            <a:avLst/>
          </a:prstGeom>
        </p:spPr>
        <p:txBody>
          <a:bodyPr anchor="b">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9" name="Text Placeholder 20">
            <a:extLst>
              <a:ext uri="{FF2B5EF4-FFF2-40B4-BE49-F238E27FC236}">
                <a16:creationId xmlns:a16="http://schemas.microsoft.com/office/drawing/2014/main" id="{8F9630DC-CA99-8F43-AA5B-00980E185C7F}"/>
              </a:ext>
            </a:extLst>
          </p:cNvPr>
          <p:cNvSpPr>
            <a:spLocks noGrp="1"/>
          </p:cNvSpPr>
          <p:nvPr>
            <p:ph type="body" sz="quarter" idx="32" hasCustomPrompt="1"/>
          </p:nvPr>
        </p:nvSpPr>
        <p:spPr>
          <a:xfrm>
            <a:off x="5283725" y="2380462"/>
            <a:ext cx="2187470"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3" name="Oval 52">
            <a:extLst>
              <a:ext uri="{FF2B5EF4-FFF2-40B4-BE49-F238E27FC236}">
                <a16:creationId xmlns:a16="http://schemas.microsoft.com/office/drawing/2014/main" id="{75A3B9E5-08F2-814D-9BEE-10B6FF734436}"/>
              </a:ext>
            </a:extLst>
          </p:cNvPr>
          <p:cNvSpPr/>
          <p:nvPr userDrawn="1"/>
        </p:nvSpPr>
        <p:spPr>
          <a:xfrm>
            <a:off x="4527293" y="2507190"/>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4" name="Straight Connector 53">
            <a:extLst>
              <a:ext uri="{FF2B5EF4-FFF2-40B4-BE49-F238E27FC236}">
                <a16:creationId xmlns:a16="http://schemas.microsoft.com/office/drawing/2014/main" id="{E613A742-D6B6-E547-AFAD-DAF27F529BB3}"/>
              </a:ext>
            </a:extLst>
          </p:cNvPr>
          <p:cNvCxnSpPr>
            <a:cxnSpLocks/>
          </p:cNvCxnSpPr>
          <p:nvPr userDrawn="1"/>
        </p:nvCxnSpPr>
        <p:spPr>
          <a:xfrm>
            <a:off x="9035840" y="237532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Text Placeholder 20">
            <a:extLst>
              <a:ext uri="{FF2B5EF4-FFF2-40B4-BE49-F238E27FC236}">
                <a16:creationId xmlns:a16="http://schemas.microsoft.com/office/drawing/2014/main" id="{FDAE3801-F6B0-9040-BFF6-0C2A999B3008}"/>
              </a:ext>
            </a:extLst>
          </p:cNvPr>
          <p:cNvSpPr>
            <a:spLocks noGrp="1"/>
          </p:cNvSpPr>
          <p:nvPr>
            <p:ph type="body" sz="quarter" idx="33" hasCustomPrompt="1"/>
          </p:nvPr>
        </p:nvSpPr>
        <p:spPr>
          <a:xfrm>
            <a:off x="8366577" y="1485777"/>
            <a:ext cx="2938004" cy="605707"/>
          </a:xfrm>
          <a:prstGeom prst="rect">
            <a:avLst/>
          </a:prstGeom>
        </p:spPr>
        <p:txBody>
          <a:bodyPr anchor="b">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6" name="Text Placeholder 20">
            <a:extLst>
              <a:ext uri="{FF2B5EF4-FFF2-40B4-BE49-F238E27FC236}">
                <a16:creationId xmlns:a16="http://schemas.microsoft.com/office/drawing/2014/main" id="{AC05E92B-0A22-F74F-A0A0-37E184796253}"/>
              </a:ext>
            </a:extLst>
          </p:cNvPr>
          <p:cNvSpPr>
            <a:spLocks noGrp="1"/>
          </p:cNvSpPr>
          <p:nvPr>
            <p:ph type="body" sz="quarter" idx="34" hasCustomPrompt="1"/>
          </p:nvPr>
        </p:nvSpPr>
        <p:spPr>
          <a:xfrm>
            <a:off x="9117123" y="2380462"/>
            <a:ext cx="219359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7" name="Oval 56">
            <a:extLst>
              <a:ext uri="{FF2B5EF4-FFF2-40B4-BE49-F238E27FC236}">
                <a16:creationId xmlns:a16="http://schemas.microsoft.com/office/drawing/2014/main" id="{3413011A-3D10-E14D-B233-D9B81B58D993}"/>
              </a:ext>
            </a:extLst>
          </p:cNvPr>
          <p:cNvSpPr/>
          <p:nvPr userDrawn="1"/>
        </p:nvSpPr>
        <p:spPr>
          <a:xfrm>
            <a:off x="8360691" y="2507190"/>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8" name="Straight Connector 57">
            <a:extLst>
              <a:ext uri="{FF2B5EF4-FFF2-40B4-BE49-F238E27FC236}">
                <a16:creationId xmlns:a16="http://schemas.microsoft.com/office/drawing/2014/main" id="{14D0E40A-826D-D447-875C-24BB261305E6}"/>
              </a:ext>
            </a:extLst>
          </p:cNvPr>
          <p:cNvCxnSpPr>
            <a:cxnSpLocks/>
          </p:cNvCxnSpPr>
          <p:nvPr userDrawn="1"/>
        </p:nvCxnSpPr>
        <p:spPr>
          <a:xfrm>
            <a:off x="1448411" y="3304813"/>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Text Placeholder 20">
            <a:extLst>
              <a:ext uri="{FF2B5EF4-FFF2-40B4-BE49-F238E27FC236}">
                <a16:creationId xmlns:a16="http://schemas.microsoft.com/office/drawing/2014/main" id="{8F334DBA-DB16-D64B-BA18-F61C21BB3599}"/>
              </a:ext>
            </a:extLst>
          </p:cNvPr>
          <p:cNvSpPr>
            <a:spLocks noGrp="1"/>
          </p:cNvSpPr>
          <p:nvPr>
            <p:ph type="body" sz="quarter" idx="35" hasCustomPrompt="1"/>
          </p:nvPr>
        </p:nvSpPr>
        <p:spPr>
          <a:xfrm>
            <a:off x="1529693" y="3309950"/>
            <a:ext cx="2187469"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64" name="Oval 63">
            <a:extLst>
              <a:ext uri="{FF2B5EF4-FFF2-40B4-BE49-F238E27FC236}">
                <a16:creationId xmlns:a16="http://schemas.microsoft.com/office/drawing/2014/main" id="{B2763EBF-B45B-7F4C-9541-765EF4D57406}"/>
              </a:ext>
            </a:extLst>
          </p:cNvPr>
          <p:cNvSpPr/>
          <p:nvPr userDrawn="1"/>
        </p:nvSpPr>
        <p:spPr>
          <a:xfrm>
            <a:off x="773262" y="3436678"/>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5" name="Straight Connector 64">
            <a:extLst>
              <a:ext uri="{FF2B5EF4-FFF2-40B4-BE49-F238E27FC236}">
                <a16:creationId xmlns:a16="http://schemas.microsoft.com/office/drawing/2014/main" id="{39C8D00F-526F-4D4A-87BC-AE247330FE55}"/>
              </a:ext>
            </a:extLst>
          </p:cNvPr>
          <p:cNvCxnSpPr>
            <a:cxnSpLocks/>
          </p:cNvCxnSpPr>
          <p:nvPr userDrawn="1"/>
        </p:nvCxnSpPr>
        <p:spPr>
          <a:xfrm>
            <a:off x="5202442" y="3304813"/>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6" name="Text Placeholder 20">
            <a:extLst>
              <a:ext uri="{FF2B5EF4-FFF2-40B4-BE49-F238E27FC236}">
                <a16:creationId xmlns:a16="http://schemas.microsoft.com/office/drawing/2014/main" id="{D58352EA-9911-8742-A2FE-08E11A7F4AA9}"/>
              </a:ext>
            </a:extLst>
          </p:cNvPr>
          <p:cNvSpPr>
            <a:spLocks noGrp="1"/>
          </p:cNvSpPr>
          <p:nvPr>
            <p:ph type="body" sz="quarter" idx="36" hasCustomPrompt="1"/>
          </p:nvPr>
        </p:nvSpPr>
        <p:spPr>
          <a:xfrm>
            <a:off x="5283725" y="3309950"/>
            <a:ext cx="2187470"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67" name="Oval 66">
            <a:extLst>
              <a:ext uri="{FF2B5EF4-FFF2-40B4-BE49-F238E27FC236}">
                <a16:creationId xmlns:a16="http://schemas.microsoft.com/office/drawing/2014/main" id="{CC472FC1-B8F3-434A-899E-A519F9565D65}"/>
              </a:ext>
            </a:extLst>
          </p:cNvPr>
          <p:cNvSpPr/>
          <p:nvPr userDrawn="1"/>
        </p:nvSpPr>
        <p:spPr>
          <a:xfrm>
            <a:off x="4527293" y="3436678"/>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8" name="Straight Connector 67">
            <a:extLst>
              <a:ext uri="{FF2B5EF4-FFF2-40B4-BE49-F238E27FC236}">
                <a16:creationId xmlns:a16="http://schemas.microsoft.com/office/drawing/2014/main" id="{0FBF096B-09C8-A742-8D7B-2CD71288F329}"/>
              </a:ext>
            </a:extLst>
          </p:cNvPr>
          <p:cNvCxnSpPr>
            <a:cxnSpLocks/>
          </p:cNvCxnSpPr>
          <p:nvPr userDrawn="1"/>
        </p:nvCxnSpPr>
        <p:spPr>
          <a:xfrm>
            <a:off x="9035840" y="3304813"/>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9" name="Text Placeholder 20">
            <a:extLst>
              <a:ext uri="{FF2B5EF4-FFF2-40B4-BE49-F238E27FC236}">
                <a16:creationId xmlns:a16="http://schemas.microsoft.com/office/drawing/2014/main" id="{693B4C3E-8292-A048-A211-BD35FDE740A1}"/>
              </a:ext>
            </a:extLst>
          </p:cNvPr>
          <p:cNvSpPr>
            <a:spLocks noGrp="1"/>
          </p:cNvSpPr>
          <p:nvPr>
            <p:ph type="body" sz="quarter" idx="37" hasCustomPrompt="1"/>
          </p:nvPr>
        </p:nvSpPr>
        <p:spPr>
          <a:xfrm>
            <a:off x="9117123" y="3309950"/>
            <a:ext cx="219359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70" name="Oval 69">
            <a:extLst>
              <a:ext uri="{FF2B5EF4-FFF2-40B4-BE49-F238E27FC236}">
                <a16:creationId xmlns:a16="http://schemas.microsoft.com/office/drawing/2014/main" id="{B40AD22E-5FFC-D145-9D3B-1CD5D45D23AA}"/>
              </a:ext>
            </a:extLst>
          </p:cNvPr>
          <p:cNvSpPr/>
          <p:nvPr userDrawn="1"/>
        </p:nvSpPr>
        <p:spPr>
          <a:xfrm>
            <a:off x="8360691" y="3436678"/>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1" name="Straight Connector 70">
            <a:extLst>
              <a:ext uri="{FF2B5EF4-FFF2-40B4-BE49-F238E27FC236}">
                <a16:creationId xmlns:a16="http://schemas.microsoft.com/office/drawing/2014/main" id="{9B854D38-8E94-2945-A6F3-1F4A80FB0143}"/>
              </a:ext>
            </a:extLst>
          </p:cNvPr>
          <p:cNvCxnSpPr>
            <a:cxnSpLocks/>
          </p:cNvCxnSpPr>
          <p:nvPr userDrawn="1"/>
        </p:nvCxnSpPr>
        <p:spPr>
          <a:xfrm>
            <a:off x="1448411" y="4229496"/>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Text Placeholder 20">
            <a:extLst>
              <a:ext uri="{FF2B5EF4-FFF2-40B4-BE49-F238E27FC236}">
                <a16:creationId xmlns:a16="http://schemas.microsoft.com/office/drawing/2014/main" id="{B03FB43F-DE17-034A-AD6E-863D0BF0C97A}"/>
              </a:ext>
            </a:extLst>
          </p:cNvPr>
          <p:cNvSpPr>
            <a:spLocks noGrp="1"/>
          </p:cNvSpPr>
          <p:nvPr>
            <p:ph type="body" sz="quarter" idx="38" hasCustomPrompt="1"/>
          </p:nvPr>
        </p:nvSpPr>
        <p:spPr>
          <a:xfrm>
            <a:off x="1529693" y="4234633"/>
            <a:ext cx="2187469"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73" name="Oval 72">
            <a:extLst>
              <a:ext uri="{FF2B5EF4-FFF2-40B4-BE49-F238E27FC236}">
                <a16:creationId xmlns:a16="http://schemas.microsoft.com/office/drawing/2014/main" id="{CCBBF6A3-F126-B341-869B-7CBDD189EB87}"/>
              </a:ext>
            </a:extLst>
          </p:cNvPr>
          <p:cNvSpPr/>
          <p:nvPr userDrawn="1"/>
        </p:nvSpPr>
        <p:spPr>
          <a:xfrm>
            <a:off x="773262" y="4361361"/>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4" name="Straight Connector 73">
            <a:extLst>
              <a:ext uri="{FF2B5EF4-FFF2-40B4-BE49-F238E27FC236}">
                <a16:creationId xmlns:a16="http://schemas.microsoft.com/office/drawing/2014/main" id="{B494456F-0DF8-A448-9114-AEF7CC59D455}"/>
              </a:ext>
            </a:extLst>
          </p:cNvPr>
          <p:cNvCxnSpPr>
            <a:cxnSpLocks/>
          </p:cNvCxnSpPr>
          <p:nvPr userDrawn="1"/>
        </p:nvCxnSpPr>
        <p:spPr>
          <a:xfrm>
            <a:off x="5202442" y="4229496"/>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5" name="Text Placeholder 20">
            <a:extLst>
              <a:ext uri="{FF2B5EF4-FFF2-40B4-BE49-F238E27FC236}">
                <a16:creationId xmlns:a16="http://schemas.microsoft.com/office/drawing/2014/main" id="{8AED9D6B-FA7A-9240-ACE9-40A615D0C77B}"/>
              </a:ext>
            </a:extLst>
          </p:cNvPr>
          <p:cNvSpPr>
            <a:spLocks noGrp="1"/>
          </p:cNvSpPr>
          <p:nvPr>
            <p:ph type="body" sz="quarter" idx="39" hasCustomPrompt="1"/>
          </p:nvPr>
        </p:nvSpPr>
        <p:spPr>
          <a:xfrm>
            <a:off x="5283725" y="4234633"/>
            <a:ext cx="2187470"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76" name="Oval 75">
            <a:extLst>
              <a:ext uri="{FF2B5EF4-FFF2-40B4-BE49-F238E27FC236}">
                <a16:creationId xmlns:a16="http://schemas.microsoft.com/office/drawing/2014/main" id="{B4E5386C-E801-E648-AE68-4E88E0AC2450}"/>
              </a:ext>
            </a:extLst>
          </p:cNvPr>
          <p:cNvSpPr/>
          <p:nvPr userDrawn="1"/>
        </p:nvSpPr>
        <p:spPr>
          <a:xfrm>
            <a:off x="4527293" y="4361361"/>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7" name="Straight Connector 76">
            <a:extLst>
              <a:ext uri="{FF2B5EF4-FFF2-40B4-BE49-F238E27FC236}">
                <a16:creationId xmlns:a16="http://schemas.microsoft.com/office/drawing/2014/main" id="{77F2F78F-ADE7-554C-A2FD-66B5759CE696}"/>
              </a:ext>
            </a:extLst>
          </p:cNvPr>
          <p:cNvCxnSpPr>
            <a:cxnSpLocks/>
          </p:cNvCxnSpPr>
          <p:nvPr userDrawn="1"/>
        </p:nvCxnSpPr>
        <p:spPr>
          <a:xfrm>
            <a:off x="9035840" y="4229496"/>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8" name="Text Placeholder 20">
            <a:extLst>
              <a:ext uri="{FF2B5EF4-FFF2-40B4-BE49-F238E27FC236}">
                <a16:creationId xmlns:a16="http://schemas.microsoft.com/office/drawing/2014/main" id="{0F8BCE60-D91B-E448-9707-12A4D5117841}"/>
              </a:ext>
            </a:extLst>
          </p:cNvPr>
          <p:cNvSpPr>
            <a:spLocks noGrp="1"/>
          </p:cNvSpPr>
          <p:nvPr>
            <p:ph type="body" sz="quarter" idx="40" hasCustomPrompt="1"/>
          </p:nvPr>
        </p:nvSpPr>
        <p:spPr>
          <a:xfrm>
            <a:off x="9117123" y="4234633"/>
            <a:ext cx="219359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79" name="Oval 78">
            <a:extLst>
              <a:ext uri="{FF2B5EF4-FFF2-40B4-BE49-F238E27FC236}">
                <a16:creationId xmlns:a16="http://schemas.microsoft.com/office/drawing/2014/main" id="{11D4FBDA-1686-F34C-A3EC-8C13DB3FF9E1}"/>
              </a:ext>
            </a:extLst>
          </p:cNvPr>
          <p:cNvSpPr/>
          <p:nvPr userDrawn="1"/>
        </p:nvSpPr>
        <p:spPr>
          <a:xfrm>
            <a:off x="8360691" y="4361361"/>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0" name="Straight Connector 79">
            <a:extLst>
              <a:ext uri="{FF2B5EF4-FFF2-40B4-BE49-F238E27FC236}">
                <a16:creationId xmlns:a16="http://schemas.microsoft.com/office/drawing/2014/main" id="{AFAC971E-6FED-A84A-AFF8-7D2BBE235176}"/>
              </a:ext>
            </a:extLst>
          </p:cNvPr>
          <p:cNvCxnSpPr>
            <a:cxnSpLocks/>
          </p:cNvCxnSpPr>
          <p:nvPr userDrawn="1"/>
        </p:nvCxnSpPr>
        <p:spPr>
          <a:xfrm>
            <a:off x="1448411" y="5171582"/>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1" name="Text Placeholder 20">
            <a:extLst>
              <a:ext uri="{FF2B5EF4-FFF2-40B4-BE49-F238E27FC236}">
                <a16:creationId xmlns:a16="http://schemas.microsoft.com/office/drawing/2014/main" id="{60FC510F-AB34-924E-942D-935C38146DE6}"/>
              </a:ext>
            </a:extLst>
          </p:cNvPr>
          <p:cNvSpPr>
            <a:spLocks noGrp="1"/>
          </p:cNvSpPr>
          <p:nvPr>
            <p:ph type="body" sz="quarter" idx="41" hasCustomPrompt="1"/>
          </p:nvPr>
        </p:nvSpPr>
        <p:spPr>
          <a:xfrm>
            <a:off x="1529693" y="5176719"/>
            <a:ext cx="2187469"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82" name="Oval 81">
            <a:extLst>
              <a:ext uri="{FF2B5EF4-FFF2-40B4-BE49-F238E27FC236}">
                <a16:creationId xmlns:a16="http://schemas.microsoft.com/office/drawing/2014/main" id="{963066B7-3415-694F-BD42-0686E65350FC}"/>
              </a:ext>
            </a:extLst>
          </p:cNvPr>
          <p:cNvSpPr/>
          <p:nvPr userDrawn="1"/>
        </p:nvSpPr>
        <p:spPr>
          <a:xfrm>
            <a:off x="773262" y="5303447"/>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3" name="Straight Connector 82">
            <a:extLst>
              <a:ext uri="{FF2B5EF4-FFF2-40B4-BE49-F238E27FC236}">
                <a16:creationId xmlns:a16="http://schemas.microsoft.com/office/drawing/2014/main" id="{C0A68C1A-30A7-A347-ADC7-875DF28D144E}"/>
              </a:ext>
            </a:extLst>
          </p:cNvPr>
          <p:cNvCxnSpPr>
            <a:cxnSpLocks/>
          </p:cNvCxnSpPr>
          <p:nvPr userDrawn="1"/>
        </p:nvCxnSpPr>
        <p:spPr>
          <a:xfrm>
            <a:off x="5202442" y="5171582"/>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4" name="Text Placeholder 20">
            <a:extLst>
              <a:ext uri="{FF2B5EF4-FFF2-40B4-BE49-F238E27FC236}">
                <a16:creationId xmlns:a16="http://schemas.microsoft.com/office/drawing/2014/main" id="{9BC348A1-0F4B-D748-9427-6CDF7D128789}"/>
              </a:ext>
            </a:extLst>
          </p:cNvPr>
          <p:cNvSpPr>
            <a:spLocks noGrp="1"/>
          </p:cNvSpPr>
          <p:nvPr>
            <p:ph type="body" sz="quarter" idx="42" hasCustomPrompt="1"/>
          </p:nvPr>
        </p:nvSpPr>
        <p:spPr>
          <a:xfrm>
            <a:off x="5283725" y="5176719"/>
            <a:ext cx="2187470"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85" name="Oval 84">
            <a:extLst>
              <a:ext uri="{FF2B5EF4-FFF2-40B4-BE49-F238E27FC236}">
                <a16:creationId xmlns:a16="http://schemas.microsoft.com/office/drawing/2014/main" id="{FC72BBE4-8608-3B46-AA33-6446773A0E7F}"/>
              </a:ext>
            </a:extLst>
          </p:cNvPr>
          <p:cNvSpPr/>
          <p:nvPr userDrawn="1"/>
        </p:nvSpPr>
        <p:spPr>
          <a:xfrm>
            <a:off x="4527293" y="5303447"/>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6" name="Straight Connector 85">
            <a:extLst>
              <a:ext uri="{FF2B5EF4-FFF2-40B4-BE49-F238E27FC236}">
                <a16:creationId xmlns:a16="http://schemas.microsoft.com/office/drawing/2014/main" id="{8C948146-17FD-DB4A-846E-F51BA988AE33}"/>
              </a:ext>
            </a:extLst>
          </p:cNvPr>
          <p:cNvCxnSpPr>
            <a:cxnSpLocks/>
          </p:cNvCxnSpPr>
          <p:nvPr userDrawn="1"/>
        </p:nvCxnSpPr>
        <p:spPr>
          <a:xfrm>
            <a:off x="9035840" y="5171582"/>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7" name="Text Placeholder 20">
            <a:extLst>
              <a:ext uri="{FF2B5EF4-FFF2-40B4-BE49-F238E27FC236}">
                <a16:creationId xmlns:a16="http://schemas.microsoft.com/office/drawing/2014/main" id="{75BDE792-8516-F140-98B5-E6555694FF9F}"/>
              </a:ext>
            </a:extLst>
          </p:cNvPr>
          <p:cNvSpPr>
            <a:spLocks noGrp="1"/>
          </p:cNvSpPr>
          <p:nvPr>
            <p:ph type="body" sz="quarter" idx="43" hasCustomPrompt="1"/>
          </p:nvPr>
        </p:nvSpPr>
        <p:spPr>
          <a:xfrm>
            <a:off x="9117123" y="5176719"/>
            <a:ext cx="219359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88" name="Oval 87">
            <a:extLst>
              <a:ext uri="{FF2B5EF4-FFF2-40B4-BE49-F238E27FC236}">
                <a16:creationId xmlns:a16="http://schemas.microsoft.com/office/drawing/2014/main" id="{DDDC840E-AD4E-2B46-B591-42777DAB80FF}"/>
              </a:ext>
            </a:extLst>
          </p:cNvPr>
          <p:cNvSpPr/>
          <p:nvPr userDrawn="1"/>
        </p:nvSpPr>
        <p:spPr>
          <a:xfrm>
            <a:off x="8360691" y="5303447"/>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Title 1">
            <a:extLst>
              <a:ext uri="{FF2B5EF4-FFF2-40B4-BE49-F238E27FC236}">
                <a16:creationId xmlns:a16="http://schemas.microsoft.com/office/drawing/2014/main" id="{F69BD680-0AAD-24E2-CE88-7D26D6861A10}"/>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50" name="Bilde 3">
            <a:extLst>
              <a:ext uri="{FF2B5EF4-FFF2-40B4-BE49-F238E27FC236}">
                <a16:creationId xmlns:a16="http://schemas.microsoft.com/office/drawing/2014/main" id="{2DE1B364-CE7B-11B5-BC6E-1FAF7873E55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51" name="Date Placeholder 2">
            <a:extLst>
              <a:ext uri="{FF2B5EF4-FFF2-40B4-BE49-F238E27FC236}">
                <a16:creationId xmlns:a16="http://schemas.microsoft.com/office/drawing/2014/main" id="{90471FF1-65DE-B018-6763-A20C8F2B0096}"/>
              </a:ext>
            </a:extLst>
          </p:cNvPr>
          <p:cNvSpPr>
            <a:spLocks noGrp="1"/>
          </p:cNvSpPr>
          <p:nvPr>
            <p:ph type="dt" sz="half" idx="16"/>
          </p:nvPr>
        </p:nvSpPr>
        <p:spPr>
          <a:xfrm>
            <a:off x="2303627" y="6492875"/>
            <a:ext cx="528585" cy="365125"/>
          </a:xfrm>
        </p:spPr>
        <p:txBody>
          <a:bodyPr/>
          <a:lstStyle/>
          <a:p>
            <a:fld id="{A01264BF-3F18-B246-BA42-8D6F9FEDE9CF}" type="datetime1">
              <a:rPr lang="nb-NO" smtClean="0"/>
              <a:t>20.08.2024</a:t>
            </a:fld>
            <a:endParaRPr lang="en-US"/>
          </a:p>
        </p:txBody>
      </p:sp>
      <p:sp>
        <p:nvSpPr>
          <p:cNvPr id="52" name="Footer Placeholder 3">
            <a:extLst>
              <a:ext uri="{FF2B5EF4-FFF2-40B4-BE49-F238E27FC236}">
                <a16:creationId xmlns:a16="http://schemas.microsoft.com/office/drawing/2014/main" id="{9EEC813E-A40F-C063-108A-6633715C3EF6}"/>
              </a:ext>
            </a:extLst>
          </p:cNvPr>
          <p:cNvSpPr>
            <a:spLocks noGrp="1"/>
          </p:cNvSpPr>
          <p:nvPr>
            <p:ph type="ftr" sz="quarter" idx="17"/>
          </p:nvPr>
        </p:nvSpPr>
        <p:spPr>
          <a:xfrm>
            <a:off x="175116" y="6492875"/>
            <a:ext cx="2107096" cy="365125"/>
          </a:xfrm>
        </p:spPr>
        <p:txBody>
          <a:bodyPr/>
          <a:lstStyle/>
          <a:p>
            <a:r>
              <a:rPr lang="en-US"/>
              <a:t>© StrongPoint 2022</a:t>
            </a:r>
          </a:p>
        </p:txBody>
      </p:sp>
      <p:sp>
        <p:nvSpPr>
          <p:cNvPr id="59" name="Slide Number Placeholder 4">
            <a:extLst>
              <a:ext uri="{FF2B5EF4-FFF2-40B4-BE49-F238E27FC236}">
                <a16:creationId xmlns:a16="http://schemas.microsoft.com/office/drawing/2014/main" id="{9DAA2385-A5B6-C08D-177C-2EC33650DD5F}"/>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758248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6_Custom Layout">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C7B5656-DA3F-9847-9792-691229FFB730}"/>
              </a:ext>
            </a:extLst>
          </p:cNvPr>
          <p:cNvSpPr/>
          <p:nvPr userDrawn="1"/>
        </p:nvSpPr>
        <p:spPr>
          <a:xfrm>
            <a:off x="1081661" y="1477481"/>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1108209" y="2551410"/>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213240" y="1625928"/>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225116" y="2556547"/>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58" name="Straight Connector 57">
            <a:extLst>
              <a:ext uri="{FF2B5EF4-FFF2-40B4-BE49-F238E27FC236}">
                <a16:creationId xmlns:a16="http://schemas.microsoft.com/office/drawing/2014/main" id="{14D0E40A-826D-D447-875C-24BB261305E6}"/>
              </a:ext>
            </a:extLst>
          </p:cNvPr>
          <p:cNvCxnSpPr>
            <a:cxnSpLocks/>
          </p:cNvCxnSpPr>
          <p:nvPr userDrawn="1"/>
        </p:nvCxnSpPr>
        <p:spPr>
          <a:xfrm>
            <a:off x="1108209" y="3480898"/>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Text Placeholder 20">
            <a:extLst>
              <a:ext uri="{FF2B5EF4-FFF2-40B4-BE49-F238E27FC236}">
                <a16:creationId xmlns:a16="http://schemas.microsoft.com/office/drawing/2014/main" id="{8F334DBA-DB16-D64B-BA18-F61C21BB3599}"/>
              </a:ext>
            </a:extLst>
          </p:cNvPr>
          <p:cNvSpPr>
            <a:spLocks noGrp="1"/>
          </p:cNvSpPr>
          <p:nvPr>
            <p:ph type="body" sz="quarter" idx="35" hasCustomPrompt="1"/>
          </p:nvPr>
        </p:nvSpPr>
        <p:spPr>
          <a:xfrm>
            <a:off x="1225116" y="3486035"/>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71" name="Straight Connector 70">
            <a:extLst>
              <a:ext uri="{FF2B5EF4-FFF2-40B4-BE49-F238E27FC236}">
                <a16:creationId xmlns:a16="http://schemas.microsoft.com/office/drawing/2014/main" id="{9B854D38-8E94-2945-A6F3-1F4A80FB0143}"/>
              </a:ext>
            </a:extLst>
          </p:cNvPr>
          <p:cNvCxnSpPr>
            <a:cxnSpLocks/>
          </p:cNvCxnSpPr>
          <p:nvPr userDrawn="1"/>
        </p:nvCxnSpPr>
        <p:spPr>
          <a:xfrm>
            <a:off x="1108209" y="4405581"/>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Text Placeholder 20">
            <a:extLst>
              <a:ext uri="{FF2B5EF4-FFF2-40B4-BE49-F238E27FC236}">
                <a16:creationId xmlns:a16="http://schemas.microsoft.com/office/drawing/2014/main" id="{B03FB43F-DE17-034A-AD6E-863D0BF0C97A}"/>
              </a:ext>
            </a:extLst>
          </p:cNvPr>
          <p:cNvSpPr>
            <a:spLocks noGrp="1"/>
          </p:cNvSpPr>
          <p:nvPr>
            <p:ph type="body" sz="quarter" idx="38" hasCustomPrompt="1"/>
          </p:nvPr>
        </p:nvSpPr>
        <p:spPr>
          <a:xfrm>
            <a:off x="1225116" y="4410718"/>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80" name="Straight Connector 79">
            <a:extLst>
              <a:ext uri="{FF2B5EF4-FFF2-40B4-BE49-F238E27FC236}">
                <a16:creationId xmlns:a16="http://schemas.microsoft.com/office/drawing/2014/main" id="{AFAC971E-6FED-A84A-AFF8-7D2BBE235176}"/>
              </a:ext>
            </a:extLst>
          </p:cNvPr>
          <p:cNvCxnSpPr>
            <a:cxnSpLocks/>
          </p:cNvCxnSpPr>
          <p:nvPr userDrawn="1"/>
        </p:nvCxnSpPr>
        <p:spPr>
          <a:xfrm>
            <a:off x="1108209" y="534766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1" name="Text Placeholder 20">
            <a:extLst>
              <a:ext uri="{FF2B5EF4-FFF2-40B4-BE49-F238E27FC236}">
                <a16:creationId xmlns:a16="http://schemas.microsoft.com/office/drawing/2014/main" id="{60FC510F-AB34-924E-942D-935C38146DE6}"/>
              </a:ext>
            </a:extLst>
          </p:cNvPr>
          <p:cNvSpPr>
            <a:spLocks noGrp="1"/>
          </p:cNvSpPr>
          <p:nvPr>
            <p:ph type="body" sz="quarter" idx="41" hasCustomPrompt="1"/>
          </p:nvPr>
        </p:nvSpPr>
        <p:spPr>
          <a:xfrm>
            <a:off x="1225116" y="535280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 name="TextBox 2">
            <a:extLst>
              <a:ext uri="{FF2B5EF4-FFF2-40B4-BE49-F238E27FC236}">
                <a16:creationId xmlns:a16="http://schemas.microsoft.com/office/drawing/2014/main" id="{F3A29A19-CBAD-DB4D-A8E8-E75B17885703}"/>
              </a:ext>
            </a:extLst>
          </p:cNvPr>
          <p:cNvSpPr txBox="1"/>
          <p:nvPr userDrawn="1"/>
        </p:nvSpPr>
        <p:spPr>
          <a:xfrm>
            <a:off x="665830" y="1665452"/>
            <a:ext cx="559286" cy="523220"/>
          </a:xfrm>
          <a:prstGeom prst="rect">
            <a:avLst/>
          </a:prstGeom>
        </p:spPr>
        <p:txBody>
          <a:bodyPr wrap="square" rtlCol="0">
            <a:spAutoFit/>
          </a:bodyPr>
          <a:lstStyle/>
          <a:p>
            <a:r>
              <a:rPr lang="en-GB" sz="2800" b="1" i="0">
                <a:solidFill>
                  <a:schemeClr val="accent1"/>
                </a:solidFill>
                <a:latin typeface="Helvetica" pitchFamily="2" charset="0"/>
              </a:rPr>
              <a:t>1</a:t>
            </a:r>
          </a:p>
        </p:txBody>
      </p:sp>
      <p:sp>
        <p:nvSpPr>
          <p:cNvPr id="51" name="Rectangle 50">
            <a:extLst>
              <a:ext uri="{FF2B5EF4-FFF2-40B4-BE49-F238E27FC236}">
                <a16:creationId xmlns:a16="http://schemas.microsoft.com/office/drawing/2014/main" id="{25FF2627-BFD7-7245-8BBD-EF14EE38529E}"/>
              </a:ext>
            </a:extLst>
          </p:cNvPr>
          <p:cNvSpPr/>
          <p:nvPr userDrawn="1"/>
        </p:nvSpPr>
        <p:spPr>
          <a:xfrm>
            <a:off x="4721017" y="1477481"/>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a16="http://schemas.microsoft.com/office/drawing/2014/main" id="{9D94247F-1687-1C46-BCBA-B35359725D0B}"/>
              </a:ext>
            </a:extLst>
          </p:cNvPr>
          <p:cNvCxnSpPr>
            <a:cxnSpLocks/>
          </p:cNvCxnSpPr>
          <p:nvPr userDrawn="1"/>
        </p:nvCxnSpPr>
        <p:spPr>
          <a:xfrm>
            <a:off x="4747565" y="2551410"/>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9" name="Text Placeholder 20">
            <a:extLst>
              <a:ext uri="{FF2B5EF4-FFF2-40B4-BE49-F238E27FC236}">
                <a16:creationId xmlns:a16="http://schemas.microsoft.com/office/drawing/2014/main" id="{DF30A173-A5B6-1947-B430-0C6C140A1F01}"/>
              </a:ext>
            </a:extLst>
          </p:cNvPr>
          <p:cNvSpPr>
            <a:spLocks noGrp="1"/>
          </p:cNvSpPr>
          <p:nvPr>
            <p:ph type="body" sz="quarter" idx="42" hasCustomPrompt="1"/>
          </p:nvPr>
        </p:nvSpPr>
        <p:spPr>
          <a:xfrm>
            <a:off x="4852596" y="1625928"/>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60" name="Text Placeholder 20">
            <a:extLst>
              <a:ext uri="{FF2B5EF4-FFF2-40B4-BE49-F238E27FC236}">
                <a16:creationId xmlns:a16="http://schemas.microsoft.com/office/drawing/2014/main" id="{5B1BD81B-610E-C040-9E12-9890AAD2A079}"/>
              </a:ext>
            </a:extLst>
          </p:cNvPr>
          <p:cNvSpPr>
            <a:spLocks noGrp="1"/>
          </p:cNvSpPr>
          <p:nvPr>
            <p:ph type="body" sz="quarter" idx="43" hasCustomPrompt="1"/>
          </p:nvPr>
        </p:nvSpPr>
        <p:spPr>
          <a:xfrm>
            <a:off x="4864472" y="2556547"/>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61" name="Straight Connector 60">
            <a:extLst>
              <a:ext uri="{FF2B5EF4-FFF2-40B4-BE49-F238E27FC236}">
                <a16:creationId xmlns:a16="http://schemas.microsoft.com/office/drawing/2014/main" id="{2FF13610-5A03-124C-A6D3-AA5918F132C9}"/>
              </a:ext>
            </a:extLst>
          </p:cNvPr>
          <p:cNvCxnSpPr>
            <a:cxnSpLocks/>
          </p:cNvCxnSpPr>
          <p:nvPr userDrawn="1"/>
        </p:nvCxnSpPr>
        <p:spPr>
          <a:xfrm>
            <a:off x="4747565" y="3480898"/>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2" name="Text Placeholder 20">
            <a:extLst>
              <a:ext uri="{FF2B5EF4-FFF2-40B4-BE49-F238E27FC236}">
                <a16:creationId xmlns:a16="http://schemas.microsoft.com/office/drawing/2014/main" id="{CA1B7917-580E-9844-8A05-6C5610890CE7}"/>
              </a:ext>
            </a:extLst>
          </p:cNvPr>
          <p:cNvSpPr>
            <a:spLocks noGrp="1"/>
          </p:cNvSpPr>
          <p:nvPr>
            <p:ph type="body" sz="quarter" idx="44" hasCustomPrompt="1"/>
          </p:nvPr>
        </p:nvSpPr>
        <p:spPr>
          <a:xfrm>
            <a:off x="4864472" y="3486035"/>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89" name="Straight Connector 88">
            <a:extLst>
              <a:ext uri="{FF2B5EF4-FFF2-40B4-BE49-F238E27FC236}">
                <a16:creationId xmlns:a16="http://schemas.microsoft.com/office/drawing/2014/main" id="{E2BF938D-CBAC-4B44-9556-DF0C3CA4DF8F}"/>
              </a:ext>
            </a:extLst>
          </p:cNvPr>
          <p:cNvCxnSpPr>
            <a:cxnSpLocks/>
          </p:cNvCxnSpPr>
          <p:nvPr userDrawn="1"/>
        </p:nvCxnSpPr>
        <p:spPr>
          <a:xfrm>
            <a:off x="4747565" y="4405581"/>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0" name="Text Placeholder 20">
            <a:extLst>
              <a:ext uri="{FF2B5EF4-FFF2-40B4-BE49-F238E27FC236}">
                <a16:creationId xmlns:a16="http://schemas.microsoft.com/office/drawing/2014/main" id="{4603BFF9-BFF5-6841-9F55-9A442D528BCD}"/>
              </a:ext>
            </a:extLst>
          </p:cNvPr>
          <p:cNvSpPr>
            <a:spLocks noGrp="1"/>
          </p:cNvSpPr>
          <p:nvPr>
            <p:ph type="body" sz="quarter" idx="45" hasCustomPrompt="1"/>
          </p:nvPr>
        </p:nvSpPr>
        <p:spPr>
          <a:xfrm>
            <a:off x="4864472" y="4410718"/>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91" name="Straight Connector 90">
            <a:extLst>
              <a:ext uri="{FF2B5EF4-FFF2-40B4-BE49-F238E27FC236}">
                <a16:creationId xmlns:a16="http://schemas.microsoft.com/office/drawing/2014/main" id="{9DC2EED5-BB61-9444-A911-2C32CB804CC5}"/>
              </a:ext>
            </a:extLst>
          </p:cNvPr>
          <p:cNvCxnSpPr>
            <a:cxnSpLocks/>
          </p:cNvCxnSpPr>
          <p:nvPr userDrawn="1"/>
        </p:nvCxnSpPr>
        <p:spPr>
          <a:xfrm>
            <a:off x="4747565" y="534766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2" name="Text Placeholder 20">
            <a:extLst>
              <a:ext uri="{FF2B5EF4-FFF2-40B4-BE49-F238E27FC236}">
                <a16:creationId xmlns:a16="http://schemas.microsoft.com/office/drawing/2014/main" id="{E7161696-114D-3C41-BE58-292DC3B4482B}"/>
              </a:ext>
            </a:extLst>
          </p:cNvPr>
          <p:cNvSpPr>
            <a:spLocks noGrp="1"/>
          </p:cNvSpPr>
          <p:nvPr>
            <p:ph type="body" sz="quarter" idx="46" hasCustomPrompt="1"/>
          </p:nvPr>
        </p:nvSpPr>
        <p:spPr>
          <a:xfrm>
            <a:off x="4864472" y="535280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93" name="TextBox 92">
            <a:extLst>
              <a:ext uri="{FF2B5EF4-FFF2-40B4-BE49-F238E27FC236}">
                <a16:creationId xmlns:a16="http://schemas.microsoft.com/office/drawing/2014/main" id="{CB751464-8A7F-FA49-856D-4334A4C81AF1}"/>
              </a:ext>
            </a:extLst>
          </p:cNvPr>
          <p:cNvSpPr txBox="1"/>
          <p:nvPr userDrawn="1"/>
        </p:nvSpPr>
        <p:spPr>
          <a:xfrm>
            <a:off x="4305186" y="1665452"/>
            <a:ext cx="559286" cy="523220"/>
          </a:xfrm>
          <a:prstGeom prst="rect">
            <a:avLst/>
          </a:prstGeom>
        </p:spPr>
        <p:txBody>
          <a:bodyPr wrap="square" rtlCol="0">
            <a:spAutoFit/>
          </a:bodyPr>
          <a:lstStyle/>
          <a:p>
            <a:r>
              <a:rPr lang="en-GB" sz="2800" b="1" i="0">
                <a:solidFill>
                  <a:schemeClr val="accent1"/>
                </a:solidFill>
                <a:latin typeface="Helvetica" pitchFamily="2" charset="0"/>
              </a:rPr>
              <a:t>2</a:t>
            </a:r>
          </a:p>
        </p:txBody>
      </p:sp>
      <p:sp>
        <p:nvSpPr>
          <p:cNvPr id="94" name="Rectangle 93">
            <a:extLst>
              <a:ext uri="{FF2B5EF4-FFF2-40B4-BE49-F238E27FC236}">
                <a16:creationId xmlns:a16="http://schemas.microsoft.com/office/drawing/2014/main" id="{EF0334F8-DBA7-D04B-8D45-8AECC5324BDE}"/>
              </a:ext>
            </a:extLst>
          </p:cNvPr>
          <p:cNvSpPr/>
          <p:nvPr userDrawn="1"/>
        </p:nvSpPr>
        <p:spPr>
          <a:xfrm>
            <a:off x="8307365" y="1471229"/>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Straight Connector 94">
            <a:extLst>
              <a:ext uri="{FF2B5EF4-FFF2-40B4-BE49-F238E27FC236}">
                <a16:creationId xmlns:a16="http://schemas.microsoft.com/office/drawing/2014/main" id="{3D13591D-6EC1-AB4F-9969-6302E362784E}"/>
              </a:ext>
            </a:extLst>
          </p:cNvPr>
          <p:cNvCxnSpPr>
            <a:cxnSpLocks/>
          </p:cNvCxnSpPr>
          <p:nvPr userDrawn="1"/>
        </p:nvCxnSpPr>
        <p:spPr>
          <a:xfrm>
            <a:off x="8333913" y="2545158"/>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6" name="Text Placeholder 20">
            <a:extLst>
              <a:ext uri="{FF2B5EF4-FFF2-40B4-BE49-F238E27FC236}">
                <a16:creationId xmlns:a16="http://schemas.microsoft.com/office/drawing/2014/main" id="{14BEE252-4639-114D-AFB0-243BBC85FDD9}"/>
              </a:ext>
            </a:extLst>
          </p:cNvPr>
          <p:cNvSpPr>
            <a:spLocks noGrp="1"/>
          </p:cNvSpPr>
          <p:nvPr>
            <p:ph type="body" sz="quarter" idx="47" hasCustomPrompt="1"/>
          </p:nvPr>
        </p:nvSpPr>
        <p:spPr>
          <a:xfrm>
            <a:off x="8438944" y="1619676"/>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97" name="Text Placeholder 20">
            <a:extLst>
              <a:ext uri="{FF2B5EF4-FFF2-40B4-BE49-F238E27FC236}">
                <a16:creationId xmlns:a16="http://schemas.microsoft.com/office/drawing/2014/main" id="{FC6370E8-D75B-1844-A610-8287D1D8E14C}"/>
              </a:ext>
            </a:extLst>
          </p:cNvPr>
          <p:cNvSpPr>
            <a:spLocks noGrp="1"/>
          </p:cNvSpPr>
          <p:nvPr>
            <p:ph type="body" sz="quarter" idx="48" hasCustomPrompt="1"/>
          </p:nvPr>
        </p:nvSpPr>
        <p:spPr>
          <a:xfrm>
            <a:off x="8450820" y="2550295"/>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98" name="Straight Connector 97">
            <a:extLst>
              <a:ext uri="{FF2B5EF4-FFF2-40B4-BE49-F238E27FC236}">
                <a16:creationId xmlns:a16="http://schemas.microsoft.com/office/drawing/2014/main" id="{C0D779F3-6521-3942-8C9F-C999AF5DED7E}"/>
              </a:ext>
            </a:extLst>
          </p:cNvPr>
          <p:cNvCxnSpPr>
            <a:cxnSpLocks/>
          </p:cNvCxnSpPr>
          <p:nvPr userDrawn="1"/>
        </p:nvCxnSpPr>
        <p:spPr>
          <a:xfrm>
            <a:off x="8333913" y="3474646"/>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9" name="Text Placeholder 20">
            <a:extLst>
              <a:ext uri="{FF2B5EF4-FFF2-40B4-BE49-F238E27FC236}">
                <a16:creationId xmlns:a16="http://schemas.microsoft.com/office/drawing/2014/main" id="{C51B118D-026B-804A-A087-4B2F7080C4CB}"/>
              </a:ext>
            </a:extLst>
          </p:cNvPr>
          <p:cNvSpPr>
            <a:spLocks noGrp="1"/>
          </p:cNvSpPr>
          <p:nvPr>
            <p:ph type="body" sz="quarter" idx="49" hasCustomPrompt="1"/>
          </p:nvPr>
        </p:nvSpPr>
        <p:spPr>
          <a:xfrm>
            <a:off x="8450820" y="3479783"/>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100" name="Straight Connector 99">
            <a:extLst>
              <a:ext uri="{FF2B5EF4-FFF2-40B4-BE49-F238E27FC236}">
                <a16:creationId xmlns:a16="http://schemas.microsoft.com/office/drawing/2014/main" id="{9B8AEA03-D8B2-AF4D-8117-E6BB4A0DD32B}"/>
              </a:ext>
            </a:extLst>
          </p:cNvPr>
          <p:cNvCxnSpPr>
            <a:cxnSpLocks/>
          </p:cNvCxnSpPr>
          <p:nvPr userDrawn="1"/>
        </p:nvCxnSpPr>
        <p:spPr>
          <a:xfrm>
            <a:off x="8333913" y="4399329"/>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1" name="Text Placeholder 20">
            <a:extLst>
              <a:ext uri="{FF2B5EF4-FFF2-40B4-BE49-F238E27FC236}">
                <a16:creationId xmlns:a16="http://schemas.microsoft.com/office/drawing/2014/main" id="{BBEB6736-19B2-5B4F-8A4E-C0BDDEB6F0BD}"/>
              </a:ext>
            </a:extLst>
          </p:cNvPr>
          <p:cNvSpPr>
            <a:spLocks noGrp="1"/>
          </p:cNvSpPr>
          <p:nvPr>
            <p:ph type="body" sz="quarter" idx="50" hasCustomPrompt="1"/>
          </p:nvPr>
        </p:nvSpPr>
        <p:spPr>
          <a:xfrm>
            <a:off x="8450820" y="4404466"/>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102" name="Straight Connector 101">
            <a:extLst>
              <a:ext uri="{FF2B5EF4-FFF2-40B4-BE49-F238E27FC236}">
                <a16:creationId xmlns:a16="http://schemas.microsoft.com/office/drawing/2014/main" id="{4ABA2814-393E-934A-ABEB-748B137485D0}"/>
              </a:ext>
            </a:extLst>
          </p:cNvPr>
          <p:cNvCxnSpPr>
            <a:cxnSpLocks/>
          </p:cNvCxnSpPr>
          <p:nvPr userDrawn="1"/>
        </p:nvCxnSpPr>
        <p:spPr>
          <a:xfrm>
            <a:off x="8333913" y="534141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3" name="Text Placeholder 20">
            <a:extLst>
              <a:ext uri="{FF2B5EF4-FFF2-40B4-BE49-F238E27FC236}">
                <a16:creationId xmlns:a16="http://schemas.microsoft.com/office/drawing/2014/main" id="{DE66B957-6AB7-A74D-A611-8A2CBDFEF9E8}"/>
              </a:ext>
            </a:extLst>
          </p:cNvPr>
          <p:cNvSpPr>
            <a:spLocks noGrp="1"/>
          </p:cNvSpPr>
          <p:nvPr>
            <p:ph type="body" sz="quarter" idx="51" hasCustomPrompt="1"/>
          </p:nvPr>
        </p:nvSpPr>
        <p:spPr>
          <a:xfrm>
            <a:off x="8450820" y="5346552"/>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4" name="TextBox 103">
            <a:extLst>
              <a:ext uri="{FF2B5EF4-FFF2-40B4-BE49-F238E27FC236}">
                <a16:creationId xmlns:a16="http://schemas.microsoft.com/office/drawing/2014/main" id="{6969653A-6C2C-8147-ACCB-D4F972B28B3B}"/>
              </a:ext>
            </a:extLst>
          </p:cNvPr>
          <p:cNvSpPr txBox="1"/>
          <p:nvPr userDrawn="1"/>
        </p:nvSpPr>
        <p:spPr>
          <a:xfrm>
            <a:off x="7891534" y="1659200"/>
            <a:ext cx="559286" cy="523220"/>
          </a:xfrm>
          <a:prstGeom prst="rect">
            <a:avLst/>
          </a:prstGeom>
        </p:spPr>
        <p:txBody>
          <a:bodyPr wrap="square" rtlCol="0">
            <a:spAutoFit/>
          </a:bodyPr>
          <a:lstStyle/>
          <a:p>
            <a:r>
              <a:rPr lang="en-GB" sz="2800" b="1" i="0">
                <a:solidFill>
                  <a:schemeClr val="accent1"/>
                </a:solidFill>
                <a:latin typeface="Helvetica" pitchFamily="2" charset="0"/>
              </a:rPr>
              <a:t>3</a:t>
            </a:r>
          </a:p>
        </p:txBody>
      </p:sp>
      <p:sp>
        <p:nvSpPr>
          <p:cNvPr id="38" name="Title 1">
            <a:extLst>
              <a:ext uri="{FF2B5EF4-FFF2-40B4-BE49-F238E27FC236}">
                <a16:creationId xmlns:a16="http://schemas.microsoft.com/office/drawing/2014/main" id="{00D9EB27-355B-C0ED-84F3-A25252382F8B}"/>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41" name="Bilde 3">
            <a:extLst>
              <a:ext uri="{FF2B5EF4-FFF2-40B4-BE49-F238E27FC236}">
                <a16:creationId xmlns:a16="http://schemas.microsoft.com/office/drawing/2014/main" id="{802CD67E-099A-F1EE-76BF-B44552A10B5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42" name="Date Placeholder 2">
            <a:extLst>
              <a:ext uri="{FF2B5EF4-FFF2-40B4-BE49-F238E27FC236}">
                <a16:creationId xmlns:a16="http://schemas.microsoft.com/office/drawing/2014/main" id="{84CD0A1D-2D46-EBC0-78C1-A1B18A834B32}"/>
              </a:ext>
            </a:extLst>
          </p:cNvPr>
          <p:cNvSpPr>
            <a:spLocks noGrp="1"/>
          </p:cNvSpPr>
          <p:nvPr>
            <p:ph type="dt" sz="half" idx="16"/>
          </p:nvPr>
        </p:nvSpPr>
        <p:spPr>
          <a:xfrm>
            <a:off x="2303627" y="6492875"/>
            <a:ext cx="528585" cy="365125"/>
          </a:xfrm>
        </p:spPr>
        <p:txBody>
          <a:bodyPr/>
          <a:lstStyle/>
          <a:p>
            <a:fld id="{C24D4805-3197-EA47-BE41-1033F88DA6F0}" type="datetime1">
              <a:rPr lang="nb-NO" smtClean="0"/>
              <a:t>20.08.2024</a:t>
            </a:fld>
            <a:endParaRPr lang="en-US"/>
          </a:p>
        </p:txBody>
      </p:sp>
      <p:sp>
        <p:nvSpPr>
          <p:cNvPr id="43" name="Footer Placeholder 3">
            <a:extLst>
              <a:ext uri="{FF2B5EF4-FFF2-40B4-BE49-F238E27FC236}">
                <a16:creationId xmlns:a16="http://schemas.microsoft.com/office/drawing/2014/main" id="{D4DFBF39-7B4F-EE99-33C6-C72DB6B6A70F}"/>
              </a:ext>
            </a:extLst>
          </p:cNvPr>
          <p:cNvSpPr>
            <a:spLocks noGrp="1"/>
          </p:cNvSpPr>
          <p:nvPr>
            <p:ph type="ftr" sz="quarter" idx="17"/>
          </p:nvPr>
        </p:nvSpPr>
        <p:spPr>
          <a:xfrm>
            <a:off x="175116" y="6492875"/>
            <a:ext cx="2107096" cy="365125"/>
          </a:xfrm>
        </p:spPr>
        <p:txBody>
          <a:bodyPr/>
          <a:lstStyle/>
          <a:p>
            <a:r>
              <a:rPr lang="en-US"/>
              <a:t>© StrongPoint 2022</a:t>
            </a:r>
          </a:p>
        </p:txBody>
      </p:sp>
      <p:sp>
        <p:nvSpPr>
          <p:cNvPr id="46" name="Slide Number Placeholder 4">
            <a:extLst>
              <a:ext uri="{FF2B5EF4-FFF2-40B4-BE49-F238E27FC236}">
                <a16:creationId xmlns:a16="http://schemas.microsoft.com/office/drawing/2014/main" id="{12EDDAFD-A3D0-210E-E712-1CBB4917AF1E}"/>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40520697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7_Custom Layout">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C7B5656-DA3F-9847-9792-691229FFB730}"/>
              </a:ext>
            </a:extLst>
          </p:cNvPr>
          <p:cNvSpPr/>
          <p:nvPr userDrawn="1"/>
        </p:nvSpPr>
        <p:spPr>
          <a:xfrm>
            <a:off x="1081661" y="1716020"/>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1108209" y="2789949"/>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213240" y="1864467"/>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225116" y="2795086"/>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58" name="Straight Connector 57">
            <a:extLst>
              <a:ext uri="{FF2B5EF4-FFF2-40B4-BE49-F238E27FC236}">
                <a16:creationId xmlns:a16="http://schemas.microsoft.com/office/drawing/2014/main" id="{14D0E40A-826D-D447-875C-24BB261305E6}"/>
              </a:ext>
            </a:extLst>
          </p:cNvPr>
          <p:cNvCxnSpPr>
            <a:cxnSpLocks/>
          </p:cNvCxnSpPr>
          <p:nvPr userDrawn="1"/>
        </p:nvCxnSpPr>
        <p:spPr>
          <a:xfrm>
            <a:off x="1108209" y="371943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Text Placeholder 20">
            <a:extLst>
              <a:ext uri="{FF2B5EF4-FFF2-40B4-BE49-F238E27FC236}">
                <a16:creationId xmlns:a16="http://schemas.microsoft.com/office/drawing/2014/main" id="{8F334DBA-DB16-D64B-BA18-F61C21BB3599}"/>
              </a:ext>
            </a:extLst>
          </p:cNvPr>
          <p:cNvSpPr>
            <a:spLocks noGrp="1"/>
          </p:cNvSpPr>
          <p:nvPr>
            <p:ph type="body" sz="quarter" idx="35" hasCustomPrompt="1"/>
          </p:nvPr>
        </p:nvSpPr>
        <p:spPr>
          <a:xfrm>
            <a:off x="1225116" y="372457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71" name="Straight Connector 70">
            <a:extLst>
              <a:ext uri="{FF2B5EF4-FFF2-40B4-BE49-F238E27FC236}">
                <a16:creationId xmlns:a16="http://schemas.microsoft.com/office/drawing/2014/main" id="{9B854D38-8E94-2945-A6F3-1F4A80FB0143}"/>
              </a:ext>
            </a:extLst>
          </p:cNvPr>
          <p:cNvCxnSpPr>
            <a:cxnSpLocks/>
          </p:cNvCxnSpPr>
          <p:nvPr userDrawn="1"/>
        </p:nvCxnSpPr>
        <p:spPr>
          <a:xfrm>
            <a:off x="1108209" y="4644120"/>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Text Placeholder 20">
            <a:extLst>
              <a:ext uri="{FF2B5EF4-FFF2-40B4-BE49-F238E27FC236}">
                <a16:creationId xmlns:a16="http://schemas.microsoft.com/office/drawing/2014/main" id="{B03FB43F-DE17-034A-AD6E-863D0BF0C97A}"/>
              </a:ext>
            </a:extLst>
          </p:cNvPr>
          <p:cNvSpPr>
            <a:spLocks noGrp="1"/>
          </p:cNvSpPr>
          <p:nvPr>
            <p:ph type="body" sz="quarter" idx="38" hasCustomPrompt="1"/>
          </p:nvPr>
        </p:nvSpPr>
        <p:spPr>
          <a:xfrm>
            <a:off x="1225116" y="4649257"/>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 name="TextBox 2">
            <a:extLst>
              <a:ext uri="{FF2B5EF4-FFF2-40B4-BE49-F238E27FC236}">
                <a16:creationId xmlns:a16="http://schemas.microsoft.com/office/drawing/2014/main" id="{F3A29A19-CBAD-DB4D-A8E8-E75B17885703}"/>
              </a:ext>
            </a:extLst>
          </p:cNvPr>
          <p:cNvSpPr txBox="1"/>
          <p:nvPr userDrawn="1"/>
        </p:nvSpPr>
        <p:spPr>
          <a:xfrm>
            <a:off x="665830" y="1903991"/>
            <a:ext cx="559286" cy="523220"/>
          </a:xfrm>
          <a:prstGeom prst="rect">
            <a:avLst/>
          </a:prstGeom>
        </p:spPr>
        <p:txBody>
          <a:bodyPr wrap="square" rtlCol="0">
            <a:spAutoFit/>
          </a:bodyPr>
          <a:lstStyle/>
          <a:p>
            <a:r>
              <a:rPr lang="en-GB" sz="2800" b="1" i="0">
                <a:solidFill>
                  <a:schemeClr val="accent1"/>
                </a:solidFill>
                <a:latin typeface="Helvetica" pitchFamily="2" charset="0"/>
              </a:rPr>
              <a:t>1</a:t>
            </a:r>
          </a:p>
        </p:txBody>
      </p:sp>
      <p:sp>
        <p:nvSpPr>
          <p:cNvPr id="51" name="Rectangle 50">
            <a:extLst>
              <a:ext uri="{FF2B5EF4-FFF2-40B4-BE49-F238E27FC236}">
                <a16:creationId xmlns:a16="http://schemas.microsoft.com/office/drawing/2014/main" id="{25FF2627-BFD7-7245-8BBD-EF14EE38529E}"/>
              </a:ext>
            </a:extLst>
          </p:cNvPr>
          <p:cNvSpPr/>
          <p:nvPr userDrawn="1"/>
        </p:nvSpPr>
        <p:spPr>
          <a:xfrm>
            <a:off x="4721017" y="1716020"/>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a16="http://schemas.microsoft.com/office/drawing/2014/main" id="{9D94247F-1687-1C46-BCBA-B35359725D0B}"/>
              </a:ext>
            </a:extLst>
          </p:cNvPr>
          <p:cNvCxnSpPr>
            <a:cxnSpLocks/>
          </p:cNvCxnSpPr>
          <p:nvPr userDrawn="1"/>
        </p:nvCxnSpPr>
        <p:spPr>
          <a:xfrm>
            <a:off x="4747565" y="2789949"/>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9" name="Text Placeholder 20">
            <a:extLst>
              <a:ext uri="{FF2B5EF4-FFF2-40B4-BE49-F238E27FC236}">
                <a16:creationId xmlns:a16="http://schemas.microsoft.com/office/drawing/2014/main" id="{DF30A173-A5B6-1947-B430-0C6C140A1F01}"/>
              </a:ext>
            </a:extLst>
          </p:cNvPr>
          <p:cNvSpPr>
            <a:spLocks noGrp="1"/>
          </p:cNvSpPr>
          <p:nvPr>
            <p:ph type="body" sz="quarter" idx="42" hasCustomPrompt="1"/>
          </p:nvPr>
        </p:nvSpPr>
        <p:spPr>
          <a:xfrm>
            <a:off x="4852596" y="1864467"/>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60" name="Text Placeholder 20">
            <a:extLst>
              <a:ext uri="{FF2B5EF4-FFF2-40B4-BE49-F238E27FC236}">
                <a16:creationId xmlns:a16="http://schemas.microsoft.com/office/drawing/2014/main" id="{5B1BD81B-610E-C040-9E12-9890AAD2A079}"/>
              </a:ext>
            </a:extLst>
          </p:cNvPr>
          <p:cNvSpPr>
            <a:spLocks noGrp="1"/>
          </p:cNvSpPr>
          <p:nvPr>
            <p:ph type="body" sz="quarter" idx="43" hasCustomPrompt="1"/>
          </p:nvPr>
        </p:nvSpPr>
        <p:spPr>
          <a:xfrm>
            <a:off x="4864472" y="2795086"/>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61" name="Straight Connector 60">
            <a:extLst>
              <a:ext uri="{FF2B5EF4-FFF2-40B4-BE49-F238E27FC236}">
                <a16:creationId xmlns:a16="http://schemas.microsoft.com/office/drawing/2014/main" id="{2FF13610-5A03-124C-A6D3-AA5918F132C9}"/>
              </a:ext>
            </a:extLst>
          </p:cNvPr>
          <p:cNvCxnSpPr>
            <a:cxnSpLocks/>
          </p:cNvCxnSpPr>
          <p:nvPr userDrawn="1"/>
        </p:nvCxnSpPr>
        <p:spPr>
          <a:xfrm>
            <a:off x="4747565" y="371943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2" name="Text Placeholder 20">
            <a:extLst>
              <a:ext uri="{FF2B5EF4-FFF2-40B4-BE49-F238E27FC236}">
                <a16:creationId xmlns:a16="http://schemas.microsoft.com/office/drawing/2014/main" id="{CA1B7917-580E-9844-8A05-6C5610890CE7}"/>
              </a:ext>
            </a:extLst>
          </p:cNvPr>
          <p:cNvSpPr>
            <a:spLocks noGrp="1"/>
          </p:cNvSpPr>
          <p:nvPr>
            <p:ph type="body" sz="quarter" idx="44" hasCustomPrompt="1"/>
          </p:nvPr>
        </p:nvSpPr>
        <p:spPr>
          <a:xfrm>
            <a:off x="4864472" y="372457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89" name="Straight Connector 88">
            <a:extLst>
              <a:ext uri="{FF2B5EF4-FFF2-40B4-BE49-F238E27FC236}">
                <a16:creationId xmlns:a16="http://schemas.microsoft.com/office/drawing/2014/main" id="{E2BF938D-CBAC-4B44-9556-DF0C3CA4DF8F}"/>
              </a:ext>
            </a:extLst>
          </p:cNvPr>
          <p:cNvCxnSpPr>
            <a:cxnSpLocks/>
          </p:cNvCxnSpPr>
          <p:nvPr userDrawn="1"/>
        </p:nvCxnSpPr>
        <p:spPr>
          <a:xfrm>
            <a:off x="4747565" y="4644120"/>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0" name="Text Placeholder 20">
            <a:extLst>
              <a:ext uri="{FF2B5EF4-FFF2-40B4-BE49-F238E27FC236}">
                <a16:creationId xmlns:a16="http://schemas.microsoft.com/office/drawing/2014/main" id="{4603BFF9-BFF5-6841-9F55-9A442D528BCD}"/>
              </a:ext>
            </a:extLst>
          </p:cNvPr>
          <p:cNvSpPr>
            <a:spLocks noGrp="1"/>
          </p:cNvSpPr>
          <p:nvPr>
            <p:ph type="body" sz="quarter" idx="45" hasCustomPrompt="1"/>
          </p:nvPr>
        </p:nvSpPr>
        <p:spPr>
          <a:xfrm>
            <a:off x="4864472" y="4649257"/>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93" name="TextBox 92">
            <a:extLst>
              <a:ext uri="{FF2B5EF4-FFF2-40B4-BE49-F238E27FC236}">
                <a16:creationId xmlns:a16="http://schemas.microsoft.com/office/drawing/2014/main" id="{CB751464-8A7F-FA49-856D-4334A4C81AF1}"/>
              </a:ext>
            </a:extLst>
          </p:cNvPr>
          <p:cNvSpPr txBox="1"/>
          <p:nvPr userDrawn="1"/>
        </p:nvSpPr>
        <p:spPr>
          <a:xfrm>
            <a:off x="4305186" y="1903991"/>
            <a:ext cx="559286" cy="523220"/>
          </a:xfrm>
          <a:prstGeom prst="rect">
            <a:avLst/>
          </a:prstGeom>
        </p:spPr>
        <p:txBody>
          <a:bodyPr wrap="square" rtlCol="0">
            <a:spAutoFit/>
          </a:bodyPr>
          <a:lstStyle/>
          <a:p>
            <a:r>
              <a:rPr lang="en-GB" sz="2800" b="1" i="0">
                <a:solidFill>
                  <a:schemeClr val="accent1"/>
                </a:solidFill>
                <a:latin typeface="Helvetica" pitchFamily="2" charset="0"/>
              </a:rPr>
              <a:t>2</a:t>
            </a:r>
          </a:p>
        </p:txBody>
      </p:sp>
      <p:sp>
        <p:nvSpPr>
          <p:cNvPr id="94" name="Rectangle 93">
            <a:extLst>
              <a:ext uri="{FF2B5EF4-FFF2-40B4-BE49-F238E27FC236}">
                <a16:creationId xmlns:a16="http://schemas.microsoft.com/office/drawing/2014/main" id="{EF0334F8-DBA7-D04B-8D45-8AECC5324BDE}"/>
              </a:ext>
            </a:extLst>
          </p:cNvPr>
          <p:cNvSpPr/>
          <p:nvPr userDrawn="1"/>
        </p:nvSpPr>
        <p:spPr>
          <a:xfrm>
            <a:off x="8307365" y="1709768"/>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Straight Connector 94">
            <a:extLst>
              <a:ext uri="{FF2B5EF4-FFF2-40B4-BE49-F238E27FC236}">
                <a16:creationId xmlns:a16="http://schemas.microsoft.com/office/drawing/2014/main" id="{3D13591D-6EC1-AB4F-9969-6302E362784E}"/>
              </a:ext>
            </a:extLst>
          </p:cNvPr>
          <p:cNvCxnSpPr>
            <a:cxnSpLocks/>
          </p:cNvCxnSpPr>
          <p:nvPr userDrawn="1"/>
        </p:nvCxnSpPr>
        <p:spPr>
          <a:xfrm>
            <a:off x="8333913" y="278369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6" name="Text Placeholder 20">
            <a:extLst>
              <a:ext uri="{FF2B5EF4-FFF2-40B4-BE49-F238E27FC236}">
                <a16:creationId xmlns:a16="http://schemas.microsoft.com/office/drawing/2014/main" id="{14BEE252-4639-114D-AFB0-243BBC85FDD9}"/>
              </a:ext>
            </a:extLst>
          </p:cNvPr>
          <p:cNvSpPr>
            <a:spLocks noGrp="1"/>
          </p:cNvSpPr>
          <p:nvPr>
            <p:ph type="body" sz="quarter" idx="47" hasCustomPrompt="1"/>
          </p:nvPr>
        </p:nvSpPr>
        <p:spPr>
          <a:xfrm>
            <a:off x="8438944" y="1858215"/>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97" name="Text Placeholder 20">
            <a:extLst>
              <a:ext uri="{FF2B5EF4-FFF2-40B4-BE49-F238E27FC236}">
                <a16:creationId xmlns:a16="http://schemas.microsoft.com/office/drawing/2014/main" id="{FC6370E8-D75B-1844-A610-8287D1D8E14C}"/>
              </a:ext>
            </a:extLst>
          </p:cNvPr>
          <p:cNvSpPr>
            <a:spLocks noGrp="1"/>
          </p:cNvSpPr>
          <p:nvPr>
            <p:ph type="body" sz="quarter" idx="48" hasCustomPrompt="1"/>
          </p:nvPr>
        </p:nvSpPr>
        <p:spPr>
          <a:xfrm>
            <a:off x="8450820" y="278883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98" name="Straight Connector 97">
            <a:extLst>
              <a:ext uri="{FF2B5EF4-FFF2-40B4-BE49-F238E27FC236}">
                <a16:creationId xmlns:a16="http://schemas.microsoft.com/office/drawing/2014/main" id="{C0D779F3-6521-3942-8C9F-C999AF5DED7E}"/>
              </a:ext>
            </a:extLst>
          </p:cNvPr>
          <p:cNvCxnSpPr>
            <a:cxnSpLocks/>
          </p:cNvCxnSpPr>
          <p:nvPr userDrawn="1"/>
        </p:nvCxnSpPr>
        <p:spPr>
          <a:xfrm>
            <a:off x="8333913" y="371318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9" name="Text Placeholder 20">
            <a:extLst>
              <a:ext uri="{FF2B5EF4-FFF2-40B4-BE49-F238E27FC236}">
                <a16:creationId xmlns:a16="http://schemas.microsoft.com/office/drawing/2014/main" id="{C51B118D-026B-804A-A087-4B2F7080C4CB}"/>
              </a:ext>
            </a:extLst>
          </p:cNvPr>
          <p:cNvSpPr>
            <a:spLocks noGrp="1"/>
          </p:cNvSpPr>
          <p:nvPr>
            <p:ph type="body" sz="quarter" idx="49" hasCustomPrompt="1"/>
          </p:nvPr>
        </p:nvSpPr>
        <p:spPr>
          <a:xfrm>
            <a:off x="8450820" y="3718322"/>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100" name="Straight Connector 99">
            <a:extLst>
              <a:ext uri="{FF2B5EF4-FFF2-40B4-BE49-F238E27FC236}">
                <a16:creationId xmlns:a16="http://schemas.microsoft.com/office/drawing/2014/main" id="{9B8AEA03-D8B2-AF4D-8117-E6BB4A0DD32B}"/>
              </a:ext>
            </a:extLst>
          </p:cNvPr>
          <p:cNvCxnSpPr>
            <a:cxnSpLocks/>
          </p:cNvCxnSpPr>
          <p:nvPr userDrawn="1"/>
        </p:nvCxnSpPr>
        <p:spPr>
          <a:xfrm>
            <a:off x="8333913" y="4637868"/>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1" name="Text Placeholder 20">
            <a:extLst>
              <a:ext uri="{FF2B5EF4-FFF2-40B4-BE49-F238E27FC236}">
                <a16:creationId xmlns:a16="http://schemas.microsoft.com/office/drawing/2014/main" id="{BBEB6736-19B2-5B4F-8A4E-C0BDDEB6F0BD}"/>
              </a:ext>
            </a:extLst>
          </p:cNvPr>
          <p:cNvSpPr>
            <a:spLocks noGrp="1"/>
          </p:cNvSpPr>
          <p:nvPr>
            <p:ph type="body" sz="quarter" idx="50" hasCustomPrompt="1"/>
          </p:nvPr>
        </p:nvSpPr>
        <p:spPr>
          <a:xfrm>
            <a:off x="8450820" y="4643005"/>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4" name="TextBox 103">
            <a:extLst>
              <a:ext uri="{FF2B5EF4-FFF2-40B4-BE49-F238E27FC236}">
                <a16:creationId xmlns:a16="http://schemas.microsoft.com/office/drawing/2014/main" id="{6969653A-6C2C-8147-ACCB-D4F972B28B3B}"/>
              </a:ext>
            </a:extLst>
          </p:cNvPr>
          <p:cNvSpPr txBox="1"/>
          <p:nvPr userDrawn="1"/>
        </p:nvSpPr>
        <p:spPr>
          <a:xfrm>
            <a:off x="7891534" y="1897739"/>
            <a:ext cx="559286" cy="523220"/>
          </a:xfrm>
          <a:prstGeom prst="rect">
            <a:avLst/>
          </a:prstGeom>
        </p:spPr>
        <p:txBody>
          <a:bodyPr wrap="square" rtlCol="0">
            <a:spAutoFit/>
          </a:bodyPr>
          <a:lstStyle/>
          <a:p>
            <a:r>
              <a:rPr lang="en-GB" sz="2800" b="1" i="0">
                <a:solidFill>
                  <a:schemeClr val="accent1"/>
                </a:solidFill>
                <a:latin typeface="Helvetica" pitchFamily="2" charset="0"/>
              </a:rPr>
              <a:t>3</a:t>
            </a:r>
          </a:p>
        </p:txBody>
      </p:sp>
      <p:sp>
        <p:nvSpPr>
          <p:cNvPr id="38" name="Title 1">
            <a:extLst>
              <a:ext uri="{FF2B5EF4-FFF2-40B4-BE49-F238E27FC236}">
                <a16:creationId xmlns:a16="http://schemas.microsoft.com/office/drawing/2014/main" id="{00D9EB27-355B-C0ED-84F3-A25252382F8B}"/>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35" name="Bilde 3">
            <a:extLst>
              <a:ext uri="{FF2B5EF4-FFF2-40B4-BE49-F238E27FC236}">
                <a16:creationId xmlns:a16="http://schemas.microsoft.com/office/drawing/2014/main" id="{FE2C0ED3-4F0D-76FE-4A81-DA2AEA5E0E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6" name="Date Placeholder 2">
            <a:extLst>
              <a:ext uri="{FF2B5EF4-FFF2-40B4-BE49-F238E27FC236}">
                <a16:creationId xmlns:a16="http://schemas.microsoft.com/office/drawing/2014/main" id="{5AC4A76A-0175-9E3F-9CDE-1DAD263CF72D}"/>
              </a:ext>
            </a:extLst>
          </p:cNvPr>
          <p:cNvSpPr>
            <a:spLocks noGrp="1"/>
          </p:cNvSpPr>
          <p:nvPr>
            <p:ph type="dt" sz="half" idx="16"/>
          </p:nvPr>
        </p:nvSpPr>
        <p:spPr>
          <a:xfrm>
            <a:off x="2303627" y="6492875"/>
            <a:ext cx="528585" cy="365125"/>
          </a:xfrm>
        </p:spPr>
        <p:txBody>
          <a:bodyPr/>
          <a:lstStyle/>
          <a:p>
            <a:fld id="{4E6AE35C-74D2-4E49-819B-5F1FE2A4568F}" type="datetime1">
              <a:rPr lang="nb-NO" smtClean="0"/>
              <a:t>20.08.2024</a:t>
            </a:fld>
            <a:endParaRPr lang="en-US"/>
          </a:p>
        </p:txBody>
      </p:sp>
      <p:sp>
        <p:nvSpPr>
          <p:cNvPr id="37" name="Footer Placeholder 3">
            <a:extLst>
              <a:ext uri="{FF2B5EF4-FFF2-40B4-BE49-F238E27FC236}">
                <a16:creationId xmlns:a16="http://schemas.microsoft.com/office/drawing/2014/main" id="{5E45CE91-9625-5A6C-8A2E-9C439162CFDF}"/>
              </a:ext>
            </a:extLst>
          </p:cNvPr>
          <p:cNvSpPr>
            <a:spLocks noGrp="1"/>
          </p:cNvSpPr>
          <p:nvPr>
            <p:ph type="ftr" sz="quarter" idx="17"/>
          </p:nvPr>
        </p:nvSpPr>
        <p:spPr>
          <a:xfrm>
            <a:off x="175116" y="6492875"/>
            <a:ext cx="2107096" cy="365125"/>
          </a:xfrm>
        </p:spPr>
        <p:txBody>
          <a:bodyPr/>
          <a:lstStyle/>
          <a:p>
            <a:r>
              <a:rPr lang="en-US"/>
              <a:t>© StrongPoint 2022</a:t>
            </a:r>
          </a:p>
        </p:txBody>
      </p:sp>
      <p:sp>
        <p:nvSpPr>
          <p:cNvPr id="39" name="Slide Number Placeholder 4">
            <a:extLst>
              <a:ext uri="{FF2B5EF4-FFF2-40B4-BE49-F238E27FC236}">
                <a16:creationId xmlns:a16="http://schemas.microsoft.com/office/drawing/2014/main" id="{5B2B34E3-8FF7-63CC-43BD-9FB1EDD01E08}"/>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3545517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8_Custom Layout">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C7B5656-DA3F-9847-9792-691229FFB730}"/>
              </a:ext>
            </a:extLst>
          </p:cNvPr>
          <p:cNvSpPr/>
          <p:nvPr userDrawn="1"/>
        </p:nvSpPr>
        <p:spPr>
          <a:xfrm>
            <a:off x="1081661" y="1716020"/>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213240" y="1864467"/>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225116" y="2795085"/>
            <a:ext cx="2916256" cy="2636015"/>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 name="TextBox 2">
            <a:extLst>
              <a:ext uri="{FF2B5EF4-FFF2-40B4-BE49-F238E27FC236}">
                <a16:creationId xmlns:a16="http://schemas.microsoft.com/office/drawing/2014/main" id="{F3A29A19-CBAD-DB4D-A8E8-E75B17885703}"/>
              </a:ext>
            </a:extLst>
          </p:cNvPr>
          <p:cNvSpPr txBox="1"/>
          <p:nvPr userDrawn="1"/>
        </p:nvSpPr>
        <p:spPr>
          <a:xfrm>
            <a:off x="665830" y="1903991"/>
            <a:ext cx="559286" cy="523220"/>
          </a:xfrm>
          <a:prstGeom prst="rect">
            <a:avLst/>
          </a:prstGeom>
        </p:spPr>
        <p:txBody>
          <a:bodyPr wrap="square" rtlCol="0">
            <a:spAutoFit/>
          </a:bodyPr>
          <a:lstStyle/>
          <a:p>
            <a:r>
              <a:rPr lang="en-GB" sz="2800" b="1" i="0">
                <a:solidFill>
                  <a:schemeClr val="accent1"/>
                </a:solidFill>
                <a:latin typeface="Helvetica" pitchFamily="2" charset="0"/>
              </a:rPr>
              <a:t>1</a:t>
            </a:r>
          </a:p>
        </p:txBody>
      </p:sp>
      <p:sp>
        <p:nvSpPr>
          <p:cNvPr id="51" name="Rectangle 50">
            <a:extLst>
              <a:ext uri="{FF2B5EF4-FFF2-40B4-BE49-F238E27FC236}">
                <a16:creationId xmlns:a16="http://schemas.microsoft.com/office/drawing/2014/main" id="{25FF2627-BFD7-7245-8BBD-EF14EE38529E}"/>
              </a:ext>
            </a:extLst>
          </p:cNvPr>
          <p:cNvSpPr/>
          <p:nvPr userDrawn="1"/>
        </p:nvSpPr>
        <p:spPr>
          <a:xfrm>
            <a:off x="4721017" y="1716020"/>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 Placeholder 20">
            <a:extLst>
              <a:ext uri="{FF2B5EF4-FFF2-40B4-BE49-F238E27FC236}">
                <a16:creationId xmlns:a16="http://schemas.microsoft.com/office/drawing/2014/main" id="{DF30A173-A5B6-1947-B430-0C6C140A1F01}"/>
              </a:ext>
            </a:extLst>
          </p:cNvPr>
          <p:cNvSpPr>
            <a:spLocks noGrp="1"/>
          </p:cNvSpPr>
          <p:nvPr>
            <p:ph type="body" sz="quarter" idx="42" hasCustomPrompt="1"/>
          </p:nvPr>
        </p:nvSpPr>
        <p:spPr>
          <a:xfrm>
            <a:off x="4852596" y="1864467"/>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60" name="Text Placeholder 20">
            <a:extLst>
              <a:ext uri="{FF2B5EF4-FFF2-40B4-BE49-F238E27FC236}">
                <a16:creationId xmlns:a16="http://schemas.microsoft.com/office/drawing/2014/main" id="{5B1BD81B-610E-C040-9E12-9890AAD2A079}"/>
              </a:ext>
            </a:extLst>
          </p:cNvPr>
          <p:cNvSpPr>
            <a:spLocks noGrp="1"/>
          </p:cNvSpPr>
          <p:nvPr>
            <p:ph type="body" sz="quarter" idx="43" hasCustomPrompt="1"/>
          </p:nvPr>
        </p:nvSpPr>
        <p:spPr>
          <a:xfrm>
            <a:off x="4864472" y="2795085"/>
            <a:ext cx="2916256" cy="2636015"/>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93" name="TextBox 92">
            <a:extLst>
              <a:ext uri="{FF2B5EF4-FFF2-40B4-BE49-F238E27FC236}">
                <a16:creationId xmlns:a16="http://schemas.microsoft.com/office/drawing/2014/main" id="{CB751464-8A7F-FA49-856D-4334A4C81AF1}"/>
              </a:ext>
            </a:extLst>
          </p:cNvPr>
          <p:cNvSpPr txBox="1"/>
          <p:nvPr userDrawn="1"/>
        </p:nvSpPr>
        <p:spPr>
          <a:xfrm>
            <a:off x="4305186" y="1903991"/>
            <a:ext cx="559286" cy="523220"/>
          </a:xfrm>
          <a:prstGeom prst="rect">
            <a:avLst/>
          </a:prstGeom>
        </p:spPr>
        <p:txBody>
          <a:bodyPr wrap="square" rtlCol="0">
            <a:spAutoFit/>
          </a:bodyPr>
          <a:lstStyle/>
          <a:p>
            <a:r>
              <a:rPr lang="en-GB" sz="2800" b="1" i="0">
                <a:solidFill>
                  <a:schemeClr val="accent1"/>
                </a:solidFill>
                <a:latin typeface="Helvetica" pitchFamily="2" charset="0"/>
              </a:rPr>
              <a:t>2</a:t>
            </a:r>
          </a:p>
        </p:txBody>
      </p:sp>
      <p:sp>
        <p:nvSpPr>
          <p:cNvPr id="94" name="Rectangle 93">
            <a:extLst>
              <a:ext uri="{FF2B5EF4-FFF2-40B4-BE49-F238E27FC236}">
                <a16:creationId xmlns:a16="http://schemas.microsoft.com/office/drawing/2014/main" id="{EF0334F8-DBA7-D04B-8D45-8AECC5324BDE}"/>
              </a:ext>
            </a:extLst>
          </p:cNvPr>
          <p:cNvSpPr/>
          <p:nvPr userDrawn="1"/>
        </p:nvSpPr>
        <p:spPr>
          <a:xfrm>
            <a:off x="8307365" y="1709768"/>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1108209" y="2804934"/>
            <a:ext cx="0" cy="264115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D94247F-1687-1C46-BCBA-B35359725D0B}"/>
              </a:ext>
            </a:extLst>
          </p:cNvPr>
          <p:cNvCxnSpPr>
            <a:cxnSpLocks/>
          </p:cNvCxnSpPr>
          <p:nvPr userDrawn="1"/>
        </p:nvCxnSpPr>
        <p:spPr>
          <a:xfrm>
            <a:off x="4747565" y="2804934"/>
            <a:ext cx="0" cy="264115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3D13591D-6EC1-AB4F-9969-6302E362784E}"/>
              </a:ext>
            </a:extLst>
          </p:cNvPr>
          <p:cNvCxnSpPr>
            <a:cxnSpLocks/>
          </p:cNvCxnSpPr>
          <p:nvPr userDrawn="1"/>
        </p:nvCxnSpPr>
        <p:spPr>
          <a:xfrm>
            <a:off x="8333913" y="2783696"/>
            <a:ext cx="0" cy="264115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6" name="Text Placeholder 20">
            <a:extLst>
              <a:ext uri="{FF2B5EF4-FFF2-40B4-BE49-F238E27FC236}">
                <a16:creationId xmlns:a16="http://schemas.microsoft.com/office/drawing/2014/main" id="{14BEE252-4639-114D-AFB0-243BBC85FDD9}"/>
              </a:ext>
            </a:extLst>
          </p:cNvPr>
          <p:cNvSpPr>
            <a:spLocks noGrp="1"/>
          </p:cNvSpPr>
          <p:nvPr userDrawn="1">
            <p:ph type="body" sz="quarter" idx="47" hasCustomPrompt="1"/>
          </p:nvPr>
        </p:nvSpPr>
        <p:spPr>
          <a:xfrm>
            <a:off x="8438944" y="1858215"/>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97" name="Text Placeholder 20">
            <a:extLst>
              <a:ext uri="{FF2B5EF4-FFF2-40B4-BE49-F238E27FC236}">
                <a16:creationId xmlns:a16="http://schemas.microsoft.com/office/drawing/2014/main" id="{FC6370E8-D75B-1844-A610-8287D1D8E14C}"/>
              </a:ext>
            </a:extLst>
          </p:cNvPr>
          <p:cNvSpPr>
            <a:spLocks noGrp="1"/>
          </p:cNvSpPr>
          <p:nvPr userDrawn="1">
            <p:ph type="body" sz="quarter" idx="48" hasCustomPrompt="1"/>
          </p:nvPr>
        </p:nvSpPr>
        <p:spPr>
          <a:xfrm>
            <a:off x="8450820" y="2788833"/>
            <a:ext cx="2916256" cy="2636015"/>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4" name="TextBox 103">
            <a:extLst>
              <a:ext uri="{FF2B5EF4-FFF2-40B4-BE49-F238E27FC236}">
                <a16:creationId xmlns:a16="http://schemas.microsoft.com/office/drawing/2014/main" id="{6969653A-6C2C-8147-ACCB-D4F972B28B3B}"/>
              </a:ext>
            </a:extLst>
          </p:cNvPr>
          <p:cNvSpPr txBox="1"/>
          <p:nvPr userDrawn="1"/>
        </p:nvSpPr>
        <p:spPr>
          <a:xfrm>
            <a:off x="7891534" y="1897739"/>
            <a:ext cx="559286" cy="523220"/>
          </a:xfrm>
          <a:prstGeom prst="rect">
            <a:avLst/>
          </a:prstGeom>
        </p:spPr>
        <p:txBody>
          <a:bodyPr wrap="square" rtlCol="0">
            <a:spAutoFit/>
          </a:bodyPr>
          <a:lstStyle/>
          <a:p>
            <a:r>
              <a:rPr lang="en-GB" sz="2800" b="1" i="0">
                <a:solidFill>
                  <a:schemeClr val="accent1"/>
                </a:solidFill>
                <a:latin typeface="Helvetica" pitchFamily="2" charset="0"/>
              </a:rPr>
              <a:t>3</a:t>
            </a:r>
          </a:p>
        </p:txBody>
      </p:sp>
      <p:sp>
        <p:nvSpPr>
          <p:cNvPr id="38" name="Title 1">
            <a:extLst>
              <a:ext uri="{FF2B5EF4-FFF2-40B4-BE49-F238E27FC236}">
                <a16:creationId xmlns:a16="http://schemas.microsoft.com/office/drawing/2014/main" id="{00D9EB27-355B-C0ED-84F3-A25252382F8B}"/>
              </a:ext>
            </a:extLst>
          </p:cNvPr>
          <p:cNvSpPr>
            <a:spLocks noGrp="1"/>
          </p:cNvSpPr>
          <p:nvPr userDrawn="1">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4" name="Bilde 3">
            <a:extLst>
              <a:ext uri="{FF2B5EF4-FFF2-40B4-BE49-F238E27FC236}">
                <a16:creationId xmlns:a16="http://schemas.microsoft.com/office/drawing/2014/main" id="{DBA068A6-7045-9B50-BF91-73FC6D7BEB6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802E4C73-E5CC-C29C-AE6D-CF730A25DFAF}"/>
              </a:ext>
            </a:extLst>
          </p:cNvPr>
          <p:cNvSpPr>
            <a:spLocks noGrp="1"/>
          </p:cNvSpPr>
          <p:nvPr>
            <p:ph type="dt" sz="half" idx="16"/>
          </p:nvPr>
        </p:nvSpPr>
        <p:spPr>
          <a:xfrm>
            <a:off x="2303627" y="6492875"/>
            <a:ext cx="528585" cy="365125"/>
          </a:xfrm>
        </p:spPr>
        <p:txBody>
          <a:bodyPr/>
          <a:lstStyle/>
          <a:p>
            <a:fld id="{A16827A6-01D4-0542-B10B-B62811D9DE30}" type="datetime1">
              <a:rPr lang="nb-NO" smtClean="0"/>
              <a:t>20.08.2024</a:t>
            </a:fld>
            <a:endParaRPr lang="en-US"/>
          </a:p>
        </p:txBody>
      </p:sp>
      <p:sp>
        <p:nvSpPr>
          <p:cNvPr id="25" name="Footer Placeholder 3">
            <a:extLst>
              <a:ext uri="{FF2B5EF4-FFF2-40B4-BE49-F238E27FC236}">
                <a16:creationId xmlns:a16="http://schemas.microsoft.com/office/drawing/2014/main" id="{82B0D240-8EAB-165B-6D33-B23105C34323}"/>
              </a:ext>
            </a:extLst>
          </p:cNvPr>
          <p:cNvSpPr>
            <a:spLocks noGrp="1"/>
          </p:cNvSpPr>
          <p:nvPr>
            <p:ph type="ftr" sz="quarter" idx="17"/>
          </p:nvPr>
        </p:nvSpPr>
        <p:spPr>
          <a:xfrm>
            <a:off x="175116" y="6492875"/>
            <a:ext cx="2107096" cy="365125"/>
          </a:xfrm>
        </p:spPr>
        <p:txBody>
          <a:bodyPr/>
          <a:lstStyle/>
          <a:p>
            <a:r>
              <a:rPr lang="en-US"/>
              <a:t>© StrongPoint 2022</a:t>
            </a:r>
          </a:p>
        </p:txBody>
      </p:sp>
      <p:sp>
        <p:nvSpPr>
          <p:cNvPr id="26" name="Slide Number Placeholder 4">
            <a:extLst>
              <a:ext uri="{FF2B5EF4-FFF2-40B4-BE49-F238E27FC236}">
                <a16:creationId xmlns:a16="http://schemas.microsoft.com/office/drawing/2014/main" id="{50FA445D-D6C4-B3F6-746A-1862AB3F8648}"/>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5331817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0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B1796F2-5DEC-996C-ABCB-7228BC4850E5}"/>
              </a:ext>
            </a:extLst>
          </p:cNvPr>
          <p:cNvSpPr>
            <a:spLocks noGrp="1"/>
          </p:cNvSpPr>
          <p:nvPr>
            <p:ph type="pic" sz="quarter" idx="52"/>
          </p:nvPr>
        </p:nvSpPr>
        <p:spPr>
          <a:xfrm>
            <a:off x="941547" y="1445066"/>
            <a:ext cx="3060700" cy="1820862"/>
          </a:xfrm>
          <a:prstGeom prst="rect">
            <a:avLst/>
          </a:prstGeom>
        </p:spPr>
        <p:txBody>
          <a:bodyPr anchor="ctr"/>
          <a:lstStyle>
            <a:lvl1pPr algn="ctr">
              <a:defRPr sz="1800"/>
            </a:lvl1pPr>
          </a:lstStyle>
          <a:p>
            <a:r>
              <a:rPr lang="en-GB"/>
              <a:t>Click icon to add picture</a:t>
            </a:r>
            <a:endParaRPr lang="en-US"/>
          </a:p>
        </p:txBody>
      </p:sp>
      <p:sp>
        <p:nvSpPr>
          <p:cNvPr id="45" name="Rectangle 44">
            <a:extLst>
              <a:ext uri="{FF2B5EF4-FFF2-40B4-BE49-F238E27FC236}">
                <a16:creationId xmlns:a16="http://schemas.microsoft.com/office/drawing/2014/main" id="{1C7B5656-DA3F-9847-9792-691229FFB730}"/>
              </a:ext>
            </a:extLst>
          </p:cNvPr>
          <p:cNvSpPr/>
          <p:nvPr userDrawn="1"/>
        </p:nvSpPr>
        <p:spPr>
          <a:xfrm>
            <a:off x="942119" y="3332603"/>
            <a:ext cx="3065442" cy="28072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061370" y="3403048"/>
            <a:ext cx="2830400" cy="582683"/>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061370" y="4001634"/>
            <a:ext cx="2830400" cy="2090483"/>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flipH="1">
            <a:off x="942119" y="3281228"/>
            <a:ext cx="306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8" name="Title 1">
            <a:extLst>
              <a:ext uri="{FF2B5EF4-FFF2-40B4-BE49-F238E27FC236}">
                <a16:creationId xmlns:a16="http://schemas.microsoft.com/office/drawing/2014/main" id="{00D9EB27-355B-C0ED-84F3-A25252382F8B}"/>
              </a:ext>
            </a:extLst>
          </p:cNvPr>
          <p:cNvSpPr>
            <a:spLocks noGrp="1"/>
          </p:cNvSpPr>
          <p:nvPr userDrawn="1">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4" name="Bilde 3">
            <a:extLst>
              <a:ext uri="{FF2B5EF4-FFF2-40B4-BE49-F238E27FC236}">
                <a16:creationId xmlns:a16="http://schemas.microsoft.com/office/drawing/2014/main" id="{DBA068A6-7045-9B50-BF91-73FC6D7BEB6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6" name="Picture Placeholder 7">
            <a:extLst>
              <a:ext uri="{FF2B5EF4-FFF2-40B4-BE49-F238E27FC236}">
                <a16:creationId xmlns:a16="http://schemas.microsoft.com/office/drawing/2014/main" id="{036ADB22-C59D-5054-F408-EBE475CB6330}"/>
              </a:ext>
            </a:extLst>
          </p:cNvPr>
          <p:cNvSpPr>
            <a:spLocks noGrp="1"/>
          </p:cNvSpPr>
          <p:nvPr>
            <p:ph type="pic" sz="quarter" idx="53"/>
          </p:nvPr>
        </p:nvSpPr>
        <p:spPr>
          <a:xfrm>
            <a:off x="4335930" y="1445066"/>
            <a:ext cx="3060700" cy="1820862"/>
          </a:xfrm>
          <a:prstGeom prst="rect">
            <a:avLst/>
          </a:prstGeom>
        </p:spPr>
        <p:txBody>
          <a:bodyPr anchor="ctr"/>
          <a:lstStyle>
            <a:lvl1pPr algn="ctr">
              <a:defRPr sz="1800"/>
            </a:lvl1pPr>
          </a:lstStyle>
          <a:p>
            <a:r>
              <a:rPr lang="en-GB"/>
              <a:t>Click icon to add picture</a:t>
            </a:r>
            <a:endParaRPr lang="en-US"/>
          </a:p>
        </p:txBody>
      </p:sp>
      <p:sp>
        <p:nvSpPr>
          <p:cNvPr id="27" name="Rectangle 26">
            <a:extLst>
              <a:ext uri="{FF2B5EF4-FFF2-40B4-BE49-F238E27FC236}">
                <a16:creationId xmlns:a16="http://schemas.microsoft.com/office/drawing/2014/main" id="{8B0ECE18-051B-DE63-AC4A-05752AB1499A}"/>
              </a:ext>
            </a:extLst>
          </p:cNvPr>
          <p:cNvSpPr/>
          <p:nvPr userDrawn="1"/>
        </p:nvSpPr>
        <p:spPr>
          <a:xfrm>
            <a:off x="4336502" y="3332603"/>
            <a:ext cx="3065442" cy="28072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 Placeholder 20">
            <a:extLst>
              <a:ext uri="{FF2B5EF4-FFF2-40B4-BE49-F238E27FC236}">
                <a16:creationId xmlns:a16="http://schemas.microsoft.com/office/drawing/2014/main" id="{456D4E1E-2C93-62C8-726C-E573B0A1F359}"/>
              </a:ext>
            </a:extLst>
          </p:cNvPr>
          <p:cNvSpPr>
            <a:spLocks noGrp="1"/>
          </p:cNvSpPr>
          <p:nvPr>
            <p:ph type="body" sz="quarter" idx="54" hasCustomPrompt="1"/>
          </p:nvPr>
        </p:nvSpPr>
        <p:spPr>
          <a:xfrm>
            <a:off x="4455753" y="3403048"/>
            <a:ext cx="2830400" cy="582683"/>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0" name="Text Placeholder 20">
            <a:extLst>
              <a:ext uri="{FF2B5EF4-FFF2-40B4-BE49-F238E27FC236}">
                <a16:creationId xmlns:a16="http://schemas.microsoft.com/office/drawing/2014/main" id="{C9E572EA-46BB-1ADC-2DCA-101125632D82}"/>
              </a:ext>
            </a:extLst>
          </p:cNvPr>
          <p:cNvSpPr>
            <a:spLocks noGrp="1"/>
          </p:cNvSpPr>
          <p:nvPr>
            <p:ph type="body" sz="quarter" idx="55" hasCustomPrompt="1"/>
          </p:nvPr>
        </p:nvSpPr>
        <p:spPr>
          <a:xfrm>
            <a:off x="4455753" y="4001634"/>
            <a:ext cx="2830400" cy="2090483"/>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31" name="Straight Connector 30">
            <a:extLst>
              <a:ext uri="{FF2B5EF4-FFF2-40B4-BE49-F238E27FC236}">
                <a16:creationId xmlns:a16="http://schemas.microsoft.com/office/drawing/2014/main" id="{FEAFBB64-B5C6-3C6D-951F-45E4DD827B97}"/>
              </a:ext>
            </a:extLst>
          </p:cNvPr>
          <p:cNvCxnSpPr>
            <a:cxnSpLocks/>
          </p:cNvCxnSpPr>
          <p:nvPr userDrawn="1"/>
        </p:nvCxnSpPr>
        <p:spPr>
          <a:xfrm flipH="1">
            <a:off x="4336502" y="3281228"/>
            <a:ext cx="306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Picture Placeholder 7">
            <a:extLst>
              <a:ext uri="{FF2B5EF4-FFF2-40B4-BE49-F238E27FC236}">
                <a16:creationId xmlns:a16="http://schemas.microsoft.com/office/drawing/2014/main" id="{226F6508-C1DE-4FDD-5D54-3E8CB0269374}"/>
              </a:ext>
            </a:extLst>
          </p:cNvPr>
          <p:cNvSpPr>
            <a:spLocks noGrp="1"/>
          </p:cNvSpPr>
          <p:nvPr>
            <p:ph type="pic" sz="quarter" idx="56"/>
          </p:nvPr>
        </p:nvSpPr>
        <p:spPr>
          <a:xfrm>
            <a:off x="7721049" y="1445066"/>
            <a:ext cx="3060700" cy="1820862"/>
          </a:xfrm>
          <a:prstGeom prst="rect">
            <a:avLst/>
          </a:prstGeom>
        </p:spPr>
        <p:txBody>
          <a:bodyPr anchor="ctr"/>
          <a:lstStyle>
            <a:lvl1pPr algn="ctr">
              <a:defRPr sz="1800"/>
            </a:lvl1pPr>
          </a:lstStyle>
          <a:p>
            <a:r>
              <a:rPr lang="en-GB"/>
              <a:t>Click icon to add picture</a:t>
            </a:r>
            <a:endParaRPr lang="en-US"/>
          </a:p>
        </p:txBody>
      </p:sp>
      <p:sp>
        <p:nvSpPr>
          <p:cNvPr id="33" name="Rectangle 32">
            <a:extLst>
              <a:ext uri="{FF2B5EF4-FFF2-40B4-BE49-F238E27FC236}">
                <a16:creationId xmlns:a16="http://schemas.microsoft.com/office/drawing/2014/main" id="{0C44F1A5-425E-87A2-2D24-3917E09030C5}"/>
              </a:ext>
            </a:extLst>
          </p:cNvPr>
          <p:cNvSpPr/>
          <p:nvPr userDrawn="1"/>
        </p:nvSpPr>
        <p:spPr>
          <a:xfrm>
            <a:off x="7721621" y="3332603"/>
            <a:ext cx="3065442" cy="28072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0">
            <a:extLst>
              <a:ext uri="{FF2B5EF4-FFF2-40B4-BE49-F238E27FC236}">
                <a16:creationId xmlns:a16="http://schemas.microsoft.com/office/drawing/2014/main" id="{71F3DA74-293C-7493-FE9F-ED46727177E4}"/>
              </a:ext>
            </a:extLst>
          </p:cNvPr>
          <p:cNvSpPr>
            <a:spLocks noGrp="1"/>
          </p:cNvSpPr>
          <p:nvPr>
            <p:ph type="body" sz="quarter" idx="57" hasCustomPrompt="1"/>
          </p:nvPr>
        </p:nvSpPr>
        <p:spPr>
          <a:xfrm>
            <a:off x="7840872" y="3403048"/>
            <a:ext cx="2830400" cy="582683"/>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5" name="Text Placeholder 20">
            <a:extLst>
              <a:ext uri="{FF2B5EF4-FFF2-40B4-BE49-F238E27FC236}">
                <a16:creationId xmlns:a16="http://schemas.microsoft.com/office/drawing/2014/main" id="{7C59F177-1602-67CB-884F-2E55B9C4C0BB}"/>
              </a:ext>
            </a:extLst>
          </p:cNvPr>
          <p:cNvSpPr>
            <a:spLocks noGrp="1"/>
          </p:cNvSpPr>
          <p:nvPr>
            <p:ph type="body" sz="quarter" idx="58" hasCustomPrompt="1"/>
          </p:nvPr>
        </p:nvSpPr>
        <p:spPr>
          <a:xfrm>
            <a:off x="7840872" y="4001634"/>
            <a:ext cx="2830400" cy="2090483"/>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36" name="Straight Connector 35">
            <a:extLst>
              <a:ext uri="{FF2B5EF4-FFF2-40B4-BE49-F238E27FC236}">
                <a16:creationId xmlns:a16="http://schemas.microsoft.com/office/drawing/2014/main" id="{75855995-0E07-4D27-6A42-BA419A06BB34}"/>
              </a:ext>
            </a:extLst>
          </p:cNvPr>
          <p:cNvCxnSpPr>
            <a:cxnSpLocks/>
          </p:cNvCxnSpPr>
          <p:nvPr userDrawn="1"/>
        </p:nvCxnSpPr>
        <p:spPr>
          <a:xfrm flipH="1">
            <a:off x="7721621" y="3281228"/>
            <a:ext cx="306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Date Placeholder 2">
            <a:extLst>
              <a:ext uri="{FF2B5EF4-FFF2-40B4-BE49-F238E27FC236}">
                <a16:creationId xmlns:a16="http://schemas.microsoft.com/office/drawing/2014/main" id="{23D09F0E-DD0A-56E4-A786-86687543EDF0}"/>
              </a:ext>
            </a:extLst>
          </p:cNvPr>
          <p:cNvSpPr>
            <a:spLocks noGrp="1"/>
          </p:cNvSpPr>
          <p:nvPr>
            <p:ph type="dt" sz="half" idx="16"/>
          </p:nvPr>
        </p:nvSpPr>
        <p:spPr>
          <a:xfrm>
            <a:off x="2303627" y="6492875"/>
            <a:ext cx="528585" cy="365125"/>
          </a:xfrm>
        </p:spPr>
        <p:txBody>
          <a:bodyPr/>
          <a:lstStyle/>
          <a:p>
            <a:fld id="{268CA413-413A-324A-9719-C8DB6C19367F}" type="datetime1">
              <a:rPr lang="nb-NO" smtClean="0"/>
              <a:t>20.08.2024</a:t>
            </a:fld>
            <a:endParaRPr lang="en-US"/>
          </a:p>
        </p:txBody>
      </p:sp>
      <p:sp>
        <p:nvSpPr>
          <p:cNvPr id="25" name="Footer Placeholder 3">
            <a:extLst>
              <a:ext uri="{FF2B5EF4-FFF2-40B4-BE49-F238E27FC236}">
                <a16:creationId xmlns:a16="http://schemas.microsoft.com/office/drawing/2014/main" id="{86EFD8CB-B4B0-C98B-BAE4-8B0E6EA80F4C}"/>
              </a:ext>
            </a:extLst>
          </p:cNvPr>
          <p:cNvSpPr>
            <a:spLocks noGrp="1"/>
          </p:cNvSpPr>
          <p:nvPr>
            <p:ph type="ftr" sz="quarter" idx="17"/>
          </p:nvPr>
        </p:nvSpPr>
        <p:spPr>
          <a:xfrm>
            <a:off x="175116" y="6492875"/>
            <a:ext cx="2107096" cy="365125"/>
          </a:xfrm>
        </p:spPr>
        <p:txBody>
          <a:bodyPr/>
          <a:lstStyle/>
          <a:p>
            <a:r>
              <a:rPr lang="en-US"/>
              <a:t>© StrongPoint 2022</a:t>
            </a:r>
          </a:p>
        </p:txBody>
      </p:sp>
      <p:sp>
        <p:nvSpPr>
          <p:cNvPr id="37" name="Slide Number Placeholder 4">
            <a:extLst>
              <a:ext uri="{FF2B5EF4-FFF2-40B4-BE49-F238E27FC236}">
                <a16:creationId xmlns:a16="http://schemas.microsoft.com/office/drawing/2014/main" id="{9BE7881F-148D-208B-717A-EE47DCF21D13}"/>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4929670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3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7" name="Text Placeholder 20">
            <a:extLst>
              <a:ext uri="{FF2B5EF4-FFF2-40B4-BE49-F238E27FC236}">
                <a16:creationId xmlns:a16="http://schemas.microsoft.com/office/drawing/2014/main" id="{49356417-6D30-E548-B1B3-2604029A7EF5}"/>
              </a:ext>
            </a:extLst>
          </p:cNvPr>
          <p:cNvSpPr>
            <a:spLocks noGrp="1"/>
          </p:cNvSpPr>
          <p:nvPr>
            <p:ph type="body" sz="quarter" idx="23" hasCustomPrompt="1"/>
          </p:nvPr>
        </p:nvSpPr>
        <p:spPr>
          <a:xfrm>
            <a:off x="916850" y="4573616"/>
            <a:ext cx="3137757" cy="1534671"/>
          </a:xfrm>
          <a:prstGeom prst="rect">
            <a:avLst/>
          </a:prstGeom>
        </p:spPr>
        <p:txBody>
          <a:bodyPr anchor="t">
            <a:noAutofit/>
          </a:bodyPr>
          <a:lstStyle>
            <a:lvl1pPr marL="0" indent="0" algn="ctr">
              <a:spcBef>
                <a:spcPts val="0"/>
              </a:spcBef>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012918" y="3256113"/>
            <a:ext cx="2945621" cy="918683"/>
          </a:xfrm>
          <a:prstGeom prst="rect">
            <a:avLst/>
          </a:prstGeom>
        </p:spPr>
        <p:txBody>
          <a:bodyPr anchor="ctr">
            <a:noAutofit/>
          </a:bodyPr>
          <a:lstStyle>
            <a:lvl1pPr marL="0" indent="0" algn="ctr">
              <a:spcBef>
                <a:spcPts val="0"/>
              </a:spcBef>
              <a:buNone/>
              <a:defRPr sz="20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a:t>
            </a:r>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968418" y="4391374"/>
            <a:ext cx="303462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1883E524-E691-2542-8EAD-DFBDB929960C}"/>
              </a:ext>
            </a:extLst>
          </p:cNvPr>
          <p:cNvSpPr/>
          <p:nvPr userDrawn="1"/>
        </p:nvSpPr>
        <p:spPr>
          <a:xfrm>
            <a:off x="1686942" y="1578688"/>
            <a:ext cx="1597573" cy="1597573"/>
          </a:xfrm>
          <a:prstGeom prst="ellipse">
            <a:avLst/>
          </a:prstGeom>
          <a:solidFill>
            <a:schemeClr val="accent4">
              <a:lumMod val="20000"/>
              <a:lumOff val="8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9" name="Text Placeholder 20">
            <a:extLst>
              <a:ext uri="{FF2B5EF4-FFF2-40B4-BE49-F238E27FC236}">
                <a16:creationId xmlns:a16="http://schemas.microsoft.com/office/drawing/2014/main" id="{D9AD4255-D80E-7342-B2C4-C5F594A23C7A}"/>
              </a:ext>
            </a:extLst>
          </p:cNvPr>
          <p:cNvSpPr>
            <a:spLocks noGrp="1"/>
          </p:cNvSpPr>
          <p:nvPr>
            <p:ph type="body" sz="quarter" idx="25" hasCustomPrompt="1"/>
          </p:nvPr>
        </p:nvSpPr>
        <p:spPr>
          <a:xfrm>
            <a:off x="4537281" y="4573616"/>
            <a:ext cx="3137757" cy="1534671"/>
          </a:xfrm>
          <a:prstGeom prst="rect">
            <a:avLst/>
          </a:prstGeom>
        </p:spPr>
        <p:txBody>
          <a:bodyPr anchor="t">
            <a:noAutofit/>
          </a:bodyPr>
          <a:lstStyle>
            <a:lvl1pPr marL="0" indent="0" algn="ctr">
              <a:spcBef>
                <a:spcPts val="0"/>
              </a:spcBef>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24" name="Text Placeholder 20">
            <a:extLst>
              <a:ext uri="{FF2B5EF4-FFF2-40B4-BE49-F238E27FC236}">
                <a16:creationId xmlns:a16="http://schemas.microsoft.com/office/drawing/2014/main" id="{8366C65D-987E-F940-9669-8FC67DF547D6}"/>
              </a:ext>
            </a:extLst>
          </p:cNvPr>
          <p:cNvSpPr>
            <a:spLocks noGrp="1"/>
          </p:cNvSpPr>
          <p:nvPr>
            <p:ph type="body" sz="quarter" idx="26" hasCustomPrompt="1"/>
          </p:nvPr>
        </p:nvSpPr>
        <p:spPr>
          <a:xfrm>
            <a:off x="4633349" y="3256113"/>
            <a:ext cx="2945621" cy="918683"/>
          </a:xfrm>
          <a:prstGeom prst="rect">
            <a:avLst/>
          </a:prstGeom>
        </p:spPr>
        <p:txBody>
          <a:bodyPr anchor="ctr">
            <a:noAutofit/>
          </a:bodyPr>
          <a:lstStyle>
            <a:lvl1pPr marL="0" indent="0" algn="ctr">
              <a:spcBef>
                <a:spcPts val="0"/>
              </a:spcBef>
              <a:buNone/>
              <a:defRPr sz="20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a:t>
            </a:r>
          </a:p>
        </p:txBody>
      </p:sp>
      <p:cxnSp>
        <p:nvCxnSpPr>
          <p:cNvPr id="25" name="Straight Connector 24">
            <a:extLst>
              <a:ext uri="{FF2B5EF4-FFF2-40B4-BE49-F238E27FC236}">
                <a16:creationId xmlns:a16="http://schemas.microsoft.com/office/drawing/2014/main" id="{1C8D12F1-1584-DD43-9F53-43F3AA6A406A}"/>
              </a:ext>
            </a:extLst>
          </p:cNvPr>
          <p:cNvCxnSpPr>
            <a:cxnSpLocks/>
          </p:cNvCxnSpPr>
          <p:nvPr userDrawn="1"/>
        </p:nvCxnSpPr>
        <p:spPr>
          <a:xfrm>
            <a:off x="4588849" y="4391374"/>
            <a:ext cx="303462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2DE219C-FDB1-CD4B-86C9-B419D3423531}"/>
              </a:ext>
            </a:extLst>
          </p:cNvPr>
          <p:cNvSpPr/>
          <p:nvPr userDrawn="1"/>
        </p:nvSpPr>
        <p:spPr>
          <a:xfrm>
            <a:off x="5307373" y="1578688"/>
            <a:ext cx="1597573" cy="1597573"/>
          </a:xfrm>
          <a:prstGeom prst="ellipse">
            <a:avLst/>
          </a:prstGeom>
          <a:solidFill>
            <a:schemeClr val="accent4">
              <a:lumMod val="20000"/>
              <a:lumOff val="8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31" name="Text Placeholder 20">
            <a:extLst>
              <a:ext uri="{FF2B5EF4-FFF2-40B4-BE49-F238E27FC236}">
                <a16:creationId xmlns:a16="http://schemas.microsoft.com/office/drawing/2014/main" id="{54C66FC1-2D84-0C46-9D7E-D57CFB2A719F}"/>
              </a:ext>
            </a:extLst>
          </p:cNvPr>
          <p:cNvSpPr>
            <a:spLocks noGrp="1"/>
          </p:cNvSpPr>
          <p:nvPr>
            <p:ph type="body" sz="quarter" idx="27" hasCustomPrompt="1"/>
          </p:nvPr>
        </p:nvSpPr>
        <p:spPr>
          <a:xfrm>
            <a:off x="8137393" y="4573616"/>
            <a:ext cx="3137757" cy="1534671"/>
          </a:xfrm>
          <a:prstGeom prst="rect">
            <a:avLst/>
          </a:prstGeom>
        </p:spPr>
        <p:txBody>
          <a:bodyPr anchor="t">
            <a:noAutofit/>
          </a:bodyPr>
          <a:lstStyle>
            <a:lvl1pPr marL="0" indent="0" algn="ctr">
              <a:spcBef>
                <a:spcPts val="0"/>
              </a:spcBef>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2" name="Text Placeholder 20">
            <a:extLst>
              <a:ext uri="{FF2B5EF4-FFF2-40B4-BE49-F238E27FC236}">
                <a16:creationId xmlns:a16="http://schemas.microsoft.com/office/drawing/2014/main" id="{9A1F39ED-4F03-854D-B159-03CB2DC987D8}"/>
              </a:ext>
            </a:extLst>
          </p:cNvPr>
          <p:cNvSpPr>
            <a:spLocks noGrp="1"/>
          </p:cNvSpPr>
          <p:nvPr>
            <p:ph type="body" sz="quarter" idx="28" hasCustomPrompt="1"/>
          </p:nvPr>
        </p:nvSpPr>
        <p:spPr>
          <a:xfrm>
            <a:off x="8233461" y="3256113"/>
            <a:ext cx="2945621" cy="918683"/>
          </a:xfrm>
          <a:prstGeom prst="rect">
            <a:avLst/>
          </a:prstGeom>
        </p:spPr>
        <p:txBody>
          <a:bodyPr anchor="ctr">
            <a:noAutofit/>
          </a:bodyPr>
          <a:lstStyle>
            <a:lvl1pPr marL="0" indent="0" algn="ctr">
              <a:spcBef>
                <a:spcPts val="0"/>
              </a:spcBef>
              <a:buNone/>
              <a:defRPr sz="20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a:t>
            </a:r>
          </a:p>
        </p:txBody>
      </p:sp>
      <p:cxnSp>
        <p:nvCxnSpPr>
          <p:cNvPr id="33" name="Straight Connector 32">
            <a:extLst>
              <a:ext uri="{FF2B5EF4-FFF2-40B4-BE49-F238E27FC236}">
                <a16:creationId xmlns:a16="http://schemas.microsoft.com/office/drawing/2014/main" id="{131695BE-7EC4-254F-88F8-92DE21E21441}"/>
              </a:ext>
            </a:extLst>
          </p:cNvPr>
          <p:cNvCxnSpPr>
            <a:cxnSpLocks/>
          </p:cNvCxnSpPr>
          <p:nvPr userDrawn="1"/>
        </p:nvCxnSpPr>
        <p:spPr>
          <a:xfrm>
            <a:off x="8188961" y="4391374"/>
            <a:ext cx="303462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535F4D65-5C03-B047-9C33-37F966AF2003}"/>
              </a:ext>
            </a:extLst>
          </p:cNvPr>
          <p:cNvSpPr/>
          <p:nvPr userDrawn="1"/>
        </p:nvSpPr>
        <p:spPr>
          <a:xfrm>
            <a:off x="8907485" y="1578688"/>
            <a:ext cx="1597573" cy="1597573"/>
          </a:xfrm>
          <a:prstGeom prst="ellipse">
            <a:avLst/>
          </a:prstGeom>
          <a:solidFill>
            <a:schemeClr val="accent4">
              <a:lumMod val="20000"/>
              <a:lumOff val="8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7" name="Title 1">
            <a:extLst>
              <a:ext uri="{FF2B5EF4-FFF2-40B4-BE49-F238E27FC236}">
                <a16:creationId xmlns:a16="http://schemas.microsoft.com/office/drawing/2014/main" id="{51B9A6BB-8E74-6CCC-357E-4A3C6975D961}"/>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4" name="Picture Placeholder 3">
            <a:extLst>
              <a:ext uri="{FF2B5EF4-FFF2-40B4-BE49-F238E27FC236}">
                <a16:creationId xmlns:a16="http://schemas.microsoft.com/office/drawing/2014/main" id="{807C389F-EE04-F928-A905-8D5A0A8319F6}"/>
              </a:ext>
            </a:extLst>
          </p:cNvPr>
          <p:cNvSpPr>
            <a:spLocks noGrp="1"/>
          </p:cNvSpPr>
          <p:nvPr>
            <p:ph type="pic" sz="quarter" idx="29"/>
          </p:nvPr>
        </p:nvSpPr>
        <p:spPr>
          <a:xfrm>
            <a:off x="1791990" y="1686396"/>
            <a:ext cx="1387475" cy="1387475"/>
          </a:xfrm>
          <a:prstGeom prst="ellipse">
            <a:avLst/>
          </a:prstGeom>
        </p:spPr>
        <p:txBody>
          <a:bodyPr anchor="ctr"/>
          <a:lstStyle>
            <a:lvl1pPr marL="0" indent="0" algn="ctr">
              <a:buNone/>
              <a:defRPr sz="1600"/>
            </a:lvl1pPr>
          </a:lstStyle>
          <a:p>
            <a:r>
              <a:rPr lang="en-GB"/>
              <a:t>Click icon to add picture</a:t>
            </a:r>
            <a:endParaRPr lang="en-US"/>
          </a:p>
        </p:txBody>
      </p:sp>
      <p:sp>
        <p:nvSpPr>
          <p:cNvPr id="20" name="Picture Placeholder 3">
            <a:extLst>
              <a:ext uri="{FF2B5EF4-FFF2-40B4-BE49-F238E27FC236}">
                <a16:creationId xmlns:a16="http://schemas.microsoft.com/office/drawing/2014/main" id="{C344D4AD-0C44-0016-1984-DEE4E4A47A86}"/>
              </a:ext>
            </a:extLst>
          </p:cNvPr>
          <p:cNvSpPr>
            <a:spLocks noGrp="1"/>
          </p:cNvSpPr>
          <p:nvPr>
            <p:ph type="pic" sz="quarter" idx="30"/>
          </p:nvPr>
        </p:nvSpPr>
        <p:spPr>
          <a:xfrm>
            <a:off x="5423086" y="1686396"/>
            <a:ext cx="1387475" cy="1387475"/>
          </a:xfrm>
          <a:prstGeom prst="ellipse">
            <a:avLst/>
          </a:prstGeom>
        </p:spPr>
        <p:txBody>
          <a:bodyPr anchor="ctr"/>
          <a:lstStyle>
            <a:lvl1pPr marL="0" indent="0" algn="ctr">
              <a:buNone/>
              <a:defRPr sz="1600"/>
            </a:lvl1pPr>
          </a:lstStyle>
          <a:p>
            <a:r>
              <a:rPr lang="en-GB"/>
              <a:t>Click icon to add picture</a:t>
            </a:r>
            <a:endParaRPr lang="en-US"/>
          </a:p>
        </p:txBody>
      </p:sp>
      <p:sp>
        <p:nvSpPr>
          <p:cNvPr id="21" name="Picture Placeholder 3">
            <a:extLst>
              <a:ext uri="{FF2B5EF4-FFF2-40B4-BE49-F238E27FC236}">
                <a16:creationId xmlns:a16="http://schemas.microsoft.com/office/drawing/2014/main" id="{9126EBDC-8FE3-E299-69BB-1724B93F2D1C}"/>
              </a:ext>
            </a:extLst>
          </p:cNvPr>
          <p:cNvSpPr>
            <a:spLocks noGrp="1"/>
          </p:cNvSpPr>
          <p:nvPr>
            <p:ph type="pic" sz="quarter" idx="31"/>
          </p:nvPr>
        </p:nvSpPr>
        <p:spPr>
          <a:xfrm>
            <a:off x="9001173" y="1686396"/>
            <a:ext cx="1387475" cy="1387475"/>
          </a:xfrm>
          <a:prstGeom prst="ellipse">
            <a:avLst/>
          </a:prstGeom>
        </p:spPr>
        <p:txBody>
          <a:bodyPr anchor="ctr"/>
          <a:lstStyle>
            <a:lvl1pPr marL="0" indent="0" algn="ctr">
              <a:buNone/>
              <a:defRPr sz="1600"/>
            </a:lvl1pPr>
          </a:lstStyle>
          <a:p>
            <a:r>
              <a:rPr lang="en-GB"/>
              <a:t>Click icon to add picture</a:t>
            </a:r>
            <a:endParaRPr lang="en-US"/>
          </a:p>
        </p:txBody>
      </p:sp>
      <p:pic>
        <p:nvPicPr>
          <p:cNvPr id="29" name="Bilde 3">
            <a:extLst>
              <a:ext uri="{FF2B5EF4-FFF2-40B4-BE49-F238E27FC236}">
                <a16:creationId xmlns:a16="http://schemas.microsoft.com/office/drawing/2014/main" id="{2D4B3CC7-6177-04CF-F34E-5EB758235AE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8FB02BF7-CD56-E79D-DDC8-97850F67C805}"/>
              </a:ext>
            </a:extLst>
          </p:cNvPr>
          <p:cNvSpPr>
            <a:spLocks noGrp="1"/>
          </p:cNvSpPr>
          <p:nvPr>
            <p:ph type="dt" sz="half" idx="16"/>
          </p:nvPr>
        </p:nvSpPr>
        <p:spPr>
          <a:xfrm>
            <a:off x="2303627" y="6492875"/>
            <a:ext cx="528585" cy="365125"/>
          </a:xfrm>
        </p:spPr>
        <p:txBody>
          <a:bodyPr/>
          <a:lstStyle/>
          <a:p>
            <a:fld id="{A775A5A2-EDCE-BB40-B317-18343E69885D}" type="datetime1">
              <a:rPr lang="nb-NO" smtClean="0"/>
              <a:t>20.08.2024</a:t>
            </a:fld>
            <a:endParaRPr lang="en-US"/>
          </a:p>
        </p:txBody>
      </p:sp>
      <p:sp>
        <p:nvSpPr>
          <p:cNvPr id="30" name="Footer Placeholder 3">
            <a:extLst>
              <a:ext uri="{FF2B5EF4-FFF2-40B4-BE49-F238E27FC236}">
                <a16:creationId xmlns:a16="http://schemas.microsoft.com/office/drawing/2014/main" id="{0713B773-2E0A-E988-8286-745F4694DCE1}"/>
              </a:ext>
            </a:extLst>
          </p:cNvPr>
          <p:cNvSpPr>
            <a:spLocks noGrp="1"/>
          </p:cNvSpPr>
          <p:nvPr>
            <p:ph type="ftr" sz="quarter" idx="17"/>
          </p:nvPr>
        </p:nvSpPr>
        <p:spPr>
          <a:xfrm>
            <a:off x="175116" y="6492875"/>
            <a:ext cx="2107096" cy="365125"/>
          </a:xfrm>
        </p:spPr>
        <p:txBody>
          <a:bodyPr/>
          <a:lstStyle/>
          <a:p>
            <a:r>
              <a:rPr lang="en-US"/>
              <a:t>© StrongPoint 2022</a:t>
            </a:r>
          </a:p>
        </p:txBody>
      </p:sp>
      <p:sp>
        <p:nvSpPr>
          <p:cNvPr id="35" name="Slide Number Placeholder 4">
            <a:extLst>
              <a:ext uri="{FF2B5EF4-FFF2-40B4-BE49-F238E27FC236}">
                <a16:creationId xmlns:a16="http://schemas.microsoft.com/office/drawing/2014/main" id="{6A77CE4C-F430-19AB-F402-F004842BAEF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3204440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tart page logo">
    <p:bg>
      <p:bgPr>
        <a:solidFill>
          <a:schemeClr val="accent1"/>
        </a:solidFill>
        <a:effectLst/>
      </p:bgPr>
    </p:bg>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02986883-6611-464E-A44F-2C88C009DE0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00718" y="1357984"/>
            <a:ext cx="6390564" cy="4142032"/>
          </a:xfrm>
          <a:prstGeom prst="rect">
            <a:avLst/>
          </a:prstGeom>
        </p:spPr>
      </p:pic>
    </p:spTree>
    <p:extLst>
      <p:ext uri="{BB962C8B-B14F-4D97-AF65-F5344CB8AC3E}">
        <p14:creationId xmlns:p14="http://schemas.microsoft.com/office/powerpoint/2010/main" val="18731821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tart page 3">
    <p:spTree>
      <p:nvGrpSpPr>
        <p:cNvPr id="1" name=""/>
        <p:cNvGrpSpPr/>
        <p:nvPr/>
      </p:nvGrpSpPr>
      <p:grpSpPr>
        <a:xfrm>
          <a:off x="0" y="0"/>
          <a:ext cx="0" cy="0"/>
          <a:chOff x="0" y="0"/>
          <a:chExt cx="0" cy="0"/>
        </a:xfrm>
      </p:grpSpPr>
      <p:sp>
        <p:nvSpPr>
          <p:cNvPr id="3" name="!!Blue">
            <a:extLst>
              <a:ext uri="{FF2B5EF4-FFF2-40B4-BE49-F238E27FC236}">
                <a16:creationId xmlns:a16="http://schemas.microsoft.com/office/drawing/2014/main" id="{A9C13785-1488-437B-BE9E-873F1FAAF20D}"/>
              </a:ext>
            </a:extLst>
          </p:cNvPr>
          <p:cNvSpPr/>
          <p:nvPr userDrawn="1"/>
        </p:nvSpPr>
        <p:spPr>
          <a:xfrm>
            <a:off x="0" y="-32618"/>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cap="all" baseline="0" noProof="0">
              <a:latin typeface="Arial" panose="020B0604020202020204" pitchFamily="34" charset="0"/>
              <a:cs typeface="Arial" panose="020B0604020202020204" pitchFamily="34" charset="0"/>
            </a:endParaRPr>
          </a:p>
        </p:txBody>
      </p:sp>
      <p:sp>
        <p:nvSpPr>
          <p:cNvPr id="7" name="Title">
            <a:extLst>
              <a:ext uri="{FF2B5EF4-FFF2-40B4-BE49-F238E27FC236}">
                <a16:creationId xmlns:a16="http://schemas.microsoft.com/office/drawing/2014/main" id="{13294DAA-8C17-424F-8143-208C3FE914DC}"/>
              </a:ext>
            </a:extLst>
          </p:cNvPr>
          <p:cNvSpPr>
            <a:spLocks noGrp="1"/>
          </p:cNvSpPr>
          <p:nvPr>
            <p:ph type="body" sz="quarter" idx="10" hasCustomPrompt="1"/>
          </p:nvPr>
        </p:nvSpPr>
        <p:spPr>
          <a:xfrm>
            <a:off x="0" y="4995863"/>
            <a:ext cx="12192000" cy="1143000"/>
          </a:xfrm>
          <a:prstGeom prst="rect">
            <a:avLst/>
          </a:prstGeom>
        </p:spPr>
        <p:txBody>
          <a:bodyPr/>
          <a:lstStyle>
            <a:lvl1pPr marL="0" indent="0" algn="ctr">
              <a:buNone/>
              <a:defRPr sz="2000" cap="all" spc="600" baseline="0">
                <a:solidFill>
                  <a:schemeClr val="bg1"/>
                </a:solidFill>
                <a:latin typeface="Arial" panose="020B0604020202020204" pitchFamily="34" charset="0"/>
                <a:cs typeface="Arial" panose="020B0604020202020204" pitchFamily="34" charset="0"/>
              </a:defRPr>
            </a:lvl1pPr>
          </a:lstStyle>
          <a:p>
            <a:pPr lvl="0"/>
            <a:r>
              <a:rPr lang="en-GB" noProof="0"/>
              <a:t>Main title here</a:t>
            </a:r>
          </a:p>
        </p:txBody>
      </p:sp>
      <p:pic>
        <p:nvPicPr>
          <p:cNvPr id="4" name="Bilde 3">
            <a:extLst>
              <a:ext uri="{FF2B5EF4-FFF2-40B4-BE49-F238E27FC236}">
                <a16:creationId xmlns:a16="http://schemas.microsoft.com/office/drawing/2014/main" id="{54C0EBEF-EDC7-498E-8550-F88AC37723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9708" y="2286000"/>
            <a:ext cx="7472584" cy="1306446"/>
          </a:xfrm>
          <a:prstGeom prst="rect">
            <a:avLst/>
          </a:prstGeom>
        </p:spPr>
      </p:pic>
    </p:spTree>
    <p:extLst>
      <p:ext uri="{BB962C8B-B14F-4D97-AF65-F5344CB8AC3E}">
        <p14:creationId xmlns:p14="http://schemas.microsoft.com/office/powerpoint/2010/main" val="3781458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tart Page 4">
    <p:spTree>
      <p:nvGrpSpPr>
        <p:cNvPr id="1" name=""/>
        <p:cNvGrpSpPr/>
        <p:nvPr/>
      </p:nvGrpSpPr>
      <p:grpSpPr>
        <a:xfrm>
          <a:off x="0" y="0"/>
          <a:ext cx="0" cy="0"/>
          <a:chOff x="0" y="0"/>
          <a:chExt cx="0" cy="0"/>
        </a:xfrm>
      </p:grpSpPr>
      <p:pic>
        <p:nvPicPr>
          <p:cNvPr id="10" name="Background Picture" descr="Et bilde som inneholder person, mat, bygning, stående&#10;&#10;Automatisk generert beskrivelse">
            <a:extLst>
              <a:ext uri="{FF2B5EF4-FFF2-40B4-BE49-F238E27FC236}">
                <a16:creationId xmlns:a16="http://schemas.microsoft.com/office/drawing/2014/main" id="{CDBD00A1-FA82-4DFE-84DF-F8297B7A1FB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35000"/>
            <a:ext cx="12192000" cy="8128000"/>
          </a:xfrm>
          <a:prstGeom prst="rect">
            <a:avLst/>
          </a:prstGeom>
        </p:spPr>
      </p:pic>
      <p:sp>
        <p:nvSpPr>
          <p:cNvPr id="7" name="Title">
            <a:extLst>
              <a:ext uri="{FF2B5EF4-FFF2-40B4-BE49-F238E27FC236}">
                <a16:creationId xmlns:a16="http://schemas.microsoft.com/office/drawing/2014/main" id="{13294DAA-8C17-424F-8143-208C3FE914DC}"/>
              </a:ext>
            </a:extLst>
          </p:cNvPr>
          <p:cNvSpPr>
            <a:spLocks noGrp="1"/>
          </p:cNvSpPr>
          <p:nvPr>
            <p:ph type="body" sz="quarter" idx="10" hasCustomPrompt="1"/>
          </p:nvPr>
        </p:nvSpPr>
        <p:spPr>
          <a:xfrm>
            <a:off x="0" y="5715000"/>
            <a:ext cx="12192000" cy="1143000"/>
          </a:xfrm>
          <a:prstGeom prst="rect">
            <a:avLst/>
          </a:prstGeom>
        </p:spPr>
        <p:txBody>
          <a:bodyPr/>
          <a:lstStyle>
            <a:lvl1pPr marL="0" indent="0" algn="ctr">
              <a:buNone/>
              <a:defRPr sz="2800" b="1" i="0" cap="all" spc="600" baseline="0">
                <a:solidFill>
                  <a:schemeClr val="tx1"/>
                </a:solidFill>
                <a:latin typeface="Helvetica" pitchFamily="2" charset="0"/>
                <a:cs typeface="Arial" panose="020B0604020202020204" pitchFamily="34" charset="0"/>
              </a:defRPr>
            </a:lvl1pPr>
          </a:lstStyle>
          <a:p>
            <a:pPr lvl="0"/>
            <a:r>
              <a:rPr lang="en-GB" noProof="0"/>
              <a:t>Main Title here</a:t>
            </a:r>
          </a:p>
        </p:txBody>
      </p:sp>
      <p:sp>
        <p:nvSpPr>
          <p:cNvPr id="6" name="!!Yellow">
            <a:extLst>
              <a:ext uri="{FF2B5EF4-FFF2-40B4-BE49-F238E27FC236}">
                <a16:creationId xmlns:a16="http://schemas.microsoft.com/office/drawing/2014/main" id="{CCFBDB04-BE7C-451A-8C1F-F17167D5B954}"/>
              </a:ext>
            </a:extLst>
          </p:cNvPr>
          <p:cNvSpPr/>
          <p:nvPr userDrawn="1"/>
        </p:nvSpPr>
        <p:spPr>
          <a:xfrm rot="16200000">
            <a:off x="5493659" y="4587989"/>
            <a:ext cx="1661884" cy="15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17" name="!!Blue">
            <a:extLst>
              <a:ext uri="{FF2B5EF4-FFF2-40B4-BE49-F238E27FC236}">
                <a16:creationId xmlns:a16="http://schemas.microsoft.com/office/drawing/2014/main" id="{DD8018AE-B7C4-4C53-9CAC-C9195BAFD01B}"/>
              </a:ext>
            </a:extLst>
          </p:cNvPr>
          <p:cNvSpPr/>
          <p:nvPr userDrawn="1"/>
        </p:nvSpPr>
        <p:spPr>
          <a:xfrm>
            <a:off x="0" y="3833248"/>
            <a:ext cx="6248400" cy="16618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pic>
        <p:nvPicPr>
          <p:cNvPr id="9" name="Bilde 8">
            <a:extLst>
              <a:ext uri="{FF2B5EF4-FFF2-40B4-BE49-F238E27FC236}">
                <a16:creationId xmlns:a16="http://schemas.microsoft.com/office/drawing/2014/main" id="{96D94C91-9E30-47C8-A221-62DCC86B5E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1762" y="4224965"/>
            <a:ext cx="5084878" cy="888999"/>
          </a:xfrm>
          <a:prstGeom prst="rect">
            <a:avLst/>
          </a:prstGeom>
        </p:spPr>
      </p:pic>
    </p:spTree>
    <p:extLst>
      <p:ext uri="{BB962C8B-B14F-4D97-AF65-F5344CB8AC3E}">
        <p14:creationId xmlns:p14="http://schemas.microsoft.com/office/powerpoint/2010/main" val="39083863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ly hea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AFE559D-504A-4E75-89C9-0313E00C5F7E}"/>
              </a:ext>
            </a:extLst>
          </p:cNvPr>
          <p:cNvSpPr>
            <a:spLocks noGrp="1"/>
          </p:cNvSpPr>
          <p:nvPr>
            <p:ph type="title" hasCustomPrompt="1"/>
          </p:nvPr>
        </p:nvSpPr>
        <p:spPr>
          <a:xfrm>
            <a:off x="838200" y="365125"/>
            <a:ext cx="10515600" cy="1325563"/>
          </a:xfrm>
          <a:prstGeom prst="rect">
            <a:avLst/>
          </a:prstGeom>
        </p:spPr>
        <p:txBody>
          <a:bodyPr/>
          <a:lstStyle>
            <a:lvl1pPr>
              <a:defRPr sz="3200" b="0" i="0">
                <a:solidFill>
                  <a:schemeClr val="accent5"/>
                </a:solidFill>
                <a:latin typeface="Helvetica Light" panose="020B0403020202020204" pitchFamily="34" charset="0"/>
                <a:cs typeface="Arial" panose="020B0604020202020204" pitchFamily="34" charset="0"/>
              </a:defRPr>
            </a:lvl1pPr>
          </a:lstStyle>
          <a:p>
            <a:r>
              <a:rPr lang="en-GB" noProof="0"/>
              <a:t>Click to edit Master title style</a:t>
            </a:r>
          </a:p>
        </p:txBody>
      </p:sp>
      <p:pic>
        <p:nvPicPr>
          <p:cNvPr id="4" name="Bilde 3">
            <a:extLst>
              <a:ext uri="{FF2B5EF4-FFF2-40B4-BE49-F238E27FC236}">
                <a16:creationId xmlns:a16="http://schemas.microsoft.com/office/drawing/2014/main" id="{346DB335-1FBA-47A6-A198-403FA75B3D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52521" y="6430245"/>
            <a:ext cx="1825937" cy="319232"/>
          </a:xfrm>
          <a:prstGeom prst="rect">
            <a:avLst/>
          </a:prstGeom>
        </p:spPr>
      </p:pic>
    </p:spTree>
    <p:extLst>
      <p:ext uri="{BB962C8B-B14F-4D97-AF65-F5344CB8AC3E}">
        <p14:creationId xmlns:p14="http://schemas.microsoft.com/office/powerpoint/2010/main" val="6745087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ull picture, Title">
    <p:bg>
      <p:bgPr>
        <a:solidFill>
          <a:schemeClr val="bg1"/>
        </a:solidFill>
        <a:effectLst/>
      </p:bgPr>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158D014F-728F-437C-9904-BA1DBBEB82AA}"/>
              </a:ext>
            </a:extLst>
          </p:cNvPr>
          <p:cNvSpPr>
            <a:spLocks noGrp="1"/>
          </p:cNvSpPr>
          <p:nvPr>
            <p:ph type="pic" sz="quarter" idx="10" hasCustomPrompt="1"/>
          </p:nvPr>
        </p:nvSpPr>
        <p:spPr>
          <a:xfrm>
            <a:off x="0" y="-28707"/>
            <a:ext cx="12192000" cy="4661452"/>
          </a:xfrm>
          <a:prstGeom prst="rect">
            <a:avLst/>
          </a:prstGeom>
          <a:no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GB" noProof="0"/>
              <a:t>Image Placeholder</a:t>
            </a:r>
          </a:p>
        </p:txBody>
      </p:sp>
      <p:sp>
        <p:nvSpPr>
          <p:cNvPr id="5" name="!!Blue">
            <a:extLst>
              <a:ext uri="{FF2B5EF4-FFF2-40B4-BE49-F238E27FC236}">
                <a16:creationId xmlns:a16="http://schemas.microsoft.com/office/drawing/2014/main" id="{5E24F489-E6BB-4384-B378-663B8C919357}"/>
              </a:ext>
            </a:extLst>
          </p:cNvPr>
          <p:cNvSpPr/>
          <p:nvPr userDrawn="1"/>
        </p:nvSpPr>
        <p:spPr>
          <a:xfrm>
            <a:off x="0" y="4616322"/>
            <a:ext cx="12192000" cy="21965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cxnSp>
        <p:nvCxnSpPr>
          <p:cNvPr id="7" name="!!Yellow">
            <a:extLst>
              <a:ext uri="{FF2B5EF4-FFF2-40B4-BE49-F238E27FC236}">
                <a16:creationId xmlns:a16="http://schemas.microsoft.com/office/drawing/2014/main" id="{DE98A62D-C220-4B5B-AD26-81FFF33E5164}"/>
              </a:ext>
            </a:extLst>
          </p:cNvPr>
          <p:cNvCxnSpPr>
            <a:cxnSpLocks/>
          </p:cNvCxnSpPr>
          <p:nvPr userDrawn="1"/>
        </p:nvCxnSpPr>
        <p:spPr>
          <a:xfrm>
            <a:off x="10477500" y="5348056"/>
            <a:ext cx="1714500" cy="0"/>
          </a:xfrm>
          <a:prstGeom prst="line">
            <a:avLst/>
          </a:prstGeom>
          <a:ln w="149225">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Plassholder for tekst 8">
            <a:extLst>
              <a:ext uri="{FF2B5EF4-FFF2-40B4-BE49-F238E27FC236}">
                <a16:creationId xmlns:a16="http://schemas.microsoft.com/office/drawing/2014/main" id="{38C7107A-0111-432E-8F72-D19B67E72E16}"/>
              </a:ext>
            </a:extLst>
          </p:cNvPr>
          <p:cNvSpPr>
            <a:spLocks noGrp="1"/>
          </p:cNvSpPr>
          <p:nvPr>
            <p:ph type="body" sz="quarter" idx="11" hasCustomPrompt="1"/>
          </p:nvPr>
        </p:nvSpPr>
        <p:spPr>
          <a:xfrm>
            <a:off x="1066800" y="4959624"/>
            <a:ext cx="9410700" cy="160020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3600" cap="all" baseline="0">
                <a:solidFill>
                  <a:schemeClr val="bg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prstClr val="white"/>
                </a:solidFill>
                <a:effectLst/>
                <a:uLnTx/>
                <a:uFillTx/>
                <a:latin typeface="+mn-lt"/>
                <a:ea typeface="Roboto Condensed" panose="02000000000000000000" pitchFamily="2" charset="0"/>
                <a:cs typeface="Arial" panose="020B0604020202020204" pitchFamily="34" charset="0"/>
              </a:rPr>
              <a:t>PRESENTATION TITLE</a:t>
            </a:r>
            <a:br>
              <a:rPr kumimoji="0" lang="en-GB" sz="4800" b="1" i="0" u="none" strike="noStrike" kern="1200" cap="none" spc="0" normalizeH="0" baseline="0" noProof="0">
                <a:ln>
                  <a:noFill/>
                </a:ln>
                <a:solidFill>
                  <a:prstClr val="white"/>
                </a:solidFill>
                <a:effectLst/>
                <a:uLnTx/>
                <a:uFillTx/>
                <a:latin typeface="+mn-lt"/>
                <a:ea typeface="Roboto Condensed" panose="02000000000000000000" pitchFamily="2" charset="0"/>
                <a:cs typeface="Arial" panose="020B0604020202020204" pitchFamily="34" charset="0"/>
              </a:rPr>
            </a:br>
            <a:r>
              <a:rPr kumimoji="0" lang="en-GB" sz="4800" b="1" i="0" u="none" strike="noStrike" kern="1200" cap="none" spc="0" normalizeH="0" baseline="0" noProof="0">
                <a:ln>
                  <a:noFill/>
                </a:ln>
                <a:solidFill>
                  <a:prstClr val="white"/>
                </a:solidFill>
                <a:effectLst/>
                <a:uLnTx/>
                <a:uFillTx/>
                <a:latin typeface="+mn-lt"/>
                <a:ea typeface="Roboto Condensed" panose="02000000000000000000" pitchFamily="2" charset="0"/>
                <a:cs typeface="Arial" panose="020B0604020202020204" pitchFamily="34" charset="0"/>
              </a:rPr>
              <a:t>HERE</a:t>
            </a:r>
          </a:p>
          <a:p>
            <a:pPr lvl="0"/>
            <a:endParaRPr lang="en-GB" noProof="0"/>
          </a:p>
        </p:txBody>
      </p:sp>
    </p:spTree>
    <p:extLst>
      <p:ext uri="{BB962C8B-B14F-4D97-AF65-F5344CB8AC3E}">
        <p14:creationId xmlns:p14="http://schemas.microsoft.com/office/powerpoint/2010/main" val="10930570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nly hea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AFE559D-504A-4E75-89C9-0313E00C5F7E}"/>
              </a:ext>
            </a:extLst>
          </p:cNvPr>
          <p:cNvSpPr>
            <a:spLocks noGrp="1"/>
          </p:cNvSpPr>
          <p:nvPr>
            <p:ph type="title" hasCustomPrompt="1"/>
          </p:nvPr>
        </p:nvSpPr>
        <p:spPr>
          <a:xfrm>
            <a:off x="838200" y="365125"/>
            <a:ext cx="10515600" cy="1325563"/>
          </a:xfrm>
          <a:prstGeom prst="rect">
            <a:avLst/>
          </a:prstGeom>
        </p:spPr>
        <p:txBody>
          <a:bodyPr/>
          <a:lstStyle>
            <a:lvl1pPr>
              <a:defRPr sz="3200" b="0" i="0">
                <a:solidFill>
                  <a:schemeClr val="accent5"/>
                </a:solidFill>
                <a:latin typeface="Helvetica Light" panose="020B0403020202020204" pitchFamily="34" charset="0"/>
                <a:cs typeface="Arial" panose="020B0604020202020204" pitchFamily="34" charset="0"/>
              </a:defRPr>
            </a:lvl1pPr>
          </a:lstStyle>
          <a:p>
            <a:r>
              <a:rPr lang="en-GB" noProof="0"/>
              <a:t>Click to edit Master title style</a:t>
            </a:r>
          </a:p>
        </p:txBody>
      </p:sp>
      <p:pic>
        <p:nvPicPr>
          <p:cNvPr id="4" name="Bilde 3">
            <a:extLst>
              <a:ext uri="{FF2B5EF4-FFF2-40B4-BE49-F238E27FC236}">
                <a16:creationId xmlns:a16="http://schemas.microsoft.com/office/drawing/2014/main" id="{346DB335-1FBA-47A6-A198-403FA75B3D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52521" y="6430245"/>
            <a:ext cx="1825937" cy="319232"/>
          </a:xfrm>
          <a:prstGeom prst="rect">
            <a:avLst/>
          </a:prstGeom>
        </p:spPr>
      </p:pic>
    </p:spTree>
    <p:extLst>
      <p:ext uri="{BB962C8B-B14F-4D97-AF65-F5344CB8AC3E}">
        <p14:creationId xmlns:p14="http://schemas.microsoft.com/office/powerpoint/2010/main" val="18320491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c with logo 1">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8A7F36D4-7537-4D46-B416-5E096FF07DF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749" y="409861"/>
            <a:ext cx="1825937" cy="319232"/>
          </a:xfrm>
          <a:prstGeom prst="rect">
            <a:avLst/>
          </a:prstGeom>
        </p:spPr>
      </p:pic>
    </p:spTree>
    <p:extLst>
      <p:ext uri="{BB962C8B-B14F-4D97-AF65-F5344CB8AC3E}">
        <p14:creationId xmlns:p14="http://schemas.microsoft.com/office/powerpoint/2010/main" val="938070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out headlin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300163" y="602470"/>
            <a:ext cx="9658350" cy="4409440"/>
          </a:xfrm>
          <a:prstGeom prst="rect">
            <a:avLst/>
          </a:prstGeom>
        </p:spPr>
        <p:txBody>
          <a:bodyPr anchor="ctr">
            <a:normAutofit/>
          </a:bodyPr>
          <a:lstStyle>
            <a:lvl1pPr marL="0" indent="0" algn="ctr">
              <a:buNone/>
              <a:defRPr sz="4400" b="0" i="0">
                <a:solidFill>
                  <a:schemeClr val="accent5"/>
                </a:solidFill>
                <a:latin typeface="Helvetica Light" panose="020B0403020202020204" pitchFamily="34" charset="0"/>
                <a:cs typeface="Arial" panose="020B0604020202020204" pitchFamily="34" charset="0"/>
              </a:defRPr>
            </a:lvl1pPr>
            <a:lvl2pPr algn="ctr">
              <a:defRPr sz="2400"/>
            </a:lvl2pPr>
            <a:lvl3pPr algn="ctr">
              <a:defRPr sz="2000"/>
            </a:lvl3pPr>
            <a:lvl4pPr algn="ctr">
              <a:defRPr sz="1800"/>
            </a:lvl4pPr>
            <a:lvl5pPr algn="ctr">
              <a:defRPr sz="1800"/>
            </a:lvl5pPr>
          </a:lstStyle>
          <a:p>
            <a:pPr lvl="0"/>
            <a:r>
              <a:rPr lang="en-GB" noProof="0"/>
              <a:t>Click to edit Master text styles</a:t>
            </a:r>
          </a:p>
        </p:txBody>
      </p:sp>
      <p:pic>
        <p:nvPicPr>
          <p:cNvPr id="5" name="Bilde 4">
            <a:extLst>
              <a:ext uri="{FF2B5EF4-FFF2-40B4-BE49-F238E27FC236}">
                <a16:creationId xmlns:a16="http://schemas.microsoft.com/office/drawing/2014/main" id="{BD3625BD-0F11-4BE2-9CED-1CFE1DB823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52521" y="6430245"/>
            <a:ext cx="1825937" cy="319232"/>
          </a:xfrm>
          <a:prstGeom prst="rect">
            <a:avLst/>
          </a:prstGeom>
        </p:spPr>
      </p:pic>
    </p:spTree>
    <p:extLst>
      <p:ext uri="{BB962C8B-B14F-4D97-AF65-F5344CB8AC3E}">
        <p14:creationId xmlns:p14="http://schemas.microsoft.com/office/powerpoint/2010/main" val="4298146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c">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80217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Blanc with logo 1">
    <p:spTree>
      <p:nvGrpSpPr>
        <p:cNvPr id="1" name=""/>
        <p:cNvGrpSpPr/>
        <p:nvPr/>
      </p:nvGrpSpPr>
      <p:grpSpPr>
        <a:xfrm>
          <a:off x="0" y="0"/>
          <a:ext cx="0" cy="0"/>
          <a:chOff x="0" y="0"/>
          <a:chExt cx="0" cy="0"/>
        </a:xfrm>
      </p:grpSpPr>
      <p:sp>
        <p:nvSpPr>
          <p:cNvPr id="11" name="Plassholder for bilde 10">
            <a:extLst>
              <a:ext uri="{FF2B5EF4-FFF2-40B4-BE49-F238E27FC236}">
                <a16:creationId xmlns:a16="http://schemas.microsoft.com/office/drawing/2014/main" id="{59F8AE11-E06E-436F-96C7-F71AFAA57FFF}"/>
              </a:ext>
            </a:extLst>
          </p:cNvPr>
          <p:cNvSpPr>
            <a:spLocks noGrp="1"/>
          </p:cNvSpPr>
          <p:nvPr>
            <p:ph type="pic" sz="quarter" idx="10" hasCustomPrompt="1"/>
          </p:nvPr>
        </p:nvSpPr>
        <p:spPr>
          <a:xfrm>
            <a:off x="0" y="982755"/>
            <a:ext cx="6016212" cy="5219923"/>
          </a:xfrm>
          <a:prstGeom prst="rect">
            <a:avLst/>
          </a:prstGeom>
        </p:spPr>
        <p:txBody>
          <a:bodyPr anchor="ctr"/>
          <a:lstStyle>
            <a:lvl1pPr marL="0" indent="0" algn="ctr">
              <a:buNone/>
              <a:defRPr b="0" i="0">
                <a:latin typeface="Helvetica" pitchFamily="2" charset="0"/>
              </a:defRPr>
            </a:lvl1pPr>
          </a:lstStyle>
          <a:p>
            <a:r>
              <a:rPr lang="en-GB" noProof="0"/>
              <a:t>Picture</a:t>
            </a:r>
          </a:p>
        </p:txBody>
      </p:sp>
      <p:sp>
        <p:nvSpPr>
          <p:cNvPr id="9" name="!!Blue">
            <a:extLst>
              <a:ext uri="{FF2B5EF4-FFF2-40B4-BE49-F238E27FC236}">
                <a16:creationId xmlns:a16="http://schemas.microsoft.com/office/drawing/2014/main" id="{907138BB-FD71-4DDA-9F55-1FF4CDA5543D}"/>
              </a:ext>
            </a:extLst>
          </p:cNvPr>
          <p:cNvSpPr/>
          <p:nvPr userDrawn="1"/>
        </p:nvSpPr>
        <p:spPr>
          <a:xfrm>
            <a:off x="6016596" y="982416"/>
            <a:ext cx="182593" cy="52202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 name="Rectangle 7">
            <a:extLst>
              <a:ext uri="{FF2B5EF4-FFF2-40B4-BE49-F238E27FC236}">
                <a16:creationId xmlns:a16="http://schemas.microsoft.com/office/drawing/2014/main" id="{6103F436-6829-4D28-B07F-F2B65F705AFE}"/>
              </a:ext>
            </a:extLst>
          </p:cNvPr>
          <p:cNvSpPr/>
          <p:nvPr userDrawn="1"/>
        </p:nvSpPr>
        <p:spPr>
          <a:xfrm>
            <a:off x="6199573" y="975656"/>
            <a:ext cx="5992427" cy="52270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13" name="Plassholder for tekst 12">
            <a:extLst>
              <a:ext uri="{FF2B5EF4-FFF2-40B4-BE49-F238E27FC236}">
                <a16:creationId xmlns:a16="http://schemas.microsoft.com/office/drawing/2014/main" id="{E457044F-02F3-455A-A33C-E43CB2EAE94C}"/>
              </a:ext>
            </a:extLst>
          </p:cNvPr>
          <p:cNvSpPr>
            <a:spLocks noGrp="1"/>
          </p:cNvSpPr>
          <p:nvPr>
            <p:ph type="body" sz="quarter" idx="11" hasCustomPrompt="1"/>
          </p:nvPr>
        </p:nvSpPr>
        <p:spPr>
          <a:xfrm>
            <a:off x="6812155" y="1644200"/>
            <a:ext cx="4767262" cy="120015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3600" b="1" i="0" cap="all" baseline="0">
                <a:solidFill>
                  <a:schemeClr val="accent1"/>
                </a:solidFill>
                <a:latin typeface="Helvetica" pitchFamily="2" charset="0"/>
              </a:defRPr>
            </a:lvl1pPr>
          </a:lstStyle>
          <a:p>
            <a:pPr lvl="0"/>
            <a:r>
              <a:rPr lang="en-GB" noProof="0"/>
              <a:t>PRESENTATION TITLE HERE</a:t>
            </a:r>
          </a:p>
          <a:p>
            <a:pPr lvl="0"/>
            <a:endParaRPr lang="en-GB" noProof="0"/>
          </a:p>
        </p:txBody>
      </p:sp>
      <p:sp>
        <p:nvSpPr>
          <p:cNvPr id="17" name="Plassholder for tekst 16">
            <a:extLst>
              <a:ext uri="{FF2B5EF4-FFF2-40B4-BE49-F238E27FC236}">
                <a16:creationId xmlns:a16="http://schemas.microsoft.com/office/drawing/2014/main" id="{15724569-D2C2-48A0-9B43-28E456B68EC9}"/>
              </a:ext>
            </a:extLst>
          </p:cNvPr>
          <p:cNvSpPr>
            <a:spLocks noGrp="1"/>
          </p:cNvSpPr>
          <p:nvPr>
            <p:ph type="body" sz="quarter" idx="13" hasCustomPrompt="1"/>
          </p:nvPr>
        </p:nvSpPr>
        <p:spPr>
          <a:xfrm>
            <a:off x="6812155" y="3589168"/>
            <a:ext cx="4767262" cy="40005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000" b="0" i="0">
                <a:latin typeface="Helvetica Light" panose="020B0403020202020204" pitchFamily="34" charset="0"/>
                <a:cs typeface="Arial" panose="020B0604020202020204" pitchFamily="34" charset="0"/>
              </a:defRPr>
            </a:lvl1pPr>
          </a:lstStyle>
          <a:p>
            <a:pPr lvl="0"/>
            <a:r>
              <a:rPr lang="en-GB" noProof="0" err="1"/>
              <a:t>Expertice</a:t>
            </a:r>
            <a:r>
              <a:rPr lang="en-GB" noProof="0"/>
              <a:t> you need. Service deserved!</a:t>
            </a:r>
          </a:p>
        </p:txBody>
      </p:sp>
      <p:pic>
        <p:nvPicPr>
          <p:cNvPr id="24" name="Bilde 23">
            <a:extLst>
              <a:ext uri="{FF2B5EF4-FFF2-40B4-BE49-F238E27FC236}">
                <a16:creationId xmlns:a16="http://schemas.microsoft.com/office/drawing/2014/main" id="{037B8367-F3A2-4AD3-83BE-6E150F3918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749" y="412922"/>
            <a:ext cx="1825937" cy="319232"/>
          </a:xfrm>
          <a:prstGeom prst="rect">
            <a:avLst/>
          </a:prstGeom>
        </p:spPr>
      </p:pic>
      <p:sp>
        <p:nvSpPr>
          <p:cNvPr id="3" name="Plassholder for tekst 2">
            <a:extLst>
              <a:ext uri="{FF2B5EF4-FFF2-40B4-BE49-F238E27FC236}">
                <a16:creationId xmlns:a16="http://schemas.microsoft.com/office/drawing/2014/main" id="{41C4059B-2100-4BD2-8E98-9BBE48FD6F20}"/>
              </a:ext>
            </a:extLst>
          </p:cNvPr>
          <p:cNvSpPr>
            <a:spLocks noGrp="1"/>
          </p:cNvSpPr>
          <p:nvPr>
            <p:ph type="body" sz="quarter" idx="14" hasCustomPrompt="1"/>
          </p:nvPr>
        </p:nvSpPr>
        <p:spPr>
          <a:xfrm>
            <a:off x="6811963" y="4178300"/>
            <a:ext cx="4791075" cy="1774825"/>
          </a:xfrm>
          <a:prstGeom prst="rect">
            <a:avLst/>
          </a:prstGeom>
        </p:spPr>
        <p:txBody>
          <a:bodyPr/>
          <a:lstStyle>
            <a:lvl1pPr marL="0" indent="0">
              <a:buNone/>
              <a:defRPr sz="1400" b="0" i="0">
                <a:latin typeface="Helvetica Light" panose="020B0403020202020204" pitchFamily="34" charset="0"/>
              </a:defRPr>
            </a:lvl1pPr>
          </a:lstStyle>
          <a:p>
            <a:pPr lvl="0"/>
            <a:r>
              <a:rPr lang="en-GB" noProof="0"/>
              <a:t>Lorem ipsum </a:t>
            </a:r>
            <a:r>
              <a:rPr lang="en-GB" noProof="0" err="1"/>
              <a:t>dolor</a:t>
            </a:r>
            <a:r>
              <a:rPr lang="en-GB" noProof="0"/>
              <a:t> sit </a:t>
            </a:r>
            <a:r>
              <a:rPr lang="en-GB" noProof="0" err="1"/>
              <a:t>amet</a:t>
            </a:r>
            <a:r>
              <a:rPr lang="en-GB" noProof="0"/>
              <a:t>, </a:t>
            </a:r>
            <a:r>
              <a:rPr lang="en-GB" noProof="0" err="1"/>
              <a:t>consectetur</a:t>
            </a:r>
            <a:r>
              <a:rPr lang="en-GB" noProof="0"/>
              <a:t> </a:t>
            </a:r>
            <a:r>
              <a:rPr lang="en-GB" noProof="0" err="1"/>
              <a:t>adipiscing</a:t>
            </a:r>
            <a:r>
              <a:rPr lang="en-GB" noProof="0"/>
              <a:t> </a:t>
            </a:r>
            <a:r>
              <a:rPr lang="en-GB" noProof="0" err="1"/>
              <a:t>elit</a:t>
            </a:r>
            <a:r>
              <a:rPr lang="en-GB" noProof="0"/>
              <a:t>. </a:t>
            </a:r>
            <a:r>
              <a:rPr lang="en-GB" noProof="0" err="1"/>
              <a:t>Pellentesque</a:t>
            </a:r>
            <a:r>
              <a:rPr lang="en-GB" noProof="0"/>
              <a:t> </a:t>
            </a:r>
            <a:r>
              <a:rPr lang="en-GB" noProof="0" err="1"/>
              <a:t>scelerisque</a:t>
            </a:r>
            <a:r>
              <a:rPr lang="en-GB" noProof="0"/>
              <a:t> </a:t>
            </a:r>
            <a:r>
              <a:rPr lang="en-GB" noProof="0" err="1"/>
              <a:t>malesuada</a:t>
            </a:r>
            <a:r>
              <a:rPr lang="en-GB" noProof="0"/>
              <a:t> libero a </a:t>
            </a:r>
            <a:r>
              <a:rPr lang="en-GB" noProof="0" err="1"/>
              <a:t>pellentesque</a:t>
            </a:r>
            <a:r>
              <a:rPr lang="en-GB" noProof="0"/>
              <a:t>. Morbi </a:t>
            </a:r>
            <a:r>
              <a:rPr lang="en-GB" noProof="0" err="1"/>
              <a:t>orci</a:t>
            </a:r>
            <a:r>
              <a:rPr lang="en-GB" noProof="0"/>
              <a:t> dui, fermentum </a:t>
            </a:r>
            <a:r>
              <a:rPr lang="en-GB" noProof="0" err="1"/>
              <a:t>eget</a:t>
            </a:r>
            <a:r>
              <a:rPr lang="en-GB" noProof="0"/>
              <a:t> </a:t>
            </a:r>
            <a:r>
              <a:rPr lang="en-GB" noProof="0" err="1"/>
              <a:t>lectus</a:t>
            </a:r>
            <a:r>
              <a:rPr lang="en-GB" noProof="0"/>
              <a:t> </a:t>
            </a:r>
            <a:r>
              <a:rPr lang="en-GB" noProof="0" err="1"/>
              <a:t>ornare</a:t>
            </a:r>
            <a:r>
              <a:rPr lang="en-GB" noProof="0"/>
              <a:t>, </a:t>
            </a:r>
            <a:r>
              <a:rPr lang="en-GB" noProof="0" err="1"/>
              <a:t>viverra</a:t>
            </a:r>
            <a:r>
              <a:rPr lang="en-GB" noProof="0"/>
              <a:t> </a:t>
            </a:r>
            <a:r>
              <a:rPr lang="en-GB" noProof="0" err="1"/>
              <a:t>dignissim</a:t>
            </a:r>
            <a:r>
              <a:rPr lang="en-GB" noProof="0"/>
              <a:t> </a:t>
            </a:r>
            <a:r>
              <a:rPr lang="en-GB" noProof="0" err="1"/>
              <a:t>risus</a:t>
            </a:r>
            <a:r>
              <a:rPr lang="en-GB" noProof="0"/>
              <a:t>. </a:t>
            </a:r>
            <a:r>
              <a:rPr lang="en-GB" noProof="0" err="1"/>
              <a:t>Donec</a:t>
            </a:r>
            <a:r>
              <a:rPr lang="en-GB" noProof="0"/>
              <a:t> lacinia </a:t>
            </a:r>
            <a:r>
              <a:rPr lang="en-GB" noProof="0" err="1"/>
              <a:t>neque</a:t>
            </a:r>
            <a:r>
              <a:rPr lang="en-GB" noProof="0"/>
              <a:t> non </a:t>
            </a:r>
            <a:r>
              <a:rPr lang="en-GB" noProof="0" err="1"/>
              <a:t>velit</a:t>
            </a:r>
            <a:r>
              <a:rPr lang="en-GB" noProof="0"/>
              <a:t> dictum </a:t>
            </a:r>
            <a:r>
              <a:rPr lang="en-GB" noProof="0" err="1"/>
              <a:t>tincidunt</a:t>
            </a:r>
            <a:r>
              <a:rPr lang="en-GB" noProof="0"/>
              <a:t>. </a:t>
            </a:r>
            <a:r>
              <a:rPr lang="en-GB" noProof="0" err="1"/>
              <a:t>Etiam</a:t>
            </a:r>
            <a:r>
              <a:rPr lang="en-GB" noProof="0"/>
              <a:t> </a:t>
            </a:r>
            <a:r>
              <a:rPr lang="en-GB" noProof="0" err="1"/>
              <a:t>lacus</a:t>
            </a:r>
            <a:r>
              <a:rPr lang="en-GB" noProof="0"/>
              <a:t> </a:t>
            </a:r>
            <a:r>
              <a:rPr lang="en-GB" noProof="0" err="1"/>
              <a:t>neque</a:t>
            </a:r>
            <a:r>
              <a:rPr lang="en-GB" noProof="0"/>
              <a:t>, </a:t>
            </a:r>
            <a:r>
              <a:rPr lang="en-GB" noProof="0" err="1"/>
              <a:t>mattis</a:t>
            </a:r>
            <a:r>
              <a:rPr lang="en-GB" noProof="0"/>
              <a:t> </a:t>
            </a:r>
            <a:r>
              <a:rPr lang="en-GB" noProof="0" err="1"/>
              <a:t>ut</a:t>
            </a:r>
            <a:r>
              <a:rPr lang="en-GB" noProof="0"/>
              <a:t> </a:t>
            </a:r>
            <a:r>
              <a:rPr lang="en-GB" noProof="0" err="1"/>
              <a:t>sem</a:t>
            </a:r>
            <a:r>
              <a:rPr lang="en-GB" noProof="0"/>
              <a:t> sit </a:t>
            </a:r>
            <a:r>
              <a:rPr lang="en-GB" noProof="0" err="1"/>
              <a:t>amet</a:t>
            </a:r>
            <a:r>
              <a:rPr lang="en-GB" noProof="0"/>
              <a:t>, </a:t>
            </a:r>
            <a:r>
              <a:rPr lang="en-GB" noProof="0" err="1"/>
              <a:t>accumsan</a:t>
            </a:r>
            <a:r>
              <a:rPr lang="en-GB" noProof="0"/>
              <a:t> </a:t>
            </a:r>
            <a:r>
              <a:rPr lang="en-GB" noProof="0" err="1"/>
              <a:t>egestas</a:t>
            </a:r>
            <a:r>
              <a:rPr lang="en-GB" noProof="0"/>
              <a:t> </a:t>
            </a:r>
            <a:r>
              <a:rPr lang="en-GB" noProof="0" err="1"/>
              <a:t>nulla</a:t>
            </a:r>
            <a:r>
              <a:rPr lang="en-GB" noProof="0"/>
              <a:t>. </a:t>
            </a:r>
            <a:r>
              <a:rPr lang="en-GB" noProof="0" err="1"/>
              <a:t>Nulla</a:t>
            </a:r>
            <a:r>
              <a:rPr lang="en-GB" noProof="0"/>
              <a:t> sit </a:t>
            </a:r>
            <a:r>
              <a:rPr lang="en-GB" noProof="0" err="1"/>
              <a:t>amet</a:t>
            </a:r>
            <a:r>
              <a:rPr lang="en-GB" noProof="0"/>
              <a:t> </a:t>
            </a:r>
            <a:r>
              <a:rPr lang="en-GB" noProof="0" err="1"/>
              <a:t>nulla</a:t>
            </a:r>
            <a:r>
              <a:rPr lang="en-GB" noProof="0"/>
              <a:t> </a:t>
            </a:r>
            <a:r>
              <a:rPr lang="en-GB" noProof="0" err="1"/>
              <a:t>commodo</a:t>
            </a:r>
            <a:r>
              <a:rPr lang="en-GB" noProof="0"/>
              <a:t>, </a:t>
            </a:r>
            <a:r>
              <a:rPr lang="en-GB" noProof="0" err="1"/>
              <a:t>elementum</a:t>
            </a:r>
            <a:r>
              <a:rPr lang="en-GB" noProof="0"/>
              <a:t> </a:t>
            </a:r>
            <a:r>
              <a:rPr lang="en-GB" noProof="0" err="1"/>
              <a:t>sapien</a:t>
            </a:r>
            <a:r>
              <a:rPr lang="en-GB" noProof="0"/>
              <a:t> </a:t>
            </a:r>
            <a:r>
              <a:rPr lang="en-GB" noProof="0" err="1"/>
              <a:t>eu</a:t>
            </a:r>
            <a:r>
              <a:rPr lang="en-GB" noProof="0"/>
              <a:t>, </a:t>
            </a:r>
            <a:r>
              <a:rPr lang="en-GB" noProof="0" err="1"/>
              <a:t>egestas</a:t>
            </a:r>
            <a:r>
              <a:rPr lang="en-GB" noProof="0"/>
              <a:t> </a:t>
            </a:r>
            <a:r>
              <a:rPr lang="en-GB" noProof="0" err="1"/>
              <a:t>purus</a:t>
            </a:r>
            <a:r>
              <a:rPr lang="en-GB" noProof="0"/>
              <a:t>. </a:t>
            </a:r>
          </a:p>
        </p:txBody>
      </p:sp>
    </p:spTree>
    <p:extLst>
      <p:ext uri="{BB962C8B-B14F-4D97-AF65-F5344CB8AC3E}">
        <p14:creationId xmlns:p14="http://schemas.microsoft.com/office/powerpoint/2010/main" val="35207551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51" name="Rectangle 10">
            <a:extLst>
              <a:ext uri="{FF2B5EF4-FFF2-40B4-BE49-F238E27FC236}">
                <a16:creationId xmlns:a16="http://schemas.microsoft.com/office/drawing/2014/main" id="{F55BAFD2-488E-4666-95BA-2E27E93B3D86}"/>
              </a:ext>
            </a:extLst>
          </p:cNvPr>
          <p:cNvSpPr/>
          <p:nvPr userDrawn="1"/>
        </p:nvSpPr>
        <p:spPr>
          <a:xfrm>
            <a:off x="7242052" y="1329796"/>
            <a:ext cx="3747559" cy="12989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i="0" noProof="0">
              <a:latin typeface="Helvetica" pitchFamily="2" charset="0"/>
              <a:cs typeface="Arial" panose="020B0604020202020204" pitchFamily="34" charset="0"/>
            </a:endParaRPr>
          </a:p>
        </p:txBody>
      </p:sp>
      <p:sp>
        <p:nvSpPr>
          <p:cNvPr id="53" name="!!Blue">
            <a:extLst>
              <a:ext uri="{FF2B5EF4-FFF2-40B4-BE49-F238E27FC236}">
                <a16:creationId xmlns:a16="http://schemas.microsoft.com/office/drawing/2014/main" id="{77930EB7-481C-44F0-97C3-9C5864AFA2D1}"/>
              </a:ext>
            </a:extLst>
          </p:cNvPr>
          <p:cNvSpPr/>
          <p:nvPr userDrawn="1"/>
        </p:nvSpPr>
        <p:spPr>
          <a:xfrm>
            <a:off x="7242052" y="2917580"/>
            <a:ext cx="3747559" cy="12989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5" name="Rectangle 17">
            <a:extLst>
              <a:ext uri="{FF2B5EF4-FFF2-40B4-BE49-F238E27FC236}">
                <a16:creationId xmlns:a16="http://schemas.microsoft.com/office/drawing/2014/main" id="{6A5350D8-C90C-4BAF-B507-455A8A5BA435}"/>
              </a:ext>
            </a:extLst>
          </p:cNvPr>
          <p:cNvSpPr/>
          <p:nvPr userDrawn="1"/>
        </p:nvSpPr>
        <p:spPr>
          <a:xfrm>
            <a:off x="7242052" y="4506306"/>
            <a:ext cx="3747559" cy="12989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 name="Rectangle 36">
            <a:extLst>
              <a:ext uri="{FF2B5EF4-FFF2-40B4-BE49-F238E27FC236}">
                <a16:creationId xmlns:a16="http://schemas.microsoft.com/office/drawing/2014/main" id="{214895EF-8762-4104-8A7D-B5F36DC46B45}"/>
              </a:ext>
            </a:extLst>
          </p:cNvPr>
          <p:cNvSpPr/>
          <p:nvPr userDrawn="1"/>
        </p:nvSpPr>
        <p:spPr>
          <a:xfrm>
            <a:off x="0" y="0"/>
            <a:ext cx="65627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2" name="Rectangle 12">
            <a:extLst>
              <a:ext uri="{FF2B5EF4-FFF2-40B4-BE49-F238E27FC236}">
                <a16:creationId xmlns:a16="http://schemas.microsoft.com/office/drawing/2014/main" id="{DA564843-AAC1-4FC6-ABEB-604C5A4E480D}"/>
              </a:ext>
            </a:extLst>
          </p:cNvPr>
          <p:cNvSpPr/>
          <p:nvPr userDrawn="1"/>
        </p:nvSpPr>
        <p:spPr>
          <a:xfrm>
            <a:off x="10989611" y="1329796"/>
            <a:ext cx="553267" cy="1298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4" name="!!Yellow">
            <a:extLst>
              <a:ext uri="{FF2B5EF4-FFF2-40B4-BE49-F238E27FC236}">
                <a16:creationId xmlns:a16="http://schemas.microsoft.com/office/drawing/2014/main" id="{7A4FB1C8-3DBE-4D19-A16E-369BF81FC843}"/>
              </a:ext>
            </a:extLst>
          </p:cNvPr>
          <p:cNvSpPr/>
          <p:nvPr userDrawn="1"/>
        </p:nvSpPr>
        <p:spPr>
          <a:xfrm>
            <a:off x="10989611" y="2918522"/>
            <a:ext cx="553267" cy="1298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6" name="Rectangle 18">
            <a:extLst>
              <a:ext uri="{FF2B5EF4-FFF2-40B4-BE49-F238E27FC236}">
                <a16:creationId xmlns:a16="http://schemas.microsoft.com/office/drawing/2014/main" id="{B32874FD-6D8F-4529-B48B-1282B36E9FB2}"/>
              </a:ext>
            </a:extLst>
          </p:cNvPr>
          <p:cNvSpPr/>
          <p:nvPr userDrawn="1"/>
        </p:nvSpPr>
        <p:spPr>
          <a:xfrm>
            <a:off x="10989611" y="4506306"/>
            <a:ext cx="553267" cy="1298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81" name="Plassholder for tekst 80">
            <a:extLst>
              <a:ext uri="{FF2B5EF4-FFF2-40B4-BE49-F238E27FC236}">
                <a16:creationId xmlns:a16="http://schemas.microsoft.com/office/drawing/2014/main" id="{31D0DABA-AC45-4C99-B3A1-7D91C6FF0D16}"/>
              </a:ext>
            </a:extLst>
          </p:cNvPr>
          <p:cNvSpPr>
            <a:spLocks noGrp="1"/>
          </p:cNvSpPr>
          <p:nvPr>
            <p:ph type="body" sz="quarter" idx="10" hasCustomPrompt="1"/>
          </p:nvPr>
        </p:nvSpPr>
        <p:spPr>
          <a:xfrm>
            <a:off x="8009848" y="1329439"/>
            <a:ext cx="2979738" cy="1298388"/>
          </a:xfrm>
          <a:prstGeom prst="rect">
            <a:avLst/>
          </a:prstGeom>
        </p:spPr>
        <p:txBody>
          <a:bodyPr anchor="ctr"/>
          <a:lstStyle>
            <a:lvl1pPr marL="0" indent="0" algn="l">
              <a:buNone/>
              <a:defRPr sz="1600" b="1" i="0" baseline="0">
                <a:solidFill>
                  <a:schemeClr val="bg1"/>
                </a:solidFill>
                <a:latin typeface="Helvetica" pitchFamily="2" charset="0"/>
              </a:defRPr>
            </a:lvl1pPr>
          </a:lstStyle>
          <a:p>
            <a:pPr lvl="0"/>
            <a:r>
              <a:rPr lang="en-GB" noProof="0"/>
              <a:t>Example Text Placed In This Blue Box</a:t>
            </a:r>
          </a:p>
        </p:txBody>
      </p:sp>
      <p:sp>
        <p:nvSpPr>
          <p:cNvPr id="82" name="Plassholder for tekst 80">
            <a:extLst>
              <a:ext uri="{FF2B5EF4-FFF2-40B4-BE49-F238E27FC236}">
                <a16:creationId xmlns:a16="http://schemas.microsoft.com/office/drawing/2014/main" id="{AE79262F-1BB6-486C-82B4-750D6048736A}"/>
              </a:ext>
            </a:extLst>
          </p:cNvPr>
          <p:cNvSpPr>
            <a:spLocks noGrp="1"/>
          </p:cNvSpPr>
          <p:nvPr>
            <p:ph type="body" sz="quarter" idx="11" hasCustomPrompt="1"/>
          </p:nvPr>
        </p:nvSpPr>
        <p:spPr>
          <a:xfrm>
            <a:off x="8009848" y="2918164"/>
            <a:ext cx="2979738" cy="1298388"/>
          </a:xfrm>
          <a:prstGeom prst="rect">
            <a:avLst/>
          </a:prstGeom>
        </p:spPr>
        <p:txBody>
          <a:bodyPr anchor="ctr"/>
          <a:lstStyle>
            <a:lvl1pPr marL="0" indent="0" algn="l">
              <a:buNone/>
              <a:defRPr sz="1600" b="1" i="0" baseline="0">
                <a:solidFill>
                  <a:schemeClr val="bg1"/>
                </a:solidFill>
                <a:latin typeface="Helvetica" pitchFamily="2" charset="0"/>
              </a:defRPr>
            </a:lvl1pPr>
          </a:lstStyle>
          <a:p>
            <a:pPr lvl="0"/>
            <a:r>
              <a:rPr lang="en-GB" noProof="0"/>
              <a:t>Example Text Placed In This Blue Box</a:t>
            </a:r>
          </a:p>
        </p:txBody>
      </p:sp>
      <p:sp>
        <p:nvSpPr>
          <p:cNvPr id="83" name="Plassholder for tekst 80">
            <a:extLst>
              <a:ext uri="{FF2B5EF4-FFF2-40B4-BE49-F238E27FC236}">
                <a16:creationId xmlns:a16="http://schemas.microsoft.com/office/drawing/2014/main" id="{405BE05B-D0C3-4A43-9832-D4376E5F50E4}"/>
              </a:ext>
            </a:extLst>
          </p:cNvPr>
          <p:cNvSpPr>
            <a:spLocks noGrp="1"/>
          </p:cNvSpPr>
          <p:nvPr>
            <p:ph type="body" sz="quarter" idx="12" hasCustomPrompt="1"/>
          </p:nvPr>
        </p:nvSpPr>
        <p:spPr>
          <a:xfrm>
            <a:off x="8009848" y="4516826"/>
            <a:ext cx="2979738" cy="1298388"/>
          </a:xfrm>
          <a:prstGeom prst="rect">
            <a:avLst/>
          </a:prstGeom>
        </p:spPr>
        <p:txBody>
          <a:bodyPr anchor="ctr"/>
          <a:lstStyle>
            <a:lvl1pPr marL="0" indent="0" algn="l">
              <a:buNone/>
              <a:defRPr sz="1600" b="1" i="0" baseline="0">
                <a:solidFill>
                  <a:schemeClr val="bg1"/>
                </a:solidFill>
                <a:latin typeface="Helvetica" pitchFamily="2" charset="0"/>
              </a:defRPr>
            </a:lvl1pPr>
          </a:lstStyle>
          <a:p>
            <a:pPr lvl="0"/>
            <a:r>
              <a:rPr lang="en-GB" noProof="0"/>
              <a:t>Example Text Placed In This Blue Box</a:t>
            </a:r>
          </a:p>
        </p:txBody>
      </p:sp>
      <p:sp>
        <p:nvSpPr>
          <p:cNvPr id="91" name="Plassholder for tekst 90">
            <a:extLst>
              <a:ext uri="{FF2B5EF4-FFF2-40B4-BE49-F238E27FC236}">
                <a16:creationId xmlns:a16="http://schemas.microsoft.com/office/drawing/2014/main" id="{068EEC50-49CF-486C-8A3E-CB02713CB666}"/>
              </a:ext>
            </a:extLst>
          </p:cNvPr>
          <p:cNvSpPr>
            <a:spLocks noGrp="1"/>
          </p:cNvSpPr>
          <p:nvPr>
            <p:ph type="body" sz="quarter" idx="13" hasCustomPrompt="1"/>
          </p:nvPr>
        </p:nvSpPr>
        <p:spPr>
          <a:xfrm>
            <a:off x="1099739" y="1329439"/>
            <a:ext cx="4376736" cy="1176338"/>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3600" b="1" i="0" cap="all" baseline="0">
                <a:solidFill>
                  <a:schemeClr val="bg1"/>
                </a:solidFill>
                <a:latin typeface="Helvetica"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noFill/>
                </a:ln>
                <a:solidFill>
                  <a:prstClr val="white"/>
                </a:solidFill>
                <a:effectLst/>
                <a:uLnTx/>
                <a:uFillTx/>
                <a:latin typeface="Arial" panose="020B0604020202020204" pitchFamily="34" charset="0"/>
                <a:ea typeface="Roboto Condensed" panose="02000000000000000000" pitchFamily="2" charset="0"/>
                <a:cs typeface="Arial" panose="020B0604020202020204" pitchFamily="34" charset="0"/>
              </a:rPr>
              <a:t>PRESENTATION TITLE HERE</a:t>
            </a:r>
          </a:p>
          <a:p>
            <a:pPr lvl="0"/>
            <a:endParaRPr lang="en-GB" noProof="0"/>
          </a:p>
        </p:txBody>
      </p:sp>
      <p:sp>
        <p:nvSpPr>
          <p:cNvPr id="93" name="Plassholder for tekst 92">
            <a:extLst>
              <a:ext uri="{FF2B5EF4-FFF2-40B4-BE49-F238E27FC236}">
                <a16:creationId xmlns:a16="http://schemas.microsoft.com/office/drawing/2014/main" id="{BCF18026-5F87-4FCB-AB7A-C2C61F8A2C3A}"/>
              </a:ext>
            </a:extLst>
          </p:cNvPr>
          <p:cNvSpPr>
            <a:spLocks noGrp="1"/>
          </p:cNvSpPr>
          <p:nvPr>
            <p:ph type="body" sz="quarter" idx="14" hasCustomPrompt="1"/>
          </p:nvPr>
        </p:nvSpPr>
        <p:spPr>
          <a:xfrm>
            <a:off x="1099738" y="2856555"/>
            <a:ext cx="4376737" cy="744537"/>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000" b="1" i="0" baseline="0">
                <a:solidFill>
                  <a:schemeClr val="accent2"/>
                </a:solidFill>
                <a:latin typeface="Helvetica"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B800"/>
                </a:solidFill>
                <a:effectLst/>
                <a:uLnTx/>
                <a:uFillTx/>
                <a:latin typeface="Arial" panose="020B0604020202020204" pitchFamily="34" charset="0"/>
                <a:ea typeface="Roboto Condensed" panose="02000000000000000000" pitchFamily="2" charset="0"/>
                <a:cs typeface="Arial" panose="020B0604020202020204" pitchFamily="34" charset="0"/>
              </a:rPr>
              <a:t>Expertise You Need. Service You Deserve!</a:t>
            </a:r>
          </a:p>
          <a:p>
            <a:pPr lvl="0"/>
            <a:endParaRPr lang="en-GB" noProof="0"/>
          </a:p>
        </p:txBody>
      </p:sp>
      <p:sp>
        <p:nvSpPr>
          <p:cNvPr id="95" name="Plassholder for tekst 94">
            <a:extLst>
              <a:ext uri="{FF2B5EF4-FFF2-40B4-BE49-F238E27FC236}">
                <a16:creationId xmlns:a16="http://schemas.microsoft.com/office/drawing/2014/main" id="{4A7BCC36-BF2F-4D90-A16A-8532CBC4FD0B}"/>
              </a:ext>
            </a:extLst>
          </p:cNvPr>
          <p:cNvSpPr>
            <a:spLocks noGrp="1"/>
          </p:cNvSpPr>
          <p:nvPr>
            <p:ph type="body" sz="quarter" idx="15" hasCustomPrompt="1"/>
          </p:nvPr>
        </p:nvSpPr>
        <p:spPr>
          <a:xfrm>
            <a:off x="1099738" y="3951870"/>
            <a:ext cx="4376737" cy="1666875"/>
          </a:xfrm>
          <a:prstGeom prst="rect">
            <a:avLst/>
          </a:prstGeom>
        </p:spPr>
        <p:txBody>
          <a:bodyPr/>
          <a:lstStyle>
            <a:lvl1pPr marL="0" marR="0" indent="0" algn="l" defTabSz="914400" rtl="0" eaLnBrk="1" fontAlgn="auto" latinLnBrk="0" hangingPunct="1">
              <a:lnSpc>
                <a:spcPct val="150000"/>
              </a:lnSpc>
              <a:spcBef>
                <a:spcPts val="0"/>
              </a:spcBef>
              <a:spcAft>
                <a:spcPts val="0"/>
              </a:spcAft>
              <a:buClrTx/>
              <a:buSzTx/>
              <a:buFontTx/>
              <a:buNone/>
              <a:tabLst/>
              <a:defRPr sz="1400" b="0" i="0" baseline="0">
                <a:solidFill>
                  <a:schemeClr val="bg1"/>
                </a:solidFill>
                <a:latin typeface="Helvetica Light" panose="020B0403020202020204" pitchFamily="34" charset="0"/>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Lorem ipsum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dolor</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si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ame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consectetur</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adipiscing</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eli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Pellentes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sceleris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malesuada</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libero a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pellentes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Morbi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orci</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dui, fermentum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ege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lectus</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ornar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viverra</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dignissim</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risus</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Donec lacinia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neque</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non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veli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dictum </a:t>
            </a:r>
            <a:r>
              <a:rPr kumimoji="0" lang="en-GB" sz="1400" b="0" i="0" u="none" strike="noStrike" kern="1200" cap="none" spc="0" normalizeH="0" baseline="0" noProof="0" err="1">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tincidunt</a:t>
            </a: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 </a:t>
            </a:r>
          </a:p>
          <a:p>
            <a:pPr lvl="0"/>
            <a:endParaRPr lang="en-GB" noProof="0"/>
          </a:p>
        </p:txBody>
      </p:sp>
    </p:spTree>
    <p:extLst>
      <p:ext uri="{BB962C8B-B14F-4D97-AF65-F5344CB8AC3E}">
        <p14:creationId xmlns:p14="http://schemas.microsoft.com/office/powerpoint/2010/main" val="7473433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ackground">
    <p:spTree>
      <p:nvGrpSpPr>
        <p:cNvPr id="1" name=""/>
        <p:cNvGrpSpPr/>
        <p:nvPr/>
      </p:nvGrpSpPr>
      <p:grpSpPr>
        <a:xfrm>
          <a:off x="0" y="0"/>
          <a:ext cx="0" cy="0"/>
          <a:chOff x="0" y="0"/>
          <a:chExt cx="0" cy="0"/>
        </a:xfrm>
      </p:grpSpPr>
      <p:pic>
        <p:nvPicPr>
          <p:cNvPr id="4" name="Bilde 3" descr="Et bilde som inneholder bygning, person, kvinne, ung&#10;&#10;Automatisk generert beskrivelse">
            <a:extLst>
              <a:ext uri="{FF2B5EF4-FFF2-40B4-BE49-F238E27FC236}">
                <a16:creationId xmlns:a16="http://schemas.microsoft.com/office/drawing/2014/main" id="{347B0E7C-4579-4576-AF68-7E36524526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100" y="0"/>
            <a:ext cx="12230100" cy="6858000"/>
          </a:xfrm>
          <a:prstGeom prst="rect">
            <a:avLst/>
          </a:prstGeom>
        </p:spPr>
      </p:pic>
      <p:pic>
        <p:nvPicPr>
          <p:cNvPr id="5" name="Bilde 4">
            <a:extLst>
              <a:ext uri="{FF2B5EF4-FFF2-40B4-BE49-F238E27FC236}">
                <a16:creationId xmlns:a16="http://schemas.microsoft.com/office/drawing/2014/main" id="{A558EB16-3382-4CE3-BB9E-79B883585A7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52521" y="6429313"/>
            <a:ext cx="1825937" cy="319232"/>
          </a:xfrm>
          <a:prstGeom prst="rect">
            <a:avLst/>
          </a:prstGeom>
        </p:spPr>
      </p:pic>
      <p:sp>
        <p:nvSpPr>
          <p:cNvPr id="6" name="Title 1">
            <a:extLst>
              <a:ext uri="{FF2B5EF4-FFF2-40B4-BE49-F238E27FC236}">
                <a16:creationId xmlns:a16="http://schemas.microsoft.com/office/drawing/2014/main" id="{850311F6-6889-4595-A4A8-04606161AADD}"/>
              </a:ext>
            </a:extLst>
          </p:cNvPr>
          <p:cNvSpPr>
            <a:spLocks noGrp="1"/>
          </p:cNvSpPr>
          <p:nvPr>
            <p:ph type="title" hasCustomPrompt="1"/>
          </p:nvPr>
        </p:nvSpPr>
        <p:spPr>
          <a:xfrm>
            <a:off x="-38100" y="2154630"/>
            <a:ext cx="12230100" cy="2120054"/>
          </a:xfrm>
          <a:prstGeom prst="rect">
            <a:avLst/>
          </a:prstGeom>
          <a:solidFill>
            <a:schemeClr val="bg1">
              <a:lumMod val="50000"/>
              <a:alpha val="63000"/>
            </a:schemeClr>
          </a:solidFill>
        </p:spPr>
        <p:txBody>
          <a:bodyPr>
            <a:normAutofit/>
          </a:bodyPr>
          <a:lstStyle>
            <a:lvl1pPr algn="ctr">
              <a:defRPr sz="4400" b="1" i="0">
                <a:solidFill>
                  <a:schemeClr val="accent1"/>
                </a:solidFill>
                <a:latin typeface="Helvetica" pitchFamily="2" charset="0"/>
                <a:cs typeface="Arial" panose="020B0604020202020204" pitchFamily="34" charset="0"/>
              </a:defRPr>
            </a:lvl1pPr>
          </a:lstStyle>
          <a:p>
            <a:r>
              <a:rPr lang="en-GB" noProof="0"/>
              <a:t>Click to edit Master title style</a:t>
            </a:r>
          </a:p>
        </p:txBody>
      </p:sp>
    </p:spTree>
    <p:extLst>
      <p:ext uri="{BB962C8B-B14F-4D97-AF65-F5344CB8AC3E}">
        <p14:creationId xmlns:p14="http://schemas.microsoft.com/office/powerpoint/2010/main" val="30540924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ue Texture">
    <p:bg>
      <p:bgPr>
        <a:blipFill>
          <a:blip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11500"/>
                    </a14:imgEffect>
                    <a14:imgEffect>
                      <a14:saturation sat="330000"/>
                    </a14:imgEffect>
                  </a14:imgLayer>
                </a14:imgProps>
              </a:ext>
            </a:extLst>
          </a:blip>
          <a:tile tx="0" ty="0" sx="100000" sy="100000" flip="none" algn="tl"/>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5642505" y="1771920"/>
            <a:ext cx="4978082" cy="1964372"/>
          </a:xfrm>
          <a:prstGeom prst="rect">
            <a:avLst/>
          </a:prstGeom>
        </p:spPr>
        <p:txBody>
          <a:bodyPr anchor="b">
            <a:normAutofit/>
          </a:bodyPr>
          <a:lstStyle>
            <a:lvl1pPr marL="0" indent="0">
              <a:buNone/>
              <a:defRPr sz="4000" b="0" i="0">
                <a:solidFill>
                  <a:schemeClr val="accent2"/>
                </a:solidFill>
                <a:latin typeface="Helvetica Light" panose="020B0403020202020204" pitchFamily="34" charset="0"/>
                <a:cs typeface="Arial" panose="020B0604020202020204" pitchFamily="34" charset="0"/>
              </a:defRPr>
            </a:lvl1pPr>
            <a:lvl2pPr>
              <a:defRPr b="1">
                <a:solidFill>
                  <a:schemeClr val="bg1"/>
                </a:solidFill>
                <a:latin typeface="Franklin Gothic Medium" panose="020B0603020102020204" pitchFamily="34" charset="0"/>
              </a:defRPr>
            </a:lvl2pPr>
            <a:lvl3pPr>
              <a:defRPr b="1">
                <a:solidFill>
                  <a:schemeClr val="bg1"/>
                </a:solidFill>
                <a:latin typeface="Franklin Gothic Medium" panose="020B0603020102020204" pitchFamily="34" charset="0"/>
              </a:defRPr>
            </a:lvl3pPr>
            <a:lvl4pPr>
              <a:defRPr b="1">
                <a:solidFill>
                  <a:schemeClr val="bg1"/>
                </a:solidFill>
                <a:latin typeface="Franklin Gothic Medium" panose="020B0603020102020204" pitchFamily="34" charset="0"/>
              </a:defRPr>
            </a:lvl4pPr>
            <a:lvl5pPr>
              <a:defRPr b="1">
                <a:solidFill>
                  <a:schemeClr val="bg1"/>
                </a:solidFill>
                <a:latin typeface="Franklin Gothic Medium" panose="020B0603020102020204" pitchFamily="34" charset="0"/>
              </a:defRPr>
            </a:lvl5pPr>
          </a:lstStyle>
          <a:p>
            <a:pPr lvl="0"/>
            <a:r>
              <a:rPr lang="en-GB" noProof="0"/>
              <a:t>Edit Master text styles</a:t>
            </a:r>
          </a:p>
        </p:txBody>
      </p:sp>
      <p:sp>
        <p:nvSpPr>
          <p:cNvPr id="9" name="Text Placeholder 8"/>
          <p:cNvSpPr>
            <a:spLocks noGrp="1"/>
          </p:cNvSpPr>
          <p:nvPr>
            <p:ph type="body" sz="quarter" idx="11" hasCustomPrompt="1"/>
          </p:nvPr>
        </p:nvSpPr>
        <p:spPr>
          <a:xfrm>
            <a:off x="5642610" y="3843970"/>
            <a:ext cx="5018088" cy="1404937"/>
          </a:xfrm>
          <a:prstGeom prst="rect">
            <a:avLst/>
          </a:prstGeom>
        </p:spPr>
        <p:txBody>
          <a:bodyPr>
            <a:normAutofit/>
          </a:bodyPr>
          <a:lstStyle>
            <a:lvl1pPr marL="0" indent="0">
              <a:buNone/>
              <a:defRPr sz="2400" b="0" i="0">
                <a:solidFill>
                  <a:schemeClr val="bg1"/>
                </a:solidFill>
                <a:latin typeface="Helvetica Light" panose="020B0403020202020204" pitchFamily="34" charset="0"/>
                <a:cs typeface="Arial" panose="020B0604020202020204" pitchFamily="34" charset="0"/>
              </a:defRPr>
            </a:lvl1pPr>
            <a:lvl2pPr>
              <a:defRPr>
                <a:solidFill>
                  <a:schemeClr val="bg1"/>
                </a:solidFill>
                <a:latin typeface="Franklin Gothic Medium" panose="020B0603020102020204" pitchFamily="34" charset="0"/>
              </a:defRPr>
            </a:lvl2pPr>
            <a:lvl3pPr>
              <a:defRPr>
                <a:solidFill>
                  <a:schemeClr val="bg1"/>
                </a:solidFill>
                <a:latin typeface="Franklin Gothic Medium" panose="020B0603020102020204" pitchFamily="34" charset="0"/>
              </a:defRPr>
            </a:lvl3pPr>
            <a:lvl4pPr>
              <a:defRPr>
                <a:solidFill>
                  <a:schemeClr val="bg1"/>
                </a:solidFill>
                <a:latin typeface="Franklin Gothic Medium" panose="020B0603020102020204" pitchFamily="34" charset="0"/>
              </a:defRPr>
            </a:lvl4pPr>
            <a:lvl5pPr>
              <a:defRPr>
                <a:solidFill>
                  <a:schemeClr val="bg1"/>
                </a:solidFill>
                <a:latin typeface="Franklin Gothic Medium" panose="020B0603020102020204" pitchFamily="34" charset="0"/>
              </a:defRPr>
            </a:lvl5pPr>
          </a:lstStyle>
          <a:p>
            <a:pPr lvl="0"/>
            <a:r>
              <a:rPr lang="en-GB" noProof="0"/>
              <a:t>Edit Master text styles</a:t>
            </a:r>
          </a:p>
        </p:txBody>
      </p:sp>
      <p:pic>
        <p:nvPicPr>
          <p:cNvPr id="5" name="Bilde 4">
            <a:extLst>
              <a:ext uri="{FF2B5EF4-FFF2-40B4-BE49-F238E27FC236}">
                <a16:creationId xmlns:a16="http://schemas.microsoft.com/office/drawing/2014/main" id="{3A07580A-3D59-446E-AF02-EE9B1C03A1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74077" y="1771920"/>
            <a:ext cx="3923340" cy="2542905"/>
          </a:xfrm>
          <a:prstGeom prst="rect">
            <a:avLst/>
          </a:prstGeom>
        </p:spPr>
      </p:pic>
    </p:spTree>
    <p:extLst>
      <p:ext uri="{BB962C8B-B14F-4D97-AF65-F5344CB8AC3E}">
        <p14:creationId xmlns:p14="http://schemas.microsoft.com/office/powerpoint/2010/main" val="20445757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43_Custom Layou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5D4AB-B803-4643-BCDF-D6393E1CDC9B}"/>
              </a:ext>
            </a:extLst>
          </p:cNvPr>
          <p:cNvSpPr>
            <a:spLocks noGrp="1"/>
          </p:cNvSpPr>
          <p:nvPr>
            <p:ph type="title"/>
          </p:nvPr>
        </p:nvSpPr>
        <p:spPr>
          <a:xfrm>
            <a:off x="1218623" y="913943"/>
            <a:ext cx="8567928" cy="1325563"/>
          </a:xfrm>
          <a:prstGeom prst="rect">
            <a:avLst/>
          </a:prstGeom>
        </p:spPr>
        <p:txBody>
          <a:bodyPr/>
          <a:lstStyle>
            <a:lvl1pPr>
              <a:defRPr b="0" i="0">
                <a:solidFill>
                  <a:schemeClr val="bg1"/>
                </a:solidFill>
                <a:latin typeface="Helvetica Light" panose="020B0403020202020204" pitchFamily="34" charset="0"/>
              </a:defRPr>
            </a:lvl1pPr>
          </a:lstStyle>
          <a:p>
            <a:r>
              <a:rPr lang="en-GB"/>
              <a:t>Click to edit Master title style</a:t>
            </a:r>
            <a:endParaRPr lang="en-US"/>
          </a:p>
        </p:txBody>
      </p:sp>
      <p:pic>
        <p:nvPicPr>
          <p:cNvPr id="5" name="Bilde 5">
            <a:extLst>
              <a:ext uri="{FF2B5EF4-FFF2-40B4-BE49-F238E27FC236}">
                <a16:creationId xmlns:a16="http://schemas.microsoft.com/office/drawing/2014/main" id="{826408B4-1F28-DA4C-9BD1-39058BB264B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218623" y="5599967"/>
            <a:ext cx="2822031" cy="493381"/>
          </a:xfrm>
          <a:prstGeom prst="rect">
            <a:avLst/>
          </a:prstGeom>
        </p:spPr>
      </p:pic>
      <p:cxnSp>
        <p:nvCxnSpPr>
          <p:cNvPr id="6" name="Straight Connector 5">
            <a:extLst>
              <a:ext uri="{FF2B5EF4-FFF2-40B4-BE49-F238E27FC236}">
                <a16:creationId xmlns:a16="http://schemas.microsoft.com/office/drawing/2014/main" id="{2982B310-7E67-7C47-9E67-4430CA714644}"/>
              </a:ext>
            </a:extLst>
          </p:cNvPr>
          <p:cNvCxnSpPr/>
          <p:nvPr userDrawn="1"/>
        </p:nvCxnSpPr>
        <p:spPr>
          <a:xfrm>
            <a:off x="1315186" y="4964483"/>
            <a:ext cx="827826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20">
            <a:extLst>
              <a:ext uri="{FF2B5EF4-FFF2-40B4-BE49-F238E27FC236}">
                <a16:creationId xmlns:a16="http://schemas.microsoft.com/office/drawing/2014/main" id="{1D537A84-0006-344B-B900-FF658484079B}"/>
              </a:ext>
            </a:extLst>
          </p:cNvPr>
          <p:cNvSpPr>
            <a:spLocks noGrp="1"/>
          </p:cNvSpPr>
          <p:nvPr>
            <p:ph type="body" sz="quarter" idx="25"/>
          </p:nvPr>
        </p:nvSpPr>
        <p:spPr>
          <a:xfrm>
            <a:off x="1218623" y="3529464"/>
            <a:ext cx="5145898" cy="1227888"/>
          </a:xfrm>
          <a:prstGeom prst="rect">
            <a:avLst/>
          </a:prstGeom>
        </p:spPr>
        <p:txBody>
          <a:bodyPr anchor="t">
            <a:noAutofit/>
          </a:bodyPr>
          <a:lstStyle>
            <a:lvl1pPr marL="0" indent="0">
              <a:buNone/>
              <a:defRPr sz="14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Click to edit Master text styles</a:t>
            </a:r>
          </a:p>
        </p:txBody>
      </p:sp>
    </p:spTree>
    <p:extLst>
      <p:ext uri="{BB962C8B-B14F-4D97-AF65-F5344CB8AC3E}">
        <p14:creationId xmlns:p14="http://schemas.microsoft.com/office/powerpoint/2010/main" val="1140837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c with logo 1">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8A7F36D4-7537-4D46-B416-5E096FF07DF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749" y="409861"/>
            <a:ext cx="1825937" cy="319232"/>
          </a:xfrm>
          <a:prstGeom prst="rect">
            <a:avLst/>
          </a:prstGeom>
        </p:spPr>
      </p:pic>
    </p:spTree>
    <p:extLst>
      <p:ext uri="{BB962C8B-B14F-4D97-AF65-F5344CB8AC3E}">
        <p14:creationId xmlns:p14="http://schemas.microsoft.com/office/powerpoint/2010/main" val="31376935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45_Custom Layout">
    <p:bg>
      <p:bgPr>
        <a:solidFill>
          <a:schemeClr val="accent1"/>
        </a:solidFill>
        <a:effectLst/>
      </p:bgPr>
    </p:bg>
    <p:spTree>
      <p:nvGrpSpPr>
        <p:cNvPr id="1" name=""/>
        <p:cNvGrpSpPr/>
        <p:nvPr/>
      </p:nvGrpSpPr>
      <p:grpSpPr>
        <a:xfrm>
          <a:off x="0" y="0"/>
          <a:ext cx="0" cy="0"/>
          <a:chOff x="0" y="0"/>
          <a:chExt cx="0" cy="0"/>
        </a:xfrm>
      </p:grpSpPr>
      <p:pic>
        <p:nvPicPr>
          <p:cNvPr id="8" name="object 4">
            <a:extLst>
              <a:ext uri="{FF2B5EF4-FFF2-40B4-BE49-F238E27FC236}">
                <a16:creationId xmlns:a16="http://schemas.microsoft.com/office/drawing/2014/main" id="{266DE70F-23E3-3D7B-545C-3A919B538BC9}"/>
              </a:ext>
            </a:extLst>
          </p:cNvPr>
          <p:cNvPicPr/>
          <p:nvPr userDrawn="1"/>
        </p:nvPicPr>
        <p:blipFill rotWithShape="1">
          <a:blip r:embed="rId2" cstate="print">
            <a:alphaModFix amt="19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F65D4AB-B803-4643-BCDF-D6393E1CDC9B}"/>
              </a:ext>
            </a:extLst>
          </p:cNvPr>
          <p:cNvSpPr>
            <a:spLocks noGrp="1"/>
          </p:cNvSpPr>
          <p:nvPr>
            <p:ph type="title"/>
          </p:nvPr>
        </p:nvSpPr>
        <p:spPr>
          <a:xfrm>
            <a:off x="1218623" y="2778070"/>
            <a:ext cx="8567928" cy="1325563"/>
          </a:xfrm>
          <a:prstGeom prst="rect">
            <a:avLst/>
          </a:prstGeom>
        </p:spPr>
        <p:txBody>
          <a:bodyPr/>
          <a:lstStyle>
            <a:lvl1pPr>
              <a:defRPr sz="4800" b="1" i="0">
                <a:solidFill>
                  <a:schemeClr val="bg1"/>
                </a:solidFill>
                <a:latin typeface="Helvetica" pitchFamily="2" charset="0"/>
              </a:defRPr>
            </a:lvl1pPr>
          </a:lstStyle>
          <a:p>
            <a:r>
              <a:rPr lang="en-GB"/>
              <a:t>Click to edit Master title style</a:t>
            </a:r>
            <a:endParaRPr lang="en-US"/>
          </a:p>
        </p:txBody>
      </p:sp>
      <p:pic>
        <p:nvPicPr>
          <p:cNvPr id="5" name="Bilde 5">
            <a:extLst>
              <a:ext uri="{FF2B5EF4-FFF2-40B4-BE49-F238E27FC236}">
                <a16:creationId xmlns:a16="http://schemas.microsoft.com/office/drawing/2014/main" id="{826408B4-1F28-DA4C-9BD1-39058BB264B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8623" y="1564372"/>
            <a:ext cx="2822031" cy="493381"/>
          </a:xfrm>
          <a:prstGeom prst="rect">
            <a:avLst/>
          </a:prstGeom>
        </p:spPr>
      </p:pic>
      <p:sp>
        <p:nvSpPr>
          <p:cNvPr id="7" name="Text Placeholder 20">
            <a:extLst>
              <a:ext uri="{FF2B5EF4-FFF2-40B4-BE49-F238E27FC236}">
                <a16:creationId xmlns:a16="http://schemas.microsoft.com/office/drawing/2014/main" id="{1D537A84-0006-344B-B900-FF658484079B}"/>
              </a:ext>
            </a:extLst>
          </p:cNvPr>
          <p:cNvSpPr>
            <a:spLocks noGrp="1"/>
          </p:cNvSpPr>
          <p:nvPr>
            <p:ph type="body" sz="quarter" idx="25"/>
          </p:nvPr>
        </p:nvSpPr>
        <p:spPr>
          <a:xfrm>
            <a:off x="1218623" y="4679684"/>
            <a:ext cx="5145898" cy="1227888"/>
          </a:xfrm>
          <a:prstGeom prst="rect">
            <a:avLst/>
          </a:prstGeom>
        </p:spPr>
        <p:txBody>
          <a:bodyPr anchor="t">
            <a:noAutofit/>
          </a:bodyPr>
          <a:lstStyle>
            <a:lvl1pPr marL="0" indent="0">
              <a:buNone/>
              <a:defRPr sz="20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Click to edit Master text styles</a:t>
            </a:r>
          </a:p>
        </p:txBody>
      </p:sp>
    </p:spTree>
    <p:extLst>
      <p:ext uri="{BB962C8B-B14F-4D97-AF65-F5344CB8AC3E}">
        <p14:creationId xmlns:p14="http://schemas.microsoft.com/office/powerpoint/2010/main" val="13083960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58_Custom Layout">
    <p:bg>
      <p:bgPr>
        <a:solidFill>
          <a:schemeClr val="accent1"/>
        </a:solidFill>
        <a:effectLst/>
      </p:bgPr>
    </p:bg>
    <p:spTree>
      <p:nvGrpSpPr>
        <p:cNvPr id="1" name=""/>
        <p:cNvGrpSpPr/>
        <p:nvPr/>
      </p:nvGrpSpPr>
      <p:grpSpPr>
        <a:xfrm>
          <a:off x="0" y="0"/>
          <a:ext cx="0" cy="0"/>
          <a:chOff x="0" y="0"/>
          <a:chExt cx="0" cy="0"/>
        </a:xfrm>
      </p:grpSpPr>
      <p:pic>
        <p:nvPicPr>
          <p:cNvPr id="6" name="object 2">
            <a:extLst>
              <a:ext uri="{FF2B5EF4-FFF2-40B4-BE49-F238E27FC236}">
                <a16:creationId xmlns:a16="http://schemas.microsoft.com/office/drawing/2014/main" id="{3E06A675-647C-40C5-6399-B642063039A4}"/>
              </a:ext>
            </a:extLst>
          </p:cNvPr>
          <p:cNvPicPr/>
          <p:nvPr userDrawn="1"/>
        </p:nvPicPr>
        <p:blipFill rotWithShape="1">
          <a:blip r:embed="rId2" cstate="print">
            <a:alphaModFix amt="27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a:extLst>
              <a:ext uri="{FF2B5EF4-FFF2-40B4-BE49-F238E27FC236}">
                <a16:creationId xmlns:a16="http://schemas.microsoft.com/office/drawing/2014/main" id="{52C1C368-503A-C622-6FDE-E0060070AE50}"/>
              </a:ext>
            </a:extLst>
          </p:cNvPr>
          <p:cNvSpPr>
            <a:spLocks noGrp="1"/>
          </p:cNvSpPr>
          <p:nvPr>
            <p:ph type="title"/>
          </p:nvPr>
        </p:nvSpPr>
        <p:spPr>
          <a:xfrm>
            <a:off x="1218622" y="3429000"/>
            <a:ext cx="9418875" cy="1325563"/>
          </a:xfrm>
          <a:prstGeom prst="rect">
            <a:avLst/>
          </a:prstGeom>
        </p:spPr>
        <p:txBody>
          <a:bodyPr/>
          <a:lstStyle>
            <a:lvl1pPr>
              <a:defRPr b="0" i="0">
                <a:solidFill>
                  <a:schemeClr val="bg1"/>
                </a:solidFill>
                <a:latin typeface="Helvetica Light" panose="020B0403020202020204" pitchFamily="34" charset="0"/>
              </a:defRPr>
            </a:lvl1pPr>
          </a:lstStyle>
          <a:p>
            <a:r>
              <a:rPr lang="en-GB"/>
              <a:t>Click to edit Master title style</a:t>
            </a:r>
            <a:endParaRPr lang="en-US"/>
          </a:p>
        </p:txBody>
      </p:sp>
      <p:pic>
        <p:nvPicPr>
          <p:cNvPr id="10" name="Bilde 5">
            <a:extLst>
              <a:ext uri="{FF2B5EF4-FFF2-40B4-BE49-F238E27FC236}">
                <a16:creationId xmlns:a16="http://schemas.microsoft.com/office/drawing/2014/main" id="{7DCA0359-8D81-843C-70E8-4571A42EA7A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12031" y="5389851"/>
            <a:ext cx="2822031" cy="493381"/>
          </a:xfrm>
          <a:prstGeom prst="rect">
            <a:avLst/>
          </a:prstGeom>
        </p:spPr>
      </p:pic>
      <p:cxnSp>
        <p:nvCxnSpPr>
          <p:cNvPr id="11" name="Straight Connector 10">
            <a:extLst>
              <a:ext uri="{FF2B5EF4-FFF2-40B4-BE49-F238E27FC236}">
                <a16:creationId xmlns:a16="http://schemas.microsoft.com/office/drawing/2014/main" id="{D2B4E9CF-53FB-6A14-C29B-FB79E254B303}"/>
              </a:ext>
            </a:extLst>
          </p:cNvPr>
          <p:cNvCxnSpPr>
            <a:cxnSpLocks/>
          </p:cNvCxnSpPr>
          <p:nvPr userDrawn="1"/>
        </p:nvCxnSpPr>
        <p:spPr>
          <a:xfrm>
            <a:off x="1315186" y="4964483"/>
            <a:ext cx="941887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0BD676DD-16C3-41CC-2353-A2227D88BB3E}"/>
              </a:ext>
            </a:extLst>
          </p:cNvPr>
          <p:cNvSpPr>
            <a:spLocks noGrp="1"/>
          </p:cNvSpPr>
          <p:nvPr>
            <p:ph type="body" sz="quarter" idx="25"/>
          </p:nvPr>
        </p:nvSpPr>
        <p:spPr>
          <a:xfrm>
            <a:off x="1218622" y="5269288"/>
            <a:ext cx="5730817" cy="1227888"/>
          </a:xfrm>
          <a:prstGeom prst="rect">
            <a:avLst/>
          </a:prstGeom>
        </p:spPr>
        <p:txBody>
          <a:bodyPr anchor="t">
            <a:noAutofit/>
          </a:bodyPr>
          <a:lstStyle>
            <a:lvl1pPr marL="0" indent="0">
              <a:buNone/>
              <a:defRPr sz="14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Click to edit Master text styles</a:t>
            </a:r>
          </a:p>
        </p:txBody>
      </p:sp>
    </p:spTree>
    <p:extLst>
      <p:ext uri="{BB962C8B-B14F-4D97-AF65-F5344CB8AC3E}">
        <p14:creationId xmlns:p14="http://schemas.microsoft.com/office/powerpoint/2010/main" val="2817512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57_Custom Layout">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727CFE4-BB94-62BB-5760-A8B1421E05C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CF619745-182C-DF4B-F195-0187CE408F41}"/>
              </a:ext>
            </a:extLst>
          </p:cNvPr>
          <p:cNvSpPr/>
          <p:nvPr userDrawn="1"/>
        </p:nvSpPr>
        <p:spPr>
          <a:xfrm>
            <a:off x="0" y="0"/>
            <a:ext cx="12192000" cy="6858000"/>
          </a:xfrm>
          <a:prstGeom prst="rect">
            <a:avLst/>
          </a:prstGeom>
          <a:solidFill>
            <a:schemeClr val="accent3">
              <a:lumMod val="75000"/>
              <a:alpha val="858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a:solidFill>
                <a:schemeClr val="bg1"/>
              </a:solidFill>
            </a:endParaRPr>
          </a:p>
        </p:txBody>
      </p:sp>
      <p:pic>
        <p:nvPicPr>
          <p:cNvPr id="11" name="Bilde 3">
            <a:extLst>
              <a:ext uri="{FF2B5EF4-FFF2-40B4-BE49-F238E27FC236}">
                <a16:creationId xmlns:a16="http://schemas.microsoft.com/office/drawing/2014/main" id="{40FA1915-9788-1617-FA70-2C66B40267B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98209" y="5506718"/>
            <a:ext cx="2395583" cy="418826"/>
          </a:xfrm>
          <a:prstGeom prst="rect">
            <a:avLst/>
          </a:prstGeom>
        </p:spPr>
      </p:pic>
      <p:sp>
        <p:nvSpPr>
          <p:cNvPr id="2" name="Title 1">
            <a:extLst>
              <a:ext uri="{FF2B5EF4-FFF2-40B4-BE49-F238E27FC236}">
                <a16:creationId xmlns:a16="http://schemas.microsoft.com/office/drawing/2014/main" id="{4F65D4AB-B803-4643-BCDF-D6393E1CDC9B}"/>
              </a:ext>
            </a:extLst>
          </p:cNvPr>
          <p:cNvSpPr>
            <a:spLocks noGrp="1"/>
          </p:cNvSpPr>
          <p:nvPr>
            <p:ph type="title"/>
          </p:nvPr>
        </p:nvSpPr>
        <p:spPr>
          <a:xfrm>
            <a:off x="1588770" y="1833762"/>
            <a:ext cx="9014460" cy="1595238"/>
          </a:xfrm>
          <a:prstGeom prst="rect">
            <a:avLst/>
          </a:prstGeom>
        </p:spPr>
        <p:txBody>
          <a:bodyPr/>
          <a:lstStyle>
            <a:lvl1pPr algn="ctr">
              <a:defRPr sz="5400" b="0" i="0">
                <a:solidFill>
                  <a:schemeClr val="accent2"/>
                </a:solidFill>
                <a:latin typeface="Helvetica Light" panose="020B0403020202020204" pitchFamily="34" charset="0"/>
              </a:defRPr>
            </a:lvl1pPr>
          </a:lstStyle>
          <a:p>
            <a:r>
              <a:rPr lang="en-GB"/>
              <a:t>Click to edit Master title style</a:t>
            </a:r>
            <a:endParaRPr lang="en-US"/>
          </a:p>
        </p:txBody>
      </p:sp>
      <p:sp>
        <p:nvSpPr>
          <p:cNvPr id="7" name="Text Placeholder 20">
            <a:extLst>
              <a:ext uri="{FF2B5EF4-FFF2-40B4-BE49-F238E27FC236}">
                <a16:creationId xmlns:a16="http://schemas.microsoft.com/office/drawing/2014/main" id="{1D537A84-0006-344B-B900-FF658484079B}"/>
              </a:ext>
            </a:extLst>
          </p:cNvPr>
          <p:cNvSpPr>
            <a:spLocks noGrp="1"/>
          </p:cNvSpPr>
          <p:nvPr>
            <p:ph type="body" sz="quarter" idx="25"/>
          </p:nvPr>
        </p:nvSpPr>
        <p:spPr>
          <a:xfrm>
            <a:off x="2351973" y="3707820"/>
            <a:ext cx="7488055" cy="1227888"/>
          </a:xfrm>
          <a:prstGeom prst="rect">
            <a:avLst/>
          </a:prstGeom>
        </p:spPr>
        <p:txBody>
          <a:bodyPr anchor="t">
            <a:noAutofit/>
          </a:bodyPr>
          <a:lstStyle>
            <a:lvl1pPr marL="0" indent="0" algn="ctr">
              <a:buNone/>
              <a:defRPr sz="20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Click to edit Master text styles</a:t>
            </a:r>
          </a:p>
        </p:txBody>
      </p:sp>
    </p:spTree>
    <p:extLst>
      <p:ext uri="{BB962C8B-B14F-4D97-AF65-F5344CB8AC3E}">
        <p14:creationId xmlns:p14="http://schemas.microsoft.com/office/powerpoint/2010/main" val="26727513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grpSp>
        <p:nvGrpSpPr>
          <p:cNvPr id="25" name="Group 24">
            <a:extLst>
              <a:ext uri="{FF2B5EF4-FFF2-40B4-BE49-F238E27FC236}">
                <a16:creationId xmlns:a16="http://schemas.microsoft.com/office/drawing/2014/main" id="{6DEF82C5-480D-954F-B095-FD483D7FEEB4}"/>
              </a:ext>
            </a:extLst>
          </p:cNvPr>
          <p:cNvGrpSpPr/>
          <p:nvPr/>
        </p:nvGrpSpPr>
        <p:grpSpPr>
          <a:xfrm>
            <a:off x="731838" y="4085429"/>
            <a:ext cx="5202388" cy="1070771"/>
            <a:chOff x="558332" y="2312872"/>
            <a:chExt cx="5202388" cy="756000"/>
          </a:xfrm>
        </p:grpSpPr>
        <p:sp>
          <p:nvSpPr>
            <p:cNvPr id="26" name="Rectangle 25">
              <a:extLst>
                <a:ext uri="{FF2B5EF4-FFF2-40B4-BE49-F238E27FC236}">
                  <a16:creationId xmlns:a16="http://schemas.microsoft.com/office/drawing/2014/main" id="{7E68816F-8ED8-F14C-9463-BC5BE746F915}"/>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4813DECF-DB9F-1D41-BF9F-AB28D2D0FFA9}"/>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86060DA3-1C3F-574A-B441-7E66952FAF26}"/>
              </a:ext>
            </a:extLst>
          </p:cNvPr>
          <p:cNvGrpSpPr/>
          <p:nvPr/>
        </p:nvGrpSpPr>
        <p:grpSpPr>
          <a:xfrm>
            <a:off x="731838" y="2892118"/>
            <a:ext cx="5202388" cy="1070771"/>
            <a:chOff x="558332" y="2312872"/>
            <a:chExt cx="5202388" cy="756000"/>
          </a:xfrm>
        </p:grpSpPr>
        <p:sp>
          <p:nvSpPr>
            <p:cNvPr id="30" name="Rectangle 29">
              <a:extLst>
                <a:ext uri="{FF2B5EF4-FFF2-40B4-BE49-F238E27FC236}">
                  <a16:creationId xmlns:a16="http://schemas.microsoft.com/office/drawing/2014/main" id="{6B36066D-F13C-AE43-8952-9366B8A0D7AC}"/>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Straight Connector 30">
              <a:extLst>
                <a:ext uri="{FF2B5EF4-FFF2-40B4-BE49-F238E27FC236}">
                  <a16:creationId xmlns:a16="http://schemas.microsoft.com/office/drawing/2014/main" id="{BFC7F9BA-6C49-4740-A870-49B6EC480963}"/>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5" name="Text Placeholder 20">
            <a:extLst>
              <a:ext uri="{FF2B5EF4-FFF2-40B4-BE49-F238E27FC236}">
                <a16:creationId xmlns:a16="http://schemas.microsoft.com/office/drawing/2014/main" id="{8B979C09-D13C-7246-A315-CB1F91820224}"/>
              </a:ext>
            </a:extLst>
          </p:cNvPr>
          <p:cNvSpPr>
            <a:spLocks noGrp="1"/>
          </p:cNvSpPr>
          <p:nvPr>
            <p:ph type="body" sz="quarter" idx="14" hasCustomPrompt="1"/>
          </p:nvPr>
        </p:nvSpPr>
        <p:spPr>
          <a:xfrm>
            <a:off x="817639" y="4138343"/>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92CE0F41-7E9E-3148-9463-F5580DB7B873}"/>
              </a:ext>
            </a:extLst>
          </p:cNvPr>
          <p:cNvSpPr>
            <a:spLocks noGrp="1"/>
          </p:cNvSpPr>
          <p:nvPr>
            <p:ph type="body" sz="quarter" idx="15" hasCustomPrompt="1"/>
          </p:nvPr>
        </p:nvSpPr>
        <p:spPr>
          <a:xfrm>
            <a:off x="817639" y="2968372"/>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18" name="Bilde 3">
            <a:extLst>
              <a:ext uri="{FF2B5EF4-FFF2-40B4-BE49-F238E27FC236}">
                <a16:creationId xmlns:a16="http://schemas.microsoft.com/office/drawing/2014/main" id="{1BD9195B-80E5-6AC0-01C9-D82C02ED118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9" name="Date Placeholder 2">
            <a:extLst>
              <a:ext uri="{FF2B5EF4-FFF2-40B4-BE49-F238E27FC236}">
                <a16:creationId xmlns:a16="http://schemas.microsoft.com/office/drawing/2014/main" id="{6B7C66F6-643D-31ED-8414-0874C0375E13}"/>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20" name="Footer Placeholder 3">
            <a:extLst>
              <a:ext uri="{FF2B5EF4-FFF2-40B4-BE49-F238E27FC236}">
                <a16:creationId xmlns:a16="http://schemas.microsoft.com/office/drawing/2014/main" id="{39A2C9C4-B763-96E0-2166-3E5E140F1670}"/>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21" name="Slide Number Placeholder 4">
            <a:extLst>
              <a:ext uri="{FF2B5EF4-FFF2-40B4-BE49-F238E27FC236}">
                <a16:creationId xmlns:a16="http://schemas.microsoft.com/office/drawing/2014/main" id="{4B3ECF92-0715-0968-72F1-075744B6594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0037287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sp>
        <p:nvSpPr>
          <p:cNvPr id="26" name="Rectangle 25">
            <a:extLst>
              <a:ext uri="{FF2B5EF4-FFF2-40B4-BE49-F238E27FC236}">
                <a16:creationId xmlns:a16="http://schemas.microsoft.com/office/drawing/2014/main" id="{7E68816F-8ED8-F14C-9463-BC5BE746F915}"/>
              </a:ext>
            </a:extLst>
          </p:cNvPr>
          <p:cNvSpPr/>
          <p:nvPr/>
        </p:nvSpPr>
        <p:spPr>
          <a:xfrm>
            <a:off x="731838" y="4085429"/>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4813DECF-DB9F-1D41-BF9F-AB28D2D0FFA9}"/>
              </a:ext>
            </a:extLst>
          </p:cNvPr>
          <p:cNvCxnSpPr>
            <a:cxnSpLocks/>
          </p:cNvCxnSpPr>
          <p:nvPr/>
        </p:nvCxnSpPr>
        <p:spPr>
          <a:xfrm>
            <a:off x="808013" y="4085429"/>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B36066D-F13C-AE43-8952-9366B8A0D7AC}"/>
              </a:ext>
            </a:extLst>
          </p:cNvPr>
          <p:cNvSpPr/>
          <p:nvPr/>
        </p:nvSpPr>
        <p:spPr>
          <a:xfrm>
            <a:off x="731838" y="2892118"/>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Straight Connector 30">
            <a:extLst>
              <a:ext uri="{FF2B5EF4-FFF2-40B4-BE49-F238E27FC236}">
                <a16:creationId xmlns:a16="http://schemas.microsoft.com/office/drawing/2014/main" id="{BFC7F9BA-6C49-4740-A870-49B6EC480963}"/>
              </a:ext>
            </a:extLst>
          </p:cNvPr>
          <p:cNvCxnSpPr>
            <a:cxnSpLocks/>
          </p:cNvCxnSpPr>
          <p:nvPr/>
        </p:nvCxnSpPr>
        <p:spPr>
          <a:xfrm>
            <a:off x="808013" y="2892118"/>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5" name="Text Placeholder 20">
            <a:extLst>
              <a:ext uri="{FF2B5EF4-FFF2-40B4-BE49-F238E27FC236}">
                <a16:creationId xmlns:a16="http://schemas.microsoft.com/office/drawing/2014/main" id="{8B979C09-D13C-7246-A315-CB1F91820224}"/>
              </a:ext>
            </a:extLst>
          </p:cNvPr>
          <p:cNvSpPr>
            <a:spLocks noGrp="1"/>
          </p:cNvSpPr>
          <p:nvPr>
            <p:ph type="body" sz="quarter" idx="14" hasCustomPrompt="1"/>
          </p:nvPr>
        </p:nvSpPr>
        <p:spPr>
          <a:xfrm>
            <a:off x="1088020" y="4138343"/>
            <a:ext cx="4710674"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92CE0F41-7E9E-3148-9463-F5580DB7B873}"/>
              </a:ext>
            </a:extLst>
          </p:cNvPr>
          <p:cNvSpPr>
            <a:spLocks noGrp="1"/>
          </p:cNvSpPr>
          <p:nvPr>
            <p:ph type="body" sz="quarter" idx="15" hasCustomPrompt="1"/>
          </p:nvPr>
        </p:nvSpPr>
        <p:spPr>
          <a:xfrm>
            <a:off x="1088020" y="2968372"/>
            <a:ext cx="4710674"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18" name="Bilde 3">
            <a:extLst>
              <a:ext uri="{FF2B5EF4-FFF2-40B4-BE49-F238E27FC236}">
                <a16:creationId xmlns:a16="http://schemas.microsoft.com/office/drawing/2014/main" id="{1BD9195B-80E5-6AC0-01C9-D82C02ED118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9" name="Date Placeholder 2">
            <a:extLst>
              <a:ext uri="{FF2B5EF4-FFF2-40B4-BE49-F238E27FC236}">
                <a16:creationId xmlns:a16="http://schemas.microsoft.com/office/drawing/2014/main" id="{6B7C66F6-643D-31ED-8414-0874C0375E13}"/>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20" name="Footer Placeholder 3">
            <a:extLst>
              <a:ext uri="{FF2B5EF4-FFF2-40B4-BE49-F238E27FC236}">
                <a16:creationId xmlns:a16="http://schemas.microsoft.com/office/drawing/2014/main" id="{39A2C9C4-B763-96E0-2166-3E5E140F1670}"/>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21" name="Slide Number Placeholder 4">
            <a:extLst>
              <a:ext uri="{FF2B5EF4-FFF2-40B4-BE49-F238E27FC236}">
                <a16:creationId xmlns:a16="http://schemas.microsoft.com/office/drawing/2014/main" id="{4B3ECF92-0715-0968-72F1-075744B6594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0738961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6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grpSp>
        <p:nvGrpSpPr>
          <p:cNvPr id="15" name="Group 14">
            <a:extLst>
              <a:ext uri="{FF2B5EF4-FFF2-40B4-BE49-F238E27FC236}">
                <a16:creationId xmlns:a16="http://schemas.microsoft.com/office/drawing/2014/main" id="{695E2979-A264-70BD-555D-9C31C89B99C2}"/>
              </a:ext>
            </a:extLst>
          </p:cNvPr>
          <p:cNvGrpSpPr/>
          <p:nvPr userDrawn="1"/>
        </p:nvGrpSpPr>
        <p:grpSpPr>
          <a:xfrm>
            <a:off x="731838" y="4768603"/>
            <a:ext cx="5202388" cy="1070771"/>
            <a:chOff x="558332" y="2312872"/>
            <a:chExt cx="5202388" cy="756000"/>
          </a:xfrm>
        </p:grpSpPr>
        <p:sp>
          <p:nvSpPr>
            <p:cNvPr id="16" name="Rectangle 15">
              <a:extLst>
                <a:ext uri="{FF2B5EF4-FFF2-40B4-BE49-F238E27FC236}">
                  <a16:creationId xmlns:a16="http://schemas.microsoft.com/office/drawing/2014/main" id="{5A95CCCA-102E-EF68-04F2-04CF2EC0D71D}"/>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3EE749C5-12C4-D619-3255-42F84C1B0073}"/>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8" name="Text Placeholder 20">
            <a:extLst>
              <a:ext uri="{FF2B5EF4-FFF2-40B4-BE49-F238E27FC236}">
                <a16:creationId xmlns:a16="http://schemas.microsoft.com/office/drawing/2014/main" id="{2D990C2F-6E86-3D57-71A9-0EC247EF1E73}"/>
              </a:ext>
            </a:extLst>
          </p:cNvPr>
          <p:cNvSpPr>
            <a:spLocks noGrp="1"/>
          </p:cNvSpPr>
          <p:nvPr>
            <p:ph type="body" sz="quarter" idx="13" hasCustomPrompt="1"/>
          </p:nvPr>
        </p:nvSpPr>
        <p:spPr>
          <a:xfrm>
            <a:off x="817639" y="4832982"/>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19" name="Group 18">
            <a:extLst>
              <a:ext uri="{FF2B5EF4-FFF2-40B4-BE49-F238E27FC236}">
                <a16:creationId xmlns:a16="http://schemas.microsoft.com/office/drawing/2014/main" id="{650D11A3-D263-14DD-3733-CD4D2938DB81}"/>
              </a:ext>
            </a:extLst>
          </p:cNvPr>
          <p:cNvGrpSpPr/>
          <p:nvPr userDrawn="1"/>
        </p:nvGrpSpPr>
        <p:grpSpPr>
          <a:xfrm>
            <a:off x="731838" y="3575292"/>
            <a:ext cx="5202388" cy="1070771"/>
            <a:chOff x="558332" y="2312872"/>
            <a:chExt cx="5202388" cy="756000"/>
          </a:xfrm>
        </p:grpSpPr>
        <p:sp>
          <p:nvSpPr>
            <p:cNvPr id="20" name="Rectangle 19">
              <a:extLst>
                <a:ext uri="{FF2B5EF4-FFF2-40B4-BE49-F238E27FC236}">
                  <a16:creationId xmlns:a16="http://schemas.microsoft.com/office/drawing/2014/main" id="{9D1217C1-C2C0-3651-3A4C-AD62443C809C}"/>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E77A3BA5-0BF4-57C8-4CDA-B3213523080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23C11601-452E-0C34-0222-E299865A8A59}"/>
              </a:ext>
            </a:extLst>
          </p:cNvPr>
          <p:cNvGrpSpPr/>
          <p:nvPr userDrawn="1"/>
        </p:nvGrpSpPr>
        <p:grpSpPr>
          <a:xfrm>
            <a:off x="731838" y="2381981"/>
            <a:ext cx="5202388" cy="1070771"/>
            <a:chOff x="558332" y="2312872"/>
            <a:chExt cx="5202388" cy="756000"/>
          </a:xfrm>
        </p:grpSpPr>
        <p:sp>
          <p:nvSpPr>
            <p:cNvPr id="33" name="Rectangle 32">
              <a:extLst>
                <a:ext uri="{FF2B5EF4-FFF2-40B4-BE49-F238E27FC236}">
                  <a16:creationId xmlns:a16="http://schemas.microsoft.com/office/drawing/2014/main" id="{3A29BEAE-EEB8-A485-0568-1CCF8FA3E2BC}"/>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BF79195B-E970-3457-F0DB-6DE3AB238E3E}"/>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5" name="Text Placeholder 20">
            <a:extLst>
              <a:ext uri="{FF2B5EF4-FFF2-40B4-BE49-F238E27FC236}">
                <a16:creationId xmlns:a16="http://schemas.microsoft.com/office/drawing/2014/main" id="{46450FDC-9A98-3624-3A28-C4C680E51476}"/>
              </a:ext>
            </a:extLst>
          </p:cNvPr>
          <p:cNvSpPr>
            <a:spLocks noGrp="1"/>
          </p:cNvSpPr>
          <p:nvPr>
            <p:ph type="body" sz="quarter" idx="14" hasCustomPrompt="1"/>
          </p:nvPr>
        </p:nvSpPr>
        <p:spPr>
          <a:xfrm>
            <a:off x="817639" y="3628206"/>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6" name="Text Placeholder 20">
            <a:extLst>
              <a:ext uri="{FF2B5EF4-FFF2-40B4-BE49-F238E27FC236}">
                <a16:creationId xmlns:a16="http://schemas.microsoft.com/office/drawing/2014/main" id="{49CBE21D-FBDF-140E-6D35-005ADF870536}"/>
              </a:ext>
            </a:extLst>
          </p:cNvPr>
          <p:cNvSpPr>
            <a:spLocks noGrp="1"/>
          </p:cNvSpPr>
          <p:nvPr>
            <p:ph type="body" sz="quarter" idx="15" hasCustomPrompt="1"/>
          </p:nvPr>
        </p:nvSpPr>
        <p:spPr>
          <a:xfrm>
            <a:off x="817639" y="2458235"/>
            <a:ext cx="4981056"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25" name="Bilde 3">
            <a:extLst>
              <a:ext uri="{FF2B5EF4-FFF2-40B4-BE49-F238E27FC236}">
                <a16:creationId xmlns:a16="http://schemas.microsoft.com/office/drawing/2014/main" id="{424BDAF4-D422-3AC5-47B1-4F05D60BB9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70BDCB77-5919-9FD6-02AD-705B6BAD4FF3}"/>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26" name="Footer Placeholder 3">
            <a:extLst>
              <a:ext uri="{FF2B5EF4-FFF2-40B4-BE49-F238E27FC236}">
                <a16:creationId xmlns:a16="http://schemas.microsoft.com/office/drawing/2014/main" id="{3BE94EF0-077E-7A72-B08A-C1C403280FDF}"/>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27" name="Slide Number Placeholder 4">
            <a:extLst>
              <a:ext uri="{FF2B5EF4-FFF2-40B4-BE49-F238E27FC236}">
                <a16:creationId xmlns:a16="http://schemas.microsoft.com/office/drawing/2014/main" id="{30D922FC-A49B-FD69-6391-505A8FE74E59}"/>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759898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9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sp>
        <p:nvSpPr>
          <p:cNvPr id="16" name="Rectangle 15">
            <a:extLst>
              <a:ext uri="{FF2B5EF4-FFF2-40B4-BE49-F238E27FC236}">
                <a16:creationId xmlns:a16="http://schemas.microsoft.com/office/drawing/2014/main" id="{5A95CCCA-102E-EF68-04F2-04CF2EC0D71D}"/>
              </a:ext>
            </a:extLst>
          </p:cNvPr>
          <p:cNvSpPr/>
          <p:nvPr/>
        </p:nvSpPr>
        <p:spPr>
          <a:xfrm>
            <a:off x="731838" y="4768603"/>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3EE749C5-12C4-D619-3255-42F84C1B0073}"/>
              </a:ext>
            </a:extLst>
          </p:cNvPr>
          <p:cNvCxnSpPr>
            <a:cxnSpLocks/>
          </p:cNvCxnSpPr>
          <p:nvPr/>
        </p:nvCxnSpPr>
        <p:spPr>
          <a:xfrm>
            <a:off x="817639" y="4768603"/>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Text Placeholder 20">
            <a:extLst>
              <a:ext uri="{FF2B5EF4-FFF2-40B4-BE49-F238E27FC236}">
                <a16:creationId xmlns:a16="http://schemas.microsoft.com/office/drawing/2014/main" id="{2D990C2F-6E86-3D57-71A9-0EC247EF1E73}"/>
              </a:ext>
            </a:extLst>
          </p:cNvPr>
          <p:cNvSpPr>
            <a:spLocks noGrp="1"/>
          </p:cNvSpPr>
          <p:nvPr userDrawn="1">
            <p:ph type="body" sz="quarter" idx="13" hasCustomPrompt="1"/>
          </p:nvPr>
        </p:nvSpPr>
        <p:spPr>
          <a:xfrm>
            <a:off x="1033669" y="4832982"/>
            <a:ext cx="4765025"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20" name="Rectangle 19">
            <a:extLst>
              <a:ext uri="{FF2B5EF4-FFF2-40B4-BE49-F238E27FC236}">
                <a16:creationId xmlns:a16="http://schemas.microsoft.com/office/drawing/2014/main" id="{9D1217C1-C2C0-3651-3A4C-AD62443C809C}"/>
              </a:ext>
            </a:extLst>
          </p:cNvPr>
          <p:cNvSpPr/>
          <p:nvPr/>
        </p:nvSpPr>
        <p:spPr>
          <a:xfrm>
            <a:off x="731838" y="3575292"/>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E77A3BA5-0BF4-57C8-4CDA-B3213523080F}"/>
              </a:ext>
            </a:extLst>
          </p:cNvPr>
          <p:cNvCxnSpPr>
            <a:cxnSpLocks/>
          </p:cNvCxnSpPr>
          <p:nvPr/>
        </p:nvCxnSpPr>
        <p:spPr>
          <a:xfrm>
            <a:off x="817639" y="3575292"/>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3A29BEAE-EEB8-A485-0568-1CCF8FA3E2BC}"/>
              </a:ext>
            </a:extLst>
          </p:cNvPr>
          <p:cNvSpPr/>
          <p:nvPr/>
        </p:nvSpPr>
        <p:spPr>
          <a:xfrm>
            <a:off x="731838" y="2381981"/>
            <a:ext cx="5202388" cy="1070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BF79195B-E970-3457-F0DB-6DE3AB238E3E}"/>
              </a:ext>
            </a:extLst>
          </p:cNvPr>
          <p:cNvCxnSpPr>
            <a:cxnSpLocks/>
          </p:cNvCxnSpPr>
          <p:nvPr/>
        </p:nvCxnSpPr>
        <p:spPr>
          <a:xfrm>
            <a:off x="817639" y="2381981"/>
            <a:ext cx="0" cy="1070771"/>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46450FDC-9A98-3624-3A28-C4C680E51476}"/>
              </a:ext>
            </a:extLst>
          </p:cNvPr>
          <p:cNvSpPr>
            <a:spLocks noGrp="1"/>
          </p:cNvSpPr>
          <p:nvPr userDrawn="1">
            <p:ph type="body" sz="quarter" idx="14" hasCustomPrompt="1"/>
          </p:nvPr>
        </p:nvSpPr>
        <p:spPr>
          <a:xfrm>
            <a:off x="1033669" y="3628206"/>
            <a:ext cx="4765025"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6" name="Text Placeholder 20">
            <a:extLst>
              <a:ext uri="{FF2B5EF4-FFF2-40B4-BE49-F238E27FC236}">
                <a16:creationId xmlns:a16="http://schemas.microsoft.com/office/drawing/2014/main" id="{49CBE21D-FBDF-140E-6D35-005ADF870536}"/>
              </a:ext>
            </a:extLst>
          </p:cNvPr>
          <p:cNvSpPr>
            <a:spLocks noGrp="1"/>
          </p:cNvSpPr>
          <p:nvPr userDrawn="1">
            <p:ph type="body" sz="quarter" idx="15" hasCustomPrompt="1"/>
          </p:nvPr>
        </p:nvSpPr>
        <p:spPr>
          <a:xfrm>
            <a:off x="1033669" y="2458235"/>
            <a:ext cx="4765025" cy="942012"/>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25" name="Bilde 3">
            <a:extLst>
              <a:ext uri="{FF2B5EF4-FFF2-40B4-BE49-F238E27FC236}">
                <a16:creationId xmlns:a16="http://schemas.microsoft.com/office/drawing/2014/main" id="{424BDAF4-D422-3AC5-47B1-4F05D60BB9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70BDCB77-5919-9FD6-02AD-705B6BAD4FF3}"/>
              </a:ext>
            </a:extLst>
          </p:cNvPr>
          <p:cNvSpPr>
            <a:spLocks noGrp="1"/>
          </p:cNvSpPr>
          <p:nvPr userDrawn="1">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26" name="Footer Placeholder 3">
            <a:extLst>
              <a:ext uri="{FF2B5EF4-FFF2-40B4-BE49-F238E27FC236}">
                <a16:creationId xmlns:a16="http://schemas.microsoft.com/office/drawing/2014/main" id="{3BE94EF0-077E-7A72-B08A-C1C403280FDF}"/>
              </a:ext>
            </a:extLst>
          </p:cNvPr>
          <p:cNvSpPr>
            <a:spLocks noGrp="1"/>
          </p:cNvSpPr>
          <p:nvPr userDrawn="1">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27" name="Slide Number Placeholder 4">
            <a:extLst>
              <a:ext uri="{FF2B5EF4-FFF2-40B4-BE49-F238E27FC236}">
                <a16:creationId xmlns:a16="http://schemas.microsoft.com/office/drawing/2014/main" id="{30D922FC-A49B-FD69-6391-505A8FE74E59}"/>
              </a:ext>
            </a:extLst>
          </p:cNvPr>
          <p:cNvSpPr>
            <a:spLocks noGrp="1"/>
          </p:cNvSpPr>
          <p:nvPr userDrawn="1">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3317216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7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grpSp>
        <p:nvGrpSpPr>
          <p:cNvPr id="25" name="Group 24">
            <a:extLst>
              <a:ext uri="{FF2B5EF4-FFF2-40B4-BE49-F238E27FC236}">
                <a16:creationId xmlns:a16="http://schemas.microsoft.com/office/drawing/2014/main" id="{37A582FD-82EE-E788-AF1A-D5B8F27F4843}"/>
              </a:ext>
            </a:extLst>
          </p:cNvPr>
          <p:cNvGrpSpPr/>
          <p:nvPr userDrawn="1"/>
        </p:nvGrpSpPr>
        <p:grpSpPr>
          <a:xfrm>
            <a:off x="731838" y="2360372"/>
            <a:ext cx="5202388" cy="756000"/>
            <a:chOff x="558332" y="2312872"/>
            <a:chExt cx="5202388" cy="756000"/>
          </a:xfrm>
        </p:grpSpPr>
        <p:sp>
          <p:nvSpPr>
            <p:cNvPr id="26" name="Rectangle 25">
              <a:extLst>
                <a:ext uri="{FF2B5EF4-FFF2-40B4-BE49-F238E27FC236}">
                  <a16:creationId xmlns:a16="http://schemas.microsoft.com/office/drawing/2014/main" id="{E366F876-8570-297F-035B-0DE6C6600DEB}"/>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E1B9C562-3D2C-2F2B-9171-1A792DDF93D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9" name="Text Placeholder 20">
            <a:extLst>
              <a:ext uri="{FF2B5EF4-FFF2-40B4-BE49-F238E27FC236}">
                <a16:creationId xmlns:a16="http://schemas.microsoft.com/office/drawing/2014/main" id="{E449B1A2-F732-EF88-13A4-8EDA8436E445}"/>
              </a:ext>
            </a:extLst>
          </p:cNvPr>
          <p:cNvSpPr>
            <a:spLocks noGrp="1"/>
          </p:cNvSpPr>
          <p:nvPr>
            <p:ph type="body" sz="quarter" idx="10" hasCustomPrompt="1"/>
          </p:nvPr>
        </p:nvSpPr>
        <p:spPr>
          <a:xfrm>
            <a:off x="817639" y="2449447"/>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30" name="Group 29">
            <a:extLst>
              <a:ext uri="{FF2B5EF4-FFF2-40B4-BE49-F238E27FC236}">
                <a16:creationId xmlns:a16="http://schemas.microsoft.com/office/drawing/2014/main" id="{D6FCE257-7D18-875A-CD9E-90F3822B1E6E}"/>
              </a:ext>
            </a:extLst>
          </p:cNvPr>
          <p:cNvGrpSpPr/>
          <p:nvPr userDrawn="1"/>
        </p:nvGrpSpPr>
        <p:grpSpPr>
          <a:xfrm>
            <a:off x="731838" y="3246651"/>
            <a:ext cx="5202388" cy="756000"/>
            <a:chOff x="558332" y="2312872"/>
            <a:chExt cx="5202388" cy="756000"/>
          </a:xfrm>
        </p:grpSpPr>
        <p:sp>
          <p:nvSpPr>
            <p:cNvPr id="31" name="Rectangle 30">
              <a:extLst>
                <a:ext uri="{FF2B5EF4-FFF2-40B4-BE49-F238E27FC236}">
                  <a16:creationId xmlns:a16="http://schemas.microsoft.com/office/drawing/2014/main" id="{4F0F38EE-E67F-FBED-A126-C22FC09800EC}"/>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7F21480C-2573-EE0E-911E-11FF4E962E2D}"/>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2C4533ED-65E2-0C4A-E8A3-20EAC0CFC98F}"/>
              </a:ext>
            </a:extLst>
          </p:cNvPr>
          <p:cNvGrpSpPr/>
          <p:nvPr userDrawn="1"/>
        </p:nvGrpSpPr>
        <p:grpSpPr>
          <a:xfrm>
            <a:off x="731838" y="4132930"/>
            <a:ext cx="5202388" cy="756000"/>
            <a:chOff x="558332" y="2312872"/>
            <a:chExt cx="5202388" cy="756000"/>
          </a:xfrm>
        </p:grpSpPr>
        <p:sp>
          <p:nvSpPr>
            <p:cNvPr id="39" name="Rectangle 38">
              <a:extLst>
                <a:ext uri="{FF2B5EF4-FFF2-40B4-BE49-F238E27FC236}">
                  <a16:creationId xmlns:a16="http://schemas.microsoft.com/office/drawing/2014/main" id="{118BC62C-526B-BBEF-8DEC-5FD2D9E478AB}"/>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668DEA18-A608-B503-491A-179887B02603}"/>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C4291E4D-E220-C66B-2873-894507738DCE}"/>
              </a:ext>
            </a:extLst>
          </p:cNvPr>
          <p:cNvGrpSpPr/>
          <p:nvPr userDrawn="1"/>
        </p:nvGrpSpPr>
        <p:grpSpPr>
          <a:xfrm>
            <a:off x="731838" y="5019208"/>
            <a:ext cx="5202388" cy="756000"/>
            <a:chOff x="558332" y="2312872"/>
            <a:chExt cx="5202388" cy="756000"/>
          </a:xfrm>
        </p:grpSpPr>
        <p:sp>
          <p:nvSpPr>
            <p:cNvPr id="42" name="Rectangle 41">
              <a:extLst>
                <a:ext uri="{FF2B5EF4-FFF2-40B4-BE49-F238E27FC236}">
                  <a16:creationId xmlns:a16="http://schemas.microsoft.com/office/drawing/2014/main" id="{0D17DF68-02BE-0BBD-A1D3-2F8300DF1C12}"/>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3" name="Straight Connector 42">
              <a:extLst>
                <a:ext uri="{FF2B5EF4-FFF2-40B4-BE49-F238E27FC236}">
                  <a16:creationId xmlns:a16="http://schemas.microsoft.com/office/drawing/2014/main" id="{9CD4D8F9-14BF-CA58-F7A4-FC3AC4163018}"/>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4" name="Text Placeholder 20">
            <a:extLst>
              <a:ext uri="{FF2B5EF4-FFF2-40B4-BE49-F238E27FC236}">
                <a16:creationId xmlns:a16="http://schemas.microsoft.com/office/drawing/2014/main" id="{5E08B787-23FB-55C5-00E1-BC2440525D70}"/>
              </a:ext>
            </a:extLst>
          </p:cNvPr>
          <p:cNvSpPr>
            <a:spLocks noGrp="1"/>
          </p:cNvSpPr>
          <p:nvPr>
            <p:ph type="body" sz="quarter" idx="12" hasCustomPrompt="1"/>
          </p:nvPr>
        </p:nvSpPr>
        <p:spPr>
          <a:xfrm>
            <a:off x="817639" y="3329886"/>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5" name="Text Placeholder 20">
            <a:extLst>
              <a:ext uri="{FF2B5EF4-FFF2-40B4-BE49-F238E27FC236}">
                <a16:creationId xmlns:a16="http://schemas.microsoft.com/office/drawing/2014/main" id="{CCF4088B-D715-137F-2F33-CC96578BAC53}"/>
              </a:ext>
            </a:extLst>
          </p:cNvPr>
          <p:cNvSpPr>
            <a:spLocks noGrp="1"/>
          </p:cNvSpPr>
          <p:nvPr>
            <p:ph type="body" sz="quarter" idx="13" hasCustomPrompt="1"/>
          </p:nvPr>
        </p:nvSpPr>
        <p:spPr>
          <a:xfrm>
            <a:off x="817639" y="4210325"/>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758A94F3-F9EE-52AA-4B7B-B799FEE37001}"/>
              </a:ext>
            </a:extLst>
          </p:cNvPr>
          <p:cNvSpPr>
            <a:spLocks noGrp="1"/>
          </p:cNvSpPr>
          <p:nvPr>
            <p:ph type="body" sz="quarter" idx="14" hasCustomPrompt="1"/>
          </p:nvPr>
        </p:nvSpPr>
        <p:spPr>
          <a:xfrm>
            <a:off x="817639" y="5090765"/>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32" name="Bilde 3">
            <a:extLst>
              <a:ext uri="{FF2B5EF4-FFF2-40B4-BE49-F238E27FC236}">
                <a16:creationId xmlns:a16="http://schemas.microsoft.com/office/drawing/2014/main" id="{98EEFC5F-05DB-267E-00D0-0824C7B567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3" name="Date Placeholder 2">
            <a:extLst>
              <a:ext uri="{FF2B5EF4-FFF2-40B4-BE49-F238E27FC236}">
                <a16:creationId xmlns:a16="http://schemas.microsoft.com/office/drawing/2014/main" id="{EAB28A51-C4C2-D978-4B27-3F1ABED430BF}"/>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34" name="Footer Placeholder 3">
            <a:extLst>
              <a:ext uri="{FF2B5EF4-FFF2-40B4-BE49-F238E27FC236}">
                <a16:creationId xmlns:a16="http://schemas.microsoft.com/office/drawing/2014/main" id="{FD8A2425-82AA-A745-317B-1D51C4065284}"/>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35" name="Slide Number Placeholder 4">
            <a:extLst>
              <a:ext uri="{FF2B5EF4-FFF2-40B4-BE49-F238E27FC236}">
                <a16:creationId xmlns:a16="http://schemas.microsoft.com/office/drawing/2014/main" id="{19C9AE7C-9103-2E0C-B1C2-2F7C060BB04C}"/>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2447986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0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819275"/>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sp>
        <p:nvSpPr>
          <p:cNvPr id="26" name="Rectangle 25">
            <a:extLst>
              <a:ext uri="{FF2B5EF4-FFF2-40B4-BE49-F238E27FC236}">
                <a16:creationId xmlns:a16="http://schemas.microsoft.com/office/drawing/2014/main" id="{E366F876-8570-297F-035B-0DE6C6600DEB}"/>
              </a:ext>
            </a:extLst>
          </p:cNvPr>
          <p:cNvSpPr/>
          <p:nvPr/>
        </p:nvSpPr>
        <p:spPr>
          <a:xfrm>
            <a:off x="731838" y="23603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E1B9C562-3D2C-2F2B-9171-1A792DDF93DF}"/>
              </a:ext>
            </a:extLst>
          </p:cNvPr>
          <p:cNvCxnSpPr>
            <a:cxnSpLocks/>
          </p:cNvCxnSpPr>
          <p:nvPr/>
        </p:nvCxnSpPr>
        <p:spPr>
          <a:xfrm>
            <a:off x="827256" y="2360372"/>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Text Placeholder 20">
            <a:extLst>
              <a:ext uri="{FF2B5EF4-FFF2-40B4-BE49-F238E27FC236}">
                <a16:creationId xmlns:a16="http://schemas.microsoft.com/office/drawing/2014/main" id="{E449B1A2-F732-EF88-13A4-8EDA8436E445}"/>
              </a:ext>
            </a:extLst>
          </p:cNvPr>
          <p:cNvSpPr>
            <a:spLocks noGrp="1"/>
          </p:cNvSpPr>
          <p:nvPr userDrawn="1">
            <p:ph type="body" sz="quarter" idx="10" hasCustomPrompt="1"/>
          </p:nvPr>
        </p:nvSpPr>
        <p:spPr>
          <a:xfrm>
            <a:off x="1009815" y="2449447"/>
            <a:ext cx="478887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1" name="Rectangle 30">
            <a:extLst>
              <a:ext uri="{FF2B5EF4-FFF2-40B4-BE49-F238E27FC236}">
                <a16:creationId xmlns:a16="http://schemas.microsoft.com/office/drawing/2014/main" id="{4F0F38EE-E67F-FBED-A126-C22FC09800EC}"/>
              </a:ext>
            </a:extLst>
          </p:cNvPr>
          <p:cNvSpPr/>
          <p:nvPr/>
        </p:nvSpPr>
        <p:spPr>
          <a:xfrm>
            <a:off x="731838" y="3246651"/>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7F21480C-2573-EE0E-911E-11FF4E962E2D}"/>
              </a:ext>
            </a:extLst>
          </p:cNvPr>
          <p:cNvCxnSpPr>
            <a:cxnSpLocks/>
          </p:cNvCxnSpPr>
          <p:nvPr/>
        </p:nvCxnSpPr>
        <p:spPr>
          <a:xfrm>
            <a:off x="827256" y="3246651"/>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118BC62C-526B-BBEF-8DEC-5FD2D9E478AB}"/>
              </a:ext>
            </a:extLst>
          </p:cNvPr>
          <p:cNvSpPr/>
          <p:nvPr/>
        </p:nvSpPr>
        <p:spPr>
          <a:xfrm>
            <a:off x="731838" y="4132930"/>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668DEA18-A608-B503-491A-179887B02603}"/>
              </a:ext>
            </a:extLst>
          </p:cNvPr>
          <p:cNvCxnSpPr>
            <a:cxnSpLocks/>
          </p:cNvCxnSpPr>
          <p:nvPr/>
        </p:nvCxnSpPr>
        <p:spPr>
          <a:xfrm>
            <a:off x="827256" y="4132930"/>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0D17DF68-02BE-0BBD-A1D3-2F8300DF1C12}"/>
              </a:ext>
            </a:extLst>
          </p:cNvPr>
          <p:cNvSpPr/>
          <p:nvPr/>
        </p:nvSpPr>
        <p:spPr>
          <a:xfrm>
            <a:off x="731838" y="5019208"/>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3" name="Straight Connector 42">
            <a:extLst>
              <a:ext uri="{FF2B5EF4-FFF2-40B4-BE49-F238E27FC236}">
                <a16:creationId xmlns:a16="http://schemas.microsoft.com/office/drawing/2014/main" id="{9CD4D8F9-14BF-CA58-F7A4-FC3AC4163018}"/>
              </a:ext>
            </a:extLst>
          </p:cNvPr>
          <p:cNvCxnSpPr>
            <a:cxnSpLocks/>
          </p:cNvCxnSpPr>
          <p:nvPr/>
        </p:nvCxnSpPr>
        <p:spPr>
          <a:xfrm>
            <a:off x="827256" y="5019208"/>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Text Placeholder 20">
            <a:extLst>
              <a:ext uri="{FF2B5EF4-FFF2-40B4-BE49-F238E27FC236}">
                <a16:creationId xmlns:a16="http://schemas.microsoft.com/office/drawing/2014/main" id="{5E08B787-23FB-55C5-00E1-BC2440525D70}"/>
              </a:ext>
            </a:extLst>
          </p:cNvPr>
          <p:cNvSpPr>
            <a:spLocks noGrp="1"/>
          </p:cNvSpPr>
          <p:nvPr userDrawn="1">
            <p:ph type="body" sz="quarter" idx="12" hasCustomPrompt="1"/>
          </p:nvPr>
        </p:nvSpPr>
        <p:spPr>
          <a:xfrm>
            <a:off x="1009815" y="3329886"/>
            <a:ext cx="478887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5" name="Text Placeholder 20">
            <a:extLst>
              <a:ext uri="{FF2B5EF4-FFF2-40B4-BE49-F238E27FC236}">
                <a16:creationId xmlns:a16="http://schemas.microsoft.com/office/drawing/2014/main" id="{CCF4088B-D715-137F-2F33-CC96578BAC53}"/>
              </a:ext>
            </a:extLst>
          </p:cNvPr>
          <p:cNvSpPr>
            <a:spLocks noGrp="1"/>
          </p:cNvSpPr>
          <p:nvPr userDrawn="1">
            <p:ph type="body" sz="quarter" idx="13" hasCustomPrompt="1"/>
          </p:nvPr>
        </p:nvSpPr>
        <p:spPr>
          <a:xfrm>
            <a:off x="1009815" y="4210325"/>
            <a:ext cx="478887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758A94F3-F9EE-52AA-4B7B-B799FEE37001}"/>
              </a:ext>
            </a:extLst>
          </p:cNvPr>
          <p:cNvSpPr>
            <a:spLocks noGrp="1"/>
          </p:cNvSpPr>
          <p:nvPr userDrawn="1">
            <p:ph type="body" sz="quarter" idx="14" hasCustomPrompt="1"/>
          </p:nvPr>
        </p:nvSpPr>
        <p:spPr>
          <a:xfrm>
            <a:off x="1009815" y="5090765"/>
            <a:ext cx="478887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32" name="Bilde 3">
            <a:extLst>
              <a:ext uri="{FF2B5EF4-FFF2-40B4-BE49-F238E27FC236}">
                <a16:creationId xmlns:a16="http://schemas.microsoft.com/office/drawing/2014/main" id="{98EEFC5F-05DB-267E-00D0-0824C7B567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3" name="Date Placeholder 2">
            <a:extLst>
              <a:ext uri="{FF2B5EF4-FFF2-40B4-BE49-F238E27FC236}">
                <a16:creationId xmlns:a16="http://schemas.microsoft.com/office/drawing/2014/main" id="{EAB28A51-C4C2-D978-4B27-3F1ABED430BF}"/>
              </a:ext>
            </a:extLst>
          </p:cNvPr>
          <p:cNvSpPr>
            <a:spLocks noGrp="1"/>
          </p:cNvSpPr>
          <p:nvPr userDrawn="1">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34" name="Footer Placeholder 3">
            <a:extLst>
              <a:ext uri="{FF2B5EF4-FFF2-40B4-BE49-F238E27FC236}">
                <a16:creationId xmlns:a16="http://schemas.microsoft.com/office/drawing/2014/main" id="{FD8A2425-82AA-A745-317B-1D51C4065284}"/>
              </a:ext>
            </a:extLst>
          </p:cNvPr>
          <p:cNvSpPr>
            <a:spLocks noGrp="1"/>
          </p:cNvSpPr>
          <p:nvPr userDrawn="1">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35" name="Slide Number Placeholder 4">
            <a:extLst>
              <a:ext uri="{FF2B5EF4-FFF2-40B4-BE49-F238E27FC236}">
                <a16:creationId xmlns:a16="http://schemas.microsoft.com/office/drawing/2014/main" id="{19C9AE7C-9103-2E0C-B1C2-2F7C060BB04C}"/>
              </a:ext>
            </a:extLst>
          </p:cNvPr>
          <p:cNvSpPr>
            <a:spLocks noGrp="1"/>
          </p:cNvSpPr>
          <p:nvPr userDrawn="1">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0456538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8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504683"/>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grpSp>
        <p:nvGrpSpPr>
          <p:cNvPr id="32" name="Group 31">
            <a:extLst>
              <a:ext uri="{FF2B5EF4-FFF2-40B4-BE49-F238E27FC236}">
                <a16:creationId xmlns:a16="http://schemas.microsoft.com/office/drawing/2014/main" id="{9E4B393B-5C8D-DB20-7965-7736D1FD5F57}"/>
              </a:ext>
            </a:extLst>
          </p:cNvPr>
          <p:cNvGrpSpPr/>
          <p:nvPr userDrawn="1"/>
        </p:nvGrpSpPr>
        <p:grpSpPr>
          <a:xfrm>
            <a:off x="734070" y="2072928"/>
            <a:ext cx="5202388" cy="756000"/>
            <a:chOff x="558332" y="2312872"/>
            <a:chExt cx="5202388" cy="756000"/>
          </a:xfrm>
        </p:grpSpPr>
        <p:sp>
          <p:nvSpPr>
            <p:cNvPr id="33" name="Rectangle 32">
              <a:extLst>
                <a:ext uri="{FF2B5EF4-FFF2-40B4-BE49-F238E27FC236}">
                  <a16:creationId xmlns:a16="http://schemas.microsoft.com/office/drawing/2014/main" id="{0DA3DEA2-7333-4492-1044-D7EB7386727A}"/>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7F35A7AB-6104-5231-735C-5AE5EF809F71}"/>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5" name="Text Placeholder 20">
            <a:extLst>
              <a:ext uri="{FF2B5EF4-FFF2-40B4-BE49-F238E27FC236}">
                <a16:creationId xmlns:a16="http://schemas.microsoft.com/office/drawing/2014/main" id="{5A2AB5B1-2ECF-5F24-EF62-2BEC48D11679}"/>
              </a:ext>
            </a:extLst>
          </p:cNvPr>
          <p:cNvSpPr>
            <a:spLocks noGrp="1"/>
          </p:cNvSpPr>
          <p:nvPr>
            <p:ph type="body" sz="quarter" idx="10" hasCustomPrompt="1"/>
          </p:nvPr>
        </p:nvSpPr>
        <p:spPr>
          <a:xfrm>
            <a:off x="819871" y="2162003"/>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36" name="Group 35">
            <a:extLst>
              <a:ext uri="{FF2B5EF4-FFF2-40B4-BE49-F238E27FC236}">
                <a16:creationId xmlns:a16="http://schemas.microsoft.com/office/drawing/2014/main" id="{BDB68336-1BE8-7ED3-11EB-37C4F5570633}"/>
              </a:ext>
            </a:extLst>
          </p:cNvPr>
          <p:cNvGrpSpPr/>
          <p:nvPr userDrawn="1"/>
        </p:nvGrpSpPr>
        <p:grpSpPr>
          <a:xfrm>
            <a:off x="734070" y="2915116"/>
            <a:ext cx="5202388" cy="756000"/>
            <a:chOff x="558332" y="2312872"/>
            <a:chExt cx="5202388" cy="756000"/>
          </a:xfrm>
        </p:grpSpPr>
        <p:sp>
          <p:nvSpPr>
            <p:cNvPr id="47" name="Rectangle 46">
              <a:extLst>
                <a:ext uri="{FF2B5EF4-FFF2-40B4-BE49-F238E27FC236}">
                  <a16:creationId xmlns:a16="http://schemas.microsoft.com/office/drawing/2014/main" id="{6F9DD9A6-9D82-99B8-94E5-51FB18A35AFF}"/>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8" name="Straight Connector 47">
              <a:extLst>
                <a:ext uri="{FF2B5EF4-FFF2-40B4-BE49-F238E27FC236}">
                  <a16:creationId xmlns:a16="http://schemas.microsoft.com/office/drawing/2014/main" id="{6BAF944F-5074-63E2-A5E3-2B5F0E5C3D07}"/>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E2E53277-CE50-28C3-C929-98DE8F5E4205}"/>
              </a:ext>
            </a:extLst>
          </p:cNvPr>
          <p:cNvGrpSpPr/>
          <p:nvPr userDrawn="1"/>
        </p:nvGrpSpPr>
        <p:grpSpPr>
          <a:xfrm>
            <a:off x="734070" y="3757304"/>
            <a:ext cx="5202388" cy="756000"/>
            <a:chOff x="558332" y="2312872"/>
            <a:chExt cx="5202388" cy="756000"/>
          </a:xfrm>
        </p:grpSpPr>
        <p:sp>
          <p:nvSpPr>
            <p:cNvPr id="50" name="Rectangle 49">
              <a:extLst>
                <a:ext uri="{FF2B5EF4-FFF2-40B4-BE49-F238E27FC236}">
                  <a16:creationId xmlns:a16="http://schemas.microsoft.com/office/drawing/2014/main" id="{18CC2C82-EAA6-63E4-031C-FC42706250B7}"/>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891DA805-F299-AE45-6235-E1100FC431C5}"/>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CB76BFD8-9678-F7C0-1053-6572ACA36044}"/>
              </a:ext>
            </a:extLst>
          </p:cNvPr>
          <p:cNvGrpSpPr/>
          <p:nvPr userDrawn="1"/>
        </p:nvGrpSpPr>
        <p:grpSpPr>
          <a:xfrm>
            <a:off x="734070" y="4599492"/>
            <a:ext cx="5202388" cy="756000"/>
            <a:chOff x="558332" y="2312872"/>
            <a:chExt cx="5202388" cy="756000"/>
          </a:xfrm>
        </p:grpSpPr>
        <p:sp>
          <p:nvSpPr>
            <p:cNvPr id="53" name="Rectangle 52">
              <a:extLst>
                <a:ext uri="{FF2B5EF4-FFF2-40B4-BE49-F238E27FC236}">
                  <a16:creationId xmlns:a16="http://schemas.microsoft.com/office/drawing/2014/main" id="{83E2BD2D-2C57-54CC-2ECB-DDF1AEF80DCB}"/>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E1648AD5-C028-FBF1-597A-79A21158DE93}"/>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55" name="Text Placeholder 20">
            <a:extLst>
              <a:ext uri="{FF2B5EF4-FFF2-40B4-BE49-F238E27FC236}">
                <a16:creationId xmlns:a16="http://schemas.microsoft.com/office/drawing/2014/main" id="{B1A0D399-AD63-C8F6-A79B-CA49BE109A06}"/>
              </a:ext>
            </a:extLst>
          </p:cNvPr>
          <p:cNvSpPr>
            <a:spLocks noGrp="1"/>
          </p:cNvSpPr>
          <p:nvPr>
            <p:ph type="body" sz="quarter" idx="12" hasCustomPrompt="1"/>
          </p:nvPr>
        </p:nvSpPr>
        <p:spPr>
          <a:xfrm>
            <a:off x="819871" y="3004191"/>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6" name="Text Placeholder 20">
            <a:extLst>
              <a:ext uri="{FF2B5EF4-FFF2-40B4-BE49-F238E27FC236}">
                <a16:creationId xmlns:a16="http://schemas.microsoft.com/office/drawing/2014/main" id="{CCC12247-8BAB-4AE4-DDFB-5CB8B7006906}"/>
              </a:ext>
            </a:extLst>
          </p:cNvPr>
          <p:cNvSpPr>
            <a:spLocks noGrp="1"/>
          </p:cNvSpPr>
          <p:nvPr>
            <p:ph type="body" sz="quarter" idx="13" hasCustomPrompt="1"/>
          </p:nvPr>
        </p:nvSpPr>
        <p:spPr>
          <a:xfrm>
            <a:off x="819871" y="3846379"/>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7" name="Text Placeholder 20">
            <a:extLst>
              <a:ext uri="{FF2B5EF4-FFF2-40B4-BE49-F238E27FC236}">
                <a16:creationId xmlns:a16="http://schemas.microsoft.com/office/drawing/2014/main" id="{2FEA113A-604B-5532-6772-443DEC02D830}"/>
              </a:ext>
            </a:extLst>
          </p:cNvPr>
          <p:cNvSpPr>
            <a:spLocks noGrp="1"/>
          </p:cNvSpPr>
          <p:nvPr>
            <p:ph type="body" sz="quarter" idx="14" hasCustomPrompt="1"/>
          </p:nvPr>
        </p:nvSpPr>
        <p:spPr>
          <a:xfrm>
            <a:off x="819871" y="4688567"/>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58" name="Group 57">
            <a:extLst>
              <a:ext uri="{FF2B5EF4-FFF2-40B4-BE49-F238E27FC236}">
                <a16:creationId xmlns:a16="http://schemas.microsoft.com/office/drawing/2014/main" id="{1749022F-2D24-3B7B-4935-CDF421E1AA27}"/>
              </a:ext>
            </a:extLst>
          </p:cNvPr>
          <p:cNvGrpSpPr/>
          <p:nvPr userDrawn="1"/>
        </p:nvGrpSpPr>
        <p:grpSpPr>
          <a:xfrm>
            <a:off x="752577" y="5441680"/>
            <a:ext cx="5202388" cy="756000"/>
            <a:chOff x="558332" y="2312872"/>
            <a:chExt cx="5202388" cy="756000"/>
          </a:xfrm>
        </p:grpSpPr>
        <p:sp>
          <p:nvSpPr>
            <p:cNvPr id="59" name="Rectangle 58">
              <a:extLst>
                <a:ext uri="{FF2B5EF4-FFF2-40B4-BE49-F238E27FC236}">
                  <a16:creationId xmlns:a16="http://schemas.microsoft.com/office/drawing/2014/main" id="{74C29AE8-19AA-C1C7-9021-ACCC5B30EBA8}"/>
                </a:ext>
              </a:extLst>
            </p:cNvPr>
            <p:cNvSpPr/>
            <p:nvPr/>
          </p:nvSpPr>
          <p:spPr>
            <a:xfrm>
              <a:off x="558332" y="231287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0" name="Straight Connector 59">
              <a:extLst>
                <a:ext uri="{FF2B5EF4-FFF2-40B4-BE49-F238E27FC236}">
                  <a16:creationId xmlns:a16="http://schemas.microsoft.com/office/drawing/2014/main" id="{D1AF8B10-77B7-994C-26DA-98606625369C}"/>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61" name="Text Placeholder 20">
            <a:extLst>
              <a:ext uri="{FF2B5EF4-FFF2-40B4-BE49-F238E27FC236}">
                <a16:creationId xmlns:a16="http://schemas.microsoft.com/office/drawing/2014/main" id="{EBC6E672-A248-2ABD-D4D1-033D6C57FC5E}"/>
              </a:ext>
            </a:extLst>
          </p:cNvPr>
          <p:cNvSpPr>
            <a:spLocks noGrp="1"/>
          </p:cNvSpPr>
          <p:nvPr>
            <p:ph type="body" sz="quarter" idx="15" hasCustomPrompt="1"/>
          </p:nvPr>
        </p:nvSpPr>
        <p:spPr>
          <a:xfrm>
            <a:off x="838378" y="5530755"/>
            <a:ext cx="4981056"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27" name="Bilde 3">
            <a:extLst>
              <a:ext uri="{FF2B5EF4-FFF2-40B4-BE49-F238E27FC236}">
                <a16:creationId xmlns:a16="http://schemas.microsoft.com/office/drawing/2014/main" id="{A5B0FA5C-4366-EE3B-6258-1E103A7EB7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9" name="Date Placeholder 2">
            <a:extLst>
              <a:ext uri="{FF2B5EF4-FFF2-40B4-BE49-F238E27FC236}">
                <a16:creationId xmlns:a16="http://schemas.microsoft.com/office/drawing/2014/main" id="{52A88FDD-AA4C-DAEE-7C94-F7149BE52E2C}"/>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30" name="Footer Placeholder 3">
            <a:extLst>
              <a:ext uri="{FF2B5EF4-FFF2-40B4-BE49-F238E27FC236}">
                <a16:creationId xmlns:a16="http://schemas.microsoft.com/office/drawing/2014/main" id="{D2BFB3AC-A2B8-F5EF-B14F-1D7D4A7611CA}"/>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31" name="Slide Number Placeholder 4">
            <a:extLst>
              <a:ext uri="{FF2B5EF4-FFF2-40B4-BE49-F238E27FC236}">
                <a16:creationId xmlns:a16="http://schemas.microsoft.com/office/drawing/2014/main" id="{463286B1-D26D-3F1D-B5F5-8A0CF9299383}"/>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5357414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without headlin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300163" y="602470"/>
            <a:ext cx="9658350" cy="4409440"/>
          </a:xfrm>
          <a:prstGeom prst="rect">
            <a:avLst/>
          </a:prstGeom>
        </p:spPr>
        <p:txBody>
          <a:bodyPr anchor="ctr">
            <a:normAutofit/>
          </a:bodyPr>
          <a:lstStyle>
            <a:lvl1pPr marL="0" indent="0" algn="ctr">
              <a:buNone/>
              <a:defRPr sz="4400" b="0" i="0">
                <a:solidFill>
                  <a:schemeClr val="accent5"/>
                </a:solidFill>
                <a:latin typeface="Helvetica Light" panose="020B0403020202020204" pitchFamily="34" charset="0"/>
                <a:cs typeface="Arial" panose="020B0604020202020204" pitchFamily="34" charset="0"/>
              </a:defRPr>
            </a:lvl1pPr>
            <a:lvl2pPr algn="ctr">
              <a:defRPr sz="2400"/>
            </a:lvl2pPr>
            <a:lvl3pPr algn="ctr">
              <a:defRPr sz="2000"/>
            </a:lvl3pPr>
            <a:lvl4pPr algn="ctr">
              <a:defRPr sz="1800"/>
            </a:lvl4pPr>
            <a:lvl5pPr algn="ctr">
              <a:defRPr sz="1800"/>
            </a:lvl5pPr>
          </a:lstStyle>
          <a:p>
            <a:pPr lvl="0"/>
            <a:r>
              <a:rPr lang="en-GB" noProof="0"/>
              <a:t>Click to edit Master text styles</a:t>
            </a:r>
          </a:p>
        </p:txBody>
      </p:sp>
      <p:pic>
        <p:nvPicPr>
          <p:cNvPr id="5" name="Bilde 4">
            <a:extLst>
              <a:ext uri="{FF2B5EF4-FFF2-40B4-BE49-F238E27FC236}">
                <a16:creationId xmlns:a16="http://schemas.microsoft.com/office/drawing/2014/main" id="{BD3625BD-0F11-4BE2-9CED-1CFE1DB823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52521" y="6430245"/>
            <a:ext cx="1825937" cy="319232"/>
          </a:xfrm>
          <a:prstGeom prst="rect">
            <a:avLst/>
          </a:prstGeom>
        </p:spPr>
      </p:pic>
    </p:spTree>
    <p:extLst>
      <p:ext uri="{BB962C8B-B14F-4D97-AF65-F5344CB8AC3E}">
        <p14:creationId xmlns:p14="http://schemas.microsoft.com/office/powerpoint/2010/main" val="42552927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61_Custom Layou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72F64E3-D860-4444-B40B-462678F4D27F}"/>
              </a:ext>
            </a:extLst>
          </p:cNvPr>
          <p:cNvSpPr/>
          <p:nvPr/>
        </p:nvSpPr>
        <p:spPr>
          <a:xfrm>
            <a:off x="6689034" y="0"/>
            <a:ext cx="5502965" cy="640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8A019B-26AC-9447-B4BF-2724BB5F72BC}"/>
              </a:ext>
            </a:extLst>
          </p:cNvPr>
          <p:cNvSpPr>
            <a:spLocks noGrp="1"/>
          </p:cNvSpPr>
          <p:nvPr>
            <p:ph type="title" hasCustomPrompt="1"/>
          </p:nvPr>
        </p:nvSpPr>
        <p:spPr>
          <a:xfrm>
            <a:off x="741777" y="365125"/>
            <a:ext cx="5293827" cy="1504683"/>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Picture Placeholder 27">
            <a:extLst>
              <a:ext uri="{FF2B5EF4-FFF2-40B4-BE49-F238E27FC236}">
                <a16:creationId xmlns:a16="http://schemas.microsoft.com/office/drawing/2014/main" id="{5995FDFE-8D63-4C41-A64F-595905DFE592}"/>
              </a:ext>
            </a:extLst>
          </p:cNvPr>
          <p:cNvSpPr>
            <a:spLocks noGrp="1"/>
          </p:cNvSpPr>
          <p:nvPr>
            <p:ph type="pic" sz="quarter" idx="11"/>
          </p:nvPr>
        </p:nvSpPr>
        <p:spPr>
          <a:xfrm>
            <a:off x="7553739" y="447261"/>
            <a:ext cx="3965714" cy="5665304"/>
          </a:xfrm>
          <a:prstGeom prst="rect">
            <a:avLst/>
          </a:prstGeom>
        </p:spPr>
        <p:txBody>
          <a:bodyPr anchor="ctr"/>
          <a:lstStyle>
            <a:lvl1pPr algn="ctr">
              <a:defRPr b="0" i="0">
                <a:latin typeface="Helvetica Light" panose="020B0403020202020204" pitchFamily="34" charset="0"/>
              </a:defRPr>
            </a:lvl1pPr>
          </a:lstStyle>
          <a:p>
            <a:r>
              <a:rPr lang="en-GB"/>
              <a:t>Click icon to add picture</a:t>
            </a:r>
            <a:endParaRPr lang="en-US"/>
          </a:p>
        </p:txBody>
      </p:sp>
      <p:sp>
        <p:nvSpPr>
          <p:cNvPr id="33" name="Rectangle 32">
            <a:extLst>
              <a:ext uri="{FF2B5EF4-FFF2-40B4-BE49-F238E27FC236}">
                <a16:creationId xmlns:a16="http://schemas.microsoft.com/office/drawing/2014/main" id="{0DA3DEA2-7333-4492-1044-D7EB7386727A}"/>
              </a:ext>
            </a:extLst>
          </p:cNvPr>
          <p:cNvSpPr/>
          <p:nvPr/>
        </p:nvSpPr>
        <p:spPr>
          <a:xfrm>
            <a:off x="734070" y="2072928"/>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7F35A7AB-6104-5231-735C-5AE5EF809F71}"/>
              </a:ext>
            </a:extLst>
          </p:cNvPr>
          <p:cNvCxnSpPr>
            <a:cxnSpLocks/>
          </p:cNvCxnSpPr>
          <p:nvPr/>
        </p:nvCxnSpPr>
        <p:spPr>
          <a:xfrm>
            <a:off x="829487" y="2072928"/>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5A2AB5B1-2ECF-5F24-EF62-2BEC48D11679}"/>
              </a:ext>
            </a:extLst>
          </p:cNvPr>
          <p:cNvSpPr>
            <a:spLocks noGrp="1"/>
          </p:cNvSpPr>
          <p:nvPr userDrawn="1">
            <p:ph type="body" sz="quarter" idx="10" hasCustomPrompt="1"/>
          </p:nvPr>
        </p:nvSpPr>
        <p:spPr>
          <a:xfrm>
            <a:off x="983357" y="2162003"/>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7" name="Rectangle 46">
            <a:extLst>
              <a:ext uri="{FF2B5EF4-FFF2-40B4-BE49-F238E27FC236}">
                <a16:creationId xmlns:a16="http://schemas.microsoft.com/office/drawing/2014/main" id="{6F9DD9A6-9D82-99B8-94E5-51FB18A35AFF}"/>
              </a:ext>
            </a:extLst>
          </p:cNvPr>
          <p:cNvSpPr/>
          <p:nvPr/>
        </p:nvSpPr>
        <p:spPr>
          <a:xfrm>
            <a:off x="734070" y="2915116"/>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8" name="Straight Connector 47">
            <a:extLst>
              <a:ext uri="{FF2B5EF4-FFF2-40B4-BE49-F238E27FC236}">
                <a16:creationId xmlns:a16="http://schemas.microsoft.com/office/drawing/2014/main" id="{6BAF944F-5074-63E2-A5E3-2B5F0E5C3D07}"/>
              </a:ext>
            </a:extLst>
          </p:cNvPr>
          <p:cNvCxnSpPr>
            <a:cxnSpLocks/>
          </p:cNvCxnSpPr>
          <p:nvPr/>
        </p:nvCxnSpPr>
        <p:spPr>
          <a:xfrm>
            <a:off x="829487" y="2915116"/>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18CC2C82-EAA6-63E4-031C-FC42706250B7}"/>
              </a:ext>
            </a:extLst>
          </p:cNvPr>
          <p:cNvSpPr/>
          <p:nvPr/>
        </p:nvSpPr>
        <p:spPr>
          <a:xfrm>
            <a:off x="734070" y="3757304"/>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891DA805-F299-AE45-6235-E1100FC431C5}"/>
              </a:ext>
            </a:extLst>
          </p:cNvPr>
          <p:cNvCxnSpPr>
            <a:cxnSpLocks/>
          </p:cNvCxnSpPr>
          <p:nvPr/>
        </p:nvCxnSpPr>
        <p:spPr>
          <a:xfrm>
            <a:off x="829487" y="3757304"/>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3E2BD2D-2C57-54CC-2ECB-DDF1AEF80DCB}"/>
              </a:ext>
            </a:extLst>
          </p:cNvPr>
          <p:cNvSpPr/>
          <p:nvPr/>
        </p:nvSpPr>
        <p:spPr>
          <a:xfrm>
            <a:off x="734070" y="4599492"/>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E1648AD5-C028-FBF1-597A-79A21158DE93}"/>
              </a:ext>
            </a:extLst>
          </p:cNvPr>
          <p:cNvCxnSpPr>
            <a:cxnSpLocks/>
          </p:cNvCxnSpPr>
          <p:nvPr/>
        </p:nvCxnSpPr>
        <p:spPr>
          <a:xfrm>
            <a:off x="829487" y="4599492"/>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Text Placeholder 20">
            <a:extLst>
              <a:ext uri="{FF2B5EF4-FFF2-40B4-BE49-F238E27FC236}">
                <a16:creationId xmlns:a16="http://schemas.microsoft.com/office/drawing/2014/main" id="{B1A0D399-AD63-C8F6-A79B-CA49BE109A06}"/>
              </a:ext>
            </a:extLst>
          </p:cNvPr>
          <p:cNvSpPr>
            <a:spLocks noGrp="1"/>
          </p:cNvSpPr>
          <p:nvPr userDrawn="1">
            <p:ph type="body" sz="quarter" idx="12" hasCustomPrompt="1"/>
          </p:nvPr>
        </p:nvSpPr>
        <p:spPr>
          <a:xfrm>
            <a:off x="983357" y="3004191"/>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6" name="Text Placeholder 20">
            <a:extLst>
              <a:ext uri="{FF2B5EF4-FFF2-40B4-BE49-F238E27FC236}">
                <a16:creationId xmlns:a16="http://schemas.microsoft.com/office/drawing/2014/main" id="{CCC12247-8BAB-4AE4-DDFB-5CB8B7006906}"/>
              </a:ext>
            </a:extLst>
          </p:cNvPr>
          <p:cNvSpPr>
            <a:spLocks noGrp="1"/>
          </p:cNvSpPr>
          <p:nvPr userDrawn="1">
            <p:ph type="body" sz="quarter" idx="13" hasCustomPrompt="1"/>
          </p:nvPr>
        </p:nvSpPr>
        <p:spPr>
          <a:xfrm>
            <a:off x="983357" y="3846379"/>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7" name="Text Placeholder 20">
            <a:extLst>
              <a:ext uri="{FF2B5EF4-FFF2-40B4-BE49-F238E27FC236}">
                <a16:creationId xmlns:a16="http://schemas.microsoft.com/office/drawing/2014/main" id="{2FEA113A-604B-5532-6772-443DEC02D830}"/>
              </a:ext>
            </a:extLst>
          </p:cNvPr>
          <p:cNvSpPr>
            <a:spLocks noGrp="1"/>
          </p:cNvSpPr>
          <p:nvPr userDrawn="1">
            <p:ph type="body" sz="quarter" idx="14" hasCustomPrompt="1"/>
          </p:nvPr>
        </p:nvSpPr>
        <p:spPr>
          <a:xfrm>
            <a:off x="983357" y="4688567"/>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9" name="Rectangle 58">
            <a:extLst>
              <a:ext uri="{FF2B5EF4-FFF2-40B4-BE49-F238E27FC236}">
                <a16:creationId xmlns:a16="http://schemas.microsoft.com/office/drawing/2014/main" id="{74C29AE8-19AA-C1C7-9021-ACCC5B30EBA8}"/>
              </a:ext>
            </a:extLst>
          </p:cNvPr>
          <p:cNvSpPr/>
          <p:nvPr/>
        </p:nvSpPr>
        <p:spPr>
          <a:xfrm>
            <a:off x="752577" y="5441680"/>
            <a:ext cx="5202388"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0" name="Straight Connector 59">
            <a:extLst>
              <a:ext uri="{FF2B5EF4-FFF2-40B4-BE49-F238E27FC236}">
                <a16:creationId xmlns:a16="http://schemas.microsoft.com/office/drawing/2014/main" id="{D1AF8B10-77B7-994C-26DA-98606625369C}"/>
              </a:ext>
            </a:extLst>
          </p:cNvPr>
          <p:cNvCxnSpPr>
            <a:cxnSpLocks/>
          </p:cNvCxnSpPr>
          <p:nvPr/>
        </p:nvCxnSpPr>
        <p:spPr>
          <a:xfrm>
            <a:off x="847994" y="5441680"/>
            <a:ext cx="0" cy="756000"/>
          </a:xfrm>
          <a:prstGeom prst="line">
            <a:avLst/>
          </a:prstGeom>
          <a:ln w="203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Text Placeholder 20">
            <a:extLst>
              <a:ext uri="{FF2B5EF4-FFF2-40B4-BE49-F238E27FC236}">
                <a16:creationId xmlns:a16="http://schemas.microsoft.com/office/drawing/2014/main" id="{EBC6E672-A248-2ABD-D4D1-033D6C57FC5E}"/>
              </a:ext>
            </a:extLst>
          </p:cNvPr>
          <p:cNvSpPr>
            <a:spLocks noGrp="1"/>
          </p:cNvSpPr>
          <p:nvPr userDrawn="1">
            <p:ph type="body" sz="quarter" idx="15" hasCustomPrompt="1"/>
          </p:nvPr>
        </p:nvSpPr>
        <p:spPr>
          <a:xfrm>
            <a:off x="1001864" y="5530755"/>
            <a:ext cx="4817569" cy="577850"/>
          </a:xfrm>
          <a:prstGeom prst="rect">
            <a:avLst/>
          </a:prstGeom>
        </p:spPr>
        <p:txBody>
          <a:bodyPr anchor="ctr">
            <a:noAutofit/>
          </a:bodyPr>
          <a:lstStyle>
            <a:lvl1pPr>
              <a:defRPr sz="1600" b="0" i="0">
                <a:solidFill>
                  <a:schemeClr val="bg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27" name="Bilde 3">
            <a:extLst>
              <a:ext uri="{FF2B5EF4-FFF2-40B4-BE49-F238E27FC236}">
                <a16:creationId xmlns:a16="http://schemas.microsoft.com/office/drawing/2014/main" id="{A5B0FA5C-4366-EE3B-6258-1E103A7EB7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9" name="Date Placeholder 2">
            <a:extLst>
              <a:ext uri="{FF2B5EF4-FFF2-40B4-BE49-F238E27FC236}">
                <a16:creationId xmlns:a16="http://schemas.microsoft.com/office/drawing/2014/main" id="{52A88FDD-AA4C-DAEE-7C94-F7149BE52E2C}"/>
              </a:ext>
            </a:extLst>
          </p:cNvPr>
          <p:cNvSpPr>
            <a:spLocks noGrp="1"/>
          </p:cNvSpPr>
          <p:nvPr userDrawn="1">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30" name="Footer Placeholder 3">
            <a:extLst>
              <a:ext uri="{FF2B5EF4-FFF2-40B4-BE49-F238E27FC236}">
                <a16:creationId xmlns:a16="http://schemas.microsoft.com/office/drawing/2014/main" id="{D2BFB3AC-A2B8-F5EF-B14F-1D7D4A7611CA}"/>
              </a:ext>
            </a:extLst>
          </p:cNvPr>
          <p:cNvSpPr>
            <a:spLocks noGrp="1"/>
          </p:cNvSpPr>
          <p:nvPr userDrawn="1">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31" name="Slide Number Placeholder 4">
            <a:extLst>
              <a:ext uri="{FF2B5EF4-FFF2-40B4-BE49-F238E27FC236}">
                <a16:creationId xmlns:a16="http://schemas.microsoft.com/office/drawing/2014/main" id="{463286B1-D26D-3F1D-B5F5-8A0CF9299383}"/>
              </a:ext>
            </a:extLst>
          </p:cNvPr>
          <p:cNvSpPr>
            <a:spLocks noGrp="1"/>
          </p:cNvSpPr>
          <p:nvPr userDrawn="1">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5870211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6" name="Rectangle 25">
            <a:extLst>
              <a:ext uri="{FF2B5EF4-FFF2-40B4-BE49-F238E27FC236}">
                <a16:creationId xmlns:a16="http://schemas.microsoft.com/office/drawing/2014/main" id="{964B2FCB-A9B0-4145-B29B-AD456C94D7C2}"/>
              </a:ext>
            </a:extLst>
          </p:cNvPr>
          <p:cNvSpPr/>
          <p:nvPr/>
        </p:nvSpPr>
        <p:spPr>
          <a:xfrm>
            <a:off x="741777" y="2706095"/>
            <a:ext cx="5234480" cy="3070681"/>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8" name="Straight Connector 27">
            <a:extLst>
              <a:ext uri="{FF2B5EF4-FFF2-40B4-BE49-F238E27FC236}">
                <a16:creationId xmlns:a16="http://schemas.microsoft.com/office/drawing/2014/main" id="{17FD8ADB-B041-7841-B1C3-28DBA168A7C7}"/>
              </a:ext>
            </a:extLst>
          </p:cNvPr>
          <p:cNvCxnSpPr>
            <a:cxnSpLocks/>
          </p:cNvCxnSpPr>
          <p:nvPr/>
        </p:nvCxnSpPr>
        <p:spPr>
          <a:xfrm>
            <a:off x="741777" y="2695911"/>
            <a:ext cx="523448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50" name="Text Placeholder 20">
            <a:extLst>
              <a:ext uri="{FF2B5EF4-FFF2-40B4-BE49-F238E27FC236}">
                <a16:creationId xmlns:a16="http://schemas.microsoft.com/office/drawing/2014/main" id="{0AB8628E-6620-874B-85B8-393DA4676167}"/>
              </a:ext>
            </a:extLst>
          </p:cNvPr>
          <p:cNvSpPr>
            <a:spLocks noGrp="1"/>
          </p:cNvSpPr>
          <p:nvPr userDrawn="1">
            <p:ph type="body" sz="quarter" idx="19" hasCustomPrompt="1"/>
          </p:nvPr>
        </p:nvSpPr>
        <p:spPr>
          <a:xfrm>
            <a:off x="916646" y="2866046"/>
            <a:ext cx="4831011" cy="2731120"/>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ext Placeholder 20">
            <a:extLst>
              <a:ext uri="{FF2B5EF4-FFF2-40B4-BE49-F238E27FC236}">
                <a16:creationId xmlns:a16="http://schemas.microsoft.com/office/drawing/2014/main" id="{1CA6145D-0C72-F541-BE9A-355F095B9528}"/>
              </a:ext>
            </a:extLst>
          </p:cNvPr>
          <p:cNvSpPr>
            <a:spLocks noGrp="1"/>
          </p:cNvSpPr>
          <p:nvPr userDrawn="1">
            <p:ph type="body" sz="quarter" idx="22" hasCustomPrompt="1"/>
          </p:nvPr>
        </p:nvSpPr>
        <p:spPr>
          <a:xfrm>
            <a:off x="916646" y="1964633"/>
            <a:ext cx="483101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6" name="Rectangle 45">
            <a:extLst>
              <a:ext uri="{FF2B5EF4-FFF2-40B4-BE49-F238E27FC236}">
                <a16:creationId xmlns:a16="http://schemas.microsoft.com/office/drawing/2014/main" id="{A3D10291-5127-FF2D-DB99-A8BC7A6A2DD7}"/>
              </a:ext>
            </a:extLst>
          </p:cNvPr>
          <p:cNvSpPr/>
          <p:nvPr/>
        </p:nvSpPr>
        <p:spPr>
          <a:xfrm>
            <a:off x="6179192" y="2706095"/>
            <a:ext cx="5234480" cy="3070681"/>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47" name="Straight Connector 46">
            <a:extLst>
              <a:ext uri="{FF2B5EF4-FFF2-40B4-BE49-F238E27FC236}">
                <a16:creationId xmlns:a16="http://schemas.microsoft.com/office/drawing/2014/main" id="{11529A5D-199F-9F29-A51F-7EB14E5F39A4}"/>
              </a:ext>
            </a:extLst>
          </p:cNvPr>
          <p:cNvCxnSpPr>
            <a:cxnSpLocks/>
          </p:cNvCxnSpPr>
          <p:nvPr/>
        </p:nvCxnSpPr>
        <p:spPr>
          <a:xfrm>
            <a:off x="6179192" y="2695911"/>
            <a:ext cx="523448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49" name="Text Placeholder 20">
            <a:extLst>
              <a:ext uri="{FF2B5EF4-FFF2-40B4-BE49-F238E27FC236}">
                <a16:creationId xmlns:a16="http://schemas.microsoft.com/office/drawing/2014/main" id="{53F9C245-C049-7212-1741-F3CF7A9166B4}"/>
              </a:ext>
            </a:extLst>
          </p:cNvPr>
          <p:cNvSpPr>
            <a:spLocks noGrp="1"/>
          </p:cNvSpPr>
          <p:nvPr userDrawn="1">
            <p:ph type="body" sz="quarter" idx="23" hasCustomPrompt="1"/>
          </p:nvPr>
        </p:nvSpPr>
        <p:spPr>
          <a:xfrm>
            <a:off x="6354061" y="2866046"/>
            <a:ext cx="4831011" cy="2731120"/>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1" name="Text Placeholder 20">
            <a:extLst>
              <a:ext uri="{FF2B5EF4-FFF2-40B4-BE49-F238E27FC236}">
                <a16:creationId xmlns:a16="http://schemas.microsoft.com/office/drawing/2014/main" id="{DB1A1BE0-6496-E44D-5A1D-6067B555908A}"/>
              </a:ext>
            </a:extLst>
          </p:cNvPr>
          <p:cNvSpPr>
            <a:spLocks noGrp="1"/>
          </p:cNvSpPr>
          <p:nvPr userDrawn="1">
            <p:ph type="body" sz="quarter" idx="24" hasCustomPrompt="1"/>
          </p:nvPr>
        </p:nvSpPr>
        <p:spPr>
          <a:xfrm>
            <a:off x="6354061" y="1964633"/>
            <a:ext cx="483101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2" name="Title 1">
            <a:extLst>
              <a:ext uri="{FF2B5EF4-FFF2-40B4-BE49-F238E27FC236}">
                <a16:creationId xmlns:a16="http://schemas.microsoft.com/office/drawing/2014/main" id="{B47A2599-5FAF-9034-E375-BAE6412058E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6" name="Bilde 3">
            <a:extLst>
              <a:ext uri="{FF2B5EF4-FFF2-40B4-BE49-F238E27FC236}">
                <a16:creationId xmlns:a16="http://schemas.microsoft.com/office/drawing/2014/main" id="{26F30CAA-FF03-C96A-502E-FF88C11C47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7" name="Date Placeholder 2">
            <a:extLst>
              <a:ext uri="{FF2B5EF4-FFF2-40B4-BE49-F238E27FC236}">
                <a16:creationId xmlns:a16="http://schemas.microsoft.com/office/drawing/2014/main" id="{FCE1B1D8-3C46-DA56-7783-6203653E2315}"/>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19" name="Footer Placeholder 3">
            <a:extLst>
              <a:ext uri="{FF2B5EF4-FFF2-40B4-BE49-F238E27FC236}">
                <a16:creationId xmlns:a16="http://schemas.microsoft.com/office/drawing/2014/main" id="{7A65BB47-36D4-FED3-14E1-32016471939C}"/>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20" name="Slide Number Placeholder 4">
            <a:extLst>
              <a:ext uri="{FF2B5EF4-FFF2-40B4-BE49-F238E27FC236}">
                <a16:creationId xmlns:a16="http://schemas.microsoft.com/office/drawing/2014/main" id="{F1C9FB8A-BD98-C6EA-1693-3C82E226D1DE}"/>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1662824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9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6" name="Rectangle 25">
            <a:extLst>
              <a:ext uri="{FF2B5EF4-FFF2-40B4-BE49-F238E27FC236}">
                <a16:creationId xmlns:a16="http://schemas.microsoft.com/office/drawing/2014/main" id="{964B2FCB-A9B0-4145-B29B-AD456C94D7C2}"/>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8" name="Straight Connector 27">
            <a:extLst>
              <a:ext uri="{FF2B5EF4-FFF2-40B4-BE49-F238E27FC236}">
                <a16:creationId xmlns:a16="http://schemas.microsoft.com/office/drawing/2014/main" id="{17FD8ADB-B041-7841-B1C3-28DBA168A7C7}"/>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30" name="Rectangle 29">
            <a:extLst>
              <a:ext uri="{FF2B5EF4-FFF2-40B4-BE49-F238E27FC236}">
                <a16:creationId xmlns:a16="http://schemas.microsoft.com/office/drawing/2014/main" id="{BEA4711D-5FB9-1140-ACF9-77B5A0C68D53}"/>
              </a:ext>
            </a:extLst>
          </p:cNvPr>
          <p:cNvSpPr/>
          <p:nvPr/>
        </p:nvSpPr>
        <p:spPr>
          <a:xfrm>
            <a:off x="4253915"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2" name="Straight Connector 31">
            <a:extLst>
              <a:ext uri="{FF2B5EF4-FFF2-40B4-BE49-F238E27FC236}">
                <a16:creationId xmlns:a16="http://schemas.microsoft.com/office/drawing/2014/main" id="{52130800-D63A-3843-B550-B3C820A89816}"/>
              </a:ext>
            </a:extLst>
          </p:cNvPr>
          <p:cNvCxnSpPr>
            <a:cxnSpLocks/>
          </p:cNvCxnSpPr>
          <p:nvPr/>
        </p:nvCxnSpPr>
        <p:spPr>
          <a:xfrm>
            <a:off x="4253915"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37" name="Rectangle 36">
            <a:extLst>
              <a:ext uri="{FF2B5EF4-FFF2-40B4-BE49-F238E27FC236}">
                <a16:creationId xmlns:a16="http://schemas.microsoft.com/office/drawing/2014/main" id="{0C98384D-7BB5-5C48-A5ED-327B4184534B}"/>
              </a:ext>
            </a:extLst>
          </p:cNvPr>
          <p:cNvSpPr/>
          <p:nvPr/>
        </p:nvSpPr>
        <p:spPr>
          <a:xfrm>
            <a:off x="775949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48" name="Straight Connector 47">
            <a:extLst>
              <a:ext uri="{FF2B5EF4-FFF2-40B4-BE49-F238E27FC236}">
                <a16:creationId xmlns:a16="http://schemas.microsoft.com/office/drawing/2014/main" id="{DE9F925F-0CBA-BF4C-9DFE-2CF31B40A496}"/>
              </a:ext>
            </a:extLst>
          </p:cNvPr>
          <p:cNvCxnSpPr>
            <a:cxnSpLocks/>
          </p:cNvCxnSpPr>
          <p:nvPr/>
        </p:nvCxnSpPr>
        <p:spPr>
          <a:xfrm>
            <a:off x="775949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50" name="Text Placeholder 20">
            <a:extLst>
              <a:ext uri="{FF2B5EF4-FFF2-40B4-BE49-F238E27FC236}">
                <a16:creationId xmlns:a16="http://schemas.microsoft.com/office/drawing/2014/main" id="{0AB8628E-6620-874B-85B8-393DA4676167}"/>
              </a:ext>
            </a:extLst>
          </p:cNvPr>
          <p:cNvSpPr>
            <a:spLocks noGrp="1"/>
          </p:cNvSpPr>
          <p:nvPr>
            <p:ph type="body" sz="quarter" idx="19" hasCustomPrompt="1"/>
          </p:nvPr>
        </p:nvSpPr>
        <p:spPr>
          <a:xfrm>
            <a:off x="916646" y="3179823"/>
            <a:ext cx="2774041" cy="2372109"/>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9" name="Text Placeholder 20">
            <a:extLst>
              <a:ext uri="{FF2B5EF4-FFF2-40B4-BE49-F238E27FC236}">
                <a16:creationId xmlns:a16="http://schemas.microsoft.com/office/drawing/2014/main" id="{A56B007D-AE67-314F-AB2F-B2CB4787DDFB}"/>
              </a:ext>
            </a:extLst>
          </p:cNvPr>
          <p:cNvSpPr>
            <a:spLocks noGrp="1"/>
          </p:cNvSpPr>
          <p:nvPr>
            <p:ph type="body" sz="quarter" idx="20" hasCustomPrompt="1"/>
          </p:nvPr>
        </p:nvSpPr>
        <p:spPr>
          <a:xfrm>
            <a:off x="4450894" y="3185748"/>
            <a:ext cx="2774041" cy="2372109"/>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60" name="Text Placeholder 20">
            <a:extLst>
              <a:ext uri="{FF2B5EF4-FFF2-40B4-BE49-F238E27FC236}">
                <a16:creationId xmlns:a16="http://schemas.microsoft.com/office/drawing/2014/main" id="{8F5D6E2F-7511-1C4E-BCEA-BE59A10E6B55}"/>
              </a:ext>
            </a:extLst>
          </p:cNvPr>
          <p:cNvSpPr>
            <a:spLocks noGrp="1"/>
          </p:cNvSpPr>
          <p:nvPr>
            <p:ph type="body" sz="quarter" idx="21" hasCustomPrompt="1"/>
          </p:nvPr>
        </p:nvSpPr>
        <p:spPr>
          <a:xfrm>
            <a:off x="7956476" y="3195932"/>
            <a:ext cx="2774041" cy="2372109"/>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ext Placeholder 20">
            <a:extLst>
              <a:ext uri="{FF2B5EF4-FFF2-40B4-BE49-F238E27FC236}">
                <a16:creationId xmlns:a16="http://schemas.microsoft.com/office/drawing/2014/main" id="{1CA6145D-0C72-F541-BE9A-355F095B9528}"/>
              </a:ext>
            </a:extLst>
          </p:cNvPr>
          <p:cNvSpPr>
            <a:spLocks noGrp="1"/>
          </p:cNvSpPr>
          <p:nvPr>
            <p:ph type="body" sz="quarter" idx="22" hasCustomPrompt="1"/>
          </p:nvPr>
        </p:nvSpPr>
        <p:spPr>
          <a:xfrm>
            <a:off x="916646" y="2278410"/>
            <a:ext cx="277404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9" name="Text Placeholder 20">
            <a:extLst>
              <a:ext uri="{FF2B5EF4-FFF2-40B4-BE49-F238E27FC236}">
                <a16:creationId xmlns:a16="http://schemas.microsoft.com/office/drawing/2014/main" id="{CD8BDA50-ABD7-723D-FFC8-3A1EF3BE0050}"/>
              </a:ext>
            </a:extLst>
          </p:cNvPr>
          <p:cNvSpPr>
            <a:spLocks noGrp="1"/>
          </p:cNvSpPr>
          <p:nvPr>
            <p:ph type="body" sz="quarter" idx="23" hasCustomPrompt="1"/>
          </p:nvPr>
        </p:nvSpPr>
        <p:spPr>
          <a:xfrm>
            <a:off x="4450894" y="2284335"/>
            <a:ext cx="277404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20" name="Text Placeholder 20">
            <a:extLst>
              <a:ext uri="{FF2B5EF4-FFF2-40B4-BE49-F238E27FC236}">
                <a16:creationId xmlns:a16="http://schemas.microsoft.com/office/drawing/2014/main" id="{A675B563-EEF3-5077-3650-299FDCF523BE}"/>
              </a:ext>
            </a:extLst>
          </p:cNvPr>
          <p:cNvSpPr>
            <a:spLocks noGrp="1"/>
          </p:cNvSpPr>
          <p:nvPr>
            <p:ph type="body" sz="quarter" idx="24" hasCustomPrompt="1"/>
          </p:nvPr>
        </p:nvSpPr>
        <p:spPr>
          <a:xfrm>
            <a:off x="7956476" y="2294519"/>
            <a:ext cx="2774041"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21" name="Title 1">
            <a:extLst>
              <a:ext uri="{FF2B5EF4-FFF2-40B4-BE49-F238E27FC236}">
                <a16:creationId xmlns:a16="http://schemas.microsoft.com/office/drawing/2014/main" id="{FBC1BB7D-600D-3086-600E-967C8E38E39A}"/>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4" name="Bilde 3">
            <a:extLst>
              <a:ext uri="{FF2B5EF4-FFF2-40B4-BE49-F238E27FC236}">
                <a16:creationId xmlns:a16="http://schemas.microsoft.com/office/drawing/2014/main" id="{9CD177BF-FF5D-5C7A-316D-6DDD63B3FFF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B26D9874-3CD2-94C0-D547-2A64FD3F17BF}"/>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25" name="Footer Placeholder 3">
            <a:extLst>
              <a:ext uri="{FF2B5EF4-FFF2-40B4-BE49-F238E27FC236}">
                <a16:creationId xmlns:a16="http://schemas.microsoft.com/office/drawing/2014/main" id="{4D5AC9D7-1147-F331-F642-24F580EC7E33}"/>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27" name="Slide Number Placeholder 4">
            <a:extLst>
              <a:ext uri="{FF2B5EF4-FFF2-40B4-BE49-F238E27FC236}">
                <a16:creationId xmlns:a16="http://schemas.microsoft.com/office/drawing/2014/main" id="{EA107953-00EC-C977-6B85-65310C640CF0}"/>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8217984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0_Custom Layou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011D626-3DE3-B061-399E-A199D5C50ED2}"/>
              </a:ext>
            </a:extLst>
          </p:cNvPr>
          <p:cNvGrpSpPr/>
          <p:nvPr userDrawn="1"/>
        </p:nvGrpSpPr>
        <p:grpSpPr>
          <a:xfrm>
            <a:off x="741777" y="2466299"/>
            <a:ext cx="2568674" cy="3483187"/>
            <a:chOff x="741777" y="3009688"/>
            <a:chExt cx="3168000" cy="2705311"/>
          </a:xfrm>
        </p:grpSpPr>
        <p:sp>
          <p:nvSpPr>
            <p:cNvPr id="26" name="Rectangle 25">
              <a:extLst>
                <a:ext uri="{FF2B5EF4-FFF2-40B4-BE49-F238E27FC236}">
                  <a16:creationId xmlns:a16="http://schemas.microsoft.com/office/drawing/2014/main" id="{964B2FCB-A9B0-4145-B29B-AD456C94D7C2}"/>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8" name="Straight Connector 27">
              <a:extLst>
                <a:ext uri="{FF2B5EF4-FFF2-40B4-BE49-F238E27FC236}">
                  <a16:creationId xmlns:a16="http://schemas.microsoft.com/office/drawing/2014/main" id="{17FD8ADB-B041-7841-B1C3-28DBA168A7C7}"/>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50" name="Text Placeholder 20">
            <a:extLst>
              <a:ext uri="{FF2B5EF4-FFF2-40B4-BE49-F238E27FC236}">
                <a16:creationId xmlns:a16="http://schemas.microsoft.com/office/drawing/2014/main" id="{0AB8628E-6620-874B-85B8-393DA4676167}"/>
              </a:ext>
            </a:extLst>
          </p:cNvPr>
          <p:cNvSpPr>
            <a:spLocks noGrp="1"/>
          </p:cNvSpPr>
          <p:nvPr>
            <p:ph type="body" sz="quarter" idx="19" hasCustomPrompt="1"/>
          </p:nvPr>
        </p:nvSpPr>
        <p:spPr>
          <a:xfrm>
            <a:off x="916647" y="2636434"/>
            <a:ext cx="2218440" cy="3165235"/>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ext Placeholder 20">
            <a:extLst>
              <a:ext uri="{FF2B5EF4-FFF2-40B4-BE49-F238E27FC236}">
                <a16:creationId xmlns:a16="http://schemas.microsoft.com/office/drawing/2014/main" id="{1CA6145D-0C72-F541-BE9A-355F095B9528}"/>
              </a:ext>
            </a:extLst>
          </p:cNvPr>
          <p:cNvSpPr>
            <a:spLocks noGrp="1"/>
          </p:cNvSpPr>
          <p:nvPr>
            <p:ph type="body" sz="quarter" idx="22" hasCustomPrompt="1"/>
          </p:nvPr>
        </p:nvSpPr>
        <p:spPr>
          <a:xfrm>
            <a:off x="916647" y="1655697"/>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grpSp>
        <p:nvGrpSpPr>
          <p:cNvPr id="36" name="Group 35">
            <a:extLst>
              <a:ext uri="{FF2B5EF4-FFF2-40B4-BE49-F238E27FC236}">
                <a16:creationId xmlns:a16="http://schemas.microsoft.com/office/drawing/2014/main" id="{10FCA0BF-9E4E-438D-86BD-D6CE1C6532F4}"/>
              </a:ext>
            </a:extLst>
          </p:cNvPr>
          <p:cNvGrpSpPr/>
          <p:nvPr userDrawn="1"/>
        </p:nvGrpSpPr>
        <p:grpSpPr>
          <a:xfrm>
            <a:off x="3419661" y="2466299"/>
            <a:ext cx="2568674" cy="3483187"/>
            <a:chOff x="741777" y="3009688"/>
            <a:chExt cx="3168000" cy="2705311"/>
          </a:xfrm>
        </p:grpSpPr>
        <p:sp>
          <p:nvSpPr>
            <p:cNvPr id="38" name="Rectangle 37">
              <a:extLst>
                <a:ext uri="{FF2B5EF4-FFF2-40B4-BE49-F238E27FC236}">
                  <a16:creationId xmlns:a16="http://schemas.microsoft.com/office/drawing/2014/main" id="{9371083E-173B-64B6-90DB-3932E95AE3CE}"/>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9" name="Straight Connector 38">
              <a:extLst>
                <a:ext uri="{FF2B5EF4-FFF2-40B4-BE49-F238E27FC236}">
                  <a16:creationId xmlns:a16="http://schemas.microsoft.com/office/drawing/2014/main" id="{50410FC9-B8E7-3F8D-595B-42FB6FEA213B}"/>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40" name="Text Placeholder 20">
            <a:extLst>
              <a:ext uri="{FF2B5EF4-FFF2-40B4-BE49-F238E27FC236}">
                <a16:creationId xmlns:a16="http://schemas.microsoft.com/office/drawing/2014/main" id="{81692953-2040-E900-7B7B-F1391A6919F4}"/>
              </a:ext>
            </a:extLst>
          </p:cNvPr>
          <p:cNvSpPr>
            <a:spLocks noGrp="1"/>
          </p:cNvSpPr>
          <p:nvPr>
            <p:ph type="body" sz="quarter" idx="23" hasCustomPrompt="1"/>
          </p:nvPr>
        </p:nvSpPr>
        <p:spPr>
          <a:xfrm>
            <a:off x="3594531" y="2636434"/>
            <a:ext cx="2218440" cy="3165235"/>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1" name="Text Placeholder 20">
            <a:extLst>
              <a:ext uri="{FF2B5EF4-FFF2-40B4-BE49-F238E27FC236}">
                <a16:creationId xmlns:a16="http://schemas.microsoft.com/office/drawing/2014/main" id="{99CAF562-9E6C-E9A1-8784-3B5643C9B56C}"/>
              </a:ext>
            </a:extLst>
          </p:cNvPr>
          <p:cNvSpPr>
            <a:spLocks noGrp="1"/>
          </p:cNvSpPr>
          <p:nvPr>
            <p:ph type="body" sz="quarter" idx="24" hasCustomPrompt="1"/>
          </p:nvPr>
        </p:nvSpPr>
        <p:spPr>
          <a:xfrm>
            <a:off x="3594531" y="1655697"/>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grpSp>
        <p:nvGrpSpPr>
          <p:cNvPr id="42" name="Group 41">
            <a:extLst>
              <a:ext uri="{FF2B5EF4-FFF2-40B4-BE49-F238E27FC236}">
                <a16:creationId xmlns:a16="http://schemas.microsoft.com/office/drawing/2014/main" id="{3BC38829-0CB0-DAC5-3FD3-5F83FAD74D25}"/>
              </a:ext>
            </a:extLst>
          </p:cNvPr>
          <p:cNvGrpSpPr/>
          <p:nvPr userDrawn="1"/>
        </p:nvGrpSpPr>
        <p:grpSpPr>
          <a:xfrm>
            <a:off x="6097545" y="2466299"/>
            <a:ext cx="2568674" cy="3483187"/>
            <a:chOff x="741777" y="3009688"/>
            <a:chExt cx="3168000" cy="2705311"/>
          </a:xfrm>
        </p:grpSpPr>
        <p:sp>
          <p:nvSpPr>
            <p:cNvPr id="43" name="Rectangle 42">
              <a:extLst>
                <a:ext uri="{FF2B5EF4-FFF2-40B4-BE49-F238E27FC236}">
                  <a16:creationId xmlns:a16="http://schemas.microsoft.com/office/drawing/2014/main" id="{934B1946-4432-7FE4-DB63-2FEDA29EC05B}"/>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44" name="Straight Connector 43">
              <a:extLst>
                <a:ext uri="{FF2B5EF4-FFF2-40B4-BE49-F238E27FC236}">
                  <a16:creationId xmlns:a16="http://schemas.microsoft.com/office/drawing/2014/main" id="{947D6BC6-595C-82B9-6399-4E27F2A595EC}"/>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45" name="Text Placeholder 20">
            <a:extLst>
              <a:ext uri="{FF2B5EF4-FFF2-40B4-BE49-F238E27FC236}">
                <a16:creationId xmlns:a16="http://schemas.microsoft.com/office/drawing/2014/main" id="{F8FE9088-EF4C-3223-9561-5AA13C2DA0BC}"/>
              </a:ext>
            </a:extLst>
          </p:cNvPr>
          <p:cNvSpPr>
            <a:spLocks noGrp="1"/>
          </p:cNvSpPr>
          <p:nvPr>
            <p:ph type="body" sz="quarter" idx="25" hasCustomPrompt="1"/>
          </p:nvPr>
        </p:nvSpPr>
        <p:spPr>
          <a:xfrm>
            <a:off x="6272415" y="2636434"/>
            <a:ext cx="2218440" cy="3165235"/>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FDAFBEA9-6483-A006-3BCE-3E336865EB86}"/>
              </a:ext>
            </a:extLst>
          </p:cNvPr>
          <p:cNvSpPr>
            <a:spLocks noGrp="1"/>
          </p:cNvSpPr>
          <p:nvPr>
            <p:ph type="body" sz="quarter" idx="26" hasCustomPrompt="1"/>
          </p:nvPr>
        </p:nvSpPr>
        <p:spPr>
          <a:xfrm>
            <a:off x="6272415" y="1655697"/>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grpSp>
        <p:nvGrpSpPr>
          <p:cNvPr id="47" name="Group 46">
            <a:extLst>
              <a:ext uri="{FF2B5EF4-FFF2-40B4-BE49-F238E27FC236}">
                <a16:creationId xmlns:a16="http://schemas.microsoft.com/office/drawing/2014/main" id="{B49072DD-A0AB-BA37-188D-A6CBE2760790}"/>
              </a:ext>
            </a:extLst>
          </p:cNvPr>
          <p:cNvGrpSpPr/>
          <p:nvPr userDrawn="1"/>
        </p:nvGrpSpPr>
        <p:grpSpPr>
          <a:xfrm>
            <a:off x="8775429" y="2466299"/>
            <a:ext cx="2568674" cy="3483187"/>
            <a:chOff x="741777" y="3009688"/>
            <a:chExt cx="3168000" cy="2705311"/>
          </a:xfrm>
        </p:grpSpPr>
        <p:sp>
          <p:nvSpPr>
            <p:cNvPr id="49" name="Rectangle 48">
              <a:extLst>
                <a:ext uri="{FF2B5EF4-FFF2-40B4-BE49-F238E27FC236}">
                  <a16:creationId xmlns:a16="http://schemas.microsoft.com/office/drawing/2014/main" id="{43226A65-F603-7E9F-1818-EB37E0ADFE01}"/>
                </a:ext>
              </a:extLst>
            </p:cNvPr>
            <p:cNvSpPr/>
            <p:nvPr/>
          </p:nvSpPr>
          <p:spPr>
            <a:xfrm>
              <a:off x="741777" y="3019872"/>
              <a:ext cx="3168000" cy="2695127"/>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51" name="Straight Connector 50">
              <a:extLst>
                <a:ext uri="{FF2B5EF4-FFF2-40B4-BE49-F238E27FC236}">
                  <a16:creationId xmlns:a16="http://schemas.microsoft.com/office/drawing/2014/main" id="{72CD8099-2E22-CF35-A54D-8A6B45292651}"/>
                </a:ext>
              </a:extLst>
            </p:cNvPr>
            <p:cNvCxnSpPr>
              <a:cxnSpLocks/>
            </p:cNvCxnSpPr>
            <p:nvPr/>
          </p:nvCxnSpPr>
          <p:spPr>
            <a:xfrm>
              <a:off x="741777" y="3009688"/>
              <a:ext cx="3168000"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52" name="Text Placeholder 20">
            <a:extLst>
              <a:ext uri="{FF2B5EF4-FFF2-40B4-BE49-F238E27FC236}">
                <a16:creationId xmlns:a16="http://schemas.microsoft.com/office/drawing/2014/main" id="{D2A91264-00E1-4BD3-293E-BE40AAD98C5F}"/>
              </a:ext>
            </a:extLst>
          </p:cNvPr>
          <p:cNvSpPr>
            <a:spLocks noGrp="1"/>
          </p:cNvSpPr>
          <p:nvPr>
            <p:ph type="body" sz="quarter" idx="27" hasCustomPrompt="1"/>
          </p:nvPr>
        </p:nvSpPr>
        <p:spPr>
          <a:xfrm>
            <a:off x="8950299" y="2636434"/>
            <a:ext cx="2218440" cy="3165235"/>
          </a:xfrm>
          <a:prstGeom prst="rect">
            <a:avLst/>
          </a:prstGeom>
        </p:spPr>
        <p:txBody>
          <a:bodyPr anchor="t">
            <a:normAutofit/>
          </a:bodyPr>
          <a:lstStyle>
            <a:lvl1pPr marL="0" indent="0">
              <a:buNone/>
              <a:defRPr sz="16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3" name="Text Placeholder 20">
            <a:extLst>
              <a:ext uri="{FF2B5EF4-FFF2-40B4-BE49-F238E27FC236}">
                <a16:creationId xmlns:a16="http://schemas.microsoft.com/office/drawing/2014/main" id="{7AE9B17A-9DE8-3C9E-DDDC-CA860B6819B3}"/>
              </a:ext>
            </a:extLst>
          </p:cNvPr>
          <p:cNvSpPr>
            <a:spLocks noGrp="1"/>
          </p:cNvSpPr>
          <p:nvPr>
            <p:ph type="body" sz="quarter" idx="28" hasCustomPrompt="1"/>
          </p:nvPr>
        </p:nvSpPr>
        <p:spPr>
          <a:xfrm>
            <a:off x="8950299" y="1655697"/>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4" name="Title 1">
            <a:extLst>
              <a:ext uri="{FF2B5EF4-FFF2-40B4-BE49-F238E27FC236}">
                <a16:creationId xmlns:a16="http://schemas.microsoft.com/office/drawing/2014/main" id="{4CBCEBE8-4452-D323-6817-17EE7B63E7D9}"/>
              </a:ext>
            </a:extLst>
          </p:cNvPr>
          <p:cNvSpPr>
            <a:spLocks noGrp="1"/>
          </p:cNvSpPr>
          <p:nvPr>
            <p:ph type="title" hasCustomPrompt="1"/>
          </p:nvPr>
        </p:nvSpPr>
        <p:spPr>
          <a:xfrm>
            <a:off x="741777" y="365126"/>
            <a:ext cx="10671895" cy="1072413"/>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9" name="Bilde 3">
            <a:extLst>
              <a:ext uri="{FF2B5EF4-FFF2-40B4-BE49-F238E27FC236}">
                <a16:creationId xmlns:a16="http://schemas.microsoft.com/office/drawing/2014/main" id="{83CBD614-335B-27CF-E780-42F6959997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0" name="Date Placeholder 2">
            <a:extLst>
              <a:ext uri="{FF2B5EF4-FFF2-40B4-BE49-F238E27FC236}">
                <a16:creationId xmlns:a16="http://schemas.microsoft.com/office/drawing/2014/main" id="{E001BFB9-41A9-46E7-0739-121E9A9F8FD7}"/>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31" name="Footer Placeholder 3">
            <a:extLst>
              <a:ext uri="{FF2B5EF4-FFF2-40B4-BE49-F238E27FC236}">
                <a16:creationId xmlns:a16="http://schemas.microsoft.com/office/drawing/2014/main" id="{F8DD2AE9-39A5-3C89-9B7E-E313A23E435B}"/>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32" name="Slide Number Placeholder 4">
            <a:extLst>
              <a:ext uri="{FF2B5EF4-FFF2-40B4-BE49-F238E27FC236}">
                <a16:creationId xmlns:a16="http://schemas.microsoft.com/office/drawing/2014/main" id="{CF06A512-AED3-A481-0B29-F7227D9E7699}"/>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3233080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1_Custom Layou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64B2FCB-A9B0-4145-B29B-AD456C94D7C2}"/>
              </a:ext>
            </a:extLst>
          </p:cNvPr>
          <p:cNvSpPr/>
          <p:nvPr/>
        </p:nvSpPr>
        <p:spPr>
          <a:xfrm>
            <a:off x="741777" y="2294769"/>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8" name="Straight Connector 27">
            <a:extLst>
              <a:ext uri="{FF2B5EF4-FFF2-40B4-BE49-F238E27FC236}">
                <a16:creationId xmlns:a16="http://schemas.microsoft.com/office/drawing/2014/main" id="{17FD8ADB-B041-7841-B1C3-28DBA168A7C7}"/>
              </a:ext>
            </a:extLst>
          </p:cNvPr>
          <p:cNvCxnSpPr>
            <a:cxnSpLocks/>
          </p:cNvCxnSpPr>
          <p:nvPr/>
        </p:nvCxnSpPr>
        <p:spPr>
          <a:xfrm>
            <a:off x="741777" y="2281656"/>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22" name="Rektangel 2">
            <a:extLst>
              <a:ext uri="{FF2B5EF4-FFF2-40B4-BE49-F238E27FC236}">
                <a16:creationId xmlns:a16="http://schemas.microsoft.com/office/drawing/2014/main" id="{D40A3AB9-ABBE-2444-B58D-F892A304954B}"/>
              </a:ext>
            </a:extLst>
          </p:cNvPr>
          <p:cNvSpPr/>
          <p:nvPr userDrawn="1"/>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50" name="Text Placeholder 20">
            <a:extLst>
              <a:ext uri="{FF2B5EF4-FFF2-40B4-BE49-F238E27FC236}">
                <a16:creationId xmlns:a16="http://schemas.microsoft.com/office/drawing/2014/main" id="{0AB8628E-6620-874B-85B8-393DA4676167}"/>
              </a:ext>
            </a:extLst>
          </p:cNvPr>
          <p:cNvSpPr>
            <a:spLocks noGrp="1"/>
          </p:cNvSpPr>
          <p:nvPr userDrawn="1">
            <p:ph type="body" sz="quarter" idx="19" hasCustomPrompt="1"/>
          </p:nvPr>
        </p:nvSpPr>
        <p:spPr>
          <a:xfrm>
            <a:off x="916647" y="2451792"/>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ext Placeholder 20">
            <a:extLst>
              <a:ext uri="{FF2B5EF4-FFF2-40B4-BE49-F238E27FC236}">
                <a16:creationId xmlns:a16="http://schemas.microsoft.com/office/drawing/2014/main" id="{1CA6145D-0C72-F541-BE9A-355F095B9528}"/>
              </a:ext>
            </a:extLst>
          </p:cNvPr>
          <p:cNvSpPr>
            <a:spLocks noGrp="1"/>
          </p:cNvSpPr>
          <p:nvPr userDrawn="1">
            <p:ph type="body" sz="quarter" idx="22" hasCustomPrompt="1"/>
          </p:nvPr>
        </p:nvSpPr>
        <p:spPr>
          <a:xfrm>
            <a:off x="916647" y="1471054"/>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8" name="Rectangle 37">
            <a:extLst>
              <a:ext uri="{FF2B5EF4-FFF2-40B4-BE49-F238E27FC236}">
                <a16:creationId xmlns:a16="http://schemas.microsoft.com/office/drawing/2014/main" id="{9371083E-173B-64B6-90DB-3932E95AE3CE}"/>
              </a:ext>
            </a:extLst>
          </p:cNvPr>
          <p:cNvSpPr/>
          <p:nvPr/>
        </p:nvSpPr>
        <p:spPr>
          <a:xfrm>
            <a:off x="3419661" y="2294769"/>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9" name="Straight Connector 38">
            <a:extLst>
              <a:ext uri="{FF2B5EF4-FFF2-40B4-BE49-F238E27FC236}">
                <a16:creationId xmlns:a16="http://schemas.microsoft.com/office/drawing/2014/main" id="{50410FC9-B8E7-3F8D-595B-42FB6FEA213B}"/>
              </a:ext>
            </a:extLst>
          </p:cNvPr>
          <p:cNvCxnSpPr>
            <a:cxnSpLocks/>
          </p:cNvCxnSpPr>
          <p:nvPr/>
        </p:nvCxnSpPr>
        <p:spPr>
          <a:xfrm>
            <a:off x="3419661" y="2281656"/>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40" name="Text Placeholder 20">
            <a:extLst>
              <a:ext uri="{FF2B5EF4-FFF2-40B4-BE49-F238E27FC236}">
                <a16:creationId xmlns:a16="http://schemas.microsoft.com/office/drawing/2014/main" id="{81692953-2040-E900-7B7B-F1391A6919F4}"/>
              </a:ext>
            </a:extLst>
          </p:cNvPr>
          <p:cNvSpPr>
            <a:spLocks noGrp="1"/>
          </p:cNvSpPr>
          <p:nvPr userDrawn="1">
            <p:ph type="body" sz="quarter" idx="23" hasCustomPrompt="1"/>
          </p:nvPr>
        </p:nvSpPr>
        <p:spPr>
          <a:xfrm>
            <a:off x="3594531" y="2451792"/>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1" name="Text Placeholder 20">
            <a:extLst>
              <a:ext uri="{FF2B5EF4-FFF2-40B4-BE49-F238E27FC236}">
                <a16:creationId xmlns:a16="http://schemas.microsoft.com/office/drawing/2014/main" id="{99CAF562-9E6C-E9A1-8784-3B5643C9B56C}"/>
              </a:ext>
            </a:extLst>
          </p:cNvPr>
          <p:cNvSpPr>
            <a:spLocks noGrp="1"/>
          </p:cNvSpPr>
          <p:nvPr userDrawn="1">
            <p:ph type="body" sz="quarter" idx="24" hasCustomPrompt="1"/>
          </p:nvPr>
        </p:nvSpPr>
        <p:spPr>
          <a:xfrm>
            <a:off x="3594531" y="1471054"/>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3" name="Rectangle 42">
            <a:extLst>
              <a:ext uri="{FF2B5EF4-FFF2-40B4-BE49-F238E27FC236}">
                <a16:creationId xmlns:a16="http://schemas.microsoft.com/office/drawing/2014/main" id="{934B1946-4432-7FE4-DB63-2FEDA29EC05B}"/>
              </a:ext>
            </a:extLst>
          </p:cNvPr>
          <p:cNvSpPr/>
          <p:nvPr/>
        </p:nvSpPr>
        <p:spPr>
          <a:xfrm>
            <a:off x="6097545" y="2294769"/>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44" name="Straight Connector 43">
            <a:extLst>
              <a:ext uri="{FF2B5EF4-FFF2-40B4-BE49-F238E27FC236}">
                <a16:creationId xmlns:a16="http://schemas.microsoft.com/office/drawing/2014/main" id="{947D6BC6-595C-82B9-6399-4E27F2A595EC}"/>
              </a:ext>
            </a:extLst>
          </p:cNvPr>
          <p:cNvCxnSpPr>
            <a:cxnSpLocks/>
          </p:cNvCxnSpPr>
          <p:nvPr/>
        </p:nvCxnSpPr>
        <p:spPr>
          <a:xfrm>
            <a:off x="6097545" y="2281656"/>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45" name="Text Placeholder 20">
            <a:extLst>
              <a:ext uri="{FF2B5EF4-FFF2-40B4-BE49-F238E27FC236}">
                <a16:creationId xmlns:a16="http://schemas.microsoft.com/office/drawing/2014/main" id="{F8FE9088-EF4C-3223-9561-5AA13C2DA0BC}"/>
              </a:ext>
            </a:extLst>
          </p:cNvPr>
          <p:cNvSpPr>
            <a:spLocks noGrp="1"/>
          </p:cNvSpPr>
          <p:nvPr userDrawn="1">
            <p:ph type="body" sz="quarter" idx="25" hasCustomPrompt="1"/>
          </p:nvPr>
        </p:nvSpPr>
        <p:spPr>
          <a:xfrm>
            <a:off x="6272415" y="2451792"/>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46" name="Text Placeholder 20">
            <a:extLst>
              <a:ext uri="{FF2B5EF4-FFF2-40B4-BE49-F238E27FC236}">
                <a16:creationId xmlns:a16="http://schemas.microsoft.com/office/drawing/2014/main" id="{FDAFBEA9-6483-A006-3BCE-3E336865EB86}"/>
              </a:ext>
            </a:extLst>
          </p:cNvPr>
          <p:cNvSpPr>
            <a:spLocks noGrp="1"/>
          </p:cNvSpPr>
          <p:nvPr userDrawn="1">
            <p:ph type="body" sz="quarter" idx="26" hasCustomPrompt="1"/>
          </p:nvPr>
        </p:nvSpPr>
        <p:spPr>
          <a:xfrm>
            <a:off x="6272415" y="1471054"/>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9" name="Rectangle 48">
            <a:extLst>
              <a:ext uri="{FF2B5EF4-FFF2-40B4-BE49-F238E27FC236}">
                <a16:creationId xmlns:a16="http://schemas.microsoft.com/office/drawing/2014/main" id="{43226A65-F603-7E9F-1818-EB37E0ADFE01}"/>
              </a:ext>
            </a:extLst>
          </p:cNvPr>
          <p:cNvSpPr/>
          <p:nvPr/>
        </p:nvSpPr>
        <p:spPr>
          <a:xfrm>
            <a:off x="8775429" y="2294769"/>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51" name="Straight Connector 50">
            <a:extLst>
              <a:ext uri="{FF2B5EF4-FFF2-40B4-BE49-F238E27FC236}">
                <a16:creationId xmlns:a16="http://schemas.microsoft.com/office/drawing/2014/main" id="{72CD8099-2E22-CF35-A54D-8A6B45292651}"/>
              </a:ext>
            </a:extLst>
          </p:cNvPr>
          <p:cNvCxnSpPr>
            <a:cxnSpLocks/>
          </p:cNvCxnSpPr>
          <p:nvPr/>
        </p:nvCxnSpPr>
        <p:spPr>
          <a:xfrm>
            <a:off x="8775429" y="2281656"/>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52" name="Text Placeholder 20">
            <a:extLst>
              <a:ext uri="{FF2B5EF4-FFF2-40B4-BE49-F238E27FC236}">
                <a16:creationId xmlns:a16="http://schemas.microsoft.com/office/drawing/2014/main" id="{D2A91264-00E1-4BD3-293E-BE40AAD98C5F}"/>
              </a:ext>
            </a:extLst>
          </p:cNvPr>
          <p:cNvSpPr>
            <a:spLocks noGrp="1"/>
          </p:cNvSpPr>
          <p:nvPr userDrawn="1">
            <p:ph type="body" sz="quarter" idx="27" hasCustomPrompt="1"/>
          </p:nvPr>
        </p:nvSpPr>
        <p:spPr>
          <a:xfrm>
            <a:off x="8950299" y="2451792"/>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3" name="Text Placeholder 20">
            <a:extLst>
              <a:ext uri="{FF2B5EF4-FFF2-40B4-BE49-F238E27FC236}">
                <a16:creationId xmlns:a16="http://schemas.microsoft.com/office/drawing/2014/main" id="{7AE9B17A-9DE8-3C9E-DDDC-CA860B6819B3}"/>
              </a:ext>
            </a:extLst>
          </p:cNvPr>
          <p:cNvSpPr>
            <a:spLocks noGrp="1"/>
          </p:cNvSpPr>
          <p:nvPr userDrawn="1">
            <p:ph type="body" sz="quarter" idx="28" hasCustomPrompt="1"/>
          </p:nvPr>
        </p:nvSpPr>
        <p:spPr>
          <a:xfrm>
            <a:off x="8950299" y="1471054"/>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25" name="Rectangle 24">
            <a:extLst>
              <a:ext uri="{FF2B5EF4-FFF2-40B4-BE49-F238E27FC236}">
                <a16:creationId xmlns:a16="http://schemas.microsoft.com/office/drawing/2014/main" id="{771DEEDC-8187-24ED-7E42-DAF4D52C68F0}"/>
              </a:ext>
            </a:extLst>
          </p:cNvPr>
          <p:cNvSpPr/>
          <p:nvPr userDrawn="1"/>
        </p:nvSpPr>
        <p:spPr>
          <a:xfrm>
            <a:off x="741777" y="4673718"/>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27" name="Straight Connector 26">
            <a:extLst>
              <a:ext uri="{FF2B5EF4-FFF2-40B4-BE49-F238E27FC236}">
                <a16:creationId xmlns:a16="http://schemas.microsoft.com/office/drawing/2014/main" id="{6FEC3663-E96C-EB19-6441-42F6D2DC96EB}"/>
              </a:ext>
            </a:extLst>
          </p:cNvPr>
          <p:cNvCxnSpPr>
            <a:cxnSpLocks/>
          </p:cNvCxnSpPr>
          <p:nvPr userDrawn="1"/>
        </p:nvCxnSpPr>
        <p:spPr>
          <a:xfrm>
            <a:off x="741777" y="4660605"/>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29" name="Text Placeholder 20">
            <a:extLst>
              <a:ext uri="{FF2B5EF4-FFF2-40B4-BE49-F238E27FC236}">
                <a16:creationId xmlns:a16="http://schemas.microsoft.com/office/drawing/2014/main" id="{213A7298-F970-E6B0-83A2-28DA87BFD348}"/>
              </a:ext>
            </a:extLst>
          </p:cNvPr>
          <p:cNvSpPr>
            <a:spLocks noGrp="1"/>
          </p:cNvSpPr>
          <p:nvPr>
            <p:ph type="body" sz="quarter" idx="29" hasCustomPrompt="1"/>
          </p:nvPr>
        </p:nvSpPr>
        <p:spPr>
          <a:xfrm>
            <a:off x="916647" y="4830741"/>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0" name="Text Placeholder 20">
            <a:extLst>
              <a:ext uri="{FF2B5EF4-FFF2-40B4-BE49-F238E27FC236}">
                <a16:creationId xmlns:a16="http://schemas.microsoft.com/office/drawing/2014/main" id="{14C5DD45-1491-CE4C-68D4-8537C20243BA}"/>
              </a:ext>
            </a:extLst>
          </p:cNvPr>
          <p:cNvSpPr>
            <a:spLocks noGrp="1"/>
          </p:cNvSpPr>
          <p:nvPr>
            <p:ph type="body" sz="quarter" idx="30" hasCustomPrompt="1"/>
          </p:nvPr>
        </p:nvSpPr>
        <p:spPr>
          <a:xfrm>
            <a:off x="916647" y="3850003"/>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1" name="Rectangle 30">
            <a:extLst>
              <a:ext uri="{FF2B5EF4-FFF2-40B4-BE49-F238E27FC236}">
                <a16:creationId xmlns:a16="http://schemas.microsoft.com/office/drawing/2014/main" id="{64127DA2-9D94-3342-77FA-829E376A2AAB}"/>
              </a:ext>
            </a:extLst>
          </p:cNvPr>
          <p:cNvSpPr/>
          <p:nvPr userDrawn="1"/>
        </p:nvSpPr>
        <p:spPr>
          <a:xfrm>
            <a:off x="3419661" y="4673718"/>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2" name="Straight Connector 31">
            <a:extLst>
              <a:ext uri="{FF2B5EF4-FFF2-40B4-BE49-F238E27FC236}">
                <a16:creationId xmlns:a16="http://schemas.microsoft.com/office/drawing/2014/main" id="{94459CC2-233A-3DEB-79C8-F3938E2874EA}"/>
              </a:ext>
            </a:extLst>
          </p:cNvPr>
          <p:cNvCxnSpPr>
            <a:cxnSpLocks/>
          </p:cNvCxnSpPr>
          <p:nvPr userDrawn="1"/>
        </p:nvCxnSpPr>
        <p:spPr>
          <a:xfrm>
            <a:off x="3419661" y="4660605"/>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33" name="Text Placeholder 20">
            <a:extLst>
              <a:ext uri="{FF2B5EF4-FFF2-40B4-BE49-F238E27FC236}">
                <a16:creationId xmlns:a16="http://schemas.microsoft.com/office/drawing/2014/main" id="{0CF42145-CC43-0481-2346-A89427045E01}"/>
              </a:ext>
            </a:extLst>
          </p:cNvPr>
          <p:cNvSpPr>
            <a:spLocks noGrp="1"/>
          </p:cNvSpPr>
          <p:nvPr>
            <p:ph type="body" sz="quarter" idx="31" hasCustomPrompt="1"/>
          </p:nvPr>
        </p:nvSpPr>
        <p:spPr>
          <a:xfrm>
            <a:off x="3594531" y="4830741"/>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4" name="Text Placeholder 20">
            <a:extLst>
              <a:ext uri="{FF2B5EF4-FFF2-40B4-BE49-F238E27FC236}">
                <a16:creationId xmlns:a16="http://schemas.microsoft.com/office/drawing/2014/main" id="{769DBB9D-40B5-FDB7-C647-56DDDA0858C3}"/>
              </a:ext>
            </a:extLst>
          </p:cNvPr>
          <p:cNvSpPr>
            <a:spLocks noGrp="1"/>
          </p:cNvSpPr>
          <p:nvPr>
            <p:ph type="body" sz="quarter" idx="32" hasCustomPrompt="1"/>
          </p:nvPr>
        </p:nvSpPr>
        <p:spPr>
          <a:xfrm>
            <a:off x="3594531" y="3850003"/>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5" name="Rectangle 34">
            <a:extLst>
              <a:ext uri="{FF2B5EF4-FFF2-40B4-BE49-F238E27FC236}">
                <a16:creationId xmlns:a16="http://schemas.microsoft.com/office/drawing/2014/main" id="{54BCF977-5C7F-3DF5-226C-277F16D4A6FF}"/>
              </a:ext>
            </a:extLst>
          </p:cNvPr>
          <p:cNvSpPr/>
          <p:nvPr userDrawn="1"/>
        </p:nvSpPr>
        <p:spPr>
          <a:xfrm>
            <a:off x="6097545" y="4673718"/>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37" name="Straight Connector 36">
            <a:extLst>
              <a:ext uri="{FF2B5EF4-FFF2-40B4-BE49-F238E27FC236}">
                <a16:creationId xmlns:a16="http://schemas.microsoft.com/office/drawing/2014/main" id="{61D22BE9-B0C4-9A41-C5B2-58F43FE7CDAA}"/>
              </a:ext>
            </a:extLst>
          </p:cNvPr>
          <p:cNvCxnSpPr>
            <a:cxnSpLocks/>
          </p:cNvCxnSpPr>
          <p:nvPr userDrawn="1"/>
        </p:nvCxnSpPr>
        <p:spPr>
          <a:xfrm>
            <a:off x="6097545" y="4660605"/>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48" name="Text Placeholder 20">
            <a:extLst>
              <a:ext uri="{FF2B5EF4-FFF2-40B4-BE49-F238E27FC236}">
                <a16:creationId xmlns:a16="http://schemas.microsoft.com/office/drawing/2014/main" id="{31A2F491-F043-7829-889E-CC01ADD3DF5F}"/>
              </a:ext>
            </a:extLst>
          </p:cNvPr>
          <p:cNvSpPr>
            <a:spLocks noGrp="1"/>
          </p:cNvSpPr>
          <p:nvPr>
            <p:ph type="body" sz="quarter" idx="33" hasCustomPrompt="1"/>
          </p:nvPr>
        </p:nvSpPr>
        <p:spPr>
          <a:xfrm>
            <a:off x="6272415" y="4830741"/>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4" name="Text Placeholder 20">
            <a:extLst>
              <a:ext uri="{FF2B5EF4-FFF2-40B4-BE49-F238E27FC236}">
                <a16:creationId xmlns:a16="http://schemas.microsoft.com/office/drawing/2014/main" id="{450FF938-86F3-41D1-C772-3BB3B837341F}"/>
              </a:ext>
            </a:extLst>
          </p:cNvPr>
          <p:cNvSpPr>
            <a:spLocks noGrp="1"/>
          </p:cNvSpPr>
          <p:nvPr>
            <p:ph type="body" sz="quarter" idx="34" hasCustomPrompt="1"/>
          </p:nvPr>
        </p:nvSpPr>
        <p:spPr>
          <a:xfrm>
            <a:off x="6272415" y="3850003"/>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5" name="Rectangle 54">
            <a:extLst>
              <a:ext uri="{FF2B5EF4-FFF2-40B4-BE49-F238E27FC236}">
                <a16:creationId xmlns:a16="http://schemas.microsoft.com/office/drawing/2014/main" id="{F8392C24-170F-C3C9-8554-7D2FF1E002D9}"/>
              </a:ext>
            </a:extLst>
          </p:cNvPr>
          <p:cNvSpPr/>
          <p:nvPr userDrawn="1"/>
        </p:nvSpPr>
        <p:spPr>
          <a:xfrm>
            <a:off x="8775429" y="4673718"/>
            <a:ext cx="2568674" cy="1395486"/>
          </a:xfrm>
          <a:prstGeom prst="rect">
            <a:avLst/>
          </a:prstGeom>
          <a:solidFill>
            <a:schemeClr val="accent4">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56" name="Straight Connector 55">
            <a:extLst>
              <a:ext uri="{FF2B5EF4-FFF2-40B4-BE49-F238E27FC236}">
                <a16:creationId xmlns:a16="http://schemas.microsoft.com/office/drawing/2014/main" id="{9B9E750F-A21C-FCB9-4EFC-7BEA8BFE35C0}"/>
              </a:ext>
            </a:extLst>
          </p:cNvPr>
          <p:cNvCxnSpPr>
            <a:cxnSpLocks/>
          </p:cNvCxnSpPr>
          <p:nvPr userDrawn="1"/>
        </p:nvCxnSpPr>
        <p:spPr>
          <a:xfrm>
            <a:off x="8775429" y="4660605"/>
            <a:ext cx="2568674"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sp>
        <p:nvSpPr>
          <p:cNvPr id="57" name="Text Placeholder 20">
            <a:extLst>
              <a:ext uri="{FF2B5EF4-FFF2-40B4-BE49-F238E27FC236}">
                <a16:creationId xmlns:a16="http://schemas.microsoft.com/office/drawing/2014/main" id="{DB2B63C6-9F13-A41E-F5D4-B1F419019F2E}"/>
              </a:ext>
            </a:extLst>
          </p:cNvPr>
          <p:cNvSpPr>
            <a:spLocks noGrp="1"/>
          </p:cNvSpPr>
          <p:nvPr>
            <p:ph type="body" sz="quarter" idx="35" hasCustomPrompt="1"/>
          </p:nvPr>
        </p:nvSpPr>
        <p:spPr>
          <a:xfrm>
            <a:off x="8950299" y="4830741"/>
            <a:ext cx="2218440" cy="1091506"/>
          </a:xfrm>
          <a:prstGeom prst="rect">
            <a:avLst/>
          </a:prstGeom>
        </p:spPr>
        <p:txBody>
          <a:bodyPr anchor="t">
            <a:normAutofit/>
          </a:bodyPr>
          <a:lstStyle>
            <a:lvl1pPr marL="0" indent="0">
              <a:buNone/>
              <a:defRPr sz="1400" b="0" i="0">
                <a:solidFill>
                  <a:schemeClr val="accent1"/>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8" name="Text Placeholder 20">
            <a:extLst>
              <a:ext uri="{FF2B5EF4-FFF2-40B4-BE49-F238E27FC236}">
                <a16:creationId xmlns:a16="http://schemas.microsoft.com/office/drawing/2014/main" id="{A121C4C7-0C16-A825-2C55-2F10B1BA2063}"/>
              </a:ext>
            </a:extLst>
          </p:cNvPr>
          <p:cNvSpPr>
            <a:spLocks noGrp="1"/>
          </p:cNvSpPr>
          <p:nvPr>
            <p:ph type="body" sz="quarter" idx="36" hasCustomPrompt="1"/>
          </p:nvPr>
        </p:nvSpPr>
        <p:spPr>
          <a:xfrm>
            <a:off x="8950299" y="3850003"/>
            <a:ext cx="2218440" cy="629219"/>
          </a:xfrm>
          <a:prstGeom prst="rect">
            <a:avLst/>
          </a:prstGeom>
        </p:spPr>
        <p:txBody>
          <a:bodyPr anchor="b">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9" name="Title 1">
            <a:extLst>
              <a:ext uri="{FF2B5EF4-FFF2-40B4-BE49-F238E27FC236}">
                <a16:creationId xmlns:a16="http://schemas.microsoft.com/office/drawing/2014/main" id="{9B587442-3116-C0A0-18F9-7A897267D819}"/>
              </a:ext>
            </a:extLst>
          </p:cNvPr>
          <p:cNvSpPr>
            <a:spLocks noGrp="1"/>
          </p:cNvSpPr>
          <p:nvPr>
            <p:ph type="title" hasCustomPrompt="1"/>
          </p:nvPr>
        </p:nvSpPr>
        <p:spPr>
          <a:xfrm>
            <a:off x="741777" y="365126"/>
            <a:ext cx="10671895" cy="99368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42" name="Bilde 3">
            <a:extLst>
              <a:ext uri="{FF2B5EF4-FFF2-40B4-BE49-F238E27FC236}">
                <a16:creationId xmlns:a16="http://schemas.microsoft.com/office/drawing/2014/main" id="{1E180836-C789-8619-DB8A-CE3F0915A7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47" name="Date Placeholder 2">
            <a:extLst>
              <a:ext uri="{FF2B5EF4-FFF2-40B4-BE49-F238E27FC236}">
                <a16:creationId xmlns:a16="http://schemas.microsoft.com/office/drawing/2014/main" id="{40EC078F-DB36-1601-92FF-770899727D07}"/>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60" name="Footer Placeholder 3">
            <a:extLst>
              <a:ext uri="{FF2B5EF4-FFF2-40B4-BE49-F238E27FC236}">
                <a16:creationId xmlns:a16="http://schemas.microsoft.com/office/drawing/2014/main" id="{39F40227-679D-0B79-92F0-5999FCFA70E5}"/>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61" name="Slide Number Placeholder 4">
            <a:extLst>
              <a:ext uri="{FF2B5EF4-FFF2-40B4-BE49-F238E27FC236}">
                <a16:creationId xmlns:a16="http://schemas.microsoft.com/office/drawing/2014/main" id="{29A40919-D39A-66B3-F03F-0EBE8A9FA2A3}"/>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1563308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4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8" name="Title 1">
            <a:extLst>
              <a:ext uri="{FF2B5EF4-FFF2-40B4-BE49-F238E27FC236}">
                <a16:creationId xmlns:a16="http://schemas.microsoft.com/office/drawing/2014/main" id="{24C98934-0BC0-6144-9BC0-31616D8C2519}"/>
              </a:ext>
            </a:extLst>
          </p:cNvPr>
          <p:cNvSpPr>
            <a:spLocks noGrp="1"/>
          </p:cNvSpPr>
          <p:nvPr>
            <p:ph type="title" hasCustomPrompt="1"/>
          </p:nvPr>
        </p:nvSpPr>
        <p:spPr>
          <a:xfrm>
            <a:off x="741777" y="365126"/>
            <a:ext cx="10671895" cy="1036620"/>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0" name="Bilde 3">
            <a:extLst>
              <a:ext uri="{FF2B5EF4-FFF2-40B4-BE49-F238E27FC236}">
                <a16:creationId xmlns:a16="http://schemas.microsoft.com/office/drawing/2014/main" id="{8F41D518-6784-585C-BEDA-150EF2A499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1" name="Text Placeholder 20">
            <a:extLst>
              <a:ext uri="{FF2B5EF4-FFF2-40B4-BE49-F238E27FC236}">
                <a16:creationId xmlns:a16="http://schemas.microsoft.com/office/drawing/2014/main" id="{0D31FB67-27C8-9D49-44F1-EDEDC8A9FD23}"/>
              </a:ext>
            </a:extLst>
          </p:cNvPr>
          <p:cNvSpPr>
            <a:spLocks noGrp="1"/>
          </p:cNvSpPr>
          <p:nvPr>
            <p:ph type="body" sz="quarter" idx="22" hasCustomPrompt="1"/>
          </p:nvPr>
        </p:nvSpPr>
        <p:spPr>
          <a:xfrm>
            <a:off x="731837" y="1555199"/>
            <a:ext cx="10559013" cy="314610"/>
          </a:xfrm>
          <a:prstGeom prst="rect">
            <a:avLst/>
          </a:prstGeom>
        </p:spPr>
        <p:txBody>
          <a:bodyPr anchor="t">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2" name="Text Placeholder 20">
            <a:extLst>
              <a:ext uri="{FF2B5EF4-FFF2-40B4-BE49-F238E27FC236}">
                <a16:creationId xmlns:a16="http://schemas.microsoft.com/office/drawing/2014/main" id="{69679182-FAE3-13C5-B33C-B5EB0EE5763E}"/>
              </a:ext>
            </a:extLst>
          </p:cNvPr>
          <p:cNvSpPr>
            <a:spLocks noGrp="1"/>
          </p:cNvSpPr>
          <p:nvPr>
            <p:ph type="body" sz="quarter" idx="15" hasCustomPrompt="1"/>
          </p:nvPr>
        </p:nvSpPr>
        <p:spPr>
          <a:xfrm>
            <a:off x="741776" y="2017226"/>
            <a:ext cx="10549075" cy="4035704"/>
          </a:xfrm>
          <a:prstGeom prst="rect">
            <a:avLst/>
          </a:prstGeom>
        </p:spPr>
        <p:txBody>
          <a:bodyPr anchor="t">
            <a:noAutofit/>
          </a:bodyPr>
          <a:lstStyle>
            <a:lvl1pPr marL="0" indent="0">
              <a:buNone/>
              <a:defRPr sz="12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3" name="Date Placeholder 2">
            <a:extLst>
              <a:ext uri="{FF2B5EF4-FFF2-40B4-BE49-F238E27FC236}">
                <a16:creationId xmlns:a16="http://schemas.microsoft.com/office/drawing/2014/main" id="{DD2C5759-92AC-9F4E-F31D-6058BE479403}"/>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14" name="Footer Placeholder 3">
            <a:extLst>
              <a:ext uri="{FF2B5EF4-FFF2-40B4-BE49-F238E27FC236}">
                <a16:creationId xmlns:a16="http://schemas.microsoft.com/office/drawing/2014/main" id="{B9BAD17B-B40E-C4E1-1CDA-75F73720EFCA}"/>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15" name="Slide Number Placeholder 4">
            <a:extLst>
              <a:ext uri="{FF2B5EF4-FFF2-40B4-BE49-F238E27FC236}">
                <a16:creationId xmlns:a16="http://schemas.microsoft.com/office/drawing/2014/main" id="{4FE82372-A133-AD73-D04A-C2CFD2C25714}"/>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2735784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guide id="2" pos="6607">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3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6" name="Title 1">
            <a:extLst>
              <a:ext uri="{FF2B5EF4-FFF2-40B4-BE49-F238E27FC236}">
                <a16:creationId xmlns:a16="http://schemas.microsoft.com/office/drawing/2014/main" id="{B4A3ECC9-8F4D-E101-59A0-077077FE57B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8" name="Bilde 3">
            <a:extLst>
              <a:ext uri="{FF2B5EF4-FFF2-40B4-BE49-F238E27FC236}">
                <a16:creationId xmlns:a16="http://schemas.microsoft.com/office/drawing/2014/main" id="{3420C06F-BD3E-F705-FE57-5A3BA80667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9" name="Date Placeholder 2">
            <a:extLst>
              <a:ext uri="{FF2B5EF4-FFF2-40B4-BE49-F238E27FC236}">
                <a16:creationId xmlns:a16="http://schemas.microsoft.com/office/drawing/2014/main" id="{3715DC52-4B33-BE62-CDE3-71452BD46731}"/>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10" name="Footer Placeholder 3">
            <a:extLst>
              <a:ext uri="{FF2B5EF4-FFF2-40B4-BE49-F238E27FC236}">
                <a16:creationId xmlns:a16="http://schemas.microsoft.com/office/drawing/2014/main" id="{1C77C9C1-3D73-870B-D81D-B51E5E3A470C}"/>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11" name="Slide Number Placeholder 4">
            <a:extLst>
              <a:ext uri="{FF2B5EF4-FFF2-40B4-BE49-F238E27FC236}">
                <a16:creationId xmlns:a16="http://schemas.microsoft.com/office/drawing/2014/main" id="{67F64C78-F787-DDB6-45BD-07EC8DE8E7D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5879363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guide id="2" pos="660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6_Custom Layout">
    <p:bg>
      <p:bgPr>
        <a:solidFill>
          <a:schemeClr val="accent3"/>
        </a:solidFill>
        <a:effectLst/>
      </p:bgPr>
    </p:bg>
    <p:spTree>
      <p:nvGrpSpPr>
        <p:cNvPr id="1" name=""/>
        <p:cNvGrpSpPr/>
        <p:nvPr/>
      </p:nvGrpSpPr>
      <p:grpSpPr>
        <a:xfrm>
          <a:off x="0" y="0"/>
          <a:ext cx="0" cy="0"/>
          <a:chOff x="0" y="0"/>
          <a:chExt cx="0" cy="0"/>
        </a:xfrm>
      </p:grpSpPr>
      <p:pic>
        <p:nvPicPr>
          <p:cNvPr id="23" name="Bilde 3">
            <a:extLst>
              <a:ext uri="{FF2B5EF4-FFF2-40B4-BE49-F238E27FC236}">
                <a16:creationId xmlns:a16="http://schemas.microsoft.com/office/drawing/2014/main" id="{D00E2AFF-DEA5-0D40-A283-8310B81ED59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6" name="Title 1">
            <a:extLst>
              <a:ext uri="{FF2B5EF4-FFF2-40B4-BE49-F238E27FC236}">
                <a16:creationId xmlns:a16="http://schemas.microsoft.com/office/drawing/2014/main" id="{B4A3ECC9-8F4D-E101-59A0-077077FE57B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bg1"/>
                </a:solidFill>
                <a:latin typeface="Helvetica Light" panose="020B0403020202020204" pitchFamily="34" charset="0"/>
              </a:defRPr>
            </a:lvl1pPr>
          </a:lstStyle>
          <a:p>
            <a:r>
              <a:rPr lang="en-GB"/>
              <a:t>Slide title here</a:t>
            </a:r>
            <a:endParaRPr lang="en-US"/>
          </a:p>
        </p:txBody>
      </p:sp>
      <p:cxnSp>
        <p:nvCxnSpPr>
          <p:cNvPr id="7" name="Straight Connector 6">
            <a:extLst>
              <a:ext uri="{FF2B5EF4-FFF2-40B4-BE49-F238E27FC236}">
                <a16:creationId xmlns:a16="http://schemas.microsoft.com/office/drawing/2014/main" id="{795D36FA-32FE-D914-4600-645D7F8B4F09}"/>
              </a:ext>
            </a:extLst>
          </p:cNvPr>
          <p:cNvCxnSpPr>
            <a:cxnSpLocks/>
          </p:cNvCxnSpPr>
          <p:nvPr userDrawn="1"/>
        </p:nvCxnSpPr>
        <p:spPr>
          <a:xfrm>
            <a:off x="259644" y="6415094"/>
            <a:ext cx="1165729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Date Placeholder 2">
            <a:extLst>
              <a:ext uri="{FF2B5EF4-FFF2-40B4-BE49-F238E27FC236}">
                <a16:creationId xmlns:a16="http://schemas.microsoft.com/office/drawing/2014/main" id="{215FB111-AAF3-6032-3C9E-731E726A2869}"/>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12" name="Footer Placeholder 3">
            <a:extLst>
              <a:ext uri="{FF2B5EF4-FFF2-40B4-BE49-F238E27FC236}">
                <a16:creationId xmlns:a16="http://schemas.microsoft.com/office/drawing/2014/main" id="{C9CF8A18-7C8B-000D-F346-39DC81A61DB3}"/>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13" name="Slide Number Placeholder 4">
            <a:extLst>
              <a:ext uri="{FF2B5EF4-FFF2-40B4-BE49-F238E27FC236}">
                <a16:creationId xmlns:a16="http://schemas.microsoft.com/office/drawing/2014/main" id="{E583F702-8D79-7A26-D8A6-4AA71B0DFC52}"/>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7790444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guide id="2" pos="660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grpSp>
        <p:nvGrpSpPr>
          <p:cNvPr id="19" name="Group 18">
            <a:extLst>
              <a:ext uri="{FF2B5EF4-FFF2-40B4-BE49-F238E27FC236}">
                <a16:creationId xmlns:a16="http://schemas.microsoft.com/office/drawing/2014/main" id="{B2E54100-83F6-3840-9740-66AEE324BF5D}"/>
              </a:ext>
            </a:extLst>
          </p:cNvPr>
          <p:cNvGrpSpPr/>
          <p:nvPr/>
        </p:nvGrpSpPr>
        <p:grpSpPr>
          <a:xfrm>
            <a:off x="1187723" y="1964633"/>
            <a:ext cx="9298521" cy="1070771"/>
            <a:chOff x="558331" y="2312872"/>
            <a:chExt cx="9298521" cy="756000"/>
          </a:xfrm>
        </p:grpSpPr>
        <p:sp>
          <p:nvSpPr>
            <p:cNvPr id="20" name="Rectangle 19">
              <a:extLst>
                <a:ext uri="{FF2B5EF4-FFF2-40B4-BE49-F238E27FC236}">
                  <a16:creationId xmlns:a16="http://schemas.microsoft.com/office/drawing/2014/main" id="{68E4597E-D37D-6D49-A946-1A166440BD7E}"/>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1273524" y="2040887"/>
            <a:ext cx="8988074" cy="942012"/>
          </a:xfrm>
          <a:prstGeom prst="rect">
            <a:avLst/>
          </a:prstGeom>
        </p:spPr>
        <p:txBody>
          <a:bodyPr anchor="ctr">
            <a:noAutofit/>
          </a:bodyPr>
          <a:lstStyle>
            <a:lvl1pPr>
              <a:defRPr sz="16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33" name="Group 32">
            <a:extLst>
              <a:ext uri="{FF2B5EF4-FFF2-40B4-BE49-F238E27FC236}">
                <a16:creationId xmlns:a16="http://schemas.microsoft.com/office/drawing/2014/main" id="{8CF6493A-85E1-3947-8DFF-8992C3EB5575}"/>
              </a:ext>
            </a:extLst>
          </p:cNvPr>
          <p:cNvGrpSpPr/>
          <p:nvPr/>
        </p:nvGrpSpPr>
        <p:grpSpPr>
          <a:xfrm>
            <a:off x="1187723" y="3221669"/>
            <a:ext cx="9298521" cy="1070771"/>
            <a:chOff x="558331" y="2312872"/>
            <a:chExt cx="9298521" cy="756000"/>
          </a:xfrm>
        </p:grpSpPr>
        <p:sp>
          <p:nvSpPr>
            <p:cNvPr id="34" name="Rectangle 33">
              <a:extLst>
                <a:ext uri="{FF2B5EF4-FFF2-40B4-BE49-F238E27FC236}">
                  <a16:creationId xmlns:a16="http://schemas.microsoft.com/office/drawing/2014/main" id="{5E8ECC9D-C46B-2A4B-BE5F-C9E1BCA7AAB3}"/>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5" name="Straight Connector 34">
              <a:extLst>
                <a:ext uri="{FF2B5EF4-FFF2-40B4-BE49-F238E27FC236}">
                  <a16:creationId xmlns:a16="http://schemas.microsoft.com/office/drawing/2014/main" id="{43F1115C-F8E4-1A46-B855-3890FC0AD164}"/>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9" name="Text Placeholder 20">
            <a:extLst>
              <a:ext uri="{FF2B5EF4-FFF2-40B4-BE49-F238E27FC236}">
                <a16:creationId xmlns:a16="http://schemas.microsoft.com/office/drawing/2014/main" id="{8AA3BD84-2566-4A4F-935C-DC90EF27B068}"/>
              </a:ext>
            </a:extLst>
          </p:cNvPr>
          <p:cNvSpPr>
            <a:spLocks noGrp="1"/>
          </p:cNvSpPr>
          <p:nvPr>
            <p:ph type="body" sz="quarter" idx="16" hasCustomPrompt="1"/>
          </p:nvPr>
        </p:nvSpPr>
        <p:spPr>
          <a:xfrm>
            <a:off x="1273524" y="3297923"/>
            <a:ext cx="8988074" cy="942012"/>
          </a:xfrm>
          <a:prstGeom prst="rect">
            <a:avLst/>
          </a:prstGeom>
        </p:spPr>
        <p:txBody>
          <a:bodyPr anchor="ctr">
            <a:noAutofit/>
          </a:bodyPr>
          <a:lstStyle>
            <a:lvl1pPr>
              <a:defRPr sz="16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40" name="Group 39">
            <a:extLst>
              <a:ext uri="{FF2B5EF4-FFF2-40B4-BE49-F238E27FC236}">
                <a16:creationId xmlns:a16="http://schemas.microsoft.com/office/drawing/2014/main" id="{988AB194-4E6C-E643-89BB-F483B519222E}"/>
              </a:ext>
            </a:extLst>
          </p:cNvPr>
          <p:cNvGrpSpPr/>
          <p:nvPr/>
        </p:nvGrpSpPr>
        <p:grpSpPr>
          <a:xfrm>
            <a:off x="1187723" y="4476771"/>
            <a:ext cx="9298521" cy="1070771"/>
            <a:chOff x="558331" y="2312872"/>
            <a:chExt cx="9298521" cy="756000"/>
          </a:xfrm>
        </p:grpSpPr>
        <p:sp>
          <p:nvSpPr>
            <p:cNvPr id="41" name="Rectangle 40">
              <a:extLst>
                <a:ext uri="{FF2B5EF4-FFF2-40B4-BE49-F238E27FC236}">
                  <a16:creationId xmlns:a16="http://schemas.microsoft.com/office/drawing/2014/main" id="{7B794547-A81B-B146-9F79-83EF1310EF3B}"/>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2" name="Straight Connector 41">
              <a:extLst>
                <a:ext uri="{FF2B5EF4-FFF2-40B4-BE49-F238E27FC236}">
                  <a16:creationId xmlns:a16="http://schemas.microsoft.com/office/drawing/2014/main" id="{1281F5AA-DC43-4A4F-9B6D-F2524A03C140}"/>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4" name="Text Placeholder 20">
            <a:extLst>
              <a:ext uri="{FF2B5EF4-FFF2-40B4-BE49-F238E27FC236}">
                <a16:creationId xmlns:a16="http://schemas.microsoft.com/office/drawing/2014/main" id="{BFEE6F6E-0ACE-CB4C-AE62-AD392FEF8D6B}"/>
              </a:ext>
            </a:extLst>
          </p:cNvPr>
          <p:cNvSpPr>
            <a:spLocks noGrp="1"/>
          </p:cNvSpPr>
          <p:nvPr>
            <p:ph type="body" sz="quarter" idx="17" hasCustomPrompt="1"/>
          </p:nvPr>
        </p:nvSpPr>
        <p:spPr>
          <a:xfrm>
            <a:off x="1273524" y="4553025"/>
            <a:ext cx="8988074" cy="942012"/>
          </a:xfrm>
          <a:prstGeom prst="rect">
            <a:avLst/>
          </a:prstGeom>
        </p:spPr>
        <p:txBody>
          <a:bodyPr anchor="ctr">
            <a:noAutofit/>
          </a:bodyPr>
          <a:lstStyle>
            <a:lvl1pPr>
              <a:defRPr sz="1600" b="0" i="0">
                <a:solidFill>
                  <a:schemeClr val="accent3"/>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8" name="Title 1">
            <a:extLst>
              <a:ext uri="{FF2B5EF4-FFF2-40B4-BE49-F238E27FC236}">
                <a16:creationId xmlns:a16="http://schemas.microsoft.com/office/drawing/2014/main" id="{5A8ED574-45A5-BA5F-83D9-501C74743261}"/>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4" name="Bilde 3">
            <a:extLst>
              <a:ext uri="{FF2B5EF4-FFF2-40B4-BE49-F238E27FC236}">
                <a16:creationId xmlns:a16="http://schemas.microsoft.com/office/drawing/2014/main" id="{A611CCAD-80C3-06B4-705B-1B5115DACC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F9946F15-B6F1-AD65-1F0F-84F361170B27}"/>
              </a:ext>
            </a:extLst>
          </p:cNvPr>
          <p:cNvSpPr>
            <a:spLocks noGrp="1"/>
          </p:cNvSpPr>
          <p:nvPr>
            <p:ph type="dt" sz="half" idx="18"/>
          </p:nvPr>
        </p:nvSpPr>
        <p:spPr>
          <a:xfrm>
            <a:off x="2303627" y="6492875"/>
            <a:ext cx="528585" cy="365125"/>
          </a:xfrm>
        </p:spPr>
        <p:txBody>
          <a:bodyPr/>
          <a:lstStyle/>
          <a:p>
            <a:fld id="{89EBDBA3-ED9C-5441-A1EE-6DCE277531F5}" type="datetimeFigureOut">
              <a:rPr lang="en-US" smtClean="0"/>
              <a:pPr/>
              <a:t>8/20/2024</a:t>
            </a:fld>
            <a:endParaRPr lang="en-US"/>
          </a:p>
        </p:txBody>
      </p:sp>
      <p:sp>
        <p:nvSpPr>
          <p:cNvPr id="25" name="Footer Placeholder 3">
            <a:extLst>
              <a:ext uri="{FF2B5EF4-FFF2-40B4-BE49-F238E27FC236}">
                <a16:creationId xmlns:a16="http://schemas.microsoft.com/office/drawing/2014/main" id="{D3677154-2D1D-755A-7A98-B9A188F49124}"/>
              </a:ext>
            </a:extLst>
          </p:cNvPr>
          <p:cNvSpPr>
            <a:spLocks noGrp="1"/>
          </p:cNvSpPr>
          <p:nvPr>
            <p:ph type="ftr" sz="quarter" idx="19"/>
          </p:nvPr>
        </p:nvSpPr>
        <p:spPr>
          <a:xfrm>
            <a:off x="175116" y="6492875"/>
            <a:ext cx="2107096" cy="365125"/>
          </a:xfrm>
        </p:spPr>
        <p:txBody>
          <a:bodyPr/>
          <a:lstStyle/>
          <a:p>
            <a:r>
              <a:rPr lang="en-US"/>
              <a:t>© </a:t>
            </a:r>
            <a:r>
              <a:rPr lang="en-US" err="1"/>
              <a:t>StrongPoint</a:t>
            </a:r>
            <a:r>
              <a:rPr lang="en-US"/>
              <a:t> 2022. All rights reserved.   |</a:t>
            </a:r>
          </a:p>
        </p:txBody>
      </p:sp>
      <p:sp>
        <p:nvSpPr>
          <p:cNvPr id="26" name="Slide Number Placeholder 4">
            <a:extLst>
              <a:ext uri="{FF2B5EF4-FFF2-40B4-BE49-F238E27FC236}">
                <a16:creationId xmlns:a16="http://schemas.microsoft.com/office/drawing/2014/main" id="{DC439C8F-6268-A04D-43C5-37B3E15F0B04}"/>
              </a:ext>
            </a:extLst>
          </p:cNvPr>
          <p:cNvSpPr>
            <a:spLocks noGrp="1"/>
          </p:cNvSpPr>
          <p:nvPr>
            <p:ph type="sldNum" sz="quarter" idx="20"/>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0016599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grpSp>
        <p:nvGrpSpPr>
          <p:cNvPr id="19" name="Group 18">
            <a:extLst>
              <a:ext uri="{FF2B5EF4-FFF2-40B4-BE49-F238E27FC236}">
                <a16:creationId xmlns:a16="http://schemas.microsoft.com/office/drawing/2014/main" id="{B2E54100-83F6-3840-9740-66AEE324BF5D}"/>
              </a:ext>
            </a:extLst>
          </p:cNvPr>
          <p:cNvGrpSpPr/>
          <p:nvPr/>
        </p:nvGrpSpPr>
        <p:grpSpPr>
          <a:xfrm>
            <a:off x="1187723" y="1869808"/>
            <a:ext cx="9298521" cy="863468"/>
            <a:chOff x="558331" y="2312872"/>
            <a:chExt cx="9298521" cy="756000"/>
          </a:xfrm>
        </p:grpSpPr>
        <p:sp>
          <p:nvSpPr>
            <p:cNvPr id="20" name="Rectangle 19">
              <a:extLst>
                <a:ext uri="{FF2B5EF4-FFF2-40B4-BE49-F238E27FC236}">
                  <a16:creationId xmlns:a16="http://schemas.microsoft.com/office/drawing/2014/main" id="{68E4597E-D37D-6D49-A946-1A166440BD7E}"/>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1273524" y="1946061"/>
            <a:ext cx="8988074"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17" name="Group 16">
            <a:extLst>
              <a:ext uri="{FF2B5EF4-FFF2-40B4-BE49-F238E27FC236}">
                <a16:creationId xmlns:a16="http://schemas.microsoft.com/office/drawing/2014/main" id="{3C27F867-309D-EA46-8C0F-93359D32C6CB}"/>
              </a:ext>
            </a:extLst>
          </p:cNvPr>
          <p:cNvGrpSpPr/>
          <p:nvPr/>
        </p:nvGrpSpPr>
        <p:grpSpPr>
          <a:xfrm>
            <a:off x="1187723" y="2835884"/>
            <a:ext cx="9298521" cy="863468"/>
            <a:chOff x="558331" y="2312872"/>
            <a:chExt cx="9298521" cy="756000"/>
          </a:xfrm>
        </p:grpSpPr>
        <p:sp>
          <p:nvSpPr>
            <p:cNvPr id="18" name="Rectangle 17">
              <a:extLst>
                <a:ext uri="{FF2B5EF4-FFF2-40B4-BE49-F238E27FC236}">
                  <a16:creationId xmlns:a16="http://schemas.microsoft.com/office/drawing/2014/main" id="{99E19D7A-E6A9-054C-AB01-00DB0026F10D}"/>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82A16F31-8845-CC4C-9AD4-2BC372F49F8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5" name="Text Placeholder 20">
            <a:extLst>
              <a:ext uri="{FF2B5EF4-FFF2-40B4-BE49-F238E27FC236}">
                <a16:creationId xmlns:a16="http://schemas.microsoft.com/office/drawing/2014/main" id="{FC0F6143-34C5-944F-BEB1-CDAB609C4E6E}"/>
              </a:ext>
            </a:extLst>
          </p:cNvPr>
          <p:cNvSpPr>
            <a:spLocks noGrp="1"/>
          </p:cNvSpPr>
          <p:nvPr>
            <p:ph type="body" sz="quarter" idx="16" hasCustomPrompt="1"/>
          </p:nvPr>
        </p:nvSpPr>
        <p:spPr>
          <a:xfrm>
            <a:off x="1273524" y="2912137"/>
            <a:ext cx="8988074"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26" name="Group 25">
            <a:extLst>
              <a:ext uri="{FF2B5EF4-FFF2-40B4-BE49-F238E27FC236}">
                <a16:creationId xmlns:a16="http://schemas.microsoft.com/office/drawing/2014/main" id="{B34B0E98-BDEB-A143-938B-9D5929ECC2A1}"/>
              </a:ext>
            </a:extLst>
          </p:cNvPr>
          <p:cNvGrpSpPr/>
          <p:nvPr/>
        </p:nvGrpSpPr>
        <p:grpSpPr>
          <a:xfrm>
            <a:off x="1187723" y="3801960"/>
            <a:ext cx="9298521" cy="863468"/>
            <a:chOff x="558331" y="2312872"/>
            <a:chExt cx="9298521" cy="756000"/>
          </a:xfrm>
        </p:grpSpPr>
        <p:sp>
          <p:nvSpPr>
            <p:cNvPr id="27" name="Rectangle 26">
              <a:extLst>
                <a:ext uri="{FF2B5EF4-FFF2-40B4-BE49-F238E27FC236}">
                  <a16:creationId xmlns:a16="http://schemas.microsoft.com/office/drawing/2014/main" id="{154CD58A-8677-9545-B209-DF3C50FFCE03}"/>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CDD90E82-23AD-3E41-AFF1-C14FF24768FB}"/>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9" name="Text Placeholder 20">
            <a:extLst>
              <a:ext uri="{FF2B5EF4-FFF2-40B4-BE49-F238E27FC236}">
                <a16:creationId xmlns:a16="http://schemas.microsoft.com/office/drawing/2014/main" id="{CBE9FA2F-6631-2348-B5E8-CB1404D78870}"/>
              </a:ext>
            </a:extLst>
          </p:cNvPr>
          <p:cNvSpPr>
            <a:spLocks noGrp="1"/>
          </p:cNvSpPr>
          <p:nvPr>
            <p:ph type="body" sz="quarter" idx="17" hasCustomPrompt="1"/>
          </p:nvPr>
        </p:nvSpPr>
        <p:spPr>
          <a:xfrm>
            <a:off x="1273524" y="3878213"/>
            <a:ext cx="8988074"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grpSp>
        <p:nvGrpSpPr>
          <p:cNvPr id="30" name="Group 29">
            <a:extLst>
              <a:ext uri="{FF2B5EF4-FFF2-40B4-BE49-F238E27FC236}">
                <a16:creationId xmlns:a16="http://schemas.microsoft.com/office/drawing/2014/main" id="{2FEE898A-C06A-E34F-A972-FD3103EE3129}"/>
              </a:ext>
            </a:extLst>
          </p:cNvPr>
          <p:cNvGrpSpPr/>
          <p:nvPr/>
        </p:nvGrpSpPr>
        <p:grpSpPr>
          <a:xfrm>
            <a:off x="1194774" y="4768036"/>
            <a:ext cx="9298521" cy="863468"/>
            <a:chOff x="558331" y="2312872"/>
            <a:chExt cx="9298521" cy="756000"/>
          </a:xfrm>
        </p:grpSpPr>
        <p:sp>
          <p:nvSpPr>
            <p:cNvPr id="31" name="Rectangle 30">
              <a:extLst>
                <a:ext uri="{FF2B5EF4-FFF2-40B4-BE49-F238E27FC236}">
                  <a16:creationId xmlns:a16="http://schemas.microsoft.com/office/drawing/2014/main" id="{DA81EE83-C4CA-464B-95C0-5BA7057E8005}"/>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Connector 35">
              <a:extLst>
                <a:ext uri="{FF2B5EF4-FFF2-40B4-BE49-F238E27FC236}">
                  <a16:creationId xmlns:a16="http://schemas.microsoft.com/office/drawing/2014/main" id="{30F7734C-D965-A94B-944D-9E59C1C659A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7" name="Text Placeholder 20">
            <a:extLst>
              <a:ext uri="{FF2B5EF4-FFF2-40B4-BE49-F238E27FC236}">
                <a16:creationId xmlns:a16="http://schemas.microsoft.com/office/drawing/2014/main" id="{2E0AC1D5-7922-AD4E-9F76-639646857156}"/>
              </a:ext>
            </a:extLst>
          </p:cNvPr>
          <p:cNvSpPr>
            <a:spLocks noGrp="1"/>
          </p:cNvSpPr>
          <p:nvPr>
            <p:ph type="body" sz="quarter" idx="18" hasCustomPrompt="1"/>
          </p:nvPr>
        </p:nvSpPr>
        <p:spPr>
          <a:xfrm>
            <a:off x="1280575" y="4844289"/>
            <a:ext cx="8988074"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4" name="Title 1">
            <a:extLst>
              <a:ext uri="{FF2B5EF4-FFF2-40B4-BE49-F238E27FC236}">
                <a16:creationId xmlns:a16="http://schemas.microsoft.com/office/drawing/2014/main" id="{3D98C387-A2A9-7ECF-B58A-43D17D41B545}"/>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33" name="Bilde 3">
            <a:extLst>
              <a:ext uri="{FF2B5EF4-FFF2-40B4-BE49-F238E27FC236}">
                <a16:creationId xmlns:a16="http://schemas.microsoft.com/office/drawing/2014/main" id="{5A493850-0919-73DC-4660-940F19B6928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5" name="Date Placeholder 2">
            <a:extLst>
              <a:ext uri="{FF2B5EF4-FFF2-40B4-BE49-F238E27FC236}">
                <a16:creationId xmlns:a16="http://schemas.microsoft.com/office/drawing/2014/main" id="{CD3C5EDB-8EF3-32E0-4CB6-0B791BC79CDC}"/>
              </a:ext>
            </a:extLst>
          </p:cNvPr>
          <p:cNvSpPr>
            <a:spLocks noGrp="1"/>
          </p:cNvSpPr>
          <p:nvPr>
            <p:ph type="dt" sz="half" idx="19"/>
          </p:nvPr>
        </p:nvSpPr>
        <p:spPr>
          <a:xfrm>
            <a:off x="2303627" y="6492875"/>
            <a:ext cx="528585" cy="365125"/>
          </a:xfrm>
        </p:spPr>
        <p:txBody>
          <a:bodyPr/>
          <a:lstStyle/>
          <a:p>
            <a:fld id="{89EBDBA3-ED9C-5441-A1EE-6DCE277531F5}" type="datetimeFigureOut">
              <a:rPr lang="en-US" smtClean="0"/>
              <a:pPr/>
              <a:t>8/20/2024</a:t>
            </a:fld>
            <a:endParaRPr lang="en-US"/>
          </a:p>
        </p:txBody>
      </p:sp>
      <p:sp>
        <p:nvSpPr>
          <p:cNvPr id="38" name="Footer Placeholder 3">
            <a:extLst>
              <a:ext uri="{FF2B5EF4-FFF2-40B4-BE49-F238E27FC236}">
                <a16:creationId xmlns:a16="http://schemas.microsoft.com/office/drawing/2014/main" id="{14E8C576-3009-3581-06ED-C2DA5B0955E0}"/>
              </a:ext>
            </a:extLst>
          </p:cNvPr>
          <p:cNvSpPr>
            <a:spLocks noGrp="1"/>
          </p:cNvSpPr>
          <p:nvPr>
            <p:ph type="ftr" sz="quarter" idx="20"/>
          </p:nvPr>
        </p:nvSpPr>
        <p:spPr>
          <a:xfrm>
            <a:off x="175116" y="6492875"/>
            <a:ext cx="2107096" cy="365125"/>
          </a:xfrm>
        </p:spPr>
        <p:txBody>
          <a:bodyPr/>
          <a:lstStyle/>
          <a:p>
            <a:r>
              <a:rPr lang="en-US"/>
              <a:t>© </a:t>
            </a:r>
            <a:r>
              <a:rPr lang="en-US" err="1"/>
              <a:t>StrongPoint</a:t>
            </a:r>
            <a:r>
              <a:rPr lang="en-US"/>
              <a:t> 2022. All rights reserved.   |</a:t>
            </a:r>
          </a:p>
        </p:txBody>
      </p:sp>
      <p:sp>
        <p:nvSpPr>
          <p:cNvPr id="39" name="Slide Number Placeholder 4">
            <a:extLst>
              <a:ext uri="{FF2B5EF4-FFF2-40B4-BE49-F238E27FC236}">
                <a16:creationId xmlns:a16="http://schemas.microsoft.com/office/drawing/2014/main" id="{BCCE60F8-4242-58AF-4166-CEDF8927560F}"/>
              </a:ext>
            </a:extLst>
          </p:cNvPr>
          <p:cNvSpPr>
            <a:spLocks noGrp="1"/>
          </p:cNvSpPr>
          <p:nvPr>
            <p:ph type="sldNum" sz="quarter" idx="21"/>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5094247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c">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87491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7" y="1980018"/>
            <a:ext cx="5629107" cy="37616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920607" y="2173414"/>
            <a:ext cx="5189583" cy="3418494"/>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cxnSp>
        <p:nvCxnSpPr>
          <p:cNvPr id="38" name="Straight Connector 37">
            <a:extLst>
              <a:ext uri="{FF2B5EF4-FFF2-40B4-BE49-F238E27FC236}">
                <a16:creationId xmlns:a16="http://schemas.microsoft.com/office/drawing/2014/main" id="{50BA0497-110B-3B4D-9B26-9615B579AE79}"/>
              </a:ext>
            </a:extLst>
          </p:cNvPr>
          <p:cNvCxnSpPr>
            <a:cxnSpLocks/>
          </p:cNvCxnSpPr>
          <p:nvPr/>
        </p:nvCxnSpPr>
        <p:spPr>
          <a:xfrm>
            <a:off x="6764797" y="1968295"/>
            <a:ext cx="0" cy="377341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C4E265A3-E59C-4BC7-CBFB-20219EE3DCE7}"/>
              </a:ext>
            </a:extLst>
          </p:cNvPr>
          <p:cNvSpPr>
            <a:spLocks noGrp="1"/>
          </p:cNvSpPr>
          <p:nvPr>
            <p:ph type="body" sz="quarter" idx="20"/>
          </p:nvPr>
        </p:nvSpPr>
        <p:spPr>
          <a:xfrm>
            <a:off x="6961306" y="2732861"/>
            <a:ext cx="4520840" cy="2859047"/>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Click to edit Master text styles</a:t>
            </a:r>
          </a:p>
        </p:txBody>
      </p:sp>
      <p:sp>
        <p:nvSpPr>
          <p:cNvPr id="39" name="Text Placeholder 20">
            <a:extLst>
              <a:ext uri="{FF2B5EF4-FFF2-40B4-BE49-F238E27FC236}">
                <a16:creationId xmlns:a16="http://schemas.microsoft.com/office/drawing/2014/main" id="{0620665D-BB66-4164-1374-A28DAD6902DA}"/>
              </a:ext>
            </a:extLst>
          </p:cNvPr>
          <p:cNvSpPr>
            <a:spLocks noGrp="1"/>
          </p:cNvSpPr>
          <p:nvPr>
            <p:ph type="body" sz="quarter" idx="28" hasCustomPrompt="1"/>
          </p:nvPr>
        </p:nvSpPr>
        <p:spPr>
          <a:xfrm>
            <a:off x="6961306" y="1986725"/>
            <a:ext cx="4520835" cy="629219"/>
          </a:xfrm>
          <a:prstGeom prst="rect">
            <a:avLst/>
          </a:prstGeom>
        </p:spPr>
        <p:txBody>
          <a:bodyPr anchor="t">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0" name="Title 1">
            <a:extLst>
              <a:ext uri="{FF2B5EF4-FFF2-40B4-BE49-F238E27FC236}">
                <a16:creationId xmlns:a16="http://schemas.microsoft.com/office/drawing/2014/main" id="{51F252D0-5EDA-7351-60DB-CC72A28D7A48}"/>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3" name="Bilde 3">
            <a:extLst>
              <a:ext uri="{FF2B5EF4-FFF2-40B4-BE49-F238E27FC236}">
                <a16:creationId xmlns:a16="http://schemas.microsoft.com/office/drawing/2014/main" id="{94408A45-5155-B048-3606-450C4DFB675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4" name="Date Placeholder 2">
            <a:extLst>
              <a:ext uri="{FF2B5EF4-FFF2-40B4-BE49-F238E27FC236}">
                <a16:creationId xmlns:a16="http://schemas.microsoft.com/office/drawing/2014/main" id="{3C9C0C90-AE8A-48F2-1EBA-7E27ACD7BA9F}"/>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15" name="Footer Placeholder 3">
            <a:extLst>
              <a:ext uri="{FF2B5EF4-FFF2-40B4-BE49-F238E27FC236}">
                <a16:creationId xmlns:a16="http://schemas.microsoft.com/office/drawing/2014/main" id="{E26AB59A-D5D9-39F1-D704-0AFB2691E90A}"/>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16" name="Slide Number Placeholder 4">
            <a:extLst>
              <a:ext uri="{FF2B5EF4-FFF2-40B4-BE49-F238E27FC236}">
                <a16:creationId xmlns:a16="http://schemas.microsoft.com/office/drawing/2014/main" id="{8FA05EBA-527C-CFCE-E5AE-2CA4589D5691}"/>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1776036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2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grpSp>
        <p:nvGrpSpPr>
          <p:cNvPr id="19" name="Group 18">
            <a:extLst>
              <a:ext uri="{FF2B5EF4-FFF2-40B4-BE49-F238E27FC236}">
                <a16:creationId xmlns:a16="http://schemas.microsoft.com/office/drawing/2014/main" id="{B2E54100-83F6-3840-9740-66AEE324BF5D}"/>
              </a:ext>
            </a:extLst>
          </p:cNvPr>
          <p:cNvGrpSpPr/>
          <p:nvPr/>
        </p:nvGrpSpPr>
        <p:grpSpPr>
          <a:xfrm>
            <a:off x="741777" y="1980018"/>
            <a:ext cx="5629107" cy="863468"/>
            <a:chOff x="558331" y="2312872"/>
            <a:chExt cx="9298521" cy="756000"/>
          </a:xfrm>
        </p:grpSpPr>
        <p:sp>
          <p:nvSpPr>
            <p:cNvPr id="20" name="Rectangle 19">
              <a:extLst>
                <a:ext uri="{FF2B5EF4-FFF2-40B4-BE49-F238E27FC236}">
                  <a16:creationId xmlns:a16="http://schemas.microsoft.com/office/drawing/2014/main" id="{68E4597E-D37D-6D49-A946-1A166440BD7E}"/>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7578" y="2056271"/>
            <a:ext cx="5189583" cy="710960"/>
          </a:xfrm>
          <a:prstGeom prst="rect">
            <a:avLst/>
          </a:prstGeom>
        </p:spPr>
        <p:txBody>
          <a:bodyPr anchor="ctr">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grpSp>
        <p:nvGrpSpPr>
          <p:cNvPr id="17" name="Group 16">
            <a:extLst>
              <a:ext uri="{FF2B5EF4-FFF2-40B4-BE49-F238E27FC236}">
                <a16:creationId xmlns:a16="http://schemas.microsoft.com/office/drawing/2014/main" id="{3C27F867-309D-EA46-8C0F-93359D32C6CB}"/>
              </a:ext>
            </a:extLst>
          </p:cNvPr>
          <p:cNvGrpSpPr/>
          <p:nvPr/>
        </p:nvGrpSpPr>
        <p:grpSpPr>
          <a:xfrm>
            <a:off x="741777" y="2946094"/>
            <a:ext cx="5629107" cy="863468"/>
            <a:chOff x="558331" y="2312872"/>
            <a:chExt cx="9298521" cy="756000"/>
          </a:xfrm>
        </p:grpSpPr>
        <p:sp>
          <p:nvSpPr>
            <p:cNvPr id="18" name="Rectangle 17">
              <a:extLst>
                <a:ext uri="{FF2B5EF4-FFF2-40B4-BE49-F238E27FC236}">
                  <a16:creationId xmlns:a16="http://schemas.microsoft.com/office/drawing/2014/main" id="{99E19D7A-E6A9-054C-AB01-00DB0026F10D}"/>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82A16F31-8845-CC4C-9AD4-2BC372F49F8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5" name="Text Placeholder 20">
            <a:extLst>
              <a:ext uri="{FF2B5EF4-FFF2-40B4-BE49-F238E27FC236}">
                <a16:creationId xmlns:a16="http://schemas.microsoft.com/office/drawing/2014/main" id="{FC0F6143-34C5-944F-BEB1-CDAB609C4E6E}"/>
              </a:ext>
            </a:extLst>
          </p:cNvPr>
          <p:cNvSpPr>
            <a:spLocks noGrp="1"/>
          </p:cNvSpPr>
          <p:nvPr>
            <p:ph type="body" sz="quarter" idx="16" hasCustomPrompt="1"/>
          </p:nvPr>
        </p:nvSpPr>
        <p:spPr>
          <a:xfrm>
            <a:off x="827578" y="3022347"/>
            <a:ext cx="5189583" cy="710960"/>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grpSp>
        <p:nvGrpSpPr>
          <p:cNvPr id="26" name="Group 25">
            <a:extLst>
              <a:ext uri="{FF2B5EF4-FFF2-40B4-BE49-F238E27FC236}">
                <a16:creationId xmlns:a16="http://schemas.microsoft.com/office/drawing/2014/main" id="{B34B0E98-BDEB-A143-938B-9D5929ECC2A1}"/>
              </a:ext>
            </a:extLst>
          </p:cNvPr>
          <p:cNvGrpSpPr/>
          <p:nvPr/>
        </p:nvGrpSpPr>
        <p:grpSpPr>
          <a:xfrm>
            <a:off x="741777" y="3912170"/>
            <a:ext cx="5629107" cy="863468"/>
            <a:chOff x="558331" y="2312872"/>
            <a:chExt cx="9298521" cy="756000"/>
          </a:xfrm>
        </p:grpSpPr>
        <p:sp>
          <p:nvSpPr>
            <p:cNvPr id="27" name="Rectangle 26">
              <a:extLst>
                <a:ext uri="{FF2B5EF4-FFF2-40B4-BE49-F238E27FC236}">
                  <a16:creationId xmlns:a16="http://schemas.microsoft.com/office/drawing/2014/main" id="{154CD58A-8677-9545-B209-DF3C50FFCE03}"/>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CDD90E82-23AD-3E41-AFF1-C14FF24768FB}"/>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9" name="Text Placeholder 20">
            <a:extLst>
              <a:ext uri="{FF2B5EF4-FFF2-40B4-BE49-F238E27FC236}">
                <a16:creationId xmlns:a16="http://schemas.microsoft.com/office/drawing/2014/main" id="{CBE9FA2F-6631-2348-B5E8-CB1404D78870}"/>
              </a:ext>
            </a:extLst>
          </p:cNvPr>
          <p:cNvSpPr>
            <a:spLocks noGrp="1"/>
          </p:cNvSpPr>
          <p:nvPr>
            <p:ph type="body" sz="quarter" idx="17" hasCustomPrompt="1"/>
          </p:nvPr>
        </p:nvSpPr>
        <p:spPr>
          <a:xfrm>
            <a:off x="827578" y="3988423"/>
            <a:ext cx="5189583" cy="710960"/>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grpSp>
        <p:nvGrpSpPr>
          <p:cNvPr id="30" name="Group 29">
            <a:extLst>
              <a:ext uri="{FF2B5EF4-FFF2-40B4-BE49-F238E27FC236}">
                <a16:creationId xmlns:a16="http://schemas.microsoft.com/office/drawing/2014/main" id="{2FEE898A-C06A-E34F-A972-FD3103EE3129}"/>
              </a:ext>
            </a:extLst>
          </p:cNvPr>
          <p:cNvGrpSpPr/>
          <p:nvPr/>
        </p:nvGrpSpPr>
        <p:grpSpPr>
          <a:xfrm>
            <a:off x="748828" y="4878246"/>
            <a:ext cx="5629107" cy="863468"/>
            <a:chOff x="558331" y="2312872"/>
            <a:chExt cx="9298521" cy="756000"/>
          </a:xfrm>
        </p:grpSpPr>
        <p:sp>
          <p:nvSpPr>
            <p:cNvPr id="31" name="Rectangle 30">
              <a:extLst>
                <a:ext uri="{FF2B5EF4-FFF2-40B4-BE49-F238E27FC236}">
                  <a16:creationId xmlns:a16="http://schemas.microsoft.com/office/drawing/2014/main" id="{DA81EE83-C4CA-464B-95C0-5BA7057E8005}"/>
                </a:ext>
              </a:extLst>
            </p:cNvPr>
            <p:cNvSpPr/>
            <p:nvPr/>
          </p:nvSpPr>
          <p:spPr>
            <a:xfrm>
              <a:off x="558331" y="2312872"/>
              <a:ext cx="9298521" cy="756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Connector 35">
              <a:extLst>
                <a:ext uri="{FF2B5EF4-FFF2-40B4-BE49-F238E27FC236}">
                  <a16:creationId xmlns:a16="http://schemas.microsoft.com/office/drawing/2014/main" id="{30F7734C-D965-A94B-944D-9E59C1C659AF}"/>
                </a:ext>
              </a:extLst>
            </p:cNvPr>
            <p:cNvCxnSpPr>
              <a:cxnSpLocks/>
            </p:cNvCxnSpPr>
            <p:nvPr/>
          </p:nvCxnSpPr>
          <p:spPr>
            <a:xfrm>
              <a:off x="558333" y="2312872"/>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7" name="Text Placeholder 20">
            <a:extLst>
              <a:ext uri="{FF2B5EF4-FFF2-40B4-BE49-F238E27FC236}">
                <a16:creationId xmlns:a16="http://schemas.microsoft.com/office/drawing/2014/main" id="{2E0AC1D5-7922-AD4E-9F76-639646857156}"/>
              </a:ext>
            </a:extLst>
          </p:cNvPr>
          <p:cNvSpPr>
            <a:spLocks noGrp="1"/>
          </p:cNvSpPr>
          <p:nvPr>
            <p:ph type="body" sz="quarter" idx="18" hasCustomPrompt="1"/>
          </p:nvPr>
        </p:nvSpPr>
        <p:spPr>
          <a:xfrm>
            <a:off x="834629" y="4954499"/>
            <a:ext cx="5189583" cy="710960"/>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Add your content here</a:t>
            </a:r>
          </a:p>
        </p:txBody>
      </p:sp>
      <p:cxnSp>
        <p:nvCxnSpPr>
          <p:cNvPr id="38" name="Straight Connector 37">
            <a:extLst>
              <a:ext uri="{FF2B5EF4-FFF2-40B4-BE49-F238E27FC236}">
                <a16:creationId xmlns:a16="http://schemas.microsoft.com/office/drawing/2014/main" id="{50BA0497-110B-3B4D-9B26-9615B579AE79}"/>
              </a:ext>
            </a:extLst>
          </p:cNvPr>
          <p:cNvCxnSpPr>
            <a:cxnSpLocks/>
          </p:cNvCxnSpPr>
          <p:nvPr userDrawn="1"/>
        </p:nvCxnSpPr>
        <p:spPr>
          <a:xfrm>
            <a:off x="6764797" y="1968295"/>
            <a:ext cx="0" cy="377341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48532500-70E3-56B8-5408-3B19292DC938}"/>
              </a:ext>
            </a:extLst>
          </p:cNvPr>
          <p:cNvSpPr>
            <a:spLocks noGrp="1"/>
          </p:cNvSpPr>
          <p:nvPr>
            <p:ph type="body" sz="quarter" idx="20"/>
          </p:nvPr>
        </p:nvSpPr>
        <p:spPr>
          <a:xfrm>
            <a:off x="6961306" y="2732861"/>
            <a:ext cx="4520840" cy="2859047"/>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GB"/>
              <a:t>Click to edit Master text styles</a:t>
            </a:r>
          </a:p>
        </p:txBody>
      </p:sp>
      <p:sp>
        <p:nvSpPr>
          <p:cNvPr id="39" name="Text Placeholder 20">
            <a:extLst>
              <a:ext uri="{FF2B5EF4-FFF2-40B4-BE49-F238E27FC236}">
                <a16:creationId xmlns:a16="http://schemas.microsoft.com/office/drawing/2014/main" id="{70055568-A992-C0C3-247D-12598FCCA433}"/>
              </a:ext>
            </a:extLst>
          </p:cNvPr>
          <p:cNvSpPr>
            <a:spLocks noGrp="1"/>
          </p:cNvSpPr>
          <p:nvPr>
            <p:ph type="body" sz="quarter" idx="28" hasCustomPrompt="1"/>
          </p:nvPr>
        </p:nvSpPr>
        <p:spPr>
          <a:xfrm>
            <a:off x="6961306" y="1986725"/>
            <a:ext cx="4520835" cy="629219"/>
          </a:xfrm>
          <a:prstGeom prst="rect">
            <a:avLst/>
          </a:prstGeom>
        </p:spPr>
        <p:txBody>
          <a:bodyPr anchor="t">
            <a:normAutofit/>
          </a:bodyPr>
          <a:lstStyle>
            <a:lvl1pPr marL="0" indent="0">
              <a:buNone/>
              <a:defRPr sz="18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0" name="Title 1">
            <a:extLst>
              <a:ext uri="{FF2B5EF4-FFF2-40B4-BE49-F238E27FC236}">
                <a16:creationId xmlns:a16="http://schemas.microsoft.com/office/drawing/2014/main" id="{A6F30889-31DB-9A6C-379C-3B0014AD5F04}"/>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33" name="Bilde 3">
            <a:extLst>
              <a:ext uri="{FF2B5EF4-FFF2-40B4-BE49-F238E27FC236}">
                <a16:creationId xmlns:a16="http://schemas.microsoft.com/office/drawing/2014/main" id="{7F36F31A-B85F-ECCC-EE19-25B832DA9B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4" name="Date Placeholder 2">
            <a:extLst>
              <a:ext uri="{FF2B5EF4-FFF2-40B4-BE49-F238E27FC236}">
                <a16:creationId xmlns:a16="http://schemas.microsoft.com/office/drawing/2014/main" id="{11A5783A-4D89-B982-66F2-1C55D2A4FF15}"/>
              </a:ext>
            </a:extLst>
          </p:cNvPr>
          <p:cNvSpPr>
            <a:spLocks noGrp="1"/>
          </p:cNvSpPr>
          <p:nvPr>
            <p:ph type="dt" sz="half" idx="29"/>
          </p:nvPr>
        </p:nvSpPr>
        <p:spPr>
          <a:xfrm>
            <a:off x="2303627" y="6492875"/>
            <a:ext cx="528585" cy="365125"/>
          </a:xfrm>
        </p:spPr>
        <p:txBody>
          <a:bodyPr/>
          <a:lstStyle/>
          <a:p>
            <a:fld id="{89EBDBA3-ED9C-5441-A1EE-6DCE277531F5}" type="datetimeFigureOut">
              <a:rPr lang="en-US" smtClean="0"/>
              <a:pPr/>
              <a:t>8/20/2024</a:t>
            </a:fld>
            <a:endParaRPr lang="en-US"/>
          </a:p>
        </p:txBody>
      </p:sp>
      <p:sp>
        <p:nvSpPr>
          <p:cNvPr id="41" name="Footer Placeholder 3">
            <a:extLst>
              <a:ext uri="{FF2B5EF4-FFF2-40B4-BE49-F238E27FC236}">
                <a16:creationId xmlns:a16="http://schemas.microsoft.com/office/drawing/2014/main" id="{E43AA8C9-01E7-D4A7-9845-3A5D50C9A1D1}"/>
              </a:ext>
            </a:extLst>
          </p:cNvPr>
          <p:cNvSpPr>
            <a:spLocks noGrp="1"/>
          </p:cNvSpPr>
          <p:nvPr>
            <p:ph type="ftr" sz="quarter" idx="30"/>
          </p:nvPr>
        </p:nvSpPr>
        <p:spPr>
          <a:xfrm>
            <a:off x="175116" y="6492875"/>
            <a:ext cx="2107096" cy="365125"/>
          </a:xfrm>
        </p:spPr>
        <p:txBody>
          <a:bodyPr/>
          <a:lstStyle/>
          <a:p>
            <a:r>
              <a:rPr lang="en-US"/>
              <a:t>© </a:t>
            </a:r>
            <a:r>
              <a:rPr lang="en-US" err="1"/>
              <a:t>StrongPoint</a:t>
            </a:r>
            <a:r>
              <a:rPr lang="en-US"/>
              <a:t> 2022. All rights reserved.   |</a:t>
            </a:r>
          </a:p>
        </p:txBody>
      </p:sp>
      <p:sp>
        <p:nvSpPr>
          <p:cNvPr id="42" name="Slide Number Placeholder 4">
            <a:extLst>
              <a:ext uri="{FF2B5EF4-FFF2-40B4-BE49-F238E27FC236}">
                <a16:creationId xmlns:a16="http://schemas.microsoft.com/office/drawing/2014/main" id="{26E63F40-F6DA-BE09-86BD-4CDD968104DB}"/>
              </a:ext>
            </a:extLst>
          </p:cNvPr>
          <p:cNvSpPr>
            <a:spLocks noGrp="1"/>
          </p:cNvSpPr>
          <p:nvPr>
            <p:ph type="sldNum" sz="quarter" idx="31"/>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4600417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6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7" y="1606947"/>
            <a:ext cx="9063966"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41777"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84024" y="1850244"/>
            <a:ext cx="6770384" cy="3804619"/>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pic>
        <p:nvPicPr>
          <p:cNvPr id="34" name="Bilde 13" descr="Et bilde som inneholder innendørs, datamaskin, leke, bord&#10;&#10;Automatisk generert beskrivelse">
            <a:extLst>
              <a:ext uri="{FF2B5EF4-FFF2-40B4-BE49-F238E27FC236}">
                <a16:creationId xmlns:a16="http://schemas.microsoft.com/office/drawing/2014/main" id="{82ADC36C-C5B4-5446-B311-0999748BC0A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597963" y="2054672"/>
            <a:ext cx="4594037" cy="4254591"/>
          </a:xfrm>
          <a:prstGeom prst="rect">
            <a:avLst/>
          </a:prstGeom>
        </p:spPr>
      </p:pic>
      <p:sp>
        <p:nvSpPr>
          <p:cNvPr id="9" name="Title 1">
            <a:extLst>
              <a:ext uri="{FF2B5EF4-FFF2-40B4-BE49-F238E27FC236}">
                <a16:creationId xmlns:a16="http://schemas.microsoft.com/office/drawing/2014/main" id="{E57EA93B-AC9E-03E8-D91C-19CF2DA6B9CC}"/>
              </a:ext>
            </a:extLst>
          </p:cNvPr>
          <p:cNvSpPr>
            <a:spLocks noGrp="1"/>
          </p:cNvSpPr>
          <p:nvPr>
            <p:ph type="title" hasCustomPrompt="1"/>
          </p:nvPr>
        </p:nvSpPr>
        <p:spPr>
          <a:xfrm>
            <a:off x="741777" y="365126"/>
            <a:ext cx="10671895" cy="1270244"/>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2" name="Bilde 3">
            <a:extLst>
              <a:ext uri="{FF2B5EF4-FFF2-40B4-BE49-F238E27FC236}">
                <a16:creationId xmlns:a16="http://schemas.microsoft.com/office/drawing/2014/main" id="{63E4AE8C-7FC8-B6DB-17CB-A62427F9C80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3" name="Date Placeholder 2">
            <a:extLst>
              <a:ext uri="{FF2B5EF4-FFF2-40B4-BE49-F238E27FC236}">
                <a16:creationId xmlns:a16="http://schemas.microsoft.com/office/drawing/2014/main" id="{601DC5CA-617F-ECD5-4035-EC54D988924A}"/>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14" name="Footer Placeholder 3">
            <a:extLst>
              <a:ext uri="{FF2B5EF4-FFF2-40B4-BE49-F238E27FC236}">
                <a16:creationId xmlns:a16="http://schemas.microsoft.com/office/drawing/2014/main" id="{D69B4FC8-AC6B-54DD-EAE6-85D02AD3BF20}"/>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15" name="Slide Number Placeholder 4">
            <a:extLst>
              <a:ext uri="{FF2B5EF4-FFF2-40B4-BE49-F238E27FC236}">
                <a16:creationId xmlns:a16="http://schemas.microsoft.com/office/drawing/2014/main" id="{BBE056E2-6CC0-262C-7F2E-B95D44CED5BA}"/>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8746913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9_Custom Layout">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038D6646-E4D2-DD44-A139-EB42716908C7}"/>
              </a:ext>
            </a:extLst>
          </p:cNvPr>
          <p:cNvSpPr>
            <a:spLocks noGrp="1"/>
          </p:cNvSpPr>
          <p:nvPr>
            <p:ph type="pic" sz="quarter" idx="16"/>
          </p:nvPr>
        </p:nvSpPr>
        <p:spPr>
          <a:xfrm>
            <a:off x="6678514" y="1635371"/>
            <a:ext cx="4735158" cy="4226168"/>
          </a:xfrm>
          <a:prstGeom prst="rect">
            <a:avLst/>
          </a:prstGeom>
        </p:spPr>
        <p:txBody>
          <a:bodyPr anchor="ctr"/>
          <a:lstStyle>
            <a:lvl1pPr marL="0" indent="0" algn="ctr">
              <a:buNone/>
              <a:defRPr b="0" i="0">
                <a:solidFill>
                  <a:schemeClr val="accent1"/>
                </a:solidFill>
                <a:latin typeface="Helvetica Light" panose="020B0403020202020204" pitchFamily="34" charset="0"/>
              </a:defRPr>
            </a:lvl1pPr>
          </a:lstStyle>
          <a:p>
            <a:r>
              <a:rPr lang="en-GB"/>
              <a:t>Click icon to add picture</a:t>
            </a:r>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8" y="1606947"/>
            <a:ext cx="5850934"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41777"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7579" y="1699192"/>
            <a:ext cx="5674814" cy="4068562"/>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 name="Title 1">
            <a:extLst>
              <a:ext uri="{FF2B5EF4-FFF2-40B4-BE49-F238E27FC236}">
                <a16:creationId xmlns:a16="http://schemas.microsoft.com/office/drawing/2014/main" id="{1E4EE4EB-D8A2-2E64-5C7C-82412718B6BF}"/>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11" name="Date Placeholder 2">
            <a:extLst>
              <a:ext uri="{FF2B5EF4-FFF2-40B4-BE49-F238E27FC236}">
                <a16:creationId xmlns:a16="http://schemas.microsoft.com/office/drawing/2014/main" id="{7F4BF283-092E-C00E-953E-068744DAAA49}"/>
              </a:ext>
            </a:extLst>
          </p:cNvPr>
          <p:cNvSpPr>
            <a:spLocks noGrp="1"/>
          </p:cNvSpPr>
          <p:nvPr>
            <p:ph type="dt" sz="half" idx="17"/>
          </p:nvPr>
        </p:nvSpPr>
        <p:spPr>
          <a:xfrm>
            <a:off x="2303627" y="6492875"/>
            <a:ext cx="528585" cy="365125"/>
          </a:xfrm>
        </p:spPr>
        <p:txBody>
          <a:bodyPr/>
          <a:lstStyle/>
          <a:p>
            <a:fld id="{89EBDBA3-ED9C-5441-A1EE-6DCE277531F5}" type="datetimeFigureOut">
              <a:rPr lang="en-US" smtClean="0"/>
              <a:pPr/>
              <a:t>8/20/2024</a:t>
            </a:fld>
            <a:endParaRPr lang="en-US"/>
          </a:p>
        </p:txBody>
      </p:sp>
      <p:sp>
        <p:nvSpPr>
          <p:cNvPr id="12" name="Footer Placeholder 3">
            <a:extLst>
              <a:ext uri="{FF2B5EF4-FFF2-40B4-BE49-F238E27FC236}">
                <a16:creationId xmlns:a16="http://schemas.microsoft.com/office/drawing/2014/main" id="{2D503D9A-B423-C00F-2CB6-41A20DB6790B}"/>
              </a:ext>
            </a:extLst>
          </p:cNvPr>
          <p:cNvSpPr>
            <a:spLocks noGrp="1"/>
          </p:cNvSpPr>
          <p:nvPr>
            <p:ph type="ftr" sz="quarter" idx="18"/>
          </p:nvPr>
        </p:nvSpPr>
        <p:spPr>
          <a:xfrm>
            <a:off x="175116" y="6492875"/>
            <a:ext cx="2107096" cy="365125"/>
          </a:xfrm>
        </p:spPr>
        <p:txBody>
          <a:bodyPr/>
          <a:lstStyle/>
          <a:p>
            <a:r>
              <a:rPr lang="en-US"/>
              <a:t>© </a:t>
            </a:r>
            <a:r>
              <a:rPr lang="en-US" err="1"/>
              <a:t>StrongPoint</a:t>
            </a:r>
            <a:r>
              <a:rPr lang="en-US"/>
              <a:t> 2022. All rights reserved.   |</a:t>
            </a:r>
          </a:p>
        </p:txBody>
      </p:sp>
      <p:sp>
        <p:nvSpPr>
          <p:cNvPr id="13" name="Slide Number Placeholder 4">
            <a:extLst>
              <a:ext uri="{FF2B5EF4-FFF2-40B4-BE49-F238E27FC236}">
                <a16:creationId xmlns:a16="http://schemas.microsoft.com/office/drawing/2014/main" id="{E31BBD39-6B1B-18BF-C0CF-DAD8F2A95290}"/>
              </a:ext>
            </a:extLst>
          </p:cNvPr>
          <p:cNvSpPr>
            <a:spLocks noGrp="1"/>
          </p:cNvSpPr>
          <p:nvPr>
            <p:ph type="sldNum" sz="quarter" idx="19"/>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40669646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4_Custom Layout">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038D6646-E4D2-DD44-A139-EB42716908C7}"/>
              </a:ext>
            </a:extLst>
          </p:cNvPr>
          <p:cNvSpPr>
            <a:spLocks noGrp="1"/>
          </p:cNvSpPr>
          <p:nvPr>
            <p:ph type="pic" sz="quarter" idx="16"/>
          </p:nvPr>
        </p:nvSpPr>
        <p:spPr>
          <a:xfrm>
            <a:off x="4674124" y="1635371"/>
            <a:ext cx="6739548" cy="4226168"/>
          </a:xfrm>
          <a:prstGeom prst="rect">
            <a:avLst/>
          </a:prstGeom>
        </p:spPr>
        <p:txBody>
          <a:bodyPr anchor="ctr"/>
          <a:lstStyle>
            <a:lvl1pPr marL="0" indent="0" algn="ctr">
              <a:buNone/>
              <a:defRPr b="0" i="0">
                <a:solidFill>
                  <a:schemeClr val="accent1"/>
                </a:solidFill>
                <a:latin typeface="Helvetica Light" panose="020B0403020202020204" pitchFamily="34" charset="0"/>
              </a:defRPr>
            </a:lvl1pPr>
          </a:lstStyle>
          <a:p>
            <a:r>
              <a:rPr lang="en-GB"/>
              <a:t>Click icon to add picture</a:t>
            </a:r>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8" y="1606947"/>
            <a:ext cx="3846545"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41777"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7579" y="1699192"/>
            <a:ext cx="3597460" cy="4068562"/>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 name="Title 1">
            <a:extLst>
              <a:ext uri="{FF2B5EF4-FFF2-40B4-BE49-F238E27FC236}">
                <a16:creationId xmlns:a16="http://schemas.microsoft.com/office/drawing/2014/main" id="{1E4EE4EB-D8A2-2E64-5C7C-82412718B6BF}"/>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2" name="Bilde 3">
            <a:extLst>
              <a:ext uri="{FF2B5EF4-FFF2-40B4-BE49-F238E27FC236}">
                <a16:creationId xmlns:a16="http://schemas.microsoft.com/office/drawing/2014/main" id="{0327E981-B6C3-CD4C-0EF0-126DBFD1988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3" name="Date Placeholder 2">
            <a:extLst>
              <a:ext uri="{FF2B5EF4-FFF2-40B4-BE49-F238E27FC236}">
                <a16:creationId xmlns:a16="http://schemas.microsoft.com/office/drawing/2014/main" id="{DC9AEC75-ADB7-C1ED-BDB5-2C7758DE421F}"/>
              </a:ext>
            </a:extLst>
          </p:cNvPr>
          <p:cNvSpPr>
            <a:spLocks noGrp="1"/>
          </p:cNvSpPr>
          <p:nvPr>
            <p:ph type="dt" sz="half" idx="17"/>
          </p:nvPr>
        </p:nvSpPr>
        <p:spPr>
          <a:xfrm>
            <a:off x="2303627" y="6492875"/>
            <a:ext cx="528585" cy="365125"/>
          </a:xfrm>
        </p:spPr>
        <p:txBody>
          <a:bodyPr/>
          <a:lstStyle/>
          <a:p>
            <a:fld id="{89EBDBA3-ED9C-5441-A1EE-6DCE277531F5}" type="datetimeFigureOut">
              <a:rPr lang="en-US" smtClean="0"/>
              <a:pPr/>
              <a:t>8/20/2024</a:t>
            </a:fld>
            <a:endParaRPr lang="en-US"/>
          </a:p>
        </p:txBody>
      </p:sp>
      <p:sp>
        <p:nvSpPr>
          <p:cNvPr id="14" name="Footer Placeholder 3">
            <a:extLst>
              <a:ext uri="{FF2B5EF4-FFF2-40B4-BE49-F238E27FC236}">
                <a16:creationId xmlns:a16="http://schemas.microsoft.com/office/drawing/2014/main" id="{737E5B01-DCF8-EE11-DF60-D46A5131CF87}"/>
              </a:ext>
            </a:extLst>
          </p:cNvPr>
          <p:cNvSpPr>
            <a:spLocks noGrp="1"/>
          </p:cNvSpPr>
          <p:nvPr>
            <p:ph type="ftr" sz="quarter" idx="18"/>
          </p:nvPr>
        </p:nvSpPr>
        <p:spPr>
          <a:xfrm>
            <a:off x="175116" y="6492875"/>
            <a:ext cx="2107096" cy="365125"/>
          </a:xfrm>
        </p:spPr>
        <p:txBody>
          <a:bodyPr/>
          <a:lstStyle/>
          <a:p>
            <a:r>
              <a:rPr lang="en-US"/>
              <a:t>© </a:t>
            </a:r>
            <a:r>
              <a:rPr lang="en-US" err="1"/>
              <a:t>StrongPoint</a:t>
            </a:r>
            <a:r>
              <a:rPr lang="en-US"/>
              <a:t> 2022. All rights reserved.   |</a:t>
            </a:r>
          </a:p>
        </p:txBody>
      </p:sp>
      <p:sp>
        <p:nvSpPr>
          <p:cNvPr id="15" name="Slide Number Placeholder 4">
            <a:extLst>
              <a:ext uri="{FF2B5EF4-FFF2-40B4-BE49-F238E27FC236}">
                <a16:creationId xmlns:a16="http://schemas.microsoft.com/office/drawing/2014/main" id="{6DBBC043-34AD-A698-EA2B-CF6680B72D21}"/>
              </a:ext>
            </a:extLst>
          </p:cNvPr>
          <p:cNvSpPr>
            <a:spLocks noGrp="1"/>
          </p:cNvSpPr>
          <p:nvPr>
            <p:ph type="sldNum" sz="quarter" idx="19"/>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1575000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5_Custom Layout">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038D6646-E4D2-DD44-A139-EB42716908C7}"/>
              </a:ext>
            </a:extLst>
          </p:cNvPr>
          <p:cNvSpPr>
            <a:spLocks noGrp="1"/>
          </p:cNvSpPr>
          <p:nvPr>
            <p:ph type="pic" sz="quarter" idx="16"/>
          </p:nvPr>
        </p:nvSpPr>
        <p:spPr>
          <a:xfrm>
            <a:off x="8271590" y="1635371"/>
            <a:ext cx="3142081" cy="4226168"/>
          </a:xfrm>
          <a:prstGeom prst="rect">
            <a:avLst/>
          </a:prstGeom>
        </p:spPr>
        <p:txBody>
          <a:bodyPr anchor="ctr"/>
          <a:lstStyle>
            <a:lvl1pPr marL="0" indent="0" algn="ctr">
              <a:buNone/>
              <a:defRPr b="0" i="0">
                <a:solidFill>
                  <a:schemeClr val="accent1"/>
                </a:solidFill>
                <a:latin typeface="Helvetica Light" panose="020B0403020202020204" pitchFamily="34" charset="0"/>
              </a:defRPr>
            </a:lvl1pPr>
          </a:lstStyle>
          <a:p>
            <a:r>
              <a:rPr lang="en-GB"/>
              <a:t>Click icon to add picture</a:t>
            </a:r>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41778" y="1606947"/>
            <a:ext cx="3896132"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41777"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7578" y="1699192"/>
            <a:ext cx="3680615" cy="4068562"/>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 name="Title 1">
            <a:extLst>
              <a:ext uri="{FF2B5EF4-FFF2-40B4-BE49-F238E27FC236}">
                <a16:creationId xmlns:a16="http://schemas.microsoft.com/office/drawing/2014/main" id="{1E4EE4EB-D8A2-2E64-5C7C-82412718B6BF}"/>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11" name="Picture Placeholder 3">
            <a:extLst>
              <a:ext uri="{FF2B5EF4-FFF2-40B4-BE49-F238E27FC236}">
                <a16:creationId xmlns:a16="http://schemas.microsoft.com/office/drawing/2014/main" id="{3CC9F20E-3553-313F-ADE6-7FAB12C7B417}"/>
              </a:ext>
            </a:extLst>
          </p:cNvPr>
          <p:cNvSpPr>
            <a:spLocks noGrp="1"/>
          </p:cNvSpPr>
          <p:nvPr>
            <p:ph type="pic" sz="quarter" idx="17"/>
          </p:nvPr>
        </p:nvSpPr>
        <p:spPr>
          <a:xfrm>
            <a:off x="4764746" y="1635371"/>
            <a:ext cx="3380014" cy="4226168"/>
          </a:xfrm>
          <a:prstGeom prst="rect">
            <a:avLst/>
          </a:prstGeom>
        </p:spPr>
        <p:txBody>
          <a:bodyPr anchor="ctr"/>
          <a:lstStyle>
            <a:lvl1pPr marL="0" indent="0" algn="ctr">
              <a:buNone/>
              <a:defRPr b="0" i="0">
                <a:solidFill>
                  <a:schemeClr val="accent1"/>
                </a:solidFill>
                <a:latin typeface="Helvetica Light" panose="020B0403020202020204" pitchFamily="34" charset="0"/>
              </a:defRPr>
            </a:lvl1pPr>
          </a:lstStyle>
          <a:p>
            <a:r>
              <a:rPr lang="en-GB"/>
              <a:t>Click icon to add picture</a:t>
            </a:r>
          </a:p>
        </p:txBody>
      </p:sp>
      <p:pic>
        <p:nvPicPr>
          <p:cNvPr id="13" name="Bilde 3">
            <a:extLst>
              <a:ext uri="{FF2B5EF4-FFF2-40B4-BE49-F238E27FC236}">
                <a16:creationId xmlns:a16="http://schemas.microsoft.com/office/drawing/2014/main" id="{5F1C00DC-FD44-9124-9788-8918143E08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4" name="Date Placeholder 2">
            <a:extLst>
              <a:ext uri="{FF2B5EF4-FFF2-40B4-BE49-F238E27FC236}">
                <a16:creationId xmlns:a16="http://schemas.microsoft.com/office/drawing/2014/main" id="{E7111538-68AD-F0AD-97EF-F3CFFC032DA1}"/>
              </a:ext>
            </a:extLst>
          </p:cNvPr>
          <p:cNvSpPr>
            <a:spLocks noGrp="1"/>
          </p:cNvSpPr>
          <p:nvPr>
            <p:ph type="dt" sz="half" idx="18"/>
          </p:nvPr>
        </p:nvSpPr>
        <p:spPr>
          <a:xfrm>
            <a:off x="2303627" y="6492875"/>
            <a:ext cx="528585" cy="365125"/>
          </a:xfrm>
        </p:spPr>
        <p:txBody>
          <a:bodyPr/>
          <a:lstStyle/>
          <a:p>
            <a:fld id="{89EBDBA3-ED9C-5441-A1EE-6DCE277531F5}" type="datetimeFigureOut">
              <a:rPr lang="en-US" smtClean="0"/>
              <a:pPr/>
              <a:t>8/20/2024</a:t>
            </a:fld>
            <a:endParaRPr lang="en-US"/>
          </a:p>
        </p:txBody>
      </p:sp>
      <p:sp>
        <p:nvSpPr>
          <p:cNvPr id="15" name="Footer Placeholder 3">
            <a:extLst>
              <a:ext uri="{FF2B5EF4-FFF2-40B4-BE49-F238E27FC236}">
                <a16:creationId xmlns:a16="http://schemas.microsoft.com/office/drawing/2014/main" id="{01142E11-F214-36F3-8C13-CB4805DA263C}"/>
              </a:ext>
            </a:extLst>
          </p:cNvPr>
          <p:cNvSpPr>
            <a:spLocks noGrp="1"/>
          </p:cNvSpPr>
          <p:nvPr>
            <p:ph type="ftr" sz="quarter" idx="19"/>
          </p:nvPr>
        </p:nvSpPr>
        <p:spPr>
          <a:xfrm>
            <a:off x="175116" y="6492875"/>
            <a:ext cx="2107096" cy="365125"/>
          </a:xfrm>
        </p:spPr>
        <p:txBody>
          <a:bodyPr/>
          <a:lstStyle/>
          <a:p>
            <a:r>
              <a:rPr lang="en-US"/>
              <a:t>© </a:t>
            </a:r>
            <a:r>
              <a:rPr lang="en-US" err="1"/>
              <a:t>StrongPoint</a:t>
            </a:r>
            <a:r>
              <a:rPr lang="en-US"/>
              <a:t> 2022. All rights reserved.   |</a:t>
            </a:r>
          </a:p>
        </p:txBody>
      </p:sp>
      <p:sp>
        <p:nvSpPr>
          <p:cNvPr id="16" name="Slide Number Placeholder 4">
            <a:extLst>
              <a:ext uri="{FF2B5EF4-FFF2-40B4-BE49-F238E27FC236}">
                <a16:creationId xmlns:a16="http://schemas.microsoft.com/office/drawing/2014/main" id="{6FB8189E-9F09-A4BD-84B5-48D52AF3348E}"/>
              </a:ext>
            </a:extLst>
          </p:cNvPr>
          <p:cNvSpPr>
            <a:spLocks noGrp="1"/>
          </p:cNvSpPr>
          <p:nvPr>
            <p:ph type="sldNum" sz="quarter" idx="20"/>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17489161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0" name="Rectangle 19">
            <a:extLst>
              <a:ext uri="{FF2B5EF4-FFF2-40B4-BE49-F238E27FC236}">
                <a16:creationId xmlns:a16="http://schemas.microsoft.com/office/drawing/2014/main" id="{68E4597E-D37D-6D49-A946-1A166440BD7E}"/>
              </a:ext>
            </a:extLst>
          </p:cNvPr>
          <p:cNvSpPr/>
          <p:nvPr/>
        </p:nvSpPr>
        <p:spPr>
          <a:xfrm>
            <a:off x="737741" y="1606947"/>
            <a:ext cx="10630718" cy="425459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A505E10A-22B6-0947-B06F-EE69F6AB232A}"/>
              </a:ext>
            </a:extLst>
          </p:cNvPr>
          <p:cNvCxnSpPr>
            <a:cxnSpLocks/>
          </p:cNvCxnSpPr>
          <p:nvPr/>
        </p:nvCxnSpPr>
        <p:spPr>
          <a:xfrm flipH="1">
            <a:off x="737741" y="1606947"/>
            <a:ext cx="1" cy="42545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20">
            <a:extLst>
              <a:ext uri="{FF2B5EF4-FFF2-40B4-BE49-F238E27FC236}">
                <a16:creationId xmlns:a16="http://schemas.microsoft.com/office/drawing/2014/main" id="{5432925F-E679-EB44-AD23-A5FD4B909954}"/>
              </a:ext>
            </a:extLst>
          </p:cNvPr>
          <p:cNvSpPr>
            <a:spLocks noGrp="1"/>
          </p:cNvSpPr>
          <p:nvPr>
            <p:ph type="body" sz="quarter" idx="15" hasCustomPrompt="1"/>
          </p:nvPr>
        </p:nvSpPr>
        <p:spPr>
          <a:xfrm>
            <a:off x="823542" y="1699192"/>
            <a:ext cx="10338438" cy="4068562"/>
          </a:xfrm>
          <a:prstGeom prst="rect">
            <a:avLst/>
          </a:prstGeom>
        </p:spPr>
        <p:txBody>
          <a:bodyPr anchor="t">
            <a:noAutofit/>
          </a:bodyPr>
          <a:lstStyle>
            <a:lvl1pPr marL="228600" indent="-228600">
              <a:defRPr lang="en-GB" sz="1600" b="0" i="0" kern="1200" dirty="0">
                <a:solidFill>
                  <a:schemeClr val="accent3"/>
                </a:solidFill>
                <a:latin typeface="Helvetica Light" panose="020B0403020202020204" pitchFamily="34" charset="0"/>
                <a:ea typeface="+mn-ea"/>
                <a:cs typeface="Arial" panose="020B0604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8" name="Title 1">
            <a:extLst>
              <a:ext uri="{FF2B5EF4-FFF2-40B4-BE49-F238E27FC236}">
                <a16:creationId xmlns:a16="http://schemas.microsoft.com/office/drawing/2014/main" id="{750EA6DB-7BE5-46DA-7D39-CE1BBA16615F}"/>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11" name="Bilde 3">
            <a:extLst>
              <a:ext uri="{FF2B5EF4-FFF2-40B4-BE49-F238E27FC236}">
                <a16:creationId xmlns:a16="http://schemas.microsoft.com/office/drawing/2014/main" id="{30247BF6-FA19-7552-D334-E3C9D9D6DF4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12" name="Date Placeholder 2">
            <a:extLst>
              <a:ext uri="{FF2B5EF4-FFF2-40B4-BE49-F238E27FC236}">
                <a16:creationId xmlns:a16="http://schemas.microsoft.com/office/drawing/2014/main" id="{8A1D8C01-17C6-A91E-6D56-51CD8050B615}"/>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13" name="Footer Placeholder 3">
            <a:extLst>
              <a:ext uri="{FF2B5EF4-FFF2-40B4-BE49-F238E27FC236}">
                <a16:creationId xmlns:a16="http://schemas.microsoft.com/office/drawing/2014/main" id="{6B02DFB0-2518-39B7-471B-1FD6736FDFAA}"/>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14" name="Slide Number Placeholder 4">
            <a:extLst>
              <a:ext uri="{FF2B5EF4-FFF2-40B4-BE49-F238E27FC236}">
                <a16:creationId xmlns:a16="http://schemas.microsoft.com/office/drawing/2014/main" id="{A7D45FAD-36C9-58C2-B818-7F227551A5A8}"/>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9595618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1448411" y="237532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779147" y="1485777"/>
            <a:ext cx="2938011" cy="605707"/>
          </a:xfrm>
          <a:prstGeom prst="rect">
            <a:avLst/>
          </a:prstGeom>
        </p:spPr>
        <p:txBody>
          <a:bodyPr anchor="b">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529693" y="2380462"/>
            <a:ext cx="2187469"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6" name="Oval 5">
            <a:extLst>
              <a:ext uri="{FF2B5EF4-FFF2-40B4-BE49-F238E27FC236}">
                <a16:creationId xmlns:a16="http://schemas.microsoft.com/office/drawing/2014/main" id="{8DBB2A8D-B9A7-F046-8E3F-1F0126DB7CCD}"/>
              </a:ext>
            </a:extLst>
          </p:cNvPr>
          <p:cNvSpPr/>
          <p:nvPr userDrawn="1"/>
        </p:nvSpPr>
        <p:spPr>
          <a:xfrm>
            <a:off x="773262" y="2507190"/>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7" name="Straight Connector 46">
            <a:extLst>
              <a:ext uri="{FF2B5EF4-FFF2-40B4-BE49-F238E27FC236}">
                <a16:creationId xmlns:a16="http://schemas.microsoft.com/office/drawing/2014/main" id="{9319F917-FF3E-6F4A-8DED-9BD99CAF6CEC}"/>
              </a:ext>
            </a:extLst>
          </p:cNvPr>
          <p:cNvCxnSpPr>
            <a:cxnSpLocks/>
          </p:cNvCxnSpPr>
          <p:nvPr userDrawn="1"/>
        </p:nvCxnSpPr>
        <p:spPr>
          <a:xfrm>
            <a:off x="5202442" y="237532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8" name="Text Placeholder 20">
            <a:extLst>
              <a:ext uri="{FF2B5EF4-FFF2-40B4-BE49-F238E27FC236}">
                <a16:creationId xmlns:a16="http://schemas.microsoft.com/office/drawing/2014/main" id="{90110F60-89B8-F44F-86DF-237FA9EDC86F}"/>
              </a:ext>
            </a:extLst>
          </p:cNvPr>
          <p:cNvSpPr>
            <a:spLocks noGrp="1"/>
          </p:cNvSpPr>
          <p:nvPr>
            <p:ph type="body" sz="quarter" idx="31" hasCustomPrompt="1"/>
          </p:nvPr>
        </p:nvSpPr>
        <p:spPr>
          <a:xfrm>
            <a:off x="4533178" y="1485777"/>
            <a:ext cx="2938003" cy="605707"/>
          </a:xfrm>
          <a:prstGeom prst="rect">
            <a:avLst/>
          </a:prstGeom>
        </p:spPr>
        <p:txBody>
          <a:bodyPr anchor="b">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49" name="Text Placeholder 20">
            <a:extLst>
              <a:ext uri="{FF2B5EF4-FFF2-40B4-BE49-F238E27FC236}">
                <a16:creationId xmlns:a16="http://schemas.microsoft.com/office/drawing/2014/main" id="{8F9630DC-CA99-8F43-AA5B-00980E185C7F}"/>
              </a:ext>
            </a:extLst>
          </p:cNvPr>
          <p:cNvSpPr>
            <a:spLocks noGrp="1"/>
          </p:cNvSpPr>
          <p:nvPr>
            <p:ph type="body" sz="quarter" idx="32" hasCustomPrompt="1"/>
          </p:nvPr>
        </p:nvSpPr>
        <p:spPr>
          <a:xfrm>
            <a:off x="5283725" y="2380462"/>
            <a:ext cx="2187470"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3" name="Oval 52">
            <a:extLst>
              <a:ext uri="{FF2B5EF4-FFF2-40B4-BE49-F238E27FC236}">
                <a16:creationId xmlns:a16="http://schemas.microsoft.com/office/drawing/2014/main" id="{75A3B9E5-08F2-814D-9BEE-10B6FF734436}"/>
              </a:ext>
            </a:extLst>
          </p:cNvPr>
          <p:cNvSpPr/>
          <p:nvPr userDrawn="1"/>
        </p:nvSpPr>
        <p:spPr>
          <a:xfrm>
            <a:off x="4527293" y="2507190"/>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4" name="Straight Connector 53">
            <a:extLst>
              <a:ext uri="{FF2B5EF4-FFF2-40B4-BE49-F238E27FC236}">
                <a16:creationId xmlns:a16="http://schemas.microsoft.com/office/drawing/2014/main" id="{E613A742-D6B6-E547-AFAD-DAF27F529BB3}"/>
              </a:ext>
            </a:extLst>
          </p:cNvPr>
          <p:cNvCxnSpPr>
            <a:cxnSpLocks/>
          </p:cNvCxnSpPr>
          <p:nvPr userDrawn="1"/>
        </p:nvCxnSpPr>
        <p:spPr>
          <a:xfrm>
            <a:off x="9035840" y="237532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Text Placeholder 20">
            <a:extLst>
              <a:ext uri="{FF2B5EF4-FFF2-40B4-BE49-F238E27FC236}">
                <a16:creationId xmlns:a16="http://schemas.microsoft.com/office/drawing/2014/main" id="{FDAE3801-F6B0-9040-BFF6-0C2A999B3008}"/>
              </a:ext>
            </a:extLst>
          </p:cNvPr>
          <p:cNvSpPr>
            <a:spLocks noGrp="1"/>
          </p:cNvSpPr>
          <p:nvPr>
            <p:ph type="body" sz="quarter" idx="33" hasCustomPrompt="1"/>
          </p:nvPr>
        </p:nvSpPr>
        <p:spPr>
          <a:xfrm>
            <a:off x="8366577" y="1485777"/>
            <a:ext cx="2938004" cy="605707"/>
          </a:xfrm>
          <a:prstGeom prst="rect">
            <a:avLst/>
          </a:prstGeom>
        </p:spPr>
        <p:txBody>
          <a:bodyPr anchor="b">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56" name="Text Placeholder 20">
            <a:extLst>
              <a:ext uri="{FF2B5EF4-FFF2-40B4-BE49-F238E27FC236}">
                <a16:creationId xmlns:a16="http://schemas.microsoft.com/office/drawing/2014/main" id="{AC05E92B-0A22-F74F-A0A0-37E184796253}"/>
              </a:ext>
            </a:extLst>
          </p:cNvPr>
          <p:cNvSpPr>
            <a:spLocks noGrp="1"/>
          </p:cNvSpPr>
          <p:nvPr>
            <p:ph type="body" sz="quarter" idx="34" hasCustomPrompt="1"/>
          </p:nvPr>
        </p:nvSpPr>
        <p:spPr>
          <a:xfrm>
            <a:off x="9117123" y="2380462"/>
            <a:ext cx="219359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57" name="Oval 56">
            <a:extLst>
              <a:ext uri="{FF2B5EF4-FFF2-40B4-BE49-F238E27FC236}">
                <a16:creationId xmlns:a16="http://schemas.microsoft.com/office/drawing/2014/main" id="{3413011A-3D10-E14D-B233-D9B81B58D993}"/>
              </a:ext>
            </a:extLst>
          </p:cNvPr>
          <p:cNvSpPr/>
          <p:nvPr userDrawn="1"/>
        </p:nvSpPr>
        <p:spPr>
          <a:xfrm>
            <a:off x="8360691" y="2507190"/>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8" name="Straight Connector 57">
            <a:extLst>
              <a:ext uri="{FF2B5EF4-FFF2-40B4-BE49-F238E27FC236}">
                <a16:creationId xmlns:a16="http://schemas.microsoft.com/office/drawing/2014/main" id="{14D0E40A-826D-D447-875C-24BB261305E6}"/>
              </a:ext>
            </a:extLst>
          </p:cNvPr>
          <p:cNvCxnSpPr>
            <a:cxnSpLocks/>
          </p:cNvCxnSpPr>
          <p:nvPr userDrawn="1"/>
        </p:nvCxnSpPr>
        <p:spPr>
          <a:xfrm>
            <a:off x="1448411" y="3304813"/>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Text Placeholder 20">
            <a:extLst>
              <a:ext uri="{FF2B5EF4-FFF2-40B4-BE49-F238E27FC236}">
                <a16:creationId xmlns:a16="http://schemas.microsoft.com/office/drawing/2014/main" id="{8F334DBA-DB16-D64B-BA18-F61C21BB3599}"/>
              </a:ext>
            </a:extLst>
          </p:cNvPr>
          <p:cNvSpPr>
            <a:spLocks noGrp="1"/>
          </p:cNvSpPr>
          <p:nvPr>
            <p:ph type="body" sz="quarter" idx="35" hasCustomPrompt="1"/>
          </p:nvPr>
        </p:nvSpPr>
        <p:spPr>
          <a:xfrm>
            <a:off x="1529693" y="3309950"/>
            <a:ext cx="2187469"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64" name="Oval 63">
            <a:extLst>
              <a:ext uri="{FF2B5EF4-FFF2-40B4-BE49-F238E27FC236}">
                <a16:creationId xmlns:a16="http://schemas.microsoft.com/office/drawing/2014/main" id="{B2763EBF-B45B-7F4C-9541-765EF4D57406}"/>
              </a:ext>
            </a:extLst>
          </p:cNvPr>
          <p:cNvSpPr/>
          <p:nvPr userDrawn="1"/>
        </p:nvSpPr>
        <p:spPr>
          <a:xfrm>
            <a:off x="773262" y="3436678"/>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5" name="Straight Connector 64">
            <a:extLst>
              <a:ext uri="{FF2B5EF4-FFF2-40B4-BE49-F238E27FC236}">
                <a16:creationId xmlns:a16="http://schemas.microsoft.com/office/drawing/2014/main" id="{39C8D00F-526F-4D4A-87BC-AE247330FE55}"/>
              </a:ext>
            </a:extLst>
          </p:cNvPr>
          <p:cNvCxnSpPr>
            <a:cxnSpLocks/>
          </p:cNvCxnSpPr>
          <p:nvPr userDrawn="1"/>
        </p:nvCxnSpPr>
        <p:spPr>
          <a:xfrm>
            <a:off x="5202442" y="3304813"/>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6" name="Text Placeholder 20">
            <a:extLst>
              <a:ext uri="{FF2B5EF4-FFF2-40B4-BE49-F238E27FC236}">
                <a16:creationId xmlns:a16="http://schemas.microsoft.com/office/drawing/2014/main" id="{D58352EA-9911-8742-A2FE-08E11A7F4AA9}"/>
              </a:ext>
            </a:extLst>
          </p:cNvPr>
          <p:cNvSpPr>
            <a:spLocks noGrp="1"/>
          </p:cNvSpPr>
          <p:nvPr>
            <p:ph type="body" sz="quarter" idx="36" hasCustomPrompt="1"/>
          </p:nvPr>
        </p:nvSpPr>
        <p:spPr>
          <a:xfrm>
            <a:off x="5283725" y="3309950"/>
            <a:ext cx="2187470"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67" name="Oval 66">
            <a:extLst>
              <a:ext uri="{FF2B5EF4-FFF2-40B4-BE49-F238E27FC236}">
                <a16:creationId xmlns:a16="http://schemas.microsoft.com/office/drawing/2014/main" id="{CC472FC1-B8F3-434A-899E-A519F9565D65}"/>
              </a:ext>
            </a:extLst>
          </p:cNvPr>
          <p:cNvSpPr/>
          <p:nvPr userDrawn="1"/>
        </p:nvSpPr>
        <p:spPr>
          <a:xfrm>
            <a:off x="4527293" y="3436678"/>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8" name="Straight Connector 67">
            <a:extLst>
              <a:ext uri="{FF2B5EF4-FFF2-40B4-BE49-F238E27FC236}">
                <a16:creationId xmlns:a16="http://schemas.microsoft.com/office/drawing/2014/main" id="{0FBF096B-09C8-A742-8D7B-2CD71288F329}"/>
              </a:ext>
            </a:extLst>
          </p:cNvPr>
          <p:cNvCxnSpPr>
            <a:cxnSpLocks/>
          </p:cNvCxnSpPr>
          <p:nvPr userDrawn="1"/>
        </p:nvCxnSpPr>
        <p:spPr>
          <a:xfrm>
            <a:off x="9035840" y="3304813"/>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9" name="Text Placeholder 20">
            <a:extLst>
              <a:ext uri="{FF2B5EF4-FFF2-40B4-BE49-F238E27FC236}">
                <a16:creationId xmlns:a16="http://schemas.microsoft.com/office/drawing/2014/main" id="{693B4C3E-8292-A048-A211-BD35FDE740A1}"/>
              </a:ext>
            </a:extLst>
          </p:cNvPr>
          <p:cNvSpPr>
            <a:spLocks noGrp="1"/>
          </p:cNvSpPr>
          <p:nvPr>
            <p:ph type="body" sz="quarter" idx="37" hasCustomPrompt="1"/>
          </p:nvPr>
        </p:nvSpPr>
        <p:spPr>
          <a:xfrm>
            <a:off x="9117123" y="3309950"/>
            <a:ext cx="219359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70" name="Oval 69">
            <a:extLst>
              <a:ext uri="{FF2B5EF4-FFF2-40B4-BE49-F238E27FC236}">
                <a16:creationId xmlns:a16="http://schemas.microsoft.com/office/drawing/2014/main" id="{B40AD22E-5FFC-D145-9D3B-1CD5D45D23AA}"/>
              </a:ext>
            </a:extLst>
          </p:cNvPr>
          <p:cNvSpPr/>
          <p:nvPr userDrawn="1"/>
        </p:nvSpPr>
        <p:spPr>
          <a:xfrm>
            <a:off x="8360691" y="3436678"/>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1" name="Straight Connector 70">
            <a:extLst>
              <a:ext uri="{FF2B5EF4-FFF2-40B4-BE49-F238E27FC236}">
                <a16:creationId xmlns:a16="http://schemas.microsoft.com/office/drawing/2014/main" id="{9B854D38-8E94-2945-A6F3-1F4A80FB0143}"/>
              </a:ext>
            </a:extLst>
          </p:cNvPr>
          <p:cNvCxnSpPr>
            <a:cxnSpLocks/>
          </p:cNvCxnSpPr>
          <p:nvPr userDrawn="1"/>
        </p:nvCxnSpPr>
        <p:spPr>
          <a:xfrm>
            <a:off x="1448411" y="4229496"/>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Text Placeholder 20">
            <a:extLst>
              <a:ext uri="{FF2B5EF4-FFF2-40B4-BE49-F238E27FC236}">
                <a16:creationId xmlns:a16="http://schemas.microsoft.com/office/drawing/2014/main" id="{B03FB43F-DE17-034A-AD6E-863D0BF0C97A}"/>
              </a:ext>
            </a:extLst>
          </p:cNvPr>
          <p:cNvSpPr>
            <a:spLocks noGrp="1"/>
          </p:cNvSpPr>
          <p:nvPr>
            <p:ph type="body" sz="quarter" idx="38" hasCustomPrompt="1"/>
          </p:nvPr>
        </p:nvSpPr>
        <p:spPr>
          <a:xfrm>
            <a:off x="1529693" y="4234633"/>
            <a:ext cx="2187469"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73" name="Oval 72">
            <a:extLst>
              <a:ext uri="{FF2B5EF4-FFF2-40B4-BE49-F238E27FC236}">
                <a16:creationId xmlns:a16="http://schemas.microsoft.com/office/drawing/2014/main" id="{CCBBF6A3-F126-B341-869B-7CBDD189EB87}"/>
              </a:ext>
            </a:extLst>
          </p:cNvPr>
          <p:cNvSpPr/>
          <p:nvPr userDrawn="1"/>
        </p:nvSpPr>
        <p:spPr>
          <a:xfrm>
            <a:off x="773262" y="4361361"/>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4" name="Straight Connector 73">
            <a:extLst>
              <a:ext uri="{FF2B5EF4-FFF2-40B4-BE49-F238E27FC236}">
                <a16:creationId xmlns:a16="http://schemas.microsoft.com/office/drawing/2014/main" id="{B494456F-0DF8-A448-9114-AEF7CC59D455}"/>
              </a:ext>
            </a:extLst>
          </p:cNvPr>
          <p:cNvCxnSpPr>
            <a:cxnSpLocks/>
          </p:cNvCxnSpPr>
          <p:nvPr userDrawn="1"/>
        </p:nvCxnSpPr>
        <p:spPr>
          <a:xfrm>
            <a:off x="5202442" y="4229496"/>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5" name="Text Placeholder 20">
            <a:extLst>
              <a:ext uri="{FF2B5EF4-FFF2-40B4-BE49-F238E27FC236}">
                <a16:creationId xmlns:a16="http://schemas.microsoft.com/office/drawing/2014/main" id="{8AED9D6B-FA7A-9240-ACE9-40A615D0C77B}"/>
              </a:ext>
            </a:extLst>
          </p:cNvPr>
          <p:cNvSpPr>
            <a:spLocks noGrp="1"/>
          </p:cNvSpPr>
          <p:nvPr>
            <p:ph type="body" sz="quarter" idx="39" hasCustomPrompt="1"/>
          </p:nvPr>
        </p:nvSpPr>
        <p:spPr>
          <a:xfrm>
            <a:off x="5283725" y="4234633"/>
            <a:ext cx="2187470"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76" name="Oval 75">
            <a:extLst>
              <a:ext uri="{FF2B5EF4-FFF2-40B4-BE49-F238E27FC236}">
                <a16:creationId xmlns:a16="http://schemas.microsoft.com/office/drawing/2014/main" id="{B4E5386C-E801-E648-AE68-4E88E0AC2450}"/>
              </a:ext>
            </a:extLst>
          </p:cNvPr>
          <p:cNvSpPr/>
          <p:nvPr userDrawn="1"/>
        </p:nvSpPr>
        <p:spPr>
          <a:xfrm>
            <a:off x="4527293" y="4361361"/>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7" name="Straight Connector 76">
            <a:extLst>
              <a:ext uri="{FF2B5EF4-FFF2-40B4-BE49-F238E27FC236}">
                <a16:creationId xmlns:a16="http://schemas.microsoft.com/office/drawing/2014/main" id="{77F2F78F-ADE7-554C-A2FD-66B5759CE696}"/>
              </a:ext>
            </a:extLst>
          </p:cNvPr>
          <p:cNvCxnSpPr>
            <a:cxnSpLocks/>
          </p:cNvCxnSpPr>
          <p:nvPr userDrawn="1"/>
        </p:nvCxnSpPr>
        <p:spPr>
          <a:xfrm>
            <a:off x="9035840" y="4229496"/>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8" name="Text Placeholder 20">
            <a:extLst>
              <a:ext uri="{FF2B5EF4-FFF2-40B4-BE49-F238E27FC236}">
                <a16:creationId xmlns:a16="http://schemas.microsoft.com/office/drawing/2014/main" id="{0F8BCE60-D91B-E448-9707-12A4D5117841}"/>
              </a:ext>
            </a:extLst>
          </p:cNvPr>
          <p:cNvSpPr>
            <a:spLocks noGrp="1"/>
          </p:cNvSpPr>
          <p:nvPr>
            <p:ph type="body" sz="quarter" idx="40" hasCustomPrompt="1"/>
          </p:nvPr>
        </p:nvSpPr>
        <p:spPr>
          <a:xfrm>
            <a:off x="9117123" y="4234633"/>
            <a:ext cx="219359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79" name="Oval 78">
            <a:extLst>
              <a:ext uri="{FF2B5EF4-FFF2-40B4-BE49-F238E27FC236}">
                <a16:creationId xmlns:a16="http://schemas.microsoft.com/office/drawing/2014/main" id="{11D4FBDA-1686-F34C-A3EC-8C13DB3FF9E1}"/>
              </a:ext>
            </a:extLst>
          </p:cNvPr>
          <p:cNvSpPr/>
          <p:nvPr userDrawn="1"/>
        </p:nvSpPr>
        <p:spPr>
          <a:xfrm>
            <a:off x="8360691" y="4361361"/>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0" name="Straight Connector 79">
            <a:extLst>
              <a:ext uri="{FF2B5EF4-FFF2-40B4-BE49-F238E27FC236}">
                <a16:creationId xmlns:a16="http://schemas.microsoft.com/office/drawing/2014/main" id="{AFAC971E-6FED-A84A-AFF8-7D2BBE235176}"/>
              </a:ext>
            </a:extLst>
          </p:cNvPr>
          <p:cNvCxnSpPr>
            <a:cxnSpLocks/>
          </p:cNvCxnSpPr>
          <p:nvPr userDrawn="1"/>
        </p:nvCxnSpPr>
        <p:spPr>
          <a:xfrm>
            <a:off x="1448411" y="5171582"/>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1" name="Text Placeholder 20">
            <a:extLst>
              <a:ext uri="{FF2B5EF4-FFF2-40B4-BE49-F238E27FC236}">
                <a16:creationId xmlns:a16="http://schemas.microsoft.com/office/drawing/2014/main" id="{60FC510F-AB34-924E-942D-935C38146DE6}"/>
              </a:ext>
            </a:extLst>
          </p:cNvPr>
          <p:cNvSpPr>
            <a:spLocks noGrp="1"/>
          </p:cNvSpPr>
          <p:nvPr>
            <p:ph type="body" sz="quarter" idx="41" hasCustomPrompt="1"/>
          </p:nvPr>
        </p:nvSpPr>
        <p:spPr>
          <a:xfrm>
            <a:off x="1529693" y="5176719"/>
            <a:ext cx="2187469"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82" name="Oval 81">
            <a:extLst>
              <a:ext uri="{FF2B5EF4-FFF2-40B4-BE49-F238E27FC236}">
                <a16:creationId xmlns:a16="http://schemas.microsoft.com/office/drawing/2014/main" id="{963066B7-3415-694F-BD42-0686E65350FC}"/>
              </a:ext>
            </a:extLst>
          </p:cNvPr>
          <p:cNvSpPr/>
          <p:nvPr userDrawn="1"/>
        </p:nvSpPr>
        <p:spPr>
          <a:xfrm>
            <a:off x="773262" y="5303447"/>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3" name="Straight Connector 82">
            <a:extLst>
              <a:ext uri="{FF2B5EF4-FFF2-40B4-BE49-F238E27FC236}">
                <a16:creationId xmlns:a16="http://schemas.microsoft.com/office/drawing/2014/main" id="{C0A68C1A-30A7-A347-ADC7-875DF28D144E}"/>
              </a:ext>
            </a:extLst>
          </p:cNvPr>
          <p:cNvCxnSpPr>
            <a:cxnSpLocks/>
          </p:cNvCxnSpPr>
          <p:nvPr userDrawn="1"/>
        </p:nvCxnSpPr>
        <p:spPr>
          <a:xfrm>
            <a:off x="5202442" y="5171582"/>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4" name="Text Placeholder 20">
            <a:extLst>
              <a:ext uri="{FF2B5EF4-FFF2-40B4-BE49-F238E27FC236}">
                <a16:creationId xmlns:a16="http://schemas.microsoft.com/office/drawing/2014/main" id="{9BC348A1-0F4B-D748-9427-6CDF7D128789}"/>
              </a:ext>
            </a:extLst>
          </p:cNvPr>
          <p:cNvSpPr>
            <a:spLocks noGrp="1"/>
          </p:cNvSpPr>
          <p:nvPr>
            <p:ph type="body" sz="quarter" idx="42" hasCustomPrompt="1"/>
          </p:nvPr>
        </p:nvSpPr>
        <p:spPr>
          <a:xfrm>
            <a:off x="5283725" y="5176719"/>
            <a:ext cx="2187470"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85" name="Oval 84">
            <a:extLst>
              <a:ext uri="{FF2B5EF4-FFF2-40B4-BE49-F238E27FC236}">
                <a16:creationId xmlns:a16="http://schemas.microsoft.com/office/drawing/2014/main" id="{FC72BBE4-8608-3B46-AA33-6446773A0E7F}"/>
              </a:ext>
            </a:extLst>
          </p:cNvPr>
          <p:cNvSpPr/>
          <p:nvPr userDrawn="1"/>
        </p:nvSpPr>
        <p:spPr>
          <a:xfrm>
            <a:off x="4527293" y="5303447"/>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6" name="Straight Connector 85">
            <a:extLst>
              <a:ext uri="{FF2B5EF4-FFF2-40B4-BE49-F238E27FC236}">
                <a16:creationId xmlns:a16="http://schemas.microsoft.com/office/drawing/2014/main" id="{8C948146-17FD-DB4A-846E-F51BA988AE33}"/>
              </a:ext>
            </a:extLst>
          </p:cNvPr>
          <p:cNvCxnSpPr>
            <a:cxnSpLocks/>
          </p:cNvCxnSpPr>
          <p:nvPr userDrawn="1"/>
        </p:nvCxnSpPr>
        <p:spPr>
          <a:xfrm>
            <a:off x="9035840" y="5171582"/>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7" name="Text Placeholder 20">
            <a:extLst>
              <a:ext uri="{FF2B5EF4-FFF2-40B4-BE49-F238E27FC236}">
                <a16:creationId xmlns:a16="http://schemas.microsoft.com/office/drawing/2014/main" id="{75BDE792-8516-F140-98B5-E6555694FF9F}"/>
              </a:ext>
            </a:extLst>
          </p:cNvPr>
          <p:cNvSpPr>
            <a:spLocks noGrp="1"/>
          </p:cNvSpPr>
          <p:nvPr>
            <p:ph type="body" sz="quarter" idx="43" hasCustomPrompt="1"/>
          </p:nvPr>
        </p:nvSpPr>
        <p:spPr>
          <a:xfrm>
            <a:off x="9117123" y="5176719"/>
            <a:ext cx="219359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88" name="Oval 87">
            <a:extLst>
              <a:ext uri="{FF2B5EF4-FFF2-40B4-BE49-F238E27FC236}">
                <a16:creationId xmlns:a16="http://schemas.microsoft.com/office/drawing/2014/main" id="{DDDC840E-AD4E-2B46-B591-42777DAB80FF}"/>
              </a:ext>
            </a:extLst>
          </p:cNvPr>
          <p:cNvSpPr/>
          <p:nvPr userDrawn="1"/>
        </p:nvSpPr>
        <p:spPr>
          <a:xfrm>
            <a:off x="8360691" y="5303447"/>
            <a:ext cx="513782" cy="51378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Title 1">
            <a:extLst>
              <a:ext uri="{FF2B5EF4-FFF2-40B4-BE49-F238E27FC236}">
                <a16:creationId xmlns:a16="http://schemas.microsoft.com/office/drawing/2014/main" id="{F69BD680-0AAD-24E2-CE88-7D26D6861A10}"/>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50" name="Bilde 3">
            <a:extLst>
              <a:ext uri="{FF2B5EF4-FFF2-40B4-BE49-F238E27FC236}">
                <a16:creationId xmlns:a16="http://schemas.microsoft.com/office/drawing/2014/main" id="{2DE1B364-CE7B-11B5-BC6E-1FAF7873E55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51" name="Date Placeholder 2">
            <a:extLst>
              <a:ext uri="{FF2B5EF4-FFF2-40B4-BE49-F238E27FC236}">
                <a16:creationId xmlns:a16="http://schemas.microsoft.com/office/drawing/2014/main" id="{90471FF1-65DE-B018-6763-A20C8F2B0096}"/>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52" name="Footer Placeholder 3">
            <a:extLst>
              <a:ext uri="{FF2B5EF4-FFF2-40B4-BE49-F238E27FC236}">
                <a16:creationId xmlns:a16="http://schemas.microsoft.com/office/drawing/2014/main" id="{9EEC813E-A40F-C063-108A-6633715C3EF6}"/>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59" name="Slide Number Placeholder 4">
            <a:extLst>
              <a:ext uri="{FF2B5EF4-FFF2-40B4-BE49-F238E27FC236}">
                <a16:creationId xmlns:a16="http://schemas.microsoft.com/office/drawing/2014/main" id="{9DAA2385-A5B6-C08D-177C-2EC33650DD5F}"/>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6579264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6_Custom Layout">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C7B5656-DA3F-9847-9792-691229FFB730}"/>
              </a:ext>
            </a:extLst>
          </p:cNvPr>
          <p:cNvSpPr/>
          <p:nvPr userDrawn="1"/>
        </p:nvSpPr>
        <p:spPr>
          <a:xfrm>
            <a:off x="1081661" y="1477481"/>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1108209" y="2551410"/>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213240" y="1625928"/>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225116" y="2556547"/>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58" name="Straight Connector 57">
            <a:extLst>
              <a:ext uri="{FF2B5EF4-FFF2-40B4-BE49-F238E27FC236}">
                <a16:creationId xmlns:a16="http://schemas.microsoft.com/office/drawing/2014/main" id="{14D0E40A-826D-D447-875C-24BB261305E6}"/>
              </a:ext>
            </a:extLst>
          </p:cNvPr>
          <p:cNvCxnSpPr>
            <a:cxnSpLocks/>
          </p:cNvCxnSpPr>
          <p:nvPr userDrawn="1"/>
        </p:nvCxnSpPr>
        <p:spPr>
          <a:xfrm>
            <a:off x="1108209" y="3480898"/>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Text Placeholder 20">
            <a:extLst>
              <a:ext uri="{FF2B5EF4-FFF2-40B4-BE49-F238E27FC236}">
                <a16:creationId xmlns:a16="http://schemas.microsoft.com/office/drawing/2014/main" id="{8F334DBA-DB16-D64B-BA18-F61C21BB3599}"/>
              </a:ext>
            </a:extLst>
          </p:cNvPr>
          <p:cNvSpPr>
            <a:spLocks noGrp="1"/>
          </p:cNvSpPr>
          <p:nvPr>
            <p:ph type="body" sz="quarter" idx="35" hasCustomPrompt="1"/>
          </p:nvPr>
        </p:nvSpPr>
        <p:spPr>
          <a:xfrm>
            <a:off x="1225116" y="3486035"/>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71" name="Straight Connector 70">
            <a:extLst>
              <a:ext uri="{FF2B5EF4-FFF2-40B4-BE49-F238E27FC236}">
                <a16:creationId xmlns:a16="http://schemas.microsoft.com/office/drawing/2014/main" id="{9B854D38-8E94-2945-A6F3-1F4A80FB0143}"/>
              </a:ext>
            </a:extLst>
          </p:cNvPr>
          <p:cNvCxnSpPr>
            <a:cxnSpLocks/>
          </p:cNvCxnSpPr>
          <p:nvPr userDrawn="1"/>
        </p:nvCxnSpPr>
        <p:spPr>
          <a:xfrm>
            <a:off x="1108209" y="4405581"/>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Text Placeholder 20">
            <a:extLst>
              <a:ext uri="{FF2B5EF4-FFF2-40B4-BE49-F238E27FC236}">
                <a16:creationId xmlns:a16="http://schemas.microsoft.com/office/drawing/2014/main" id="{B03FB43F-DE17-034A-AD6E-863D0BF0C97A}"/>
              </a:ext>
            </a:extLst>
          </p:cNvPr>
          <p:cNvSpPr>
            <a:spLocks noGrp="1"/>
          </p:cNvSpPr>
          <p:nvPr>
            <p:ph type="body" sz="quarter" idx="38" hasCustomPrompt="1"/>
          </p:nvPr>
        </p:nvSpPr>
        <p:spPr>
          <a:xfrm>
            <a:off x="1225116" y="4410718"/>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80" name="Straight Connector 79">
            <a:extLst>
              <a:ext uri="{FF2B5EF4-FFF2-40B4-BE49-F238E27FC236}">
                <a16:creationId xmlns:a16="http://schemas.microsoft.com/office/drawing/2014/main" id="{AFAC971E-6FED-A84A-AFF8-7D2BBE235176}"/>
              </a:ext>
            </a:extLst>
          </p:cNvPr>
          <p:cNvCxnSpPr>
            <a:cxnSpLocks/>
          </p:cNvCxnSpPr>
          <p:nvPr userDrawn="1"/>
        </p:nvCxnSpPr>
        <p:spPr>
          <a:xfrm>
            <a:off x="1108209" y="534766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1" name="Text Placeholder 20">
            <a:extLst>
              <a:ext uri="{FF2B5EF4-FFF2-40B4-BE49-F238E27FC236}">
                <a16:creationId xmlns:a16="http://schemas.microsoft.com/office/drawing/2014/main" id="{60FC510F-AB34-924E-942D-935C38146DE6}"/>
              </a:ext>
            </a:extLst>
          </p:cNvPr>
          <p:cNvSpPr>
            <a:spLocks noGrp="1"/>
          </p:cNvSpPr>
          <p:nvPr>
            <p:ph type="body" sz="quarter" idx="41" hasCustomPrompt="1"/>
          </p:nvPr>
        </p:nvSpPr>
        <p:spPr>
          <a:xfrm>
            <a:off x="1225116" y="535280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 name="TextBox 2">
            <a:extLst>
              <a:ext uri="{FF2B5EF4-FFF2-40B4-BE49-F238E27FC236}">
                <a16:creationId xmlns:a16="http://schemas.microsoft.com/office/drawing/2014/main" id="{F3A29A19-CBAD-DB4D-A8E8-E75B17885703}"/>
              </a:ext>
            </a:extLst>
          </p:cNvPr>
          <p:cNvSpPr txBox="1"/>
          <p:nvPr userDrawn="1"/>
        </p:nvSpPr>
        <p:spPr>
          <a:xfrm>
            <a:off x="665830" y="1665452"/>
            <a:ext cx="559286" cy="523220"/>
          </a:xfrm>
          <a:prstGeom prst="rect">
            <a:avLst/>
          </a:prstGeom>
        </p:spPr>
        <p:txBody>
          <a:bodyPr wrap="square" rtlCol="0">
            <a:spAutoFit/>
          </a:bodyPr>
          <a:lstStyle/>
          <a:p>
            <a:r>
              <a:rPr lang="en-GB" sz="2800" b="1" i="0">
                <a:solidFill>
                  <a:schemeClr val="accent1"/>
                </a:solidFill>
                <a:latin typeface="Helvetica" pitchFamily="2" charset="0"/>
              </a:rPr>
              <a:t>1</a:t>
            </a:r>
          </a:p>
        </p:txBody>
      </p:sp>
      <p:sp>
        <p:nvSpPr>
          <p:cNvPr id="51" name="Rectangle 50">
            <a:extLst>
              <a:ext uri="{FF2B5EF4-FFF2-40B4-BE49-F238E27FC236}">
                <a16:creationId xmlns:a16="http://schemas.microsoft.com/office/drawing/2014/main" id="{25FF2627-BFD7-7245-8BBD-EF14EE38529E}"/>
              </a:ext>
            </a:extLst>
          </p:cNvPr>
          <p:cNvSpPr/>
          <p:nvPr userDrawn="1"/>
        </p:nvSpPr>
        <p:spPr>
          <a:xfrm>
            <a:off x="4721017" y="1477481"/>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a16="http://schemas.microsoft.com/office/drawing/2014/main" id="{9D94247F-1687-1C46-BCBA-B35359725D0B}"/>
              </a:ext>
            </a:extLst>
          </p:cNvPr>
          <p:cNvCxnSpPr>
            <a:cxnSpLocks/>
          </p:cNvCxnSpPr>
          <p:nvPr userDrawn="1"/>
        </p:nvCxnSpPr>
        <p:spPr>
          <a:xfrm>
            <a:off x="4747565" y="2551410"/>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9" name="Text Placeholder 20">
            <a:extLst>
              <a:ext uri="{FF2B5EF4-FFF2-40B4-BE49-F238E27FC236}">
                <a16:creationId xmlns:a16="http://schemas.microsoft.com/office/drawing/2014/main" id="{DF30A173-A5B6-1947-B430-0C6C140A1F01}"/>
              </a:ext>
            </a:extLst>
          </p:cNvPr>
          <p:cNvSpPr>
            <a:spLocks noGrp="1"/>
          </p:cNvSpPr>
          <p:nvPr>
            <p:ph type="body" sz="quarter" idx="42" hasCustomPrompt="1"/>
          </p:nvPr>
        </p:nvSpPr>
        <p:spPr>
          <a:xfrm>
            <a:off x="4852596" y="1625928"/>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60" name="Text Placeholder 20">
            <a:extLst>
              <a:ext uri="{FF2B5EF4-FFF2-40B4-BE49-F238E27FC236}">
                <a16:creationId xmlns:a16="http://schemas.microsoft.com/office/drawing/2014/main" id="{5B1BD81B-610E-C040-9E12-9890AAD2A079}"/>
              </a:ext>
            </a:extLst>
          </p:cNvPr>
          <p:cNvSpPr>
            <a:spLocks noGrp="1"/>
          </p:cNvSpPr>
          <p:nvPr>
            <p:ph type="body" sz="quarter" idx="43" hasCustomPrompt="1"/>
          </p:nvPr>
        </p:nvSpPr>
        <p:spPr>
          <a:xfrm>
            <a:off x="4864472" y="2556547"/>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61" name="Straight Connector 60">
            <a:extLst>
              <a:ext uri="{FF2B5EF4-FFF2-40B4-BE49-F238E27FC236}">
                <a16:creationId xmlns:a16="http://schemas.microsoft.com/office/drawing/2014/main" id="{2FF13610-5A03-124C-A6D3-AA5918F132C9}"/>
              </a:ext>
            </a:extLst>
          </p:cNvPr>
          <p:cNvCxnSpPr>
            <a:cxnSpLocks/>
          </p:cNvCxnSpPr>
          <p:nvPr userDrawn="1"/>
        </p:nvCxnSpPr>
        <p:spPr>
          <a:xfrm>
            <a:off x="4747565" y="3480898"/>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2" name="Text Placeholder 20">
            <a:extLst>
              <a:ext uri="{FF2B5EF4-FFF2-40B4-BE49-F238E27FC236}">
                <a16:creationId xmlns:a16="http://schemas.microsoft.com/office/drawing/2014/main" id="{CA1B7917-580E-9844-8A05-6C5610890CE7}"/>
              </a:ext>
            </a:extLst>
          </p:cNvPr>
          <p:cNvSpPr>
            <a:spLocks noGrp="1"/>
          </p:cNvSpPr>
          <p:nvPr>
            <p:ph type="body" sz="quarter" idx="44" hasCustomPrompt="1"/>
          </p:nvPr>
        </p:nvSpPr>
        <p:spPr>
          <a:xfrm>
            <a:off x="4864472" y="3486035"/>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89" name="Straight Connector 88">
            <a:extLst>
              <a:ext uri="{FF2B5EF4-FFF2-40B4-BE49-F238E27FC236}">
                <a16:creationId xmlns:a16="http://schemas.microsoft.com/office/drawing/2014/main" id="{E2BF938D-CBAC-4B44-9556-DF0C3CA4DF8F}"/>
              </a:ext>
            </a:extLst>
          </p:cNvPr>
          <p:cNvCxnSpPr>
            <a:cxnSpLocks/>
          </p:cNvCxnSpPr>
          <p:nvPr userDrawn="1"/>
        </p:nvCxnSpPr>
        <p:spPr>
          <a:xfrm>
            <a:off x="4747565" y="4405581"/>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0" name="Text Placeholder 20">
            <a:extLst>
              <a:ext uri="{FF2B5EF4-FFF2-40B4-BE49-F238E27FC236}">
                <a16:creationId xmlns:a16="http://schemas.microsoft.com/office/drawing/2014/main" id="{4603BFF9-BFF5-6841-9F55-9A442D528BCD}"/>
              </a:ext>
            </a:extLst>
          </p:cNvPr>
          <p:cNvSpPr>
            <a:spLocks noGrp="1"/>
          </p:cNvSpPr>
          <p:nvPr>
            <p:ph type="body" sz="quarter" idx="45" hasCustomPrompt="1"/>
          </p:nvPr>
        </p:nvSpPr>
        <p:spPr>
          <a:xfrm>
            <a:off x="4864472" y="4410718"/>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91" name="Straight Connector 90">
            <a:extLst>
              <a:ext uri="{FF2B5EF4-FFF2-40B4-BE49-F238E27FC236}">
                <a16:creationId xmlns:a16="http://schemas.microsoft.com/office/drawing/2014/main" id="{9DC2EED5-BB61-9444-A911-2C32CB804CC5}"/>
              </a:ext>
            </a:extLst>
          </p:cNvPr>
          <p:cNvCxnSpPr>
            <a:cxnSpLocks/>
          </p:cNvCxnSpPr>
          <p:nvPr userDrawn="1"/>
        </p:nvCxnSpPr>
        <p:spPr>
          <a:xfrm>
            <a:off x="4747565" y="534766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2" name="Text Placeholder 20">
            <a:extLst>
              <a:ext uri="{FF2B5EF4-FFF2-40B4-BE49-F238E27FC236}">
                <a16:creationId xmlns:a16="http://schemas.microsoft.com/office/drawing/2014/main" id="{E7161696-114D-3C41-BE58-292DC3B4482B}"/>
              </a:ext>
            </a:extLst>
          </p:cNvPr>
          <p:cNvSpPr>
            <a:spLocks noGrp="1"/>
          </p:cNvSpPr>
          <p:nvPr>
            <p:ph type="body" sz="quarter" idx="46" hasCustomPrompt="1"/>
          </p:nvPr>
        </p:nvSpPr>
        <p:spPr>
          <a:xfrm>
            <a:off x="4864472" y="535280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93" name="TextBox 92">
            <a:extLst>
              <a:ext uri="{FF2B5EF4-FFF2-40B4-BE49-F238E27FC236}">
                <a16:creationId xmlns:a16="http://schemas.microsoft.com/office/drawing/2014/main" id="{CB751464-8A7F-FA49-856D-4334A4C81AF1}"/>
              </a:ext>
            </a:extLst>
          </p:cNvPr>
          <p:cNvSpPr txBox="1"/>
          <p:nvPr userDrawn="1"/>
        </p:nvSpPr>
        <p:spPr>
          <a:xfrm>
            <a:off x="4305186" y="1665452"/>
            <a:ext cx="559286" cy="523220"/>
          </a:xfrm>
          <a:prstGeom prst="rect">
            <a:avLst/>
          </a:prstGeom>
        </p:spPr>
        <p:txBody>
          <a:bodyPr wrap="square" rtlCol="0">
            <a:spAutoFit/>
          </a:bodyPr>
          <a:lstStyle/>
          <a:p>
            <a:r>
              <a:rPr lang="en-GB" sz="2800" b="1" i="0">
                <a:solidFill>
                  <a:schemeClr val="accent1"/>
                </a:solidFill>
                <a:latin typeface="Helvetica" pitchFamily="2" charset="0"/>
              </a:rPr>
              <a:t>2</a:t>
            </a:r>
          </a:p>
        </p:txBody>
      </p:sp>
      <p:sp>
        <p:nvSpPr>
          <p:cNvPr id="94" name="Rectangle 93">
            <a:extLst>
              <a:ext uri="{FF2B5EF4-FFF2-40B4-BE49-F238E27FC236}">
                <a16:creationId xmlns:a16="http://schemas.microsoft.com/office/drawing/2014/main" id="{EF0334F8-DBA7-D04B-8D45-8AECC5324BDE}"/>
              </a:ext>
            </a:extLst>
          </p:cNvPr>
          <p:cNvSpPr/>
          <p:nvPr userDrawn="1"/>
        </p:nvSpPr>
        <p:spPr>
          <a:xfrm>
            <a:off x="8307365" y="1471229"/>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Straight Connector 94">
            <a:extLst>
              <a:ext uri="{FF2B5EF4-FFF2-40B4-BE49-F238E27FC236}">
                <a16:creationId xmlns:a16="http://schemas.microsoft.com/office/drawing/2014/main" id="{3D13591D-6EC1-AB4F-9969-6302E362784E}"/>
              </a:ext>
            </a:extLst>
          </p:cNvPr>
          <p:cNvCxnSpPr>
            <a:cxnSpLocks/>
          </p:cNvCxnSpPr>
          <p:nvPr userDrawn="1"/>
        </p:nvCxnSpPr>
        <p:spPr>
          <a:xfrm>
            <a:off x="8333913" y="2545158"/>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6" name="Text Placeholder 20">
            <a:extLst>
              <a:ext uri="{FF2B5EF4-FFF2-40B4-BE49-F238E27FC236}">
                <a16:creationId xmlns:a16="http://schemas.microsoft.com/office/drawing/2014/main" id="{14BEE252-4639-114D-AFB0-243BBC85FDD9}"/>
              </a:ext>
            </a:extLst>
          </p:cNvPr>
          <p:cNvSpPr>
            <a:spLocks noGrp="1"/>
          </p:cNvSpPr>
          <p:nvPr>
            <p:ph type="body" sz="quarter" idx="47" hasCustomPrompt="1"/>
          </p:nvPr>
        </p:nvSpPr>
        <p:spPr>
          <a:xfrm>
            <a:off x="8438944" y="1619676"/>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97" name="Text Placeholder 20">
            <a:extLst>
              <a:ext uri="{FF2B5EF4-FFF2-40B4-BE49-F238E27FC236}">
                <a16:creationId xmlns:a16="http://schemas.microsoft.com/office/drawing/2014/main" id="{FC6370E8-D75B-1844-A610-8287D1D8E14C}"/>
              </a:ext>
            </a:extLst>
          </p:cNvPr>
          <p:cNvSpPr>
            <a:spLocks noGrp="1"/>
          </p:cNvSpPr>
          <p:nvPr>
            <p:ph type="body" sz="quarter" idx="48" hasCustomPrompt="1"/>
          </p:nvPr>
        </p:nvSpPr>
        <p:spPr>
          <a:xfrm>
            <a:off x="8450820" y="2550295"/>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98" name="Straight Connector 97">
            <a:extLst>
              <a:ext uri="{FF2B5EF4-FFF2-40B4-BE49-F238E27FC236}">
                <a16:creationId xmlns:a16="http://schemas.microsoft.com/office/drawing/2014/main" id="{C0D779F3-6521-3942-8C9F-C999AF5DED7E}"/>
              </a:ext>
            </a:extLst>
          </p:cNvPr>
          <p:cNvCxnSpPr>
            <a:cxnSpLocks/>
          </p:cNvCxnSpPr>
          <p:nvPr userDrawn="1"/>
        </p:nvCxnSpPr>
        <p:spPr>
          <a:xfrm>
            <a:off x="8333913" y="3474646"/>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9" name="Text Placeholder 20">
            <a:extLst>
              <a:ext uri="{FF2B5EF4-FFF2-40B4-BE49-F238E27FC236}">
                <a16:creationId xmlns:a16="http://schemas.microsoft.com/office/drawing/2014/main" id="{C51B118D-026B-804A-A087-4B2F7080C4CB}"/>
              </a:ext>
            </a:extLst>
          </p:cNvPr>
          <p:cNvSpPr>
            <a:spLocks noGrp="1"/>
          </p:cNvSpPr>
          <p:nvPr>
            <p:ph type="body" sz="quarter" idx="49" hasCustomPrompt="1"/>
          </p:nvPr>
        </p:nvSpPr>
        <p:spPr>
          <a:xfrm>
            <a:off x="8450820" y="3479783"/>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100" name="Straight Connector 99">
            <a:extLst>
              <a:ext uri="{FF2B5EF4-FFF2-40B4-BE49-F238E27FC236}">
                <a16:creationId xmlns:a16="http://schemas.microsoft.com/office/drawing/2014/main" id="{9B8AEA03-D8B2-AF4D-8117-E6BB4A0DD32B}"/>
              </a:ext>
            </a:extLst>
          </p:cNvPr>
          <p:cNvCxnSpPr>
            <a:cxnSpLocks/>
          </p:cNvCxnSpPr>
          <p:nvPr userDrawn="1"/>
        </p:nvCxnSpPr>
        <p:spPr>
          <a:xfrm>
            <a:off x="8333913" y="4399329"/>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1" name="Text Placeholder 20">
            <a:extLst>
              <a:ext uri="{FF2B5EF4-FFF2-40B4-BE49-F238E27FC236}">
                <a16:creationId xmlns:a16="http://schemas.microsoft.com/office/drawing/2014/main" id="{BBEB6736-19B2-5B4F-8A4E-C0BDDEB6F0BD}"/>
              </a:ext>
            </a:extLst>
          </p:cNvPr>
          <p:cNvSpPr>
            <a:spLocks noGrp="1"/>
          </p:cNvSpPr>
          <p:nvPr>
            <p:ph type="body" sz="quarter" idx="50" hasCustomPrompt="1"/>
          </p:nvPr>
        </p:nvSpPr>
        <p:spPr>
          <a:xfrm>
            <a:off x="8450820" y="4404466"/>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102" name="Straight Connector 101">
            <a:extLst>
              <a:ext uri="{FF2B5EF4-FFF2-40B4-BE49-F238E27FC236}">
                <a16:creationId xmlns:a16="http://schemas.microsoft.com/office/drawing/2014/main" id="{4ABA2814-393E-934A-ABEB-748B137485D0}"/>
              </a:ext>
            </a:extLst>
          </p:cNvPr>
          <p:cNvCxnSpPr>
            <a:cxnSpLocks/>
          </p:cNvCxnSpPr>
          <p:nvPr userDrawn="1"/>
        </p:nvCxnSpPr>
        <p:spPr>
          <a:xfrm>
            <a:off x="8333913" y="534141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3" name="Text Placeholder 20">
            <a:extLst>
              <a:ext uri="{FF2B5EF4-FFF2-40B4-BE49-F238E27FC236}">
                <a16:creationId xmlns:a16="http://schemas.microsoft.com/office/drawing/2014/main" id="{DE66B957-6AB7-A74D-A611-8A2CBDFEF9E8}"/>
              </a:ext>
            </a:extLst>
          </p:cNvPr>
          <p:cNvSpPr>
            <a:spLocks noGrp="1"/>
          </p:cNvSpPr>
          <p:nvPr>
            <p:ph type="body" sz="quarter" idx="51" hasCustomPrompt="1"/>
          </p:nvPr>
        </p:nvSpPr>
        <p:spPr>
          <a:xfrm>
            <a:off x="8450820" y="5346552"/>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4" name="TextBox 103">
            <a:extLst>
              <a:ext uri="{FF2B5EF4-FFF2-40B4-BE49-F238E27FC236}">
                <a16:creationId xmlns:a16="http://schemas.microsoft.com/office/drawing/2014/main" id="{6969653A-6C2C-8147-ACCB-D4F972B28B3B}"/>
              </a:ext>
            </a:extLst>
          </p:cNvPr>
          <p:cNvSpPr txBox="1"/>
          <p:nvPr userDrawn="1"/>
        </p:nvSpPr>
        <p:spPr>
          <a:xfrm>
            <a:off x="7891534" y="1659200"/>
            <a:ext cx="559286" cy="523220"/>
          </a:xfrm>
          <a:prstGeom prst="rect">
            <a:avLst/>
          </a:prstGeom>
        </p:spPr>
        <p:txBody>
          <a:bodyPr wrap="square" rtlCol="0">
            <a:spAutoFit/>
          </a:bodyPr>
          <a:lstStyle/>
          <a:p>
            <a:r>
              <a:rPr lang="en-GB" sz="2800" b="1" i="0">
                <a:solidFill>
                  <a:schemeClr val="accent1"/>
                </a:solidFill>
                <a:latin typeface="Helvetica" pitchFamily="2" charset="0"/>
              </a:rPr>
              <a:t>3</a:t>
            </a:r>
          </a:p>
        </p:txBody>
      </p:sp>
      <p:sp>
        <p:nvSpPr>
          <p:cNvPr id="38" name="Title 1">
            <a:extLst>
              <a:ext uri="{FF2B5EF4-FFF2-40B4-BE49-F238E27FC236}">
                <a16:creationId xmlns:a16="http://schemas.microsoft.com/office/drawing/2014/main" id="{00D9EB27-355B-C0ED-84F3-A25252382F8B}"/>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41" name="Bilde 3">
            <a:extLst>
              <a:ext uri="{FF2B5EF4-FFF2-40B4-BE49-F238E27FC236}">
                <a16:creationId xmlns:a16="http://schemas.microsoft.com/office/drawing/2014/main" id="{802CD67E-099A-F1EE-76BF-B44552A10B5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42" name="Date Placeholder 2">
            <a:extLst>
              <a:ext uri="{FF2B5EF4-FFF2-40B4-BE49-F238E27FC236}">
                <a16:creationId xmlns:a16="http://schemas.microsoft.com/office/drawing/2014/main" id="{84CD0A1D-2D46-EBC0-78C1-A1B18A834B32}"/>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43" name="Footer Placeholder 3">
            <a:extLst>
              <a:ext uri="{FF2B5EF4-FFF2-40B4-BE49-F238E27FC236}">
                <a16:creationId xmlns:a16="http://schemas.microsoft.com/office/drawing/2014/main" id="{D4DFBF39-7B4F-EE99-33C6-C72DB6B6A70F}"/>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46" name="Slide Number Placeholder 4">
            <a:extLst>
              <a:ext uri="{FF2B5EF4-FFF2-40B4-BE49-F238E27FC236}">
                <a16:creationId xmlns:a16="http://schemas.microsoft.com/office/drawing/2014/main" id="{12EDDAFD-A3D0-210E-E712-1CBB4917AF1E}"/>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8682002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7_Custom Layout">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C7B5656-DA3F-9847-9792-691229FFB730}"/>
              </a:ext>
            </a:extLst>
          </p:cNvPr>
          <p:cNvSpPr/>
          <p:nvPr userDrawn="1"/>
        </p:nvSpPr>
        <p:spPr>
          <a:xfrm>
            <a:off x="1081661" y="1716020"/>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1108209" y="2789949"/>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213240" y="1864467"/>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225116" y="2795086"/>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58" name="Straight Connector 57">
            <a:extLst>
              <a:ext uri="{FF2B5EF4-FFF2-40B4-BE49-F238E27FC236}">
                <a16:creationId xmlns:a16="http://schemas.microsoft.com/office/drawing/2014/main" id="{14D0E40A-826D-D447-875C-24BB261305E6}"/>
              </a:ext>
            </a:extLst>
          </p:cNvPr>
          <p:cNvCxnSpPr>
            <a:cxnSpLocks/>
          </p:cNvCxnSpPr>
          <p:nvPr userDrawn="1"/>
        </p:nvCxnSpPr>
        <p:spPr>
          <a:xfrm>
            <a:off x="1108209" y="371943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Text Placeholder 20">
            <a:extLst>
              <a:ext uri="{FF2B5EF4-FFF2-40B4-BE49-F238E27FC236}">
                <a16:creationId xmlns:a16="http://schemas.microsoft.com/office/drawing/2014/main" id="{8F334DBA-DB16-D64B-BA18-F61C21BB3599}"/>
              </a:ext>
            </a:extLst>
          </p:cNvPr>
          <p:cNvSpPr>
            <a:spLocks noGrp="1"/>
          </p:cNvSpPr>
          <p:nvPr>
            <p:ph type="body" sz="quarter" idx="35" hasCustomPrompt="1"/>
          </p:nvPr>
        </p:nvSpPr>
        <p:spPr>
          <a:xfrm>
            <a:off x="1225116" y="372457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71" name="Straight Connector 70">
            <a:extLst>
              <a:ext uri="{FF2B5EF4-FFF2-40B4-BE49-F238E27FC236}">
                <a16:creationId xmlns:a16="http://schemas.microsoft.com/office/drawing/2014/main" id="{9B854D38-8E94-2945-A6F3-1F4A80FB0143}"/>
              </a:ext>
            </a:extLst>
          </p:cNvPr>
          <p:cNvCxnSpPr>
            <a:cxnSpLocks/>
          </p:cNvCxnSpPr>
          <p:nvPr userDrawn="1"/>
        </p:nvCxnSpPr>
        <p:spPr>
          <a:xfrm>
            <a:off x="1108209" y="4644120"/>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Text Placeholder 20">
            <a:extLst>
              <a:ext uri="{FF2B5EF4-FFF2-40B4-BE49-F238E27FC236}">
                <a16:creationId xmlns:a16="http://schemas.microsoft.com/office/drawing/2014/main" id="{B03FB43F-DE17-034A-AD6E-863D0BF0C97A}"/>
              </a:ext>
            </a:extLst>
          </p:cNvPr>
          <p:cNvSpPr>
            <a:spLocks noGrp="1"/>
          </p:cNvSpPr>
          <p:nvPr>
            <p:ph type="body" sz="quarter" idx="38" hasCustomPrompt="1"/>
          </p:nvPr>
        </p:nvSpPr>
        <p:spPr>
          <a:xfrm>
            <a:off x="1225116" y="4649257"/>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 name="TextBox 2">
            <a:extLst>
              <a:ext uri="{FF2B5EF4-FFF2-40B4-BE49-F238E27FC236}">
                <a16:creationId xmlns:a16="http://schemas.microsoft.com/office/drawing/2014/main" id="{F3A29A19-CBAD-DB4D-A8E8-E75B17885703}"/>
              </a:ext>
            </a:extLst>
          </p:cNvPr>
          <p:cNvSpPr txBox="1"/>
          <p:nvPr userDrawn="1"/>
        </p:nvSpPr>
        <p:spPr>
          <a:xfrm>
            <a:off x="665830" y="1903991"/>
            <a:ext cx="559286" cy="523220"/>
          </a:xfrm>
          <a:prstGeom prst="rect">
            <a:avLst/>
          </a:prstGeom>
        </p:spPr>
        <p:txBody>
          <a:bodyPr wrap="square" rtlCol="0">
            <a:spAutoFit/>
          </a:bodyPr>
          <a:lstStyle/>
          <a:p>
            <a:r>
              <a:rPr lang="en-GB" sz="2800" b="1" i="0">
                <a:solidFill>
                  <a:schemeClr val="accent1"/>
                </a:solidFill>
                <a:latin typeface="Helvetica" pitchFamily="2" charset="0"/>
              </a:rPr>
              <a:t>1</a:t>
            </a:r>
          </a:p>
        </p:txBody>
      </p:sp>
      <p:sp>
        <p:nvSpPr>
          <p:cNvPr id="51" name="Rectangle 50">
            <a:extLst>
              <a:ext uri="{FF2B5EF4-FFF2-40B4-BE49-F238E27FC236}">
                <a16:creationId xmlns:a16="http://schemas.microsoft.com/office/drawing/2014/main" id="{25FF2627-BFD7-7245-8BBD-EF14EE38529E}"/>
              </a:ext>
            </a:extLst>
          </p:cNvPr>
          <p:cNvSpPr/>
          <p:nvPr userDrawn="1"/>
        </p:nvSpPr>
        <p:spPr>
          <a:xfrm>
            <a:off x="4721017" y="1716020"/>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a16="http://schemas.microsoft.com/office/drawing/2014/main" id="{9D94247F-1687-1C46-BCBA-B35359725D0B}"/>
              </a:ext>
            </a:extLst>
          </p:cNvPr>
          <p:cNvCxnSpPr>
            <a:cxnSpLocks/>
          </p:cNvCxnSpPr>
          <p:nvPr userDrawn="1"/>
        </p:nvCxnSpPr>
        <p:spPr>
          <a:xfrm>
            <a:off x="4747565" y="2789949"/>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9" name="Text Placeholder 20">
            <a:extLst>
              <a:ext uri="{FF2B5EF4-FFF2-40B4-BE49-F238E27FC236}">
                <a16:creationId xmlns:a16="http://schemas.microsoft.com/office/drawing/2014/main" id="{DF30A173-A5B6-1947-B430-0C6C140A1F01}"/>
              </a:ext>
            </a:extLst>
          </p:cNvPr>
          <p:cNvSpPr>
            <a:spLocks noGrp="1"/>
          </p:cNvSpPr>
          <p:nvPr>
            <p:ph type="body" sz="quarter" idx="42" hasCustomPrompt="1"/>
          </p:nvPr>
        </p:nvSpPr>
        <p:spPr>
          <a:xfrm>
            <a:off x="4852596" y="1864467"/>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60" name="Text Placeholder 20">
            <a:extLst>
              <a:ext uri="{FF2B5EF4-FFF2-40B4-BE49-F238E27FC236}">
                <a16:creationId xmlns:a16="http://schemas.microsoft.com/office/drawing/2014/main" id="{5B1BD81B-610E-C040-9E12-9890AAD2A079}"/>
              </a:ext>
            </a:extLst>
          </p:cNvPr>
          <p:cNvSpPr>
            <a:spLocks noGrp="1"/>
          </p:cNvSpPr>
          <p:nvPr>
            <p:ph type="body" sz="quarter" idx="43" hasCustomPrompt="1"/>
          </p:nvPr>
        </p:nvSpPr>
        <p:spPr>
          <a:xfrm>
            <a:off x="4864472" y="2795086"/>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61" name="Straight Connector 60">
            <a:extLst>
              <a:ext uri="{FF2B5EF4-FFF2-40B4-BE49-F238E27FC236}">
                <a16:creationId xmlns:a16="http://schemas.microsoft.com/office/drawing/2014/main" id="{2FF13610-5A03-124C-A6D3-AA5918F132C9}"/>
              </a:ext>
            </a:extLst>
          </p:cNvPr>
          <p:cNvCxnSpPr>
            <a:cxnSpLocks/>
          </p:cNvCxnSpPr>
          <p:nvPr userDrawn="1"/>
        </p:nvCxnSpPr>
        <p:spPr>
          <a:xfrm>
            <a:off x="4747565" y="371943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2" name="Text Placeholder 20">
            <a:extLst>
              <a:ext uri="{FF2B5EF4-FFF2-40B4-BE49-F238E27FC236}">
                <a16:creationId xmlns:a16="http://schemas.microsoft.com/office/drawing/2014/main" id="{CA1B7917-580E-9844-8A05-6C5610890CE7}"/>
              </a:ext>
            </a:extLst>
          </p:cNvPr>
          <p:cNvSpPr>
            <a:spLocks noGrp="1"/>
          </p:cNvSpPr>
          <p:nvPr>
            <p:ph type="body" sz="quarter" idx="44" hasCustomPrompt="1"/>
          </p:nvPr>
        </p:nvSpPr>
        <p:spPr>
          <a:xfrm>
            <a:off x="4864472" y="372457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89" name="Straight Connector 88">
            <a:extLst>
              <a:ext uri="{FF2B5EF4-FFF2-40B4-BE49-F238E27FC236}">
                <a16:creationId xmlns:a16="http://schemas.microsoft.com/office/drawing/2014/main" id="{E2BF938D-CBAC-4B44-9556-DF0C3CA4DF8F}"/>
              </a:ext>
            </a:extLst>
          </p:cNvPr>
          <p:cNvCxnSpPr>
            <a:cxnSpLocks/>
          </p:cNvCxnSpPr>
          <p:nvPr userDrawn="1"/>
        </p:nvCxnSpPr>
        <p:spPr>
          <a:xfrm>
            <a:off x="4747565" y="4644120"/>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0" name="Text Placeholder 20">
            <a:extLst>
              <a:ext uri="{FF2B5EF4-FFF2-40B4-BE49-F238E27FC236}">
                <a16:creationId xmlns:a16="http://schemas.microsoft.com/office/drawing/2014/main" id="{4603BFF9-BFF5-6841-9F55-9A442D528BCD}"/>
              </a:ext>
            </a:extLst>
          </p:cNvPr>
          <p:cNvSpPr>
            <a:spLocks noGrp="1"/>
          </p:cNvSpPr>
          <p:nvPr>
            <p:ph type="body" sz="quarter" idx="45" hasCustomPrompt="1"/>
          </p:nvPr>
        </p:nvSpPr>
        <p:spPr>
          <a:xfrm>
            <a:off x="4864472" y="4649257"/>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93" name="TextBox 92">
            <a:extLst>
              <a:ext uri="{FF2B5EF4-FFF2-40B4-BE49-F238E27FC236}">
                <a16:creationId xmlns:a16="http://schemas.microsoft.com/office/drawing/2014/main" id="{CB751464-8A7F-FA49-856D-4334A4C81AF1}"/>
              </a:ext>
            </a:extLst>
          </p:cNvPr>
          <p:cNvSpPr txBox="1"/>
          <p:nvPr userDrawn="1"/>
        </p:nvSpPr>
        <p:spPr>
          <a:xfrm>
            <a:off x="4305186" y="1903991"/>
            <a:ext cx="559286" cy="523220"/>
          </a:xfrm>
          <a:prstGeom prst="rect">
            <a:avLst/>
          </a:prstGeom>
        </p:spPr>
        <p:txBody>
          <a:bodyPr wrap="square" rtlCol="0">
            <a:spAutoFit/>
          </a:bodyPr>
          <a:lstStyle/>
          <a:p>
            <a:r>
              <a:rPr lang="en-GB" sz="2800" b="1" i="0">
                <a:solidFill>
                  <a:schemeClr val="accent1"/>
                </a:solidFill>
                <a:latin typeface="Helvetica" pitchFamily="2" charset="0"/>
              </a:rPr>
              <a:t>2</a:t>
            </a:r>
          </a:p>
        </p:txBody>
      </p:sp>
      <p:sp>
        <p:nvSpPr>
          <p:cNvPr id="94" name="Rectangle 93">
            <a:extLst>
              <a:ext uri="{FF2B5EF4-FFF2-40B4-BE49-F238E27FC236}">
                <a16:creationId xmlns:a16="http://schemas.microsoft.com/office/drawing/2014/main" id="{EF0334F8-DBA7-D04B-8D45-8AECC5324BDE}"/>
              </a:ext>
            </a:extLst>
          </p:cNvPr>
          <p:cNvSpPr/>
          <p:nvPr userDrawn="1"/>
        </p:nvSpPr>
        <p:spPr>
          <a:xfrm>
            <a:off x="8307365" y="1709768"/>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Straight Connector 94">
            <a:extLst>
              <a:ext uri="{FF2B5EF4-FFF2-40B4-BE49-F238E27FC236}">
                <a16:creationId xmlns:a16="http://schemas.microsoft.com/office/drawing/2014/main" id="{3D13591D-6EC1-AB4F-9969-6302E362784E}"/>
              </a:ext>
            </a:extLst>
          </p:cNvPr>
          <p:cNvCxnSpPr>
            <a:cxnSpLocks/>
          </p:cNvCxnSpPr>
          <p:nvPr userDrawn="1"/>
        </p:nvCxnSpPr>
        <p:spPr>
          <a:xfrm>
            <a:off x="8333913" y="2783697"/>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6" name="Text Placeholder 20">
            <a:extLst>
              <a:ext uri="{FF2B5EF4-FFF2-40B4-BE49-F238E27FC236}">
                <a16:creationId xmlns:a16="http://schemas.microsoft.com/office/drawing/2014/main" id="{14BEE252-4639-114D-AFB0-243BBC85FDD9}"/>
              </a:ext>
            </a:extLst>
          </p:cNvPr>
          <p:cNvSpPr>
            <a:spLocks noGrp="1"/>
          </p:cNvSpPr>
          <p:nvPr>
            <p:ph type="body" sz="quarter" idx="47" hasCustomPrompt="1"/>
          </p:nvPr>
        </p:nvSpPr>
        <p:spPr>
          <a:xfrm>
            <a:off x="8438944" y="1858215"/>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97" name="Text Placeholder 20">
            <a:extLst>
              <a:ext uri="{FF2B5EF4-FFF2-40B4-BE49-F238E27FC236}">
                <a16:creationId xmlns:a16="http://schemas.microsoft.com/office/drawing/2014/main" id="{FC6370E8-D75B-1844-A610-8287D1D8E14C}"/>
              </a:ext>
            </a:extLst>
          </p:cNvPr>
          <p:cNvSpPr>
            <a:spLocks noGrp="1"/>
          </p:cNvSpPr>
          <p:nvPr>
            <p:ph type="body" sz="quarter" idx="48" hasCustomPrompt="1"/>
          </p:nvPr>
        </p:nvSpPr>
        <p:spPr>
          <a:xfrm>
            <a:off x="8450820" y="2788834"/>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98" name="Straight Connector 97">
            <a:extLst>
              <a:ext uri="{FF2B5EF4-FFF2-40B4-BE49-F238E27FC236}">
                <a16:creationId xmlns:a16="http://schemas.microsoft.com/office/drawing/2014/main" id="{C0D779F3-6521-3942-8C9F-C999AF5DED7E}"/>
              </a:ext>
            </a:extLst>
          </p:cNvPr>
          <p:cNvCxnSpPr>
            <a:cxnSpLocks/>
          </p:cNvCxnSpPr>
          <p:nvPr userDrawn="1"/>
        </p:nvCxnSpPr>
        <p:spPr>
          <a:xfrm>
            <a:off x="8333913" y="3713185"/>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9" name="Text Placeholder 20">
            <a:extLst>
              <a:ext uri="{FF2B5EF4-FFF2-40B4-BE49-F238E27FC236}">
                <a16:creationId xmlns:a16="http://schemas.microsoft.com/office/drawing/2014/main" id="{C51B118D-026B-804A-A087-4B2F7080C4CB}"/>
              </a:ext>
            </a:extLst>
          </p:cNvPr>
          <p:cNvSpPr>
            <a:spLocks noGrp="1"/>
          </p:cNvSpPr>
          <p:nvPr>
            <p:ph type="body" sz="quarter" idx="49" hasCustomPrompt="1"/>
          </p:nvPr>
        </p:nvSpPr>
        <p:spPr>
          <a:xfrm>
            <a:off x="8450820" y="3718322"/>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100" name="Straight Connector 99">
            <a:extLst>
              <a:ext uri="{FF2B5EF4-FFF2-40B4-BE49-F238E27FC236}">
                <a16:creationId xmlns:a16="http://schemas.microsoft.com/office/drawing/2014/main" id="{9B8AEA03-D8B2-AF4D-8117-E6BB4A0DD32B}"/>
              </a:ext>
            </a:extLst>
          </p:cNvPr>
          <p:cNvCxnSpPr>
            <a:cxnSpLocks/>
          </p:cNvCxnSpPr>
          <p:nvPr userDrawn="1"/>
        </p:nvCxnSpPr>
        <p:spPr>
          <a:xfrm>
            <a:off x="8333913" y="4637868"/>
            <a:ext cx="0" cy="77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1" name="Text Placeholder 20">
            <a:extLst>
              <a:ext uri="{FF2B5EF4-FFF2-40B4-BE49-F238E27FC236}">
                <a16:creationId xmlns:a16="http://schemas.microsoft.com/office/drawing/2014/main" id="{BBEB6736-19B2-5B4F-8A4E-C0BDDEB6F0BD}"/>
              </a:ext>
            </a:extLst>
          </p:cNvPr>
          <p:cNvSpPr>
            <a:spLocks noGrp="1"/>
          </p:cNvSpPr>
          <p:nvPr>
            <p:ph type="body" sz="quarter" idx="50" hasCustomPrompt="1"/>
          </p:nvPr>
        </p:nvSpPr>
        <p:spPr>
          <a:xfrm>
            <a:off x="8450820" y="4643005"/>
            <a:ext cx="2916256" cy="767238"/>
          </a:xfrm>
          <a:prstGeom prst="rect">
            <a:avLst/>
          </a:prstGeom>
        </p:spPr>
        <p:txBody>
          <a:bodyPr lIns="72000" tIns="36000" rIns="72000" bIns="36000" anchor="ctr">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4" name="TextBox 103">
            <a:extLst>
              <a:ext uri="{FF2B5EF4-FFF2-40B4-BE49-F238E27FC236}">
                <a16:creationId xmlns:a16="http://schemas.microsoft.com/office/drawing/2014/main" id="{6969653A-6C2C-8147-ACCB-D4F972B28B3B}"/>
              </a:ext>
            </a:extLst>
          </p:cNvPr>
          <p:cNvSpPr txBox="1"/>
          <p:nvPr userDrawn="1"/>
        </p:nvSpPr>
        <p:spPr>
          <a:xfrm>
            <a:off x="7891534" y="1897739"/>
            <a:ext cx="559286" cy="523220"/>
          </a:xfrm>
          <a:prstGeom prst="rect">
            <a:avLst/>
          </a:prstGeom>
        </p:spPr>
        <p:txBody>
          <a:bodyPr wrap="square" rtlCol="0">
            <a:spAutoFit/>
          </a:bodyPr>
          <a:lstStyle/>
          <a:p>
            <a:r>
              <a:rPr lang="en-GB" sz="2800" b="1" i="0">
                <a:solidFill>
                  <a:schemeClr val="accent1"/>
                </a:solidFill>
                <a:latin typeface="Helvetica" pitchFamily="2" charset="0"/>
              </a:rPr>
              <a:t>3</a:t>
            </a:r>
          </a:p>
        </p:txBody>
      </p:sp>
      <p:sp>
        <p:nvSpPr>
          <p:cNvPr id="38" name="Title 1">
            <a:extLst>
              <a:ext uri="{FF2B5EF4-FFF2-40B4-BE49-F238E27FC236}">
                <a16:creationId xmlns:a16="http://schemas.microsoft.com/office/drawing/2014/main" id="{00D9EB27-355B-C0ED-84F3-A25252382F8B}"/>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35" name="Bilde 3">
            <a:extLst>
              <a:ext uri="{FF2B5EF4-FFF2-40B4-BE49-F238E27FC236}">
                <a16:creationId xmlns:a16="http://schemas.microsoft.com/office/drawing/2014/main" id="{FE2C0ED3-4F0D-76FE-4A81-DA2AEA5E0E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36" name="Date Placeholder 2">
            <a:extLst>
              <a:ext uri="{FF2B5EF4-FFF2-40B4-BE49-F238E27FC236}">
                <a16:creationId xmlns:a16="http://schemas.microsoft.com/office/drawing/2014/main" id="{5AC4A76A-0175-9E3F-9CDE-1DAD263CF72D}"/>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37" name="Footer Placeholder 3">
            <a:extLst>
              <a:ext uri="{FF2B5EF4-FFF2-40B4-BE49-F238E27FC236}">
                <a16:creationId xmlns:a16="http://schemas.microsoft.com/office/drawing/2014/main" id="{5E45CE91-9625-5A6C-8A2E-9C439162CFDF}"/>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39" name="Slide Number Placeholder 4">
            <a:extLst>
              <a:ext uri="{FF2B5EF4-FFF2-40B4-BE49-F238E27FC236}">
                <a16:creationId xmlns:a16="http://schemas.microsoft.com/office/drawing/2014/main" id="{5B2B34E3-8FF7-63CC-43BD-9FB1EDD01E08}"/>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7961229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Blanc with logo 1">
    <p:spTree>
      <p:nvGrpSpPr>
        <p:cNvPr id="1" name=""/>
        <p:cNvGrpSpPr/>
        <p:nvPr/>
      </p:nvGrpSpPr>
      <p:grpSpPr>
        <a:xfrm>
          <a:off x="0" y="0"/>
          <a:ext cx="0" cy="0"/>
          <a:chOff x="0" y="0"/>
          <a:chExt cx="0" cy="0"/>
        </a:xfrm>
      </p:grpSpPr>
      <p:sp>
        <p:nvSpPr>
          <p:cNvPr id="11" name="Plassholder for bilde 10">
            <a:extLst>
              <a:ext uri="{FF2B5EF4-FFF2-40B4-BE49-F238E27FC236}">
                <a16:creationId xmlns:a16="http://schemas.microsoft.com/office/drawing/2014/main" id="{59F8AE11-E06E-436F-96C7-F71AFAA57FFF}"/>
              </a:ext>
            </a:extLst>
          </p:cNvPr>
          <p:cNvSpPr>
            <a:spLocks noGrp="1"/>
          </p:cNvSpPr>
          <p:nvPr>
            <p:ph type="pic" sz="quarter" idx="10" hasCustomPrompt="1"/>
          </p:nvPr>
        </p:nvSpPr>
        <p:spPr>
          <a:xfrm>
            <a:off x="0" y="982755"/>
            <a:ext cx="6016212" cy="5219923"/>
          </a:xfrm>
          <a:prstGeom prst="rect">
            <a:avLst/>
          </a:prstGeom>
        </p:spPr>
        <p:txBody>
          <a:bodyPr anchor="ctr"/>
          <a:lstStyle>
            <a:lvl1pPr marL="0" indent="0" algn="ctr">
              <a:buNone/>
              <a:defRPr b="0" i="0">
                <a:latin typeface="Helvetica" pitchFamily="2" charset="0"/>
              </a:defRPr>
            </a:lvl1pPr>
          </a:lstStyle>
          <a:p>
            <a:r>
              <a:rPr lang="en-GB" noProof="0"/>
              <a:t>Picture</a:t>
            </a:r>
          </a:p>
        </p:txBody>
      </p:sp>
      <p:sp>
        <p:nvSpPr>
          <p:cNvPr id="9" name="!!Blue">
            <a:extLst>
              <a:ext uri="{FF2B5EF4-FFF2-40B4-BE49-F238E27FC236}">
                <a16:creationId xmlns:a16="http://schemas.microsoft.com/office/drawing/2014/main" id="{907138BB-FD71-4DDA-9F55-1FF4CDA5543D}"/>
              </a:ext>
            </a:extLst>
          </p:cNvPr>
          <p:cNvSpPr/>
          <p:nvPr userDrawn="1"/>
        </p:nvSpPr>
        <p:spPr>
          <a:xfrm>
            <a:off x="6016596" y="982416"/>
            <a:ext cx="182593" cy="52202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5" name="Rectangle 7">
            <a:extLst>
              <a:ext uri="{FF2B5EF4-FFF2-40B4-BE49-F238E27FC236}">
                <a16:creationId xmlns:a16="http://schemas.microsoft.com/office/drawing/2014/main" id="{6103F436-6829-4D28-B07F-F2B65F705AFE}"/>
              </a:ext>
            </a:extLst>
          </p:cNvPr>
          <p:cNvSpPr/>
          <p:nvPr userDrawn="1"/>
        </p:nvSpPr>
        <p:spPr>
          <a:xfrm>
            <a:off x="6199573" y="975656"/>
            <a:ext cx="5992427" cy="52270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13" name="Plassholder for tekst 12">
            <a:extLst>
              <a:ext uri="{FF2B5EF4-FFF2-40B4-BE49-F238E27FC236}">
                <a16:creationId xmlns:a16="http://schemas.microsoft.com/office/drawing/2014/main" id="{E457044F-02F3-455A-A33C-E43CB2EAE94C}"/>
              </a:ext>
            </a:extLst>
          </p:cNvPr>
          <p:cNvSpPr>
            <a:spLocks noGrp="1"/>
          </p:cNvSpPr>
          <p:nvPr>
            <p:ph type="body" sz="quarter" idx="11" hasCustomPrompt="1"/>
          </p:nvPr>
        </p:nvSpPr>
        <p:spPr>
          <a:xfrm>
            <a:off x="6812155" y="1644200"/>
            <a:ext cx="4767262" cy="120015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3600" b="1" i="0" cap="all" baseline="0">
                <a:solidFill>
                  <a:schemeClr val="accent1"/>
                </a:solidFill>
                <a:latin typeface="Helvetica" pitchFamily="2" charset="0"/>
              </a:defRPr>
            </a:lvl1pPr>
          </a:lstStyle>
          <a:p>
            <a:pPr lvl="0"/>
            <a:r>
              <a:rPr lang="en-GB" noProof="0"/>
              <a:t>PRESENTATION TITLE HERE</a:t>
            </a:r>
          </a:p>
          <a:p>
            <a:pPr lvl="0"/>
            <a:endParaRPr lang="en-GB" noProof="0"/>
          </a:p>
        </p:txBody>
      </p:sp>
      <p:sp>
        <p:nvSpPr>
          <p:cNvPr id="17" name="Plassholder for tekst 16">
            <a:extLst>
              <a:ext uri="{FF2B5EF4-FFF2-40B4-BE49-F238E27FC236}">
                <a16:creationId xmlns:a16="http://schemas.microsoft.com/office/drawing/2014/main" id="{15724569-D2C2-48A0-9B43-28E456B68EC9}"/>
              </a:ext>
            </a:extLst>
          </p:cNvPr>
          <p:cNvSpPr>
            <a:spLocks noGrp="1"/>
          </p:cNvSpPr>
          <p:nvPr>
            <p:ph type="body" sz="quarter" idx="13" hasCustomPrompt="1"/>
          </p:nvPr>
        </p:nvSpPr>
        <p:spPr>
          <a:xfrm>
            <a:off x="6812155" y="3589168"/>
            <a:ext cx="4767262" cy="40005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000" b="0" i="0">
                <a:latin typeface="Helvetica Light" panose="020B0403020202020204" pitchFamily="34" charset="0"/>
                <a:cs typeface="Arial" panose="020B0604020202020204" pitchFamily="34" charset="0"/>
              </a:defRPr>
            </a:lvl1pPr>
          </a:lstStyle>
          <a:p>
            <a:pPr lvl="0"/>
            <a:r>
              <a:rPr lang="en-GB" noProof="0" err="1"/>
              <a:t>Expertice</a:t>
            </a:r>
            <a:r>
              <a:rPr lang="en-GB" noProof="0"/>
              <a:t> you need. Service deserved!</a:t>
            </a:r>
          </a:p>
        </p:txBody>
      </p:sp>
      <p:pic>
        <p:nvPicPr>
          <p:cNvPr id="24" name="Bilde 23">
            <a:extLst>
              <a:ext uri="{FF2B5EF4-FFF2-40B4-BE49-F238E27FC236}">
                <a16:creationId xmlns:a16="http://schemas.microsoft.com/office/drawing/2014/main" id="{037B8367-F3A2-4AD3-83BE-6E150F3918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749" y="412922"/>
            <a:ext cx="1825937" cy="319232"/>
          </a:xfrm>
          <a:prstGeom prst="rect">
            <a:avLst/>
          </a:prstGeom>
        </p:spPr>
      </p:pic>
      <p:sp>
        <p:nvSpPr>
          <p:cNvPr id="3" name="Plassholder for tekst 2">
            <a:extLst>
              <a:ext uri="{FF2B5EF4-FFF2-40B4-BE49-F238E27FC236}">
                <a16:creationId xmlns:a16="http://schemas.microsoft.com/office/drawing/2014/main" id="{41C4059B-2100-4BD2-8E98-9BBE48FD6F20}"/>
              </a:ext>
            </a:extLst>
          </p:cNvPr>
          <p:cNvSpPr>
            <a:spLocks noGrp="1"/>
          </p:cNvSpPr>
          <p:nvPr>
            <p:ph type="body" sz="quarter" idx="14" hasCustomPrompt="1"/>
          </p:nvPr>
        </p:nvSpPr>
        <p:spPr>
          <a:xfrm>
            <a:off x="6811963" y="4178300"/>
            <a:ext cx="4791075" cy="1774825"/>
          </a:xfrm>
          <a:prstGeom prst="rect">
            <a:avLst/>
          </a:prstGeom>
        </p:spPr>
        <p:txBody>
          <a:bodyPr/>
          <a:lstStyle>
            <a:lvl1pPr marL="0" indent="0">
              <a:buNone/>
              <a:defRPr sz="1400" b="0" i="0">
                <a:latin typeface="Helvetica Light" panose="020B0403020202020204" pitchFamily="34" charset="0"/>
              </a:defRPr>
            </a:lvl1pPr>
          </a:lstStyle>
          <a:p>
            <a:pPr lvl="0"/>
            <a:r>
              <a:rPr lang="en-GB" noProof="0"/>
              <a:t>Lorem ipsum </a:t>
            </a:r>
            <a:r>
              <a:rPr lang="en-GB" noProof="0" err="1"/>
              <a:t>dolor</a:t>
            </a:r>
            <a:r>
              <a:rPr lang="en-GB" noProof="0"/>
              <a:t> sit </a:t>
            </a:r>
            <a:r>
              <a:rPr lang="en-GB" noProof="0" err="1"/>
              <a:t>amet</a:t>
            </a:r>
            <a:r>
              <a:rPr lang="en-GB" noProof="0"/>
              <a:t>, </a:t>
            </a:r>
            <a:r>
              <a:rPr lang="en-GB" noProof="0" err="1"/>
              <a:t>consectetur</a:t>
            </a:r>
            <a:r>
              <a:rPr lang="en-GB" noProof="0"/>
              <a:t> </a:t>
            </a:r>
            <a:r>
              <a:rPr lang="en-GB" noProof="0" err="1"/>
              <a:t>adipiscing</a:t>
            </a:r>
            <a:r>
              <a:rPr lang="en-GB" noProof="0"/>
              <a:t> </a:t>
            </a:r>
            <a:r>
              <a:rPr lang="en-GB" noProof="0" err="1"/>
              <a:t>elit</a:t>
            </a:r>
            <a:r>
              <a:rPr lang="en-GB" noProof="0"/>
              <a:t>. </a:t>
            </a:r>
            <a:r>
              <a:rPr lang="en-GB" noProof="0" err="1"/>
              <a:t>Pellentesque</a:t>
            </a:r>
            <a:r>
              <a:rPr lang="en-GB" noProof="0"/>
              <a:t> </a:t>
            </a:r>
            <a:r>
              <a:rPr lang="en-GB" noProof="0" err="1"/>
              <a:t>scelerisque</a:t>
            </a:r>
            <a:r>
              <a:rPr lang="en-GB" noProof="0"/>
              <a:t> </a:t>
            </a:r>
            <a:r>
              <a:rPr lang="en-GB" noProof="0" err="1"/>
              <a:t>malesuada</a:t>
            </a:r>
            <a:r>
              <a:rPr lang="en-GB" noProof="0"/>
              <a:t> libero a </a:t>
            </a:r>
            <a:r>
              <a:rPr lang="en-GB" noProof="0" err="1"/>
              <a:t>pellentesque</a:t>
            </a:r>
            <a:r>
              <a:rPr lang="en-GB" noProof="0"/>
              <a:t>. Morbi </a:t>
            </a:r>
            <a:r>
              <a:rPr lang="en-GB" noProof="0" err="1"/>
              <a:t>orci</a:t>
            </a:r>
            <a:r>
              <a:rPr lang="en-GB" noProof="0"/>
              <a:t> dui, fermentum </a:t>
            </a:r>
            <a:r>
              <a:rPr lang="en-GB" noProof="0" err="1"/>
              <a:t>eget</a:t>
            </a:r>
            <a:r>
              <a:rPr lang="en-GB" noProof="0"/>
              <a:t> </a:t>
            </a:r>
            <a:r>
              <a:rPr lang="en-GB" noProof="0" err="1"/>
              <a:t>lectus</a:t>
            </a:r>
            <a:r>
              <a:rPr lang="en-GB" noProof="0"/>
              <a:t> </a:t>
            </a:r>
            <a:r>
              <a:rPr lang="en-GB" noProof="0" err="1"/>
              <a:t>ornare</a:t>
            </a:r>
            <a:r>
              <a:rPr lang="en-GB" noProof="0"/>
              <a:t>, </a:t>
            </a:r>
            <a:r>
              <a:rPr lang="en-GB" noProof="0" err="1"/>
              <a:t>viverra</a:t>
            </a:r>
            <a:r>
              <a:rPr lang="en-GB" noProof="0"/>
              <a:t> </a:t>
            </a:r>
            <a:r>
              <a:rPr lang="en-GB" noProof="0" err="1"/>
              <a:t>dignissim</a:t>
            </a:r>
            <a:r>
              <a:rPr lang="en-GB" noProof="0"/>
              <a:t> </a:t>
            </a:r>
            <a:r>
              <a:rPr lang="en-GB" noProof="0" err="1"/>
              <a:t>risus</a:t>
            </a:r>
            <a:r>
              <a:rPr lang="en-GB" noProof="0"/>
              <a:t>. </a:t>
            </a:r>
            <a:r>
              <a:rPr lang="en-GB" noProof="0" err="1"/>
              <a:t>Donec</a:t>
            </a:r>
            <a:r>
              <a:rPr lang="en-GB" noProof="0"/>
              <a:t> lacinia </a:t>
            </a:r>
            <a:r>
              <a:rPr lang="en-GB" noProof="0" err="1"/>
              <a:t>neque</a:t>
            </a:r>
            <a:r>
              <a:rPr lang="en-GB" noProof="0"/>
              <a:t> non </a:t>
            </a:r>
            <a:r>
              <a:rPr lang="en-GB" noProof="0" err="1"/>
              <a:t>velit</a:t>
            </a:r>
            <a:r>
              <a:rPr lang="en-GB" noProof="0"/>
              <a:t> dictum </a:t>
            </a:r>
            <a:r>
              <a:rPr lang="en-GB" noProof="0" err="1"/>
              <a:t>tincidunt</a:t>
            </a:r>
            <a:r>
              <a:rPr lang="en-GB" noProof="0"/>
              <a:t>. </a:t>
            </a:r>
            <a:r>
              <a:rPr lang="en-GB" noProof="0" err="1"/>
              <a:t>Etiam</a:t>
            </a:r>
            <a:r>
              <a:rPr lang="en-GB" noProof="0"/>
              <a:t> </a:t>
            </a:r>
            <a:r>
              <a:rPr lang="en-GB" noProof="0" err="1"/>
              <a:t>lacus</a:t>
            </a:r>
            <a:r>
              <a:rPr lang="en-GB" noProof="0"/>
              <a:t> </a:t>
            </a:r>
            <a:r>
              <a:rPr lang="en-GB" noProof="0" err="1"/>
              <a:t>neque</a:t>
            </a:r>
            <a:r>
              <a:rPr lang="en-GB" noProof="0"/>
              <a:t>, </a:t>
            </a:r>
            <a:r>
              <a:rPr lang="en-GB" noProof="0" err="1"/>
              <a:t>mattis</a:t>
            </a:r>
            <a:r>
              <a:rPr lang="en-GB" noProof="0"/>
              <a:t> </a:t>
            </a:r>
            <a:r>
              <a:rPr lang="en-GB" noProof="0" err="1"/>
              <a:t>ut</a:t>
            </a:r>
            <a:r>
              <a:rPr lang="en-GB" noProof="0"/>
              <a:t> </a:t>
            </a:r>
            <a:r>
              <a:rPr lang="en-GB" noProof="0" err="1"/>
              <a:t>sem</a:t>
            </a:r>
            <a:r>
              <a:rPr lang="en-GB" noProof="0"/>
              <a:t> sit </a:t>
            </a:r>
            <a:r>
              <a:rPr lang="en-GB" noProof="0" err="1"/>
              <a:t>amet</a:t>
            </a:r>
            <a:r>
              <a:rPr lang="en-GB" noProof="0"/>
              <a:t>, </a:t>
            </a:r>
            <a:r>
              <a:rPr lang="en-GB" noProof="0" err="1"/>
              <a:t>accumsan</a:t>
            </a:r>
            <a:r>
              <a:rPr lang="en-GB" noProof="0"/>
              <a:t> </a:t>
            </a:r>
            <a:r>
              <a:rPr lang="en-GB" noProof="0" err="1"/>
              <a:t>egestas</a:t>
            </a:r>
            <a:r>
              <a:rPr lang="en-GB" noProof="0"/>
              <a:t> </a:t>
            </a:r>
            <a:r>
              <a:rPr lang="en-GB" noProof="0" err="1"/>
              <a:t>nulla</a:t>
            </a:r>
            <a:r>
              <a:rPr lang="en-GB" noProof="0"/>
              <a:t>. </a:t>
            </a:r>
            <a:r>
              <a:rPr lang="en-GB" noProof="0" err="1"/>
              <a:t>Nulla</a:t>
            </a:r>
            <a:r>
              <a:rPr lang="en-GB" noProof="0"/>
              <a:t> sit </a:t>
            </a:r>
            <a:r>
              <a:rPr lang="en-GB" noProof="0" err="1"/>
              <a:t>amet</a:t>
            </a:r>
            <a:r>
              <a:rPr lang="en-GB" noProof="0"/>
              <a:t> </a:t>
            </a:r>
            <a:r>
              <a:rPr lang="en-GB" noProof="0" err="1"/>
              <a:t>nulla</a:t>
            </a:r>
            <a:r>
              <a:rPr lang="en-GB" noProof="0"/>
              <a:t> </a:t>
            </a:r>
            <a:r>
              <a:rPr lang="en-GB" noProof="0" err="1"/>
              <a:t>commodo</a:t>
            </a:r>
            <a:r>
              <a:rPr lang="en-GB" noProof="0"/>
              <a:t>, </a:t>
            </a:r>
            <a:r>
              <a:rPr lang="en-GB" noProof="0" err="1"/>
              <a:t>elementum</a:t>
            </a:r>
            <a:r>
              <a:rPr lang="en-GB" noProof="0"/>
              <a:t> </a:t>
            </a:r>
            <a:r>
              <a:rPr lang="en-GB" noProof="0" err="1"/>
              <a:t>sapien</a:t>
            </a:r>
            <a:r>
              <a:rPr lang="en-GB" noProof="0"/>
              <a:t> </a:t>
            </a:r>
            <a:r>
              <a:rPr lang="en-GB" noProof="0" err="1"/>
              <a:t>eu</a:t>
            </a:r>
            <a:r>
              <a:rPr lang="en-GB" noProof="0"/>
              <a:t>, </a:t>
            </a:r>
            <a:r>
              <a:rPr lang="en-GB" noProof="0" err="1"/>
              <a:t>egestas</a:t>
            </a:r>
            <a:r>
              <a:rPr lang="en-GB" noProof="0"/>
              <a:t> </a:t>
            </a:r>
            <a:r>
              <a:rPr lang="en-GB" noProof="0" err="1"/>
              <a:t>purus</a:t>
            </a:r>
            <a:r>
              <a:rPr lang="en-GB" noProof="0"/>
              <a:t>. </a:t>
            </a:r>
          </a:p>
        </p:txBody>
      </p:sp>
    </p:spTree>
    <p:extLst>
      <p:ext uri="{BB962C8B-B14F-4D97-AF65-F5344CB8AC3E}">
        <p14:creationId xmlns:p14="http://schemas.microsoft.com/office/powerpoint/2010/main" val="13355548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8_Custom Layout">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C7B5656-DA3F-9847-9792-691229FFB730}"/>
              </a:ext>
            </a:extLst>
          </p:cNvPr>
          <p:cNvSpPr/>
          <p:nvPr userDrawn="1"/>
        </p:nvSpPr>
        <p:spPr>
          <a:xfrm>
            <a:off x="1081661" y="1716020"/>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213240" y="1864467"/>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225116" y="2795085"/>
            <a:ext cx="2916256" cy="2636015"/>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 name="TextBox 2">
            <a:extLst>
              <a:ext uri="{FF2B5EF4-FFF2-40B4-BE49-F238E27FC236}">
                <a16:creationId xmlns:a16="http://schemas.microsoft.com/office/drawing/2014/main" id="{F3A29A19-CBAD-DB4D-A8E8-E75B17885703}"/>
              </a:ext>
            </a:extLst>
          </p:cNvPr>
          <p:cNvSpPr txBox="1"/>
          <p:nvPr userDrawn="1"/>
        </p:nvSpPr>
        <p:spPr>
          <a:xfrm>
            <a:off x="665830" y="1903991"/>
            <a:ext cx="559286" cy="523220"/>
          </a:xfrm>
          <a:prstGeom prst="rect">
            <a:avLst/>
          </a:prstGeom>
        </p:spPr>
        <p:txBody>
          <a:bodyPr wrap="square" rtlCol="0">
            <a:spAutoFit/>
          </a:bodyPr>
          <a:lstStyle/>
          <a:p>
            <a:r>
              <a:rPr lang="en-GB" sz="2800" b="1" i="0">
                <a:solidFill>
                  <a:schemeClr val="accent1"/>
                </a:solidFill>
                <a:latin typeface="Helvetica" pitchFamily="2" charset="0"/>
              </a:rPr>
              <a:t>1</a:t>
            </a:r>
          </a:p>
        </p:txBody>
      </p:sp>
      <p:sp>
        <p:nvSpPr>
          <p:cNvPr id="51" name="Rectangle 50">
            <a:extLst>
              <a:ext uri="{FF2B5EF4-FFF2-40B4-BE49-F238E27FC236}">
                <a16:creationId xmlns:a16="http://schemas.microsoft.com/office/drawing/2014/main" id="{25FF2627-BFD7-7245-8BBD-EF14EE38529E}"/>
              </a:ext>
            </a:extLst>
          </p:cNvPr>
          <p:cNvSpPr/>
          <p:nvPr userDrawn="1"/>
        </p:nvSpPr>
        <p:spPr>
          <a:xfrm>
            <a:off x="4721017" y="1716020"/>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 Placeholder 20">
            <a:extLst>
              <a:ext uri="{FF2B5EF4-FFF2-40B4-BE49-F238E27FC236}">
                <a16:creationId xmlns:a16="http://schemas.microsoft.com/office/drawing/2014/main" id="{DF30A173-A5B6-1947-B430-0C6C140A1F01}"/>
              </a:ext>
            </a:extLst>
          </p:cNvPr>
          <p:cNvSpPr>
            <a:spLocks noGrp="1"/>
          </p:cNvSpPr>
          <p:nvPr>
            <p:ph type="body" sz="quarter" idx="42" hasCustomPrompt="1"/>
          </p:nvPr>
        </p:nvSpPr>
        <p:spPr>
          <a:xfrm>
            <a:off x="4852596" y="1864467"/>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60" name="Text Placeholder 20">
            <a:extLst>
              <a:ext uri="{FF2B5EF4-FFF2-40B4-BE49-F238E27FC236}">
                <a16:creationId xmlns:a16="http://schemas.microsoft.com/office/drawing/2014/main" id="{5B1BD81B-610E-C040-9E12-9890AAD2A079}"/>
              </a:ext>
            </a:extLst>
          </p:cNvPr>
          <p:cNvSpPr>
            <a:spLocks noGrp="1"/>
          </p:cNvSpPr>
          <p:nvPr>
            <p:ph type="body" sz="quarter" idx="43" hasCustomPrompt="1"/>
          </p:nvPr>
        </p:nvSpPr>
        <p:spPr>
          <a:xfrm>
            <a:off x="4864472" y="2795085"/>
            <a:ext cx="2916256" cy="2636015"/>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93" name="TextBox 92">
            <a:extLst>
              <a:ext uri="{FF2B5EF4-FFF2-40B4-BE49-F238E27FC236}">
                <a16:creationId xmlns:a16="http://schemas.microsoft.com/office/drawing/2014/main" id="{CB751464-8A7F-FA49-856D-4334A4C81AF1}"/>
              </a:ext>
            </a:extLst>
          </p:cNvPr>
          <p:cNvSpPr txBox="1"/>
          <p:nvPr userDrawn="1"/>
        </p:nvSpPr>
        <p:spPr>
          <a:xfrm>
            <a:off x="4305186" y="1903991"/>
            <a:ext cx="559286" cy="523220"/>
          </a:xfrm>
          <a:prstGeom prst="rect">
            <a:avLst/>
          </a:prstGeom>
        </p:spPr>
        <p:txBody>
          <a:bodyPr wrap="square" rtlCol="0">
            <a:spAutoFit/>
          </a:bodyPr>
          <a:lstStyle/>
          <a:p>
            <a:r>
              <a:rPr lang="en-GB" sz="2800" b="1" i="0">
                <a:solidFill>
                  <a:schemeClr val="accent1"/>
                </a:solidFill>
                <a:latin typeface="Helvetica" pitchFamily="2" charset="0"/>
              </a:rPr>
              <a:t>2</a:t>
            </a:r>
          </a:p>
        </p:txBody>
      </p:sp>
      <p:sp>
        <p:nvSpPr>
          <p:cNvPr id="94" name="Rectangle 93">
            <a:extLst>
              <a:ext uri="{FF2B5EF4-FFF2-40B4-BE49-F238E27FC236}">
                <a16:creationId xmlns:a16="http://schemas.microsoft.com/office/drawing/2014/main" id="{EF0334F8-DBA7-D04B-8D45-8AECC5324BDE}"/>
              </a:ext>
            </a:extLst>
          </p:cNvPr>
          <p:cNvSpPr/>
          <p:nvPr userDrawn="1"/>
        </p:nvSpPr>
        <p:spPr>
          <a:xfrm>
            <a:off x="8307365" y="1709768"/>
            <a:ext cx="3065442" cy="897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1108209" y="2804934"/>
            <a:ext cx="0" cy="264115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D94247F-1687-1C46-BCBA-B35359725D0B}"/>
              </a:ext>
            </a:extLst>
          </p:cNvPr>
          <p:cNvCxnSpPr>
            <a:cxnSpLocks/>
          </p:cNvCxnSpPr>
          <p:nvPr userDrawn="1"/>
        </p:nvCxnSpPr>
        <p:spPr>
          <a:xfrm>
            <a:off x="4747565" y="2804934"/>
            <a:ext cx="0" cy="264115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3D13591D-6EC1-AB4F-9969-6302E362784E}"/>
              </a:ext>
            </a:extLst>
          </p:cNvPr>
          <p:cNvCxnSpPr>
            <a:cxnSpLocks/>
          </p:cNvCxnSpPr>
          <p:nvPr userDrawn="1"/>
        </p:nvCxnSpPr>
        <p:spPr>
          <a:xfrm>
            <a:off x="8333913" y="2783696"/>
            <a:ext cx="0" cy="264115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6" name="Text Placeholder 20">
            <a:extLst>
              <a:ext uri="{FF2B5EF4-FFF2-40B4-BE49-F238E27FC236}">
                <a16:creationId xmlns:a16="http://schemas.microsoft.com/office/drawing/2014/main" id="{14BEE252-4639-114D-AFB0-243BBC85FDD9}"/>
              </a:ext>
            </a:extLst>
          </p:cNvPr>
          <p:cNvSpPr>
            <a:spLocks noGrp="1"/>
          </p:cNvSpPr>
          <p:nvPr userDrawn="1">
            <p:ph type="body" sz="quarter" idx="47" hasCustomPrompt="1"/>
          </p:nvPr>
        </p:nvSpPr>
        <p:spPr>
          <a:xfrm>
            <a:off x="8438944" y="1858215"/>
            <a:ext cx="2754203" cy="605707"/>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97" name="Text Placeholder 20">
            <a:extLst>
              <a:ext uri="{FF2B5EF4-FFF2-40B4-BE49-F238E27FC236}">
                <a16:creationId xmlns:a16="http://schemas.microsoft.com/office/drawing/2014/main" id="{FC6370E8-D75B-1844-A610-8287D1D8E14C}"/>
              </a:ext>
            </a:extLst>
          </p:cNvPr>
          <p:cNvSpPr>
            <a:spLocks noGrp="1"/>
          </p:cNvSpPr>
          <p:nvPr userDrawn="1">
            <p:ph type="body" sz="quarter" idx="48" hasCustomPrompt="1"/>
          </p:nvPr>
        </p:nvSpPr>
        <p:spPr>
          <a:xfrm>
            <a:off x="8450820" y="2788833"/>
            <a:ext cx="2916256" cy="2636015"/>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104" name="TextBox 103">
            <a:extLst>
              <a:ext uri="{FF2B5EF4-FFF2-40B4-BE49-F238E27FC236}">
                <a16:creationId xmlns:a16="http://schemas.microsoft.com/office/drawing/2014/main" id="{6969653A-6C2C-8147-ACCB-D4F972B28B3B}"/>
              </a:ext>
            </a:extLst>
          </p:cNvPr>
          <p:cNvSpPr txBox="1"/>
          <p:nvPr userDrawn="1"/>
        </p:nvSpPr>
        <p:spPr>
          <a:xfrm>
            <a:off x="7891534" y="1897739"/>
            <a:ext cx="559286" cy="523220"/>
          </a:xfrm>
          <a:prstGeom prst="rect">
            <a:avLst/>
          </a:prstGeom>
        </p:spPr>
        <p:txBody>
          <a:bodyPr wrap="square" rtlCol="0">
            <a:spAutoFit/>
          </a:bodyPr>
          <a:lstStyle/>
          <a:p>
            <a:r>
              <a:rPr lang="en-GB" sz="2800" b="1" i="0">
                <a:solidFill>
                  <a:schemeClr val="accent1"/>
                </a:solidFill>
                <a:latin typeface="Helvetica" pitchFamily="2" charset="0"/>
              </a:rPr>
              <a:t>3</a:t>
            </a:r>
          </a:p>
        </p:txBody>
      </p:sp>
      <p:sp>
        <p:nvSpPr>
          <p:cNvPr id="38" name="Title 1">
            <a:extLst>
              <a:ext uri="{FF2B5EF4-FFF2-40B4-BE49-F238E27FC236}">
                <a16:creationId xmlns:a16="http://schemas.microsoft.com/office/drawing/2014/main" id="{00D9EB27-355B-C0ED-84F3-A25252382F8B}"/>
              </a:ext>
            </a:extLst>
          </p:cNvPr>
          <p:cNvSpPr>
            <a:spLocks noGrp="1"/>
          </p:cNvSpPr>
          <p:nvPr userDrawn="1">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4" name="Bilde 3">
            <a:extLst>
              <a:ext uri="{FF2B5EF4-FFF2-40B4-BE49-F238E27FC236}">
                <a16:creationId xmlns:a16="http://schemas.microsoft.com/office/drawing/2014/main" id="{DBA068A6-7045-9B50-BF91-73FC6D7BEB6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802E4C73-E5CC-C29C-AE6D-CF730A25DFAF}"/>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25" name="Footer Placeholder 3">
            <a:extLst>
              <a:ext uri="{FF2B5EF4-FFF2-40B4-BE49-F238E27FC236}">
                <a16:creationId xmlns:a16="http://schemas.microsoft.com/office/drawing/2014/main" id="{82B0D240-8EAB-165B-6D33-B23105C34323}"/>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26" name="Slide Number Placeholder 4">
            <a:extLst>
              <a:ext uri="{FF2B5EF4-FFF2-40B4-BE49-F238E27FC236}">
                <a16:creationId xmlns:a16="http://schemas.microsoft.com/office/drawing/2014/main" id="{50FA445D-D6C4-B3F6-746A-1862AB3F8648}"/>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28445192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0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B1796F2-5DEC-996C-ABCB-7228BC4850E5}"/>
              </a:ext>
            </a:extLst>
          </p:cNvPr>
          <p:cNvSpPr>
            <a:spLocks noGrp="1"/>
          </p:cNvSpPr>
          <p:nvPr>
            <p:ph type="pic" sz="quarter" idx="52"/>
          </p:nvPr>
        </p:nvSpPr>
        <p:spPr>
          <a:xfrm>
            <a:off x="941547" y="1445066"/>
            <a:ext cx="3060700" cy="1820862"/>
          </a:xfrm>
          <a:prstGeom prst="rect">
            <a:avLst/>
          </a:prstGeom>
        </p:spPr>
        <p:txBody>
          <a:bodyPr anchor="ctr"/>
          <a:lstStyle>
            <a:lvl1pPr algn="ctr">
              <a:defRPr sz="1800"/>
            </a:lvl1pPr>
          </a:lstStyle>
          <a:p>
            <a:r>
              <a:rPr lang="en-GB"/>
              <a:t>Click icon to add picture</a:t>
            </a:r>
            <a:endParaRPr lang="en-US"/>
          </a:p>
        </p:txBody>
      </p:sp>
      <p:sp>
        <p:nvSpPr>
          <p:cNvPr id="45" name="Rectangle 44">
            <a:extLst>
              <a:ext uri="{FF2B5EF4-FFF2-40B4-BE49-F238E27FC236}">
                <a16:creationId xmlns:a16="http://schemas.microsoft.com/office/drawing/2014/main" id="{1C7B5656-DA3F-9847-9792-691229FFB730}"/>
              </a:ext>
            </a:extLst>
          </p:cNvPr>
          <p:cNvSpPr/>
          <p:nvPr userDrawn="1"/>
        </p:nvSpPr>
        <p:spPr>
          <a:xfrm>
            <a:off x="942119" y="3332603"/>
            <a:ext cx="3065442" cy="28072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061370" y="3403048"/>
            <a:ext cx="2830400" cy="582683"/>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17" name="Text Placeholder 20">
            <a:extLst>
              <a:ext uri="{FF2B5EF4-FFF2-40B4-BE49-F238E27FC236}">
                <a16:creationId xmlns:a16="http://schemas.microsoft.com/office/drawing/2014/main" id="{F055E35C-9217-4041-BE49-068B108541DE}"/>
              </a:ext>
            </a:extLst>
          </p:cNvPr>
          <p:cNvSpPr>
            <a:spLocks noGrp="1"/>
          </p:cNvSpPr>
          <p:nvPr>
            <p:ph type="body" sz="quarter" idx="30" hasCustomPrompt="1"/>
          </p:nvPr>
        </p:nvSpPr>
        <p:spPr>
          <a:xfrm>
            <a:off x="1061370" y="4001634"/>
            <a:ext cx="2830400" cy="2090483"/>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flipH="1">
            <a:off x="942119" y="3281228"/>
            <a:ext cx="306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8" name="Title 1">
            <a:extLst>
              <a:ext uri="{FF2B5EF4-FFF2-40B4-BE49-F238E27FC236}">
                <a16:creationId xmlns:a16="http://schemas.microsoft.com/office/drawing/2014/main" id="{00D9EB27-355B-C0ED-84F3-A25252382F8B}"/>
              </a:ext>
            </a:extLst>
          </p:cNvPr>
          <p:cNvSpPr>
            <a:spLocks noGrp="1"/>
          </p:cNvSpPr>
          <p:nvPr userDrawn="1">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pic>
        <p:nvPicPr>
          <p:cNvPr id="24" name="Bilde 3">
            <a:extLst>
              <a:ext uri="{FF2B5EF4-FFF2-40B4-BE49-F238E27FC236}">
                <a16:creationId xmlns:a16="http://schemas.microsoft.com/office/drawing/2014/main" id="{DBA068A6-7045-9B50-BF91-73FC6D7BEB6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6" name="Picture Placeholder 7">
            <a:extLst>
              <a:ext uri="{FF2B5EF4-FFF2-40B4-BE49-F238E27FC236}">
                <a16:creationId xmlns:a16="http://schemas.microsoft.com/office/drawing/2014/main" id="{036ADB22-C59D-5054-F408-EBE475CB6330}"/>
              </a:ext>
            </a:extLst>
          </p:cNvPr>
          <p:cNvSpPr>
            <a:spLocks noGrp="1"/>
          </p:cNvSpPr>
          <p:nvPr>
            <p:ph type="pic" sz="quarter" idx="53"/>
          </p:nvPr>
        </p:nvSpPr>
        <p:spPr>
          <a:xfrm>
            <a:off x="4335930" y="1445066"/>
            <a:ext cx="3060700" cy="1820862"/>
          </a:xfrm>
          <a:prstGeom prst="rect">
            <a:avLst/>
          </a:prstGeom>
        </p:spPr>
        <p:txBody>
          <a:bodyPr anchor="ctr"/>
          <a:lstStyle>
            <a:lvl1pPr algn="ctr">
              <a:defRPr sz="1800"/>
            </a:lvl1pPr>
          </a:lstStyle>
          <a:p>
            <a:r>
              <a:rPr lang="en-GB"/>
              <a:t>Click icon to add picture</a:t>
            </a:r>
            <a:endParaRPr lang="en-US"/>
          </a:p>
        </p:txBody>
      </p:sp>
      <p:sp>
        <p:nvSpPr>
          <p:cNvPr id="27" name="Rectangle 26">
            <a:extLst>
              <a:ext uri="{FF2B5EF4-FFF2-40B4-BE49-F238E27FC236}">
                <a16:creationId xmlns:a16="http://schemas.microsoft.com/office/drawing/2014/main" id="{8B0ECE18-051B-DE63-AC4A-05752AB1499A}"/>
              </a:ext>
            </a:extLst>
          </p:cNvPr>
          <p:cNvSpPr/>
          <p:nvPr userDrawn="1"/>
        </p:nvSpPr>
        <p:spPr>
          <a:xfrm>
            <a:off x="4336502" y="3332603"/>
            <a:ext cx="3065442" cy="28072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 Placeholder 20">
            <a:extLst>
              <a:ext uri="{FF2B5EF4-FFF2-40B4-BE49-F238E27FC236}">
                <a16:creationId xmlns:a16="http://schemas.microsoft.com/office/drawing/2014/main" id="{456D4E1E-2C93-62C8-726C-E573B0A1F359}"/>
              </a:ext>
            </a:extLst>
          </p:cNvPr>
          <p:cNvSpPr>
            <a:spLocks noGrp="1"/>
          </p:cNvSpPr>
          <p:nvPr>
            <p:ph type="body" sz="quarter" idx="54" hasCustomPrompt="1"/>
          </p:nvPr>
        </p:nvSpPr>
        <p:spPr>
          <a:xfrm>
            <a:off x="4455753" y="3403048"/>
            <a:ext cx="2830400" cy="582683"/>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0" name="Text Placeholder 20">
            <a:extLst>
              <a:ext uri="{FF2B5EF4-FFF2-40B4-BE49-F238E27FC236}">
                <a16:creationId xmlns:a16="http://schemas.microsoft.com/office/drawing/2014/main" id="{C9E572EA-46BB-1ADC-2DCA-101125632D82}"/>
              </a:ext>
            </a:extLst>
          </p:cNvPr>
          <p:cNvSpPr>
            <a:spLocks noGrp="1"/>
          </p:cNvSpPr>
          <p:nvPr>
            <p:ph type="body" sz="quarter" idx="55" hasCustomPrompt="1"/>
          </p:nvPr>
        </p:nvSpPr>
        <p:spPr>
          <a:xfrm>
            <a:off x="4455753" y="4001634"/>
            <a:ext cx="2830400" cy="2090483"/>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31" name="Straight Connector 30">
            <a:extLst>
              <a:ext uri="{FF2B5EF4-FFF2-40B4-BE49-F238E27FC236}">
                <a16:creationId xmlns:a16="http://schemas.microsoft.com/office/drawing/2014/main" id="{FEAFBB64-B5C6-3C6D-951F-45E4DD827B97}"/>
              </a:ext>
            </a:extLst>
          </p:cNvPr>
          <p:cNvCxnSpPr>
            <a:cxnSpLocks/>
          </p:cNvCxnSpPr>
          <p:nvPr userDrawn="1"/>
        </p:nvCxnSpPr>
        <p:spPr>
          <a:xfrm flipH="1">
            <a:off x="4336502" y="3281228"/>
            <a:ext cx="306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Picture Placeholder 7">
            <a:extLst>
              <a:ext uri="{FF2B5EF4-FFF2-40B4-BE49-F238E27FC236}">
                <a16:creationId xmlns:a16="http://schemas.microsoft.com/office/drawing/2014/main" id="{226F6508-C1DE-4FDD-5D54-3E8CB0269374}"/>
              </a:ext>
            </a:extLst>
          </p:cNvPr>
          <p:cNvSpPr>
            <a:spLocks noGrp="1"/>
          </p:cNvSpPr>
          <p:nvPr>
            <p:ph type="pic" sz="quarter" idx="56"/>
          </p:nvPr>
        </p:nvSpPr>
        <p:spPr>
          <a:xfrm>
            <a:off x="7721049" y="1445066"/>
            <a:ext cx="3060700" cy="1820862"/>
          </a:xfrm>
          <a:prstGeom prst="rect">
            <a:avLst/>
          </a:prstGeom>
        </p:spPr>
        <p:txBody>
          <a:bodyPr anchor="ctr"/>
          <a:lstStyle>
            <a:lvl1pPr algn="ctr">
              <a:defRPr sz="1800"/>
            </a:lvl1pPr>
          </a:lstStyle>
          <a:p>
            <a:r>
              <a:rPr lang="en-GB"/>
              <a:t>Click icon to add picture</a:t>
            </a:r>
            <a:endParaRPr lang="en-US"/>
          </a:p>
        </p:txBody>
      </p:sp>
      <p:sp>
        <p:nvSpPr>
          <p:cNvPr id="33" name="Rectangle 32">
            <a:extLst>
              <a:ext uri="{FF2B5EF4-FFF2-40B4-BE49-F238E27FC236}">
                <a16:creationId xmlns:a16="http://schemas.microsoft.com/office/drawing/2014/main" id="{0C44F1A5-425E-87A2-2D24-3917E09030C5}"/>
              </a:ext>
            </a:extLst>
          </p:cNvPr>
          <p:cNvSpPr/>
          <p:nvPr userDrawn="1"/>
        </p:nvSpPr>
        <p:spPr>
          <a:xfrm>
            <a:off x="7721621" y="3332603"/>
            <a:ext cx="3065442" cy="28072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0">
            <a:extLst>
              <a:ext uri="{FF2B5EF4-FFF2-40B4-BE49-F238E27FC236}">
                <a16:creationId xmlns:a16="http://schemas.microsoft.com/office/drawing/2014/main" id="{71F3DA74-293C-7493-FE9F-ED46727177E4}"/>
              </a:ext>
            </a:extLst>
          </p:cNvPr>
          <p:cNvSpPr>
            <a:spLocks noGrp="1"/>
          </p:cNvSpPr>
          <p:nvPr>
            <p:ph type="body" sz="quarter" idx="57" hasCustomPrompt="1"/>
          </p:nvPr>
        </p:nvSpPr>
        <p:spPr>
          <a:xfrm>
            <a:off x="7840872" y="3403048"/>
            <a:ext cx="2830400" cy="582683"/>
          </a:xfrm>
          <a:prstGeom prst="rect">
            <a:avLst/>
          </a:prstGeom>
        </p:spPr>
        <p:txBody>
          <a:bodyPr anchor="ctr">
            <a:noAutofit/>
          </a:bodyPr>
          <a:lstStyle>
            <a:lvl1pPr marL="0" indent="0">
              <a:spcBef>
                <a:spcPts val="0"/>
              </a:spcBef>
              <a:buNone/>
              <a:defRPr sz="16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 here</a:t>
            </a:r>
          </a:p>
        </p:txBody>
      </p:sp>
      <p:sp>
        <p:nvSpPr>
          <p:cNvPr id="35" name="Text Placeholder 20">
            <a:extLst>
              <a:ext uri="{FF2B5EF4-FFF2-40B4-BE49-F238E27FC236}">
                <a16:creationId xmlns:a16="http://schemas.microsoft.com/office/drawing/2014/main" id="{7C59F177-1602-67CB-884F-2E55B9C4C0BB}"/>
              </a:ext>
            </a:extLst>
          </p:cNvPr>
          <p:cNvSpPr>
            <a:spLocks noGrp="1"/>
          </p:cNvSpPr>
          <p:nvPr>
            <p:ph type="body" sz="quarter" idx="58" hasCustomPrompt="1"/>
          </p:nvPr>
        </p:nvSpPr>
        <p:spPr>
          <a:xfrm>
            <a:off x="7840872" y="4001634"/>
            <a:ext cx="2830400" cy="2090483"/>
          </a:xfrm>
          <a:prstGeom prst="rect">
            <a:avLst/>
          </a:prstGeom>
        </p:spPr>
        <p:txBody>
          <a:bodyPr lIns="72000" tIns="36000" rIns="72000" bIns="36000" anchor="t">
            <a:normAutofit/>
          </a:bodyPr>
          <a:lstStyle>
            <a:lvl1pPr marL="0" indent="0">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cxnSp>
        <p:nvCxnSpPr>
          <p:cNvPr id="36" name="Straight Connector 35">
            <a:extLst>
              <a:ext uri="{FF2B5EF4-FFF2-40B4-BE49-F238E27FC236}">
                <a16:creationId xmlns:a16="http://schemas.microsoft.com/office/drawing/2014/main" id="{75855995-0E07-4D27-6A42-BA419A06BB34}"/>
              </a:ext>
            </a:extLst>
          </p:cNvPr>
          <p:cNvCxnSpPr>
            <a:cxnSpLocks/>
          </p:cNvCxnSpPr>
          <p:nvPr userDrawn="1"/>
        </p:nvCxnSpPr>
        <p:spPr>
          <a:xfrm flipH="1">
            <a:off x="7721621" y="3281228"/>
            <a:ext cx="306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Date Placeholder 2">
            <a:extLst>
              <a:ext uri="{FF2B5EF4-FFF2-40B4-BE49-F238E27FC236}">
                <a16:creationId xmlns:a16="http://schemas.microsoft.com/office/drawing/2014/main" id="{23D09F0E-DD0A-56E4-A786-86687543EDF0}"/>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25" name="Footer Placeholder 3">
            <a:extLst>
              <a:ext uri="{FF2B5EF4-FFF2-40B4-BE49-F238E27FC236}">
                <a16:creationId xmlns:a16="http://schemas.microsoft.com/office/drawing/2014/main" id="{86EFD8CB-B4B0-C98B-BAE4-8B0E6EA80F4C}"/>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37" name="Slide Number Placeholder 4">
            <a:extLst>
              <a:ext uri="{FF2B5EF4-FFF2-40B4-BE49-F238E27FC236}">
                <a16:creationId xmlns:a16="http://schemas.microsoft.com/office/drawing/2014/main" id="{9BE7881F-148D-208B-717A-EE47DCF21D13}"/>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8730884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3_Custom Layout">
    <p:spTree>
      <p:nvGrpSpPr>
        <p:cNvPr id="1" name=""/>
        <p:cNvGrpSpPr/>
        <p:nvPr/>
      </p:nvGrpSpPr>
      <p:grpSpPr>
        <a:xfrm>
          <a:off x="0" y="0"/>
          <a:ext cx="0" cy="0"/>
          <a:chOff x="0" y="0"/>
          <a:chExt cx="0" cy="0"/>
        </a:xfrm>
      </p:grpSpPr>
      <p:sp>
        <p:nvSpPr>
          <p:cNvPr id="22" name="Rektangel 2">
            <a:extLst>
              <a:ext uri="{FF2B5EF4-FFF2-40B4-BE49-F238E27FC236}">
                <a16:creationId xmlns:a16="http://schemas.microsoft.com/office/drawing/2014/main" id="{D40A3AB9-ABBE-2444-B58D-F892A304954B}"/>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7" name="Text Placeholder 20">
            <a:extLst>
              <a:ext uri="{FF2B5EF4-FFF2-40B4-BE49-F238E27FC236}">
                <a16:creationId xmlns:a16="http://schemas.microsoft.com/office/drawing/2014/main" id="{49356417-6D30-E548-B1B3-2604029A7EF5}"/>
              </a:ext>
            </a:extLst>
          </p:cNvPr>
          <p:cNvSpPr>
            <a:spLocks noGrp="1"/>
          </p:cNvSpPr>
          <p:nvPr>
            <p:ph type="body" sz="quarter" idx="23" hasCustomPrompt="1"/>
          </p:nvPr>
        </p:nvSpPr>
        <p:spPr>
          <a:xfrm>
            <a:off x="916850" y="4573616"/>
            <a:ext cx="3137757" cy="1534671"/>
          </a:xfrm>
          <a:prstGeom prst="rect">
            <a:avLst/>
          </a:prstGeom>
        </p:spPr>
        <p:txBody>
          <a:bodyPr anchor="t">
            <a:noAutofit/>
          </a:bodyPr>
          <a:lstStyle>
            <a:lvl1pPr marL="0" indent="0" algn="ctr">
              <a:spcBef>
                <a:spcPts val="0"/>
              </a:spcBef>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28" name="Text Placeholder 20">
            <a:extLst>
              <a:ext uri="{FF2B5EF4-FFF2-40B4-BE49-F238E27FC236}">
                <a16:creationId xmlns:a16="http://schemas.microsoft.com/office/drawing/2014/main" id="{8D6C58FD-C608-0645-9A31-2B08FDF1894D}"/>
              </a:ext>
            </a:extLst>
          </p:cNvPr>
          <p:cNvSpPr>
            <a:spLocks noGrp="1"/>
          </p:cNvSpPr>
          <p:nvPr>
            <p:ph type="body" sz="quarter" idx="24" hasCustomPrompt="1"/>
          </p:nvPr>
        </p:nvSpPr>
        <p:spPr>
          <a:xfrm>
            <a:off x="1012918" y="3256113"/>
            <a:ext cx="2945621" cy="918683"/>
          </a:xfrm>
          <a:prstGeom prst="rect">
            <a:avLst/>
          </a:prstGeom>
        </p:spPr>
        <p:txBody>
          <a:bodyPr anchor="ctr">
            <a:noAutofit/>
          </a:bodyPr>
          <a:lstStyle>
            <a:lvl1pPr marL="0" indent="0" algn="ctr">
              <a:spcBef>
                <a:spcPts val="0"/>
              </a:spcBef>
              <a:buNone/>
              <a:defRPr sz="20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a:t>
            </a:r>
          </a:p>
        </p:txBody>
      </p:sp>
      <p:cxnSp>
        <p:nvCxnSpPr>
          <p:cNvPr id="44" name="Straight Connector 43">
            <a:extLst>
              <a:ext uri="{FF2B5EF4-FFF2-40B4-BE49-F238E27FC236}">
                <a16:creationId xmlns:a16="http://schemas.microsoft.com/office/drawing/2014/main" id="{8DAA04A8-D008-D74C-84E3-49ACA89C6E2F}"/>
              </a:ext>
            </a:extLst>
          </p:cNvPr>
          <p:cNvCxnSpPr>
            <a:cxnSpLocks/>
          </p:cNvCxnSpPr>
          <p:nvPr userDrawn="1"/>
        </p:nvCxnSpPr>
        <p:spPr>
          <a:xfrm>
            <a:off x="968418" y="4391374"/>
            <a:ext cx="303462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1883E524-E691-2542-8EAD-DFBDB929960C}"/>
              </a:ext>
            </a:extLst>
          </p:cNvPr>
          <p:cNvSpPr/>
          <p:nvPr userDrawn="1"/>
        </p:nvSpPr>
        <p:spPr>
          <a:xfrm>
            <a:off x="1686942" y="1578688"/>
            <a:ext cx="1597573" cy="1597573"/>
          </a:xfrm>
          <a:prstGeom prst="ellipse">
            <a:avLst/>
          </a:prstGeom>
          <a:solidFill>
            <a:schemeClr val="accent4">
              <a:lumMod val="20000"/>
              <a:lumOff val="8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9" name="Text Placeholder 20">
            <a:extLst>
              <a:ext uri="{FF2B5EF4-FFF2-40B4-BE49-F238E27FC236}">
                <a16:creationId xmlns:a16="http://schemas.microsoft.com/office/drawing/2014/main" id="{D9AD4255-D80E-7342-B2C4-C5F594A23C7A}"/>
              </a:ext>
            </a:extLst>
          </p:cNvPr>
          <p:cNvSpPr>
            <a:spLocks noGrp="1"/>
          </p:cNvSpPr>
          <p:nvPr>
            <p:ph type="body" sz="quarter" idx="25" hasCustomPrompt="1"/>
          </p:nvPr>
        </p:nvSpPr>
        <p:spPr>
          <a:xfrm>
            <a:off x="4537281" y="4573616"/>
            <a:ext cx="3137757" cy="1534671"/>
          </a:xfrm>
          <a:prstGeom prst="rect">
            <a:avLst/>
          </a:prstGeom>
        </p:spPr>
        <p:txBody>
          <a:bodyPr anchor="t">
            <a:noAutofit/>
          </a:bodyPr>
          <a:lstStyle>
            <a:lvl1pPr marL="0" indent="0" algn="ctr">
              <a:spcBef>
                <a:spcPts val="0"/>
              </a:spcBef>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24" name="Text Placeholder 20">
            <a:extLst>
              <a:ext uri="{FF2B5EF4-FFF2-40B4-BE49-F238E27FC236}">
                <a16:creationId xmlns:a16="http://schemas.microsoft.com/office/drawing/2014/main" id="{8366C65D-987E-F940-9669-8FC67DF547D6}"/>
              </a:ext>
            </a:extLst>
          </p:cNvPr>
          <p:cNvSpPr>
            <a:spLocks noGrp="1"/>
          </p:cNvSpPr>
          <p:nvPr>
            <p:ph type="body" sz="quarter" idx="26" hasCustomPrompt="1"/>
          </p:nvPr>
        </p:nvSpPr>
        <p:spPr>
          <a:xfrm>
            <a:off x="4633349" y="3256113"/>
            <a:ext cx="2945621" cy="918683"/>
          </a:xfrm>
          <a:prstGeom prst="rect">
            <a:avLst/>
          </a:prstGeom>
        </p:spPr>
        <p:txBody>
          <a:bodyPr anchor="ctr">
            <a:noAutofit/>
          </a:bodyPr>
          <a:lstStyle>
            <a:lvl1pPr marL="0" indent="0" algn="ctr">
              <a:spcBef>
                <a:spcPts val="0"/>
              </a:spcBef>
              <a:buNone/>
              <a:defRPr sz="20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a:t>
            </a:r>
          </a:p>
        </p:txBody>
      </p:sp>
      <p:cxnSp>
        <p:nvCxnSpPr>
          <p:cNvPr id="25" name="Straight Connector 24">
            <a:extLst>
              <a:ext uri="{FF2B5EF4-FFF2-40B4-BE49-F238E27FC236}">
                <a16:creationId xmlns:a16="http://schemas.microsoft.com/office/drawing/2014/main" id="{1C8D12F1-1584-DD43-9F53-43F3AA6A406A}"/>
              </a:ext>
            </a:extLst>
          </p:cNvPr>
          <p:cNvCxnSpPr>
            <a:cxnSpLocks/>
          </p:cNvCxnSpPr>
          <p:nvPr userDrawn="1"/>
        </p:nvCxnSpPr>
        <p:spPr>
          <a:xfrm>
            <a:off x="4588849" y="4391374"/>
            <a:ext cx="303462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2DE219C-FDB1-CD4B-86C9-B419D3423531}"/>
              </a:ext>
            </a:extLst>
          </p:cNvPr>
          <p:cNvSpPr/>
          <p:nvPr userDrawn="1"/>
        </p:nvSpPr>
        <p:spPr>
          <a:xfrm>
            <a:off x="5307373" y="1578688"/>
            <a:ext cx="1597573" cy="1597573"/>
          </a:xfrm>
          <a:prstGeom prst="ellipse">
            <a:avLst/>
          </a:prstGeom>
          <a:solidFill>
            <a:schemeClr val="accent4">
              <a:lumMod val="20000"/>
              <a:lumOff val="8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31" name="Text Placeholder 20">
            <a:extLst>
              <a:ext uri="{FF2B5EF4-FFF2-40B4-BE49-F238E27FC236}">
                <a16:creationId xmlns:a16="http://schemas.microsoft.com/office/drawing/2014/main" id="{54C66FC1-2D84-0C46-9D7E-D57CFB2A719F}"/>
              </a:ext>
            </a:extLst>
          </p:cNvPr>
          <p:cNvSpPr>
            <a:spLocks noGrp="1"/>
          </p:cNvSpPr>
          <p:nvPr>
            <p:ph type="body" sz="quarter" idx="27" hasCustomPrompt="1"/>
          </p:nvPr>
        </p:nvSpPr>
        <p:spPr>
          <a:xfrm>
            <a:off x="8137393" y="4573616"/>
            <a:ext cx="3137757" cy="1534671"/>
          </a:xfrm>
          <a:prstGeom prst="rect">
            <a:avLst/>
          </a:prstGeom>
        </p:spPr>
        <p:txBody>
          <a:bodyPr anchor="t">
            <a:noAutofit/>
          </a:bodyPr>
          <a:lstStyle>
            <a:lvl1pPr marL="0" indent="0" algn="ctr">
              <a:spcBef>
                <a:spcPts val="0"/>
              </a:spcBef>
              <a:buNone/>
              <a:defRPr sz="1400" b="0" i="0">
                <a:solidFill>
                  <a:schemeClr val="tx1">
                    <a:lumMod val="85000"/>
                    <a:lumOff val="15000"/>
                  </a:schemeClr>
                </a:solidFill>
                <a:latin typeface="Helvetica Light" panose="020B0403020202020204" pitchFamily="34"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Add your content here</a:t>
            </a:r>
          </a:p>
        </p:txBody>
      </p:sp>
      <p:sp>
        <p:nvSpPr>
          <p:cNvPr id="32" name="Text Placeholder 20">
            <a:extLst>
              <a:ext uri="{FF2B5EF4-FFF2-40B4-BE49-F238E27FC236}">
                <a16:creationId xmlns:a16="http://schemas.microsoft.com/office/drawing/2014/main" id="{9A1F39ED-4F03-854D-B159-03CB2DC987D8}"/>
              </a:ext>
            </a:extLst>
          </p:cNvPr>
          <p:cNvSpPr>
            <a:spLocks noGrp="1"/>
          </p:cNvSpPr>
          <p:nvPr>
            <p:ph type="body" sz="quarter" idx="28" hasCustomPrompt="1"/>
          </p:nvPr>
        </p:nvSpPr>
        <p:spPr>
          <a:xfrm>
            <a:off x="8233461" y="3256113"/>
            <a:ext cx="2945621" cy="918683"/>
          </a:xfrm>
          <a:prstGeom prst="rect">
            <a:avLst/>
          </a:prstGeom>
        </p:spPr>
        <p:txBody>
          <a:bodyPr anchor="ctr">
            <a:noAutofit/>
          </a:bodyPr>
          <a:lstStyle>
            <a:lvl1pPr marL="0" indent="0" algn="ctr">
              <a:spcBef>
                <a:spcPts val="0"/>
              </a:spcBef>
              <a:buNone/>
              <a:defRPr sz="2000" b="1" i="0">
                <a:solidFill>
                  <a:schemeClr val="accent1"/>
                </a:solidFill>
                <a:latin typeface="Helvetica" pitchFamily="2" charset="0"/>
              </a:defRPr>
            </a:lvl1pPr>
            <a:lvl2pPr>
              <a:defRPr sz="1600" b="0" i="0">
                <a:solidFill>
                  <a:schemeClr val="bg1"/>
                </a:solidFill>
                <a:latin typeface="Helvetica Light" panose="020B0403020202020204" pitchFamily="34" charset="0"/>
              </a:defRPr>
            </a:lvl2pPr>
            <a:lvl3pPr>
              <a:defRPr sz="1400" b="0" i="0">
                <a:solidFill>
                  <a:schemeClr val="bg1"/>
                </a:solidFill>
                <a:latin typeface="Helvetica Light" panose="020B0403020202020204" pitchFamily="34" charset="0"/>
              </a:defRPr>
            </a:lvl3pPr>
            <a:lvl4pPr>
              <a:defRPr sz="1200" b="0" i="0">
                <a:solidFill>
                  <a:schemeClr val="bg1"/>
                </a:solidFill>
                <a:latin typeface="Helvetica Light" panose="020B0403020202020204" pitchFamily="34" charset="0"/>
              </a:defRPr>
            </a:lvl4pPr>
            <a:lvl5pPr>
              <a:defRPr sz="1100" b="0" i="0">
                <a:solidFill>
                  <a:schemeClr val="bg1"/>
                </a:solidFill>
                <a:latin typeface="Helvetica Light" panose="020B0403020202020204" pitchFamily="34" charset="0"/>
              </a:defRPr>
            </a:lvl5pPr>
          </a:lstStyle>
          <a:p>
            <a:pPr lvl="0"/>
            <a:r>
              <a:rPr lang="en-GB"/>
              <a:t>Subheading</a:t>
            </a:r>
          </a:p>
        </p:txBody>
      </p:sp>
      <p:cxnSp>
        <p:nvCxnSpPr>
          <p:cNvPr id="33" name="Straight Connector 32">
            <a:extLst>
              <a:ext uri="{FF2B5EF4-FFF2-40B4-BE49-F238E27FC236}">
                <a16:creationId xmlns:a16="http://schemas.microsoft.com/office/drawing/2014/main" id="{131695BE-7EC4-254F-88F8-92DE21E21441}"/>
              </a:ext>
            </a:extLst>
          </p:cNvPr>
          <p:cNvCxnSpPr>
            <a:cxnSpLocks/>
          </p:cNvCxnSpPr>
          <p:nvPr userDrawn="1"/>
        </p:nvCxnSpPr>
        <p:spPr>
          <a:xfrm>
            <a:off x="8188961" y="4391374"/>
            <a:ext cx="303462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535F4D65-5C03-B047-9C33-37F966AF2003}"/>
              </a:ext>
            </a:extLst>
          </p:cNvPr>
          <p:cNvSpPr/>
          <p:nvPr userDrawn="1"/>
        </p:nvSpPr>
        <p:spPr>
          <a:xfrm>
            <a:off x="8907485" y="1578688"/>
            <a:ext cx="1597573" cy="1597573"/>
          </a:xfrm>
          <a:prstGeom prst="ellipse">
            <a:avLst/>
          </a:prstGeom>
          <a:solidFill>
            <a:schemeClr val="accent4">
              <a:lumMod val="20000"/>
              <a:lumOff val="8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7" name="Title 1">
            <a:extLst>
              <a:ext uri="{FF2B5EF4-FFF2-40B4-BE49-F238E27FC236}">
                <a16:creationId xmlns:a16="http://schemas.microsoft.com/office/drawing/2014/main" id="{51B9A6BB-8E74-6CCC-357E-4A3C6975D961}"/>
              </a:ext>
            </a:extLst>
          </p:cNvPr>
          <p:cNvSpPr>
            <a:spLocks noGrp="1"/>
          </p:cNvSpPr>
          <p:nvPr>
            <p:ph type="title" hasCustomPrompt="1"/>
          </p:nvPr>
        </p:nvSpPr>
        <p:spPr>
          <a:xfrm>
            <a:off x="741777" y="365126"/>
            <a:ext cx="10671895" cy="957488"/>
          </a:xfrm>
          <a:prstGeom prst="rect">
            <a:avLst/>
          </a:prstGeom>
        </p:spPr>
        <p:txBody>
          <a:bodyPr anchor="t">
            <a:normAutofit/>
          </a:bodyPr>
          <a:lstStyle>
            <a:lvl1pPr>
              <a:defRPr sz="4000" b="0" i="0">
                <a:solidFill>
                  <a:schemeClr val="accent1"/>
                </a:solidFill>
                <a:latin typeface="Helvetica Light" panose="020B0403020202020204" pitchFamily="34" charset="0"/>
              </a:defRPr>
            </a:lvl1pPr>
          </a:lstStyle>
          <a:p>
            <a:r>
              <a:rPr lang="en-GB"/>
              <a:t>Slide title here</a:t>
            </a:r>
            <a:endParaRPr lang="en-US"/>
          </a:p>
        </p:txBody>
      </p:sp>
      <p:sp>
        <p:nvSpPr>
          <p:cNvPr id="4" name="Picture Placeholder 3">
            <a:extLst>
              <a:ext uri="{FF2B5EF4-FFF2-40B4-BE49-F238E27FC236}">
                <a16:creationId xmlns:a16="http://schemas.microsoft.com/office/drawing/2014/main" id="{807C389F-EE04-F928-A905-8D5A0A8319F6}"/>
              </a:ext>
            </a:extLst>
          </p:cNvPr>
          <p:cNvSpPr>
            <a:spLocks noGrp="1"/>
          </p:cNvSpPr>
          <p:nvPr>
            <p:ph type="pic" sz="quarter" idx="29"/>
          </p:nvPr>
        </p:nvSpPr>
        <p:spPr>
          <a:xfrm>
            <a:off x="1791990" y="1686396"/>
            <a:ext cx="1387475" cy="1387475"/>
          </a:xfrm>
          <a:prstGeom prst="ellipse">
            <a:avLst/>
          </a:prstGeom>
        </p:spPr>
        <p:txBody>
          <a:bodyPr anchor="ctr"/>
          <a:lstStyle>
            <a:lvl1pPr marL="0" indent="0" algn="ctr">
              <a:buNone/>
              <a:defRPr sz="1600"/>
            </a:lvl1pPr>
          </a:lstStyle>
          <a:p>
            <a:r>
              <a:rPr lang="en-GB"/>
              <a:t>Click icon to add picture</a:t>
            </a:r>
            <a:endParaRPr lang="en-US"/>
          </a:p>
        </p:txBody>
      </p:sp>
      <p:sp>
        <p:nvSpPr>
          <p:cNvPr id="20" name="Picture Placeholder 3">
            <a:extLst>
              <a:ext uri="{FF2B5EF4-FFF2-40B4-BE49-F238E27FC236}">
                <a16:creationId xmlns:a16="http://schemas.microsoft.com/office/drawing/2014/main" id="{C344D4AD-0C44-0016-1984-DEE4E4A47A86}"/>
              </a:ext>
            </a:extLst>
          </p:cNvPr>
          <p:cNvSpPr>
            <a:spLocks noGrp="1"/>
          </p:cNvSpPr>
          <p:nvPr>
            <p:ph type="pic" sz="quarter" idx="30"/>
          </p:nvPr>
        </p:nvSpPr>
        <p:spPr>
          <a:xfrm>
            <a:off x="5423086" y="1686396"/>
            <a:ext cx="1387475" cy="1387475"/>
          </a:xfrm>
          <a:prstGeom prst="ellipse">
            <a:avLst/>
          </a:prstGeom>
        </p:spPr>
        <p:txBody>
          <a:bodyPr anchor="ctr"/>
          <a:lstStyle>
            <a:lvl1pPr marL="0" indent="0" algn="ctr">
              <a:buNone/>
              <a:defRPr sz="1600"/>
            </a:lvl1pPr>
          </a:lstStyle>
          <a:p>
            <a:r>
              <a:rPr lang="en-GB"/>
              <a:t>Click icon to add picture</a:t>
            </a:r>
            <a:endParaRPr lang="en-US"/>
          </a:p>
        </p:txBody>
      </p:sp>
      <p:sp>
        <p:nvSpPr>
          <p:cNvPr id="21" name="Picture Placeholder 3">
            <a:extLst>
              <a:ext uri="{FF2B5EF4-FFF2-40B4-BE49-F238E27FC236}">
                <a16:creationId xmlns:a16="http://schemas.microsoft.com/office/drawing/2014/main" id="{9126EBDC-8FE3-E299-69BB-1724B93F2D1C}"/>
              </a:ext>
            </a:extLst>
          </p:cNvPr>
          <p:cNvSpPr>
            <a:spLocks noGrp="1"/>
          </p:cNvSpPr>
          <p:nvPr>
            <p:ph type="pic" sz="quarter" idx="31"/>
          </p:nvPr>
        </p:nvSpPr>
        <p:spPr>
          <a:xfrm>
            <a:off x="9001173" y="1686396"/>
            <a:ext cx="1387475" cy="1387475"/>
          </a:xfrm>
          <a:prstGeom prst="ellipse">
            <a:avLst/>
          </a:prstGeom>
        </p:spPr>
        <p:txBody>
          <a:bodyPr anchor="ctr"/>
          <a:lstStyle>
            <a:lvl1pPr marL="0" indent="0" algn="ctr">
              <a:buNone/>
              <a:defRPr sz="1600"/>
            </a:lvl1pPr>
          </a:lstStyle>
          <a:p>
            <a:r>
              <a:rPr lang="en-GB"/>
              <a:t>Click icon to add picture</a:t>
            </a:r>
            <a:endParaRPr lang="en-US"/>
          </a:p>
        </p:txBody>
      </p:sp>
      <p:pic>
        <p:nvPicPr>
          <p:cNvPr id="29" name="Bilde 3">
            <a:extLst>
              <a:ext uri="{FF2B5EF4-FFF2-40B4-BE49-F238E27FC236}">
                <a16:creationId xmlns:a16="http://schemas.microsoft.com/office/drawing/2014/main" id="{2D4B3CC7-6177-04CF-F34E-5EB758235AE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7063" y="6548217"/>
            <a:ext cx="1129876" cy="197539"/>
          </a:xfrm>
          <a:prstGeom prst="rect">
            <a:avLst/>
          </a:prstGeom>
        </p:spPr>
      </p:pic>
      <p:sp>
        <p:nvSpPr>
          <p:cNvPr id="23" name="Date Placeholder 2">
            <a:extLst>
              <a:ext uri="{FF2B5EF4-FFF2-40B4-BE49-F238E27FC236}">
                <a16:creationId xmlns:a16="http://schemas.microsoft.com/office/drawing/2014/main" id="{8FB02BF7-CD56-E79D-DDC8-97850F67C805}"/>
              </a:ext>
            </a:extLst>
          </p:cNvPr>
          <p:cNvSpPr>
            <a:spLocks noGrp="1"/>
          </p:cNvSpPr>
          <p:nvPr>
            <p:ph type="dt" sz="half" idx="16"/>
          </p:nvPr>
        </p:nvSpPr>
        <p:spPr>
          <a:xfrm>
            <a:off x="2303627" y="6492875"/>
            <a:ext cx="528585" cy="365125"/>
          </a:xfrm>
        </p:spPr>
        <p:txBody>
          <a:bodyPr/>
          <a:lstStyle/>
          <a:p>
            <a:fld id="{89EBDBA3-ED9C-5441-A1EE-6DCE277531F5}" type="datetimeFigureOut">
              <a:rPr lang="en-US" smtClean="0"/>
              <a:pPr/>
              <a:t>8/20/2024</a:t>
            </a:fld>
            <a:endParaRPr lang="en-US"/>
          </a:p>
        </p:txBody>
      </p:sp>
      <p:sp>
        <p:nvSpPr>
          <p:cNvPr id="30" name="Footer Placeholder 3">
            <a:extLst>
              <a:ext uri="{FF2B5EF4-FFF2-40B4-BE49-F238E27FC236}">
                <a16:creationId xmlns:a16="http://schemas.microsoft.com/office/drawing/2014/main" id="{0713B773-2E0A-E988-8286-745F4694DCE1}"/>
              </a:ext>
            </a:extLst>
          </p:cNvPr>
          <p:cNvSpPr>
            <a:spLocks noGrp="1"/>
          </p:cNvSpPr>
          <p:nvPr>
            <p:ph type="ftr" sz="quarter" idx="17"/>
          </p:nvPr>
        </p:nvSpPr>
        <p:spPr>
          <a:xfrm>
            <a:off x="175116" y="6492875"/>
            <a:ext cx="2107096" cy="365125"/>
          </a:xfrm>
        </p:spPr>
        <p:txBody>
          <a:bodyPr/>
          <a:lstStyle/>
          <a:p>
            <a:r>
              <a:rPr lang="en-US"/>
              <a:t>© </a:t>
            </a:r>
            <a:r>
              <a:rPr lang="en-US" err="1"/>
              <a:t>StrongPoint</a:t>
            </a:r>
            <a:r>
              <a:rPr lang="en-US"/>
              <a:t> 2022. All rights reserved.   |</a:t>
            </a:r>
          </a:p>
        </p:txBody>
      </p:sp>
      <p:sp>
        <p:nvSpPr>
          <p:cNvPr id="35" name="Slide Number Placeholder 4">
            <a:extLst>
              <a:ext uri="{FF2B5EF4-FFF2-40B4-BE49-F238E27FC236}">
                <a16:creationId xmlns:a16="http://schemas.microsoft.com/office/drawing/2014/main" id="{6A77CE4C-F430-19AB-F402-F004842BAEF6}"/>
              </a:ext>
            </a:extLst>
          </p:cNvPr>
          <p:cNvSpPr>
            <a:spLocks noGrp="1"/>
          </p:cNvSpPr>
          <p:nvPr>
            <p:ph type="sldNum" sz="quarter" idx="18"/>
          </p:nvPr>
        </p:nvSpPr>
        <p:spPr>
          <a:xfrm>
            <a:off x="2832212" y="6492874"/>
            <a:ext cx="739794" cy="365125"/>
          </a:xfrm>
        </p:spPr>
        <p:txBody>
          <a:bodyPr/>
          <a:lstStyle/>
          <a:p>
            <a:r>
              <a:rPr lang="en-US"/>
              <a:t>|   Slide </a:t>
            </a:r>
            <a:fld id="{637D13D3-0D1B-724F-9D9E-35319FA962A1}" type="slidenum">
              <a:rPr lang="en-US" smtClean="0"/>
              <a:pPr/>
              <a:t>‹#›</a:t>
            </a:fld>
            <a:endParaRPr lang="en-US"/>
          </a:p>
        </p:txBody>
      </p:sp>
    </p:spTree>
    <p:extLst>
      <p:ext uri="{BB962C8B-B14F-4D97-AF65-F5344CB8AC3E}">
        <p14:creationId xmlns:p14="http://schemas.microsoft.com/office/powerpoint/2010/main" val="38878763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obj">
  <p:cSld name="Headlin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95447"/>
            <a:ext cx="10515600" cy="85756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0" kern="1200">
                <a:solidFill>
                  <a:schemeClr val="accent5"/>
                </a:solidFill>
                <a:latin typeface="Arial" panose="020B0604020202020204" pitchFamily="34" charset="0"/>
                <a:ea typeface="+mj-ea"/>
                <a:cs typeface="Arial" panose="020B0604020202020204" pitchFamily="34" charset="0"/>
              </a:defRPr>
            </a:lvl1pPr>
          </a:lstStyle>
          <a:p>
            <a:r>
              <a:rPr lang="en-GB" noProof="0"/>
              <a:t>Click to edit Master title style</a:t>
            </a:r>
          </a:p>
        </p:txBody>
      </p:sp>
      <p:sp>
        <p:nvSpPr>
          <p:cNvPr id="3" name="Content Placeholder 2"/>
          <p:cNvSpPr>
            <a:spLocks noGrp="1"/>
          </p:cNvSpPr>
          <p:nvPr>
            <p:ph idx="1" hasCustomPrompt="1"/>
          </p:nvPr>
        </p:nvSpPr>
        <p:spPr>
          <a:xfrm>
            <a:off x="838200" y="1187952"/>
            <a:ext cx="10515600" cy="4351338"/>
          </a:xfrm>
          <a:prstGeom prst="rect">
            <a:avLst/>
          </a:prstGeom>
        </p:spPr>
        <p:txBody>
          <a:bodyPr vert="horz" lIns="91440" tIns="45720" rIns="91440" bIns="45720" rtlCol="0">
            <a:normAutofit/>
          </a:bodyPr>
          <a:lstStyle>
            <a:lvl1pPr marL="342900" indent="-342900" algn="l" defTabSz="914400" rtl="0" eaLnBrk="1" latinLnBrk="0" hangingPunct="1">
              <a:lnSpc>
                <a:spcPct val="90000"/>
              </a:lnSpc>
              <a:spcBef>
                <a:spcPts val="1000"/>
              </a:spcBef>
              <a:buClr>
                <a:schemeClr val="accent1"/>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5" name="Bilde 4">
            <a:extLst>
              <a:ext uri="{FF2B5EF4-FFF2-40B4-BE49-F238E27FC236}">
                <a16:creationId xmlns:a16="http://schemas.microsoft.com/office/drawing/2014/main" id="{0096DD13-1996-423A-AAFD-299278D609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52521" y="6430245"/>
            <a:ext cx="1825937" cy="319232"/>
          </a:xfrm>
          <a:prstGeom prst="rect">
            <a:avLst/>
          </a:prstGeom>
        </p:spPr>
      </p:pic>
    </p:spTree>
    <p:extLst>
      <p:ext uri="{BB962C8B-B14F-4D97-AF65-F5344CB8AC3E}">
        <p14:creationId xmlns:p14="http://schemas.microsoft.com/office/powerpoint/2010/main" val="26416433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Start page logo">
    <p:bg>
      <p:bgPr>
        <a:solidFill>
          <a:schemeClr val="accent1"/>
        </a:solidFill>
        <a:effectLst/>
      </p:bgPr>
    </p:bg>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02986883-6611-464E-A44F-2C88C009DE0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00718" y="1357984"/>
            <a:ext cx="6390564" cy="4142032"/>
          </a:xfrm>
          <a:prstGeom prst="rect">
            <a:avLst/>
          </a:prstGeom>
        </p:spPr>
      </p:pic>
    </p:spTree>
    <p:extLst>
      <p:ext uri="{BB962C8B-B14F-4D97-AF65-F5344CB8AC3E}">
        <p14:creationId xmlns:p14="http://schemas.microsoft.com/office/powerpoint/2010/main" val="472403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Start page 3">
    <p:spTree>
      <p:nvGrpSpPr>
        <p:cNvPr id="1" name=""/>
        <p:cNvGrpSpPr/>
        <p:nvPr/>
      </p:nvGrpSpPr>
      <p:grpSpPr>
        <a:xfrm>
          <a:off x="0" y="0"/>
          <a:ext cx="0" cy="0"/>
          <a:chOff x="0" y="0"/>
          <a:chExt cx="0" cy="0"/>
        </a:xfrm>
      </p:grpSpPr>
      <p:sp>
        <p:nvSpPr>
          <p:cNvPr id="3" name="!!Blue">
            <a:extLst>
              <a:ext uri="{FF2B5EF4-FFF2-40B4-BE49-F238E27FC236}">
                <a16:creationId xmlns:a16="http://schemas.microsoft.com/office/drawing/2014/main" id="{A9C13785-1488-437B-BE9E-873F1FAAF20D}"/>
              </a:ext>
            </a:extLst>
          </p:cNvPr>
          <p:cNvSpPr/>
          <p:nvPr userDrawn="1"/>
        </p:nvSpPr>
        <p:spPr>
          <a:xfrm>
            <a:off x="0" y="-32618"/>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cap="all" baseline="0" noProof="0">
              <a:latin typeface="Arial" panose="020B0604020202020204" pitchFamily="34" charset="0"/>
              <a:cs typeface="Arial" panose="020B0604020202020204" pitchFamily="34" charset="0"/>
            </a:endParaRPr>
          </a:p>
        </p:txBody>
      </p:sp>
      <p:sp>
        <p:nvSpPr>
          <p:cNvPr id="7" name="Title">
            <a:extLst>
              <a:ext uri="{FF2B5EF4-FFF2-40B4-BE49-F238E27FC236}">
                <a16:creationId xmlns:a16="http://schemas.microsoft.com/office/drawing/2014/main" id="{13294DAA-8C17-424F-8143-208C3FE914DC}"/>
              </a:ext>
            </a:extLst>
          </p:cNvPr>
          <p:cNvSpPr>
            <a:spLocks noGrp="1"/>
          </p:cNvSpPr>
          <p:nvPr>
            <p:ph type="body" sz="quarter" idx="10" hasCustomPrompt="1"/>
          </p:nvPr>
        </p:nvSpPr>
        <p:spPr>
          <a:xfrm>
            <a:off x="0" y="4995863"/>
            <a:ext cx="12192000" cy="1143000"/>
          </a:xfrm>
          <a:prstGeom prst="rect">
            <a:avLst/>
          </a:prstGeom>
        </p:spPr>
        <p:txBody>
          <a:bodyPr/>
          <a:lstStyle>
            <a:lvl1pPr marL="0" indent="0" algn="ctr">
              <a:buNone/>
              <a:defRPr sz="2000" cap="all" spc="600" baseline="0">
                <a:solidFill>
                  <a:schemeClr val="bg1"/>
                </a:solidFill>
                <a:latin typeface="Arial" panose="020B0604020202020204" pitchFamily="34" charset="0"/>
                <a:cs typeface="Arial" panose="020B0604020202020204" pitchFamily="34" charset="0"/>
              </a:defRPr>
            </a:lvl1pPr>
          </a:lstStyle>
          <a:p>
            <a:pPr lvl="0"/>
            <a:r>
              <a:rPr lang="en-GB" noProof="0"/>
              <a:t>Main title here</a:t>
            </a:r>
          </a:p>
        </p:txBody>
      </p:sp>
      <p:pic>
        <p:nvPicPr>
          <p:cNvPr id="4" name="Bilde 3">
            <a:extLst>
              <a:ext uri="{FF2B5EF4-FFF2-40B4-BE49-F238E27FC236}">
                <a16:creationId xmlns:a16="http://schemas.microsoft.com/office/drawing/2014/main" id="{54C0EBEF-EDC7-498E-8550-F88AC37723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9708" y="2286000"/>
            <a:ext cx="7472584" cy="1306446"/>
          </a:xfrm>
          <a:prstGeom prst="rect">
            <a:avLst/>
          </a:prstGeom>
        </p:spPr>
      </p:pic>
    </p:spTree>
    <p:extLst>
      <p:ext uri="{BB962C8B-B14F-4D97-AF65-F5344CB8AC3E}">
        <p14:creationId xmlns:p14="http://schemas.microsoft.com/office/powerpoint/2010/main" val="12871722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Start Page 4">
    <p:spTree>
      <p:nvGrpSpPr>
        <p:cNvPr id="1" name=""/>
        <p:cNvGrpSpPr/>
        <p:nvPr/>
      </p:nvGrpSpPr>
      <p:grpSpPr>
        <a:xfrm>
          <a:off x="0" y="0"/>
          <a:ext cx="0" cy="0"/>
          <a:chOff x="0" y="0"/>
          <a:chExt cx="0" cy="0"/>
        </a:xfrm>
      </p:grpSpPr>
      <p:pic>
        <p:nvPicPr>
          <p:cNvPr id="10" name="Background Picture" descr="Et bilde som inneholder person, mat, bygning, stående&#10;&#10;Automatisk generert beskrivelse">
            <a:extLst>
              <a:ext uri="{FF2B5EF4-FFF2-40B4-BE49-F238E27FC236}">
                <a16:creationId xmlns:a16="http://schemas.microsoft.com/office/drawing/2014/main" id="{CDBD00A1-FA82-4DFE-84DF-F8297B7A1FB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35000"/>
            <a:ext cx="12192000" cy="8128000"/>
          </a:xfrm>
          <a:prstGeom prst="rect">
            <a:avLst/>
          </a:prstGeom>
        </p:spPr>
      </p:pic>
      <p:sp>
        <p:nvSpPr>
          <p:cNvPr id="7" name="Title">
            <a:extLst>
              <a:ext uri="{FF2B5EF4-FFF2-40B4-BE49-F238E27FC236}">
                <a16:creationId xmlns:a16="http://schemas.microsoft.com/office/drawing/2014/main" id="{13294DAA-8C17-424F-8143-208C3FE914DC}"/>
              </a:ext>
            </a:extLst>
          </p:cNvPr>
          <p:cNvSpPr>
            <a:spLocks noGrp="1"/>
          </p:cNvSpPr>
          <p:nvPr>
            <p:ph type="body" sz="quarter" idx="10" hasCustomPrompt="1"/>
          </p:nvPr>
        </p:nvSpPr>
        <p:spPr>
          <a:xfrm>
            <a:off x="0" y="5715000"/>
            <a:ext cx="12192000" cy="1143000"/>
          </a:xfrm>
          <a:prstGeom prst="rect">
            <a:avLst/>
          </a:prstGeom>
        </p:spPr>
        <p:txBody>
          <a:bodyPr/>
          <a:lstStyle>
            <a:lvl1pPr marL="0" indent="0" algn="ctr">
              <a:buNone/>
              <a:defRPr sz="2800" b="1" i="0" cap="all" spc="600" baseline="0">
                <a:solidFill>
                  <a:schemeClr val="tx1"/>
                </a:solidFill>
                <a:latin typeface="Helvetica" pitchFamily="2" charset="0"/>
                <a:cs typeface="Arial" panose="020B0604020202020204" pitchFamily="34" charset="0"/>
              </a:defRPr>
            </a:lvl1pPr>
          </a:lstStyle>
          <a:p>
            <a:pPr lvl="0"/>
            <a:r>
              <a:rPr lang="en-GB" noProof="0"/>
              <a:t>Main Title here</a:t>
            </a:r>
          </a:p>
        </p:txBody>
      </p:sp>
      <p:sp>
        <p:nvSpPr>
          <p:cNvPr id="6" name="!!Yellow">
            <a:extLst>
              <a:ext uri="{FF2B5EF4-FFF2-40B4-BE49-F238E27FC236}">
                <a16:creationId xmlns:a16="http://schemas.microsoft.com/office/drawing/2014/main" id="{CCFBDB04-BE7C-451A-8C1F-F17167D5B954}"/>
              </a:ext>
            </a:extLst>
          </p:cNvPr>
          <p:cNvSpPr/>
          <p:nvPr userDrawn="1"/>
        </p:nvSpPr>
        <p:spPr>
          <a:xfrm rot="16200000">
            <a:off x="5493659" y="4587989"/>
            <a:ext cx="1661884" cy="15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sp>
        <p:nvSpPr>
          <p:cNvPr id="17" name="!!Blue">
            <a:extLst>
              <a:ext uri="{FF2B5EF4-FFF2-40B4-BE49-F238E27FC236}">
                <a16:creationId xmlns:a16="http://schemas.microsoft.com/office/drawing/2014/main" id="{DD8018AE-B7C4-4C53-9CAC-C9195BAFD01B}"/>
              </a:ext>
            </a:extLst>
          </p:cNvPr>
          <p:cNvSpPr/>
          <p:nvPr userDrawn="1"/>
        </p:nvSpPr>
        <p:spPr>
          <a:xfrm>
            <a:off x="0" y="3833248"/>
            <a:ext cx="6248400" cy="16618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pic>
        <p:nvPicPr>
          <p:cNvPr id="9" name="Bilde 8">
            <a:extLst>
              <a:ext uri="{FF2B5EF4-FFF2-40B4-BE49-F238E27FC236}">
                <a16:creationId xmlns:a16="http://schemas.microsoft.com/office/drawing/2014/main" id="{96D94C91-9E30-47C8-A221-62DCC86B5E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1762" y="4224965"/>
            <a:ext cx="5084878" cy="888999"/>
          </a:xfrm>
          <a:prstGeom prst="rect">
            <a:avLst/>
          </a:prstGeom>
        </p:spPr>
      </p:pic>
    </p:spTree>
    <p:extLst>
      <p:ext uri="{BB962C8B-B14F-4D97-AF65-F5344CB8AC3E}">
        <p14:creationId xmlns:p14="http://schemas.microsoft.com/office/powerpoint/2010/main" val="3342816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Full picture, Title">
    <p:bg>
      <p:bgPr>
        <a:solidFill>
          <a:schemeClr val="bg1"/>
        </a:solidFill>
        <a:effectLst/>
      </p:bgPr>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158D014F-728F-437C-9904-BA1DBBEB82AA}"/>
              </a:ext>
            </a:extLst>
          </p:cNvPr>
          <p:cNvSpPr>
            <a:spLocks noGrp="1"/>
          </p:cNvSpPr>
          <p:nvPr>
            <p:ph type="pic" sz="quarter" idx="10" hasCustomPrompt="1"/>
          </p:nvPr>
        </p:nvSpPr>
        <p:spPr>
          <a:xfrm>
            <a:off x="0" y="-28707"/>
            <a:ext cx="12192000" cy="4661452"/>
          </a:xfrm>
          <a:prstGeom prst="rect">
            <a:avLst/>
          </a:prstGeom>
          <a:no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GB" noProof="0"/>
              <a:t>Image Placeholder</a:t>
            </a:r>
          </a:p>
        </p:txBody>
      </p:sp>
      <p:sp>
        <p:nvSpPr>
          <p:cNvPr id="5" name="!!Blue">
            <a:extLst>
              <a:ext uri="{FF2B5EF4-FFF2-40B4-BE49-F238E27FC236}">
                <a16:creationId xmlns:a16="http://schemas.microsoft.com/office/drawing/2014/main" id="{5E24F489-E6BB-4384-B378-663B8C919357}"/>
              </a:ext>
            </a:extLst>
          </p:cNvPr>
          <p:cNvSpPr/>
          <p:nvPr userDrawn="1"/>
        </p:nvSpPr>
        <p:spPr>
          <a:xfrm>
            <a:off x="0" y="4616322"/>
            <a:ext cx="12192000" cy="21965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cxnSp>
        <p:nvCxnSpPr>
          <p:cNvPr id="7" name="!!Yellow">
            <a:extLst>
              <a:ext uri="{FF2B5EF4-FFF2-40B4-BE49-F238E27FC236}">
                <a16:creationId xmlns:a16="http://schemas.microsoft.com/office/drawing/2014/main" id="{DE98A62D-C220-4B5B-AD26-81FFF33E5164}"/>
              </a:ext>
            </a:extLst>
          </p:cNvPr>
          <p:cNvCxnSpPr>
            <a:cxnSpLocks/>
          </p:cNvCxnSpPr>
          <p:nvPr userDrawn="1"/>
        </p:nvCxnSpPr>
        <p:spPr>
          <a:xfrm>
            <a:off x="10477500" y="5348056"/>
            <a:ext cx="1714500" cy="0"/>
          </a:xfrm>
          <a:prstGeom prst="line">
            <a:avLst/>
          </a:prstGeom>
          <a:ln w="149225">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Plassholder for tekst 8">
            <a:extLst>
              <a:ext uri="{FF2B5EF4-FFF2-40B4-BE49-F238E27FC236}">
                <a16:creationId xmlns:a16="http://schemas.microsoft.com/office/drawing/2014/main" id="{38C7107A-0111-432E-8F72-D19B67E72E16}"/>
              </a:ext>
            </a:extLst>
          </p:cNvPr>
          <p:cNvSpPr>
            <a:spLocks noGrp="1"/>
          </p:cNvSpPr>
          <p:nvPr>
            <p:ph type="body" sz="quarter" idx="11" hasCustomPrompt="1"/>
          </p:nvPr>
        </p:nvSpPr>
        <p:spPr>
          <a:xfrm>
            <a:off x="1066800" y="4959624"/>
            <a:ext cx="9410700" cy="160020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3600" cap="all" baseline="0">
                <a:solidFill>
                  <a:schemeClr val="bg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prstClr val="white"/>
                </a:solidFill>
                <a:effectLst/>
                <a:uLnTx/>
                <a:uFillTx/>
                <a:latin typeface="+mn-lt"/>
                <a:ea typeface="Roboto Condensed Black" panose="02000000000000000000" pitchFamily="2" charset="0"/>
                <a:cs typeface="Arial" panose="020B0604020202020204" pitchFamily="34" charset="0"/>
              </a:rPr>
              <a:t>PRESENTATION TITLE</a:t>
            </a:r>
            <a:br>
              <a:rPr kumimoji="0" lang="en-GB" sz="4800" b="1" i="0" u="none" strike="noStrike" kern="1200" cap="none" spc="0" normalizeH="0" baseline="0" noProof="0">
                <a:ln>
                  <a:noFill/>
                </a:ln>
                <a:solidFill>
                  <a:prstClr val="white"/>
                </a:solidFill>
                <a:effectLst/>
                <a:uLnTx/>
                <a:uFillTx/>
                <a:latin typeface="+mn-lt"/>
                <a:ea typeface="Roboto Condensed Black" panose="02000000000000000000" pitchFamily="2" charset="0"/>
                <a:cs typeface="Arial" panose="020B0604020202020204" pitchFamily="34" charset="0"/>
              </a:rPr>
            </a:br>
            <a:r>
              <a:rPr kumimoji="0" lang="en-GB" sz="4800" b="1" i="0" u="none" strike="noStrike" kern="1200" cap="none" spc="0" normalizeH="0" baseline="0" noProof="0">
                <a:ln>
                  <a:noFill/>
                </a:ln>
                <a:solidFill>
                  <a:prstClr val="white"/>
                </a:solidFill>
                <a:effectLst/>
                <a:uLnTx/>
                <a:uFillTx/>
                <a:latin typeface="+mn-lt"/>
                <a:ea typeface="Roboto Condensed Black" panose="02000000000000000000" pitchFamily="2" charset="0"/>
                <a:cs typeface="Arial" panose="020B0604020202020204" pitchFamily="34" charset="0"/>
              </a:rPr>
              <a:t>HERE</a:t>
            </a:r>
          </a:p>
          <a:p>
            <a:pPr lvl="0"/>
            <a:endParaRPr lang="en-GB" noProof="0"/>
          </a:p>
        </p:txBody>
      </p:sp>
    </p:spTree>
    <p:extLst>
      <p:ext uri="{BB962C8B-B14F-4D97-AF65-F5344CB8AC3E}">
        <p14:creationId xmlns:p14="http://schemas.microsoft.com/office/powerpoint/2010/main" val="32183531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Only hea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AFE559D-504A-4E75-89C9-0313E00C5F7E}"/>
              </a:ext>
            </a:extLst>
          </p:cNvPr>
          <p:cNvSpPr>
            <a:spLocks noGrp="1"/>
          </p:cNvSpPr>
          <p:nvPr>
            <p:ph type="title" hasCustomPrompt="1"/>
          </p:nvPr>
        </p:nvSpPr>
        <p:spPr>
          <a:xfrm>
            <a:off x="838200" y="365125"/>
            <a:ext cx="10515600" cy="1325563"/>
          </a:xfrm>
          <a:prstGeom prst="rect">
            <a:avLst/>
          </a:prstGeom>
        </p:spPr>
        <p:txBody>
          <a:bodyPr/>
          <a:lstStyle>
            <a:lvl1pPr>
              <a:defRPr sz="3200" b="0" i="0">
                <a:solidFill>
                  <a:schemeClr val="accent5"/>
                </a:solidFill>
                <a:latin typeface="Helvetica Light" panose="020B0403020202020204" pitchFamily="34" charset="0"/>
                <a:cs typeface="Arial" panose="020B0604020202020204" pitchFamily="34" charset="0"/>
              </a:defRPr>
            </a:lvl1pPr>
          </a:lstStyle>
          <a:p>
            <a:r>
              <a:rPr lang="en-GB" noProof="0"/>
              <a:t>Click to edit Master title style</a:t>
            </a:r>
          </a:p>
        </p:txBody>
      </p:sp>
      <p:pic>
        <p:nvPicPr>
          <p:cNvPr id="4" name="Bilde 3">
            <a:extLst>
              <a:ext uri="{FF2B5EF4-FFF2-40B4-BE49-F238E27FC236}">
                <a16:creationId xmlns:a16="http://schemas.microsoft.com/office/drawing/2014/main" id="{346DB335-1FBA-47A6-A198-403FA75B3D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52521" y="6430245"/>
            <a:ext cx="1825937" cy="319232"/>
          </a:xfrm>
          <a:prstGeom prst="rect">
            <a:avLst/>
          </a:prstGeom>
        </p:spPr>
      </p:pic>
    </p:spTree>
    <p:extLst>
      <p:ext uri="{BB962C8B-B14F-4D97-AF65-F5344CB8AC3E}">
        <p14:creationId xmlns:p14="http://schemas.microsoft.com/office/powerpoint/2010/main" val="32364228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Blanc with logo 1">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8A7F36D4-7537-4D46-B416-5E096FF07DF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749" y="409861"/>
            <a:ext cx="1825937" cy="319232"/>
          </a:xfrm>
          <a:prstGeom prst="rect">
            <a:avLst/>
          </a:prstGeom>
        </p:spPr>
      </p:pic>
    </p:spTree>
    <p:extLst>
      <p:ext uri="{BB962C8B-B14F-4D97-AF65-F5344CB8AC3E}">
        <p14:creationId xmlns:p14="http://schemas.microsoft.com/office/powerpoint/2010/main" val="23362051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72.xml"/><Relationship Id="rId21" Type="http://schemas.openxmlformats.org/officeDocument/2006/relationships/slideLayout" Target="../slideLayouts/slideLayout67.xml"/><Relationship Id="rId42" Type="http://schemas.openxmlformats.org/officeDocument/2006/relationships/slideLayout" Target="../slideLayouts/slideLayout88.xml"/><Relationship Id="rId47" Type="http://schemas.openxmlformats.org/officeDocument/2006/relationships/slideLayout" Target="../slideLayouts/slideLayout93.xml"/><Relationship Id="rId63" Type="http://schemas.openxmlformats.org/officeDocument/2006/relationships/slideLayout" Target="../slideLayouts/slideLayout109.xml"/><Relationship Id="rId68" Type="http://schemas.openxmlformats.org/officeDocument/2006/relationships/slideLayout" Target="../slideLayouts/slideLayout114.xml"/><Relationship Id="rId84" Type="http://schemas.openxmlformats.org/officeDocument/2006/relationships/slideLayout" Target="../slideLayouts/slideLayout130.xml"/><Relationship Id="rId89" Type="http://schemas.openxmlformats.org/officeDocument/2006/relationships/slideLayout" Target="../slideLayouts/slideLayout135.xml"/><Relationship Id="rId16" Type="http://schemas.openxmlformats.org/officeDocument/2006/relationships/slideLayout" Target="../slideLayouts/slideLayout62.xml"/><Relationship Id="rId11" Type="http://schemas.openxmlformats.org/officeDocument/2006/relationships/slideLayout" Target="../slideLayouts/slideLayout57.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53" Type="http://schemas.openxmlformats.org/officeDocument/2006/relationships/slideLayout" Target="../slideLayouts/slideLayout99.xml"/><Relationship Id="rId58" Type="http://schemas.openxmlformats.org/officeDocument/2006/relationships/slideLayout" Target="../slideLayouts/slideLayout104.xml"/><Relationship Id="rId74" Type="http://schemas.openxmlformats.org/officeDocument/2006/relationships/slideLayout" Target="../slideLayouts/slideLayout120.xml"/><Relationship Id="rId79" Type="http://schemas.openxmlformats.org/officeDocument/2006/relationships/slideLayout" Target="../slideLayouts/slideLayout125.xml"/><Relationship Id="rId5" Type="http://schemas.openxmlformats.org/officeDocument/2006/relationships/slideLayout" Target="../slideLayouts/slideLayout51.xml"/><Relationship Id="rId90" Type="http://schemas.openxmlformats.org/officeDocument/2006/relationships/slideLayout" Target="../slideLayouts/slideLayout136.xml"/><Relationship Id="rId95" Type="http://schemas.openxmlformats.org/officeDocument/2006/relationships/theme" Target="../theme/theme2.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43" Type="http://schemas.openxmlformats.org/officeDocument/2006/relationships/slideLayout" Target="../slideLayouts/slideLayout89.xml"/><Relationship Id="rId48" Type="http://schemas.openxmlformats.org/officeDocument/2006/relationships/slideLayout" Target="../slideLayouts/slideLayout94.xml"/><Relationship Id="rId64" Type="http://schemas.openxmlformats.org/officeDocument/2006/relationships/slideLayout" Target="../slideLayouts/slideLayout110.xml"/><Relationship Id="rId69" Type="http://schemas.openxmlformats.org/officeDocument/2006/relationships/slideLayout" Target="../slideLayouts/slideLayout115.xml"/><Relationship Id="rId80" Type="http://schemas.openxmlformats.org/officeDocument/2006/relationships/slideLayout" Target="../slideLayouts/slideLayout126.xml"/><Relationship Id="rId85" Type="http://schemas.openxmlformats.org/officeDocument/2006/relationships/slideLayout" Target="../slideLayouts/slideLayout131.xml"/><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46" Type="http://schemas.openxmlformats.org/officeDocument/2006/relationships/slideLayout" Target="../slideLayouts/slideLayout92.xml"/><Relationship Id="rId59" Type="http://schemas.openxmlformats.org/officeDocument/2006/relationships/slideLayout" Target="../slideLayouts/slideLayout105.xml"/><Relationship Id="rId67" Type="http://schemas.openxmlformats.org/officeDocument/2006/relationships/slideLayout" Target="../slideLayouts/slideLayout113.xml"/><Relationship Id="rId20" Type="http://schemas.openxmlformats.org/officeDocument/2006/relationships/slideLayout" Target="../slideLayouts/slideLayout66.xml"/><Relationship Id="rId41" Type="http://schemas.openxmlformats.org/officeDocument/2006/relationships/slideLayout" Target="../slideLayouts/slideLayout87.xml"/><Relationship Id="rId54" Type="http://schemas.openxmlformats.org/officeDocument/2006/relationships/slideLayout" Target="../slideLayouts/slideLayout100.xml"/><Relationship Id="rId62" Type="http://schemas.openxmlformats.org/officeDocument/2006/relationships/slideLayout" Target="../slideLayouts/slideLayout108.xml"/><Relationship Id="rId70" Type="http://schemas.openxmlformats.org/officeDocument/2006/relationships/slideLayout" Target="../slideLayouts/slideLayout116.xml"/><Relationship Id="rId75" Type="http://schemas.openxmlformats.org/officeDocument/2006/relationships/slideLayout" Target="../slideLayouts/slideLayout121.xml"/><Relationship Id="rId83" Type="http://schemas.openxmlformats.org/officeDocument/2006/relationships/slideLayout" Target="../slideLayouts/slideLayout129.xml"/><Relationship Id="rId88" Type="http://schemas.openxmlformats.org/officeDocument/2006/relationships/slideLayout" Target="../slideLayouts/slideLayout134.xml"/><Relationship Id="rId91" Type="http://schemas.openxmlformats.org/officeDocument/2006/relationships/slideLayout" Target="../slideLayouts/slideLayout137.xml"/><Relationship Id="rId96" Type="http://schemas.openxmlformats.org/officeDocument/2006/relationships/tags" Target="../tags/tag3.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49" Type="http://schemas.openxmlformats.org/officeDocument/2006/relationships/slideLayout" Target="../slideLayouts/slideLayout95.xml"/><Relationship Id="rId57" Type="http://schemas.openxmlformats.org/officeDocument/2006/relationships/slideLayout" Target="../slideLayouts/slideLayout103.xml"/><Relationship Id="rId10" Type="http://schemas.openxmlformats.org/officeDocument/2006/relationships/slideLayout" Target="../slideLayouts/slideLayout56.xml"/><Relationship Id="rId31" Type="http://schemas.openxmlformats.org/officeDocument/2006/relationships/slideLayout" Target="../slideLayouts/slideLayout77.xml"/><Relationship Id="rId44" Type="http://schemas.openxmlformats.org/officeDocument/2006/relationships/slideLayout" Target="../slideLayouts/slideLayout90.xml"/><Relationship Id="rId52" Type="http://schemas.openxmlformats.org/officeDocument/2006/relationships/slideLayout" Target="../slideLayouts/slideLayout98.xml"/><Relationship Id="rId60" Type="http://schemas.openxmlformats.org/officeDocument/2006/relationships/slideLayout" Target="../slideLayouts/slideLayout106.xml"/><Relationship Id="rId65" Type="http://schemas.openxmlformats.org/officeDocument/2006/relationships/slideLayout" Target="../slideLayouts/slideLayout111.xml"/><Relationship Id="rId73" Type="http://schemas.openxmlformats.org/officeDocument/2006/relationships/slideLayout" Target="../slideLayouts/slideLayout119.xml"/><Relationship Id="rId78" Type="http://schemas.openxmlformats.org/officeDocument/2006/relationships/slideLayout" Target="../slideLayouts/slideLayout124.xml"/><Relationship Id="rId81" Type="http://schemas.openxmlformats.org/officeDocument/2006/relationships/slideLayout" Target="../slideLayouts/slideLayout127.xml"/><Relationship Id="rId86" Type="http://schemas.openxmlformats.org/officeDocument/2006/relationships/slideLayout" Target="../slideLayouts/slideLayout132.xml"/><Relationship Id="rId94" Type="http://schemas.openxmlformats.org/officeDocument/2006/relationships/slideLayout" Target="../slideLayouts/slideLayout140.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9" Type="http://schemas.openxmlformats.org/officeDocument/2006/relationships/slideLayout" Target="../slideLayouts/slideLayout85.xml"/><Relationship Id="rId34" Type="http://schemas.openxmlformats.org/officeDocument/2006/relationships/slideLayout" Target="../slideLayouts/slideLayout80.xml"/><Relationship Id="rId50" Type="http://schemas.openxmlformats.org/officeDocument/2006/relationships/slideLayout" Target="../slideLayouts/slideLayout96.xml"/><Relationship Id="rId55" Type="http://schemas.openxmlformats.org/officeDocument/2006/relationships/slideLayout" Target="../slideLayouts/slideLayout101.xml"/><Relationship Id="rId76" Type="http://schemas.openxmlformats.org/officeDocument/2006/relationships/slideLayout" Target="../slideLayouts/slideLayout122.xml"/><Relationship Id="rId97" Type="http://schemas.openxmlformats.org/officeDocument/2006/relationships/oleObject" Target="../embeddings/oleObject2.bin"/><Relationship Id="rId7" Type="http://schemas.openxmlformats.org/officeDocument/2006/relationships/slideLayout" Target="../slideLayouts/slideLayout53.xml"/><Relationship Id="rId71" Type="http://schemas.openxmlformats.org/officeDocument/2006/relationships/slideLayout" Target="../slideLayouts/slideLayout117.xml"/><Relationship Id="rId92" Type="http://schemas.openxmlformats.org/officeDocument/2006/relationships/slideLayout" Target="../slideLayouts/slideLayout138.xml"/><Relationship Id="rId2" Type="http://schemas.openxmlformats.org/officeDocument/2006/relationships/slideLayout" Target="../slideLayouts/slideLayout48.xml"/><Relationship Id="rId29" Type="http://schemas.openxmlformats.org/officeDocument/2006/relationships/slideLayout" Target="../slideLayouts/slideLayout75.xml"/><Relationship Id="rId24" Type="http://schemas.openxmlformats.org/officeDocument/2006/relationships/slideLayout" Target="../slideLayouts/slideLayout70.xml"/><Relationship Id="rId40" Type="http://schemas.openxmlformats.org/officeDocument/2006/relationships/slideLayout" Target="../slideLayouts/slideLayout86.xml"/><Relationship Id="rId45" Type="http://schemas.openxmlformats.org/officeDocument/2006/relationships/slideLayout" Target="../slideLayouts/slideLayout91.xml"/><Relationship Id="rId66" Type="http://schemas.openxmlformats.org/officeDocument/2006/relationships/slideLayout" Target="../slideLayouts/slideLayout112.xml"/><Relationship Id="rId87" Type="http://schemas.openxmlformats.org/officeDocument/2006/relationships/slideLayout" Target="../slideLayouts/slideLayout133.xml"/><Relationship Id="rId61" Type="http://schemas.openxmlformats.org/officeDocument/2006/relationships/slideLayout" Target="../slideLayouts/slideLayout107.xml"/><Relationship Id="rId82" Type="http://schemas.openxmlformats.org/officeDocument/2006/relationships/slideLayout" Target="../slideLayouts/slideLayout128.xml"/><Relationship Id="rId19" Type="http://schemas.openxmlformats.org/officeDocument/2006/relationships/slideLayout" Target="../slideLayouts/slideLayout65.xml"/><Relationship Id="rId14" Type="http://schemas.openxmlformats.org/officeDocument/2006/relationships/slideLayout" Target="../slideLayouts/slideLayout60.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56" Type="http://schemas.openxmlformats.org/officeDocument/2006/relationships/slideLayout" Target="../slideLayouts/slideLayout102.xml"/><Relationship Id="rId77" Type="http://schemas.openxmlformats.org/officeDocument/2006/relationships/slideLayout" Target="../slideLayouts/slideLayout123.xml"/><Relationship Id="rId8" Type="http://schemas.openxmlformats.org/officeDocument/2006/relationships/slideLayout" Target="../slideLayouts/slideLayout54.xml"/><Relationship Id="rId51" Type="http://schemas.openxmlformats.org/officeDocument/2006/relationships/slideLayout" Target="../slideLayouts/slideLayout97.xml"/><Relationship Id="rId72" Type="http://schemas.openxmlformats.org/officeDocument/2006/relationships/slideLayout" Target="../slideLayouts/slideLayout118.xml"/><Relationship Id="rId93" Type="http://schemas.openxmlformats.org/officeDocument/2006/relationships/slideLayout" Target="../slideLayouts/slideLayout139.xml"/><Relationship Id="rId98"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9" Type="http://schemas.openxmlformats.org/officeDocument/2006/relationships/slideLayout" Target="../slideLayouts/slideLayout179.xml"/><Relationship Id="rId21" Type="http://schemas.openxmlformats.org/officeDocument/2006/relationships/slideLayout" Target="../slideLayouts/slideLayout161.xml"/><Relationship Id="rId34" Type="http://schemas.openxmlformats.org/officeDocument/2006/relationships/slideLayout" Target="../slideLayouts/slideLayout174.xml"/><Relationship Id="rId42" Type="http://schemas.openxmlformats.org/officeDocument/2006/relationships/slideLayout" Target="../slideLayouts/slideLayout182.xml"/><Relationship Id="rId47" Type="http://schemas.openxmlformats.org/officeDocument/2006/relationships/slideLayout" Target="../slideLayouts/slideLayout187.xml"/><Relationship Id="rId50" Type="http://schemas.openxmlformats.org/officeDocument/2006/relationships/slideLayout" Target="../slideLayouts/slideLayout190.xml"/><Relationship Id="rId55" Type="http://schemas.openxmlformats.org/officeDocument/2006/relationships/slideLayout" Target="../slideLayouts/slideLayout195.xml"/><Relationship Id="rId7" Type="http://schemas.openxmlformats.org/officeDocument/2006/relationships/slideLayout" Target="../slideLayouts/slideLayout14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9" Type="http://schemas.openxmlformats.org/officeDocument/2006/relationships/slideLayout" Target="../slideLayouts/slideLayout169.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37" Type="http://schemas.openxmlformats.org/officeDocument/2006/relationships/slideLayout" Target="../slideLayouts/slideLayout177.xml"/><Relationship Id="rId40" Type="http://schemas.openxmlformats.org/officeDocument/2006/relationships/slideLayout" Target="../slideLayouts/slideLayout180.xml"/><Relationship Id="rId45" Type="http://schemas.openxmlformats.org/officeDocument/2006/relationships/slideLayout" Target="../slideLayouts/slideLayout185.xml"/><Relationship Id="rId53" Type="http://schemas.openxmlformats.org/officeDocument/2006/relationships/slideLayout" Target="../slideLayouts/slideLayout193.xml"/><Relationship Id="rId58" Type="http://schemas.openxmlformats.org/officeDocument/2006/relationships/tags" Target="../tags/tag4.xml"/><Relationship Id="rId5" Type="http://schemas.openxmlformats.org/officeDocument/2006/relationships/slideLayout" Target="../slideLayouts/slideLayout145.xml"/><Relationship Id="rId19" Type="http://schemas.openxmlformats.org/officeDocument/2006/relationships/slideLayout" Target="../slideLayouts/slideLayout159.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slideLayout" Target="../slideLayouts/slideLayout175.xml"/><Relationship Id="rId43" Type="http://schemas.openxmlformats.org/officeDocument/2006/relationships/slideLayout" Target="../slideLayouts/slideLayout183.xml"/><Relationship Id="rId48" Type="http://schemas.openxmlformats.org/officeDocument/2006/relationships/slideLayout" Target="../slideLayouts/slideLayout188.xml"/><Relationship Id="rId56" Type="http://schemas.openxmlformats.org/officeDocument/2006/relationships/slideLayout" Target="../slideLayouts/slideLayout196.xml"/><Relationship Id="rId8" Type="http://schemas.openxmlformats.org/officeDocument/2006/relationships/slideLayout" Target="../slideLayouts/slideLayout148.xml"/><Relationship Id="rId51" Type="http://schemas.openxmlformats.org/officeDocument/2006/relationships/slideLayout" Target="../slideLayouts/slideLayout191.xml"/><Relationship Id="rId3" Type="http://schemas.openxmlformats.org/officeDocument/2006/relationships/slideLayout" Target="../slideLayouts/slideLayout143.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38" Type="http://schemas.openxmlformats.org/officeDocument/2006/relationships/slideLayout" Target="../slideLayouts/slideLayout178.xml"/><Relationship Id="rId46" Type="http://schemas.openxmlformats.org/officeDocument/2006/relationships/slideLayout" Target="../slideLayouts/slideLayout186.xml"/><Relationship Id="rId59" Type="http://schemas.openxmlformats.org/officeDocument/2006/relationships/oleObject" Target="../embeddings/oleObject3.bin"/><Relationship Id="rId20" Type="http://schemas.openxmlformats.org/officeDocument/2006/relationships/slideLayout" Target="../slideLayouts/slideLayout160.xml"/><Relationship Id="rId41" Type="http://schemas.openxmlformats.org/officeDocument/2006/relationships/slideLayout" Target="../slideLayouts/slideLayout181.xml"/><Relationship Id="rId54" Type="http://schemas.openxmlformats.org/officeDocument/2006/relationships/slideLayout" Target="../slideLayouts/slideLayout194.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slideLayout" Target="../slideLayouts/slideLayout176.xml"/><Relationship Id="rId49" Type="http://schemas.openxmlformats.org/officeDocument/2006/relationships/slideLayout" Target="../slideLayouts/slideLayout189.xml"/><Relationship Id="rId57" Type="http://schemas.openxmlformats.org/officeDocument/2006/relationships/theme" Target="../theme/theme3.xml"/><Relationship Id="rId10" Type="http://schemas.openxmlformats.org/officeDocument/2006/relationships/slideLayout" Target="../slideLayouts/slideLayout150.xml"/><Relationship Id="rId31" Type="http://schemas.openxmlformats.org/officeDocument/2006/relationships/slideLayout" Target="../slideLayouts/slideLayout171.xml"/><Relationship Id="rId44" Type="http://schemas.openxmlformats.org/officeDocument/2006/relationships/slideLayout" Target="../slideLayouts/slideLayout184.xml"/><Relationship Id="rId52" Type="http://schemas.openxmlformats.org/officeDocument/2006/relationships/slideLayout" Target="../slideLayouts/slideLayout192.xml"/><Relationship Id="rId60"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22.xml"/><Relationship Id="rId21" Type="http://schemas.openxmlformats.org/officeDocument/2006/relationships/slideLayout" Target="../slideLayouts/slideLayout217.xml"/><Relationship Id="rId42" Type="http://schemas.openxmlformats.org/officeDocument/2006/relationships/slideLayout" Target="../slideLayouts/slideLayout238.xml"/><Relationship Id="rId47" Type="http://schemas.openxmlformats.org/officeDocument/2006/relationships/slideLayout" Target="../slideLayouts/slideLayout243.xml"/><Relationship Id="rId63" Type="http://schemas.openxmlformats.org/officeDocument/2006/relationships/slideLayout" Target="../slideLayouts/slideLayout259.xml"/><Relationship Id="rId68" Type="http://schemas.openxmlformats.org/officeDocument/2006/relationships/slideLayout" Target="../slideLayouts/slideLayout264.xml"/><Relationship Id="rId84" Type="http://schemas.openxmlformats.org/officeDocument/2006/relationships/slideLayout" Target="../slideLayouts/slideLayout280.xml"/><Relationship Id="rId89" Type="http://schemas.openxmlformats.org/officeDocument/2006/relationships/slideLayout" Target="../slideLayouts/slideLayout285.xml"/><Relationship Id="rId16" Type="http://schemas.openxmlformats.org/officeDocument/2006/relationships/slideLayout" Target="../slideLayouts/slideLayout212.xml"/><Relationship Id="rId11" Type="http://schemas.openxmlformats.org/officeDocument/2006/relationships/slideLayout" Target="../slideLayouts/slideLayout207.xml"/><Relationship Id="rId32" Type="http://schemas.openxmlformats.org/officeDocument/2006/relationships/slideLayout" Target="../slideLayouts/slideLayout228.xml"/><Relationship Id="rId37" Type="http://schemas.openxmlformats.org/officeDocument/2006/relationships/slideLayout" Target="../slideLayouts/slideLayout233.xml"/><Relationship Id="rId53" Type="http://schemas.openxmlformats.org/officeDocument/2006/relationships/slideLayout" Target="../slideLayouts/slideLayout249.xml"/><Relationship Id="rId58" Type="http://schemas.openxmlformats.org/officeDocument/2006/relationships/slideLayout" Target="../slideLayouts/slideLayout254.xml"/><Relationship Id="rId74" Type="http://schemas.openxmlformats.org/officeDocument/2006/relationships/slideLayout" Target="../slideLayouts/slideLayout270.xml"/><Relationship Id="rId79" Type="http://schemas.openxmlformats.org/officeDocument/2006/relationships/slideLayout" Target="../slideLayouts/slideLayout275.xml"/><Relationship Id="rId5" Type="http://schemas.openxmlformats.org/officeDocument/2006/relationships/slideLayout" Target="../slideLayouts/slideLayout201.xml"/><Relationship Id="rId90" Type="http://schemas.openxmlformats.org/officeDocument/2006/relationships/slideLayout" Target="../slideLayouts/slideLayout286.xml"/><Relationship Id="rId95" Type="http://schemas.openxmlformats.org/officeDocument/2006/relationships/tags" Target="../tags/tag7.xml"/><Relationship Id="rId22" Type="http://schemas.openxmlformats.org/officeDocument/2006/relationships/slideLayout" Target="../slideLayouts/slideLayout218.xml"/><Relationship Id="rId27" Type="http://schemas.openxmlformats.org/officeDocument/2006/relationships/slideLayout" Target="../slideLayouts/slideLayout223.xml"/><Relationship Id="rId43" Type="http://schemas.openxmlformats.org/officeDocument/2006/relationships/slideLayout" Target="../slideLayouts/slideLayout239.xml"/><Relationship Id="rId48" Type="http://schemas.openxmlformats.org/officeDocument/2006/relationships/slideLayout" Target="../slideLayouts/slideLayout244.xml"/><Relationship Id="rId64" Type="http://schemas.openxmlformats.org/officeDocument/2006/relationships/slideLayout" Target="../slideLayouts/slideLayout260.xml"/><Relationship Id="rId69" Type="http://schemas.openxmlformats.org/officeDocument/2006/relationships/slideLayout" Target="../slideLayouts/slideLayout265.xml"/><Relationship Id="rId80" Type="http://schemas.openxmlformats.org/officeDocument/2006/relationships/slideLayout" Target="../slideLayouts/slideLayout276.xml"/><Relationship Id="rId85" Type="http://schemas.openxmlformats.org/officeDocument/2006/relationships/slideLayout" Target="../slideLayouts/slideLayout281.xml"/><Relationship Id="rId3" Type="http://schemas.openxmlformats.org/officeDocument/2006/relationships/slideLayout" Target="../slideLayouts/slideLayout199.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5" Type="http://schemas.openxmlformats.org/officeDocument/2006/relationships/slideLayout" Target="../slideLayouts/slideLayout221.xml"/><Relationship Id="rId33" Type="http://schemas.openxmlformats.org/officeDocument/2006/relationships/slideLayout" Target="../slideLayouts/slideLayout229.xml"/><Relationship Id="rId38" Type="http://schemas.openxmlformats.org/officeDocument/2006/relationships/slideLayout" Target="../slideLayouts/slideLayout234.xml"/><Relationship Id="rId46" Type="http://schemas.openxmlformats.org/officeDocument/2006/relationships/slideLayout" Target="../slideLayouts/slideLayout242.xml"/><Relationship Id="rId59" Type="http://schemas.openxmlformats.org/officeDocument/2006/relationships/slideLayout" Target="../slideLayouts/slideLayout255.xml"/><Relationship Id="rId67" Type="http://schemas.openxmlformats.org/officeDocument/2006/relationships/slideLayout" Target="../slideLayouts/slideLayout263.xml"/><Relationship Id="rId20" Type="http://schemas.openxmlformats.org/officeDocument/2006/relationships/slideLayout" Target="../slideLayouts/slideLayout216.xml"/><Relationship Id="rId41" Type="http://schemas.openxmlformats.org/officeDocument/2006/relationships/slideLayout" Target="../slideLayouts/slideLayout237.xml"/><Relationship Id="rId54" Type="http://schemas.openxmlformats.org/officeDocument/2006/relationships/slideLayout" Target="../slideLayouts/slideLayout250.xml"/><Relationship Id="rId62" Type="http://schemas.openxmlformats.org/officeDocument/2006/relationships/slideLayout" Target="../slideLayouts/slideLayout258.xml"/><Relationship Id="rId70" Type="http://schemas.openxmlformats.org/officeDocument/2006/relationships/slideLayout" Target="../slideLayouts/slideLayout266.xml"/><Relationship Id="rId75" Type="http://schemas.openxmlformats.org/officeDocument/2006/relationships/slideLayout" Target="../slideLayouts/slideLayout271.xml"/><Relationship Id="rId83" Type="http://schemas.openxmlformats.org/officeDocument/2006/relationships/slideLayout" Target="../slideLayouts/slideLayout279.xml"/><Relationship Id="rId88" Type="http://schemas.openxmlformats.org/officeDocument/2006/relationships/slideLayout" Target="../slideLayouts/slideLayout284.xml"/><Relationship Id="rId91" Type="http://schemas.openxmlformats.org/officeDocument/2006/relationships/slideLayout" Target="../slideLayouts/slideLayout287.xml"/><Relationship Id="rId96" Type="http://schemas.openxmlformats.org/officeDocument/2006/relationships/oleObject" Target="../embeddings/oleObject5.bin"/><Relationship Id="rId1" Type="http://schemas.openxmlformats.org/officeDocument/2006/relationships/slideLayout" Target="../slideLayouts/slideLayout197.xml"/><Relationship Id="rId6" Type="http://schemas.openxmlformats.org/officeDocument/2006/relationships/slideLayout" Target="../slideLayouts/slideLayout202.xml"/><Relationship Id="rId15" Type="http://schemas.openxmlformats.org/officeDocument/2006/relationships/slideLayout" Target="../slideLayouts/slideLayout211.xml"/><Relationship Id="rId23" Type="http://schemas.openxmlformats.org/officeDocument/2006/relationships/slideLayout" Target="../slideLayouts/slideLayout219.xml"/><Relationship Id="rId28" Type="http://schemas.openxmlformats.org/officeDocument/2006/relationships/slideLayout" Target="../slideLayouts/slideLayout224.xml"/><Relationship Id="rId36" Type="http://schemas.openxmlformats.org/officeDocument/2006/relationships/slideLayout" Target="../slideLayouts/slideLayout232.xml"/><Relationship Id="rId49" Type="http://schemas.openxmlformats.org/officeDocument/2006/relationships/slideLayout" Target="../slideLayouts/slideLayout245.xml"/><Relationship Id="rId57" Type="http://schemas.openxmlformats.org/officeDocument/2006/relationships/slideLayout" Target="../slideLayouts/slideLayout253.xml"/><Relationship Id="rId10" Type="http://schemas.openxmlformats.org/officeDocument/2006/relationships/slideLayout" Target="../slideLayouts/slideLayout206.xml"/><Relationship Id="rId31" Type="http://schemas.openxmlformats.org/officeDocument/2006/relationships/slideLayout" Target="../slideLayouts/slideLayout227.xml"/><Relationship Id="rId44" Type="http://schemas.openxmlformats.org/officeDocument/2006/relationships/slideLayout" Target="../slideLayouts/slideLayout240.xml"/><Relationship Id="rId52" Type="http://schemas.openxmlformats.org/officeDocument/2006/relationships/slideLayout" Target="../slideLayouts/slideLayout248.xml"/><Relationship Id="rId60" Type="http://schemas.openxmlformats.org/officeDocument/2006/relationships/slideLayout" Target="../slideLayouts/slideLayout256.xml"/><Relationship Id="rId65" Type="http://schemas.openxmlformats.org/officeDocument/2006/relationships/slideLayout" Target="../slideLayouts/slideLayout261.xml"/><Relationship Id="rId73" Type="http://schemas.openxmlformats.org/officeDocument/2006/relationships/slideLayout" Target="../slideLayouts/slideLayout269.xml"/><Relationship Id="rId78" Type="http://schemas.openxmlformats.org/officeDocument/2006/relationships/slideLayout" Target="../slideLayouts/slideLayout274.xml"/><Relationship Id="rId81" Type="http://schemas.openxmlformats.org/officeDocument/2006/relationships/slideLayout" Target="../slideLayouts/slideLayout277.xml"/><Relationship Id="rId86" Type="http://schemas.openxmlformats.org/officeDocument/2006/relationships/slideLayout" Target="../slideLayouts/slideLayout282.xml"/><Relationship Id="rId94" Type="http://schemas.openxmlformats.org/officeDocument/2006/relationships/theme" Target="../theme/theme4.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39" Type="http://schemas.openxmlformats.org/officeDocument/2006/relationships/slideLayout" Target="../slideLayouts/slideLayout235.xml"/><Relationship Id="rId34" Type="http://schemas.openxmlformats.org/officeDocument/2006/relationships/slideLayout" Target="../slideLayouts/slideLayout230.xml"/><Relationship Id="rId50" Type="http://schemas.openxmlformats.org/officeDocument/2006/relationships/slideLayout" Target="../slideLayouts/slideLayout246.xml"/><Relationship Id="rId55" Type="http://schemas.openxmlformats.org/officeDocument/2006/relationships/slideLayout" Target="../slideLayouts/slideLayout251.xml"/><Relationship Id="rId76" Type="http://schemas.openxmlformats.org/officeDocument/2006/relationships/slideLayout" Target="../slideLayouts/slideLayout272.xml"/><Relationship Id="rId97" Type="http://schemas.openxmlformats.org/officeDocument/2006/relationships/image" Target="../media/image41.emf"/><Relationship Id="rId7" Type="http://schemas.openxmlformats.org/officeDocument/2006/relationships/slideLayout" Target="../slideLayouts/slideLayout203.xml"/><Relationship Id="rId71" Type="http://schemas.openxmlformats.org/officeDocument/2006/relationships/slideLayout" Target="../slideLayouts/slideLayout267.xml"/><Relationship Id="rId92" Type="http://schemas.openxmlformats.org/officeDocument/2006/relationships/slideLayout" Target="../slideLayouts/slideLayout288.xml"/><Relationship Id="rId2" Type="http://schemas.openxmlformats.org/officeDocument/2006/relationships/slideLayout" Target="../slideLayouts/slideLayout198.xml"/><Relationship Id="rId29" Type="http://schemas.openxmlformats.org/officeDocument/2006/relationships/slideLayout" Target="../slideLayouts/slideLayout225.xml"/><Relationship Id="rId24" Type="http://schemas.openxmlformats.org/officeDocument/2006/relationships/slideLayout" Target="../slideLayouts/slideLayout220.xml"/><Relationship Id="rId40" Type="http://schemas.openxmlformats.org/officeDocument/2006/relationships/slideLayout" Target="../slideLayouts/slideLayout236.xml"/><Relationship Id="rId45" Type="http://schemas.openxmlformats.org/officeDocument/2006/relationships/slideLayout" Target="../slideLayouts/slideLayout241.xml"/><Relationship Id="rId66" Type="http://schemas.openxmlformats.org/officeDocument/2006/relationships/slideLayout" Target="../slideLayouts/slideLayout262.xml"/><Relationship Id="rId87" Type="http://schemas.openxmlformats.org/officeDocument/2006/relationships/slideLayout" Target="../slideLayouts/slideLayout283.xml"/><Relationship Id="rId61" Type="http://schemas.openxmlformats.org/officeDocument/2006/relationships/slideLayout" Target="../slideLayouts/slideLayout257.xml"/><Relationship Id="rId82" Type="http://schemas.openxmlformats.org/officeDocument/2006/relationships/slideLayout" Target="../slideLayouts/slideLayout278.xml"/><Relationship Id="rId19" Type="http://schemas.openxmlformats.org/officeDocument/2006/relationships/slideLayout" Target="../slideLayouts/slideLayout215.xml"/><Relationship Id="rId14" Type="http://schemas.openxmlformats.org/officeDocument/2006/relationships/slideLayout" Target="../slideLayouts/slideLayout210.xml"/><Relationship Id="rId30" Type="http://schemas.openxmlformats.org/officeDocument/2006/relationships/slideLayout" Target="../slideLayouts/slideLayout226.xml"/><Relationship Id="rId35" Type="http://schemas.openxmlformats.org/officeDocument/2006/relationships/slideLayout" Target="../slideLayouts/slideLayout231.xml"/><Relationship Id="rId56" Type="http://schemas.openxmlformats.org/officeDocument/2006/relationships/slideLayout" Target="../slideLayouts/slideLayout252.xml"/><Relationship Id="rId77" Type="http://schemas.openxmlformats.org/officeDocument/2006/relationships/slideLayout" Target="../slideLayouts/slideLayout273.xml"/><Relationship Id="rId8" Type="http://schemas.openxmlformats.org/officeDocument/2006/relationships/slideLayout" Target="../slideLayouts/slideLayout204.xml"/><Relationship Id="rId51" Type="http://schemas.openxmlformats.org/officeDocument/2006/relationships/slideLayout" Target="../slideLayouts/slideLayout247.xml"/><Relationship Id="rId72" Type="http://schemas.openxmlformats.org/officeDocument/2006/relationships/slideLayout" Target="../slideLayouts/slideLayout268.xml"/><Relationship Id="rId93" Type="http://schemas.openxmlformats.org/officeDocument/2006/relationships/slideLayout" Target="../slideLayouts/slideLayout28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9" Type="http://schemas.openxmlformats.org/officeDocument/2006/relationships/slideLayout" Target="../slideLayouts/slideLayout328.xml"/><Relationship Id="rId21" Type="http://schemas.openxmlformats.org/officeDocument/2006/relationships/slideLayout" Target="../slideLayouts/slideLayout310.xml"/><Relationship Id="rId34" Type="http://schemas.openxmlformats.org/officeDocument/2006/relationships/slideLayout" Target="../slideLayouts/slideLayout323.xml"/><Relationship Id="rId42" Type="http://schemas.openxmlformats.org/officeDocument/2006/relationships/theme" Target="../theme/theme5.xml"/><Relationship Id="rId7" Type="http://schemas.openxmlformats.org/officeDocument/2006/relationships/slideLayout" Target="../slideLayouts/slideLayout296.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9" Type="http://schemas.openxmlformats.org/officeDocument/2006/relationships/slideLayout" Target="../slideLayouts/slideLayout31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slideLayout" Target="../slideLayouts/slideLayout321.xml"/><Relationship Id="rId37" Type="http://schemas.openxmlformats.org/officeDocument/2006/relationships/slideLayout" Target="../slideLayouts/slideLayout326.xml"/><Relationship Id="rId40" Type="http://schemas.openxmlformats.org/officeDocument/2006/relationships/slideLayout" Target="../slideLayouts/slideLayout329.xml"/><Relationship Id="rId45" Type="http://schemas.openxmlformats.org/officeDocument/2006/relationships/image" Target="../media/image55.emf"/><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36" Type="http://schemas.openxmlformats.org/officeDocument/2006/relationships/slideLayout" Target="../slideLayouts/slideLayout325.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slideLayout" Target="../slideLayouts/slideLayout320.xml"/><Relationship Id="rId44" Type="http://schemas.openxmlformats.org/officeDocument/2006/relationships/oleObject" Target="../embeddings/oleObject6.bin"/><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slideLayout" Target="../slideLayouts/slideLayout319.xml"/><Relationship Id="rId35" Type="http://schemas.openxmlformats.org/officeDocument/2006/relationships/slideLayout" Target="../slideLayouts/slideLayout324.xml"/><Relationship Id="rId43" Type="http://schemas.openxmlformats.org/officeDocument/2006/relationships/tags" Target="../tags/tag8.xml"/><Relationship Id="rId8" Type="http://schemas.openxmlformats.org/officeDocument/2006/relationships/slideLayout" Target="../slideLayouts/slideLayout297.xml"/><Relationship Id="rId3" Type="http://schemas.openxmlformats.org/officeDocument/2006/relationships/slideLayout" Target="../slideLayouts/slideLayout292.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33" Type="http://schemas.openxmlformats.org/officeDocument/2006/relationships/slideLayout" Target="../slideLayouts/slideLayout322.xml"/><Relationship Id="rId38" Type="http://schemas.openxmlformats.org/officeDocument/2006/relationships/slideLayout" Target="../slideLayouts/slideLayout327.xml"/><Relationship Id="rId20" Type="http://schemas.openxmlformats.org/officeDocument/2006/relationships/slideLayout" Target="../slideLayouts/slideLayout309.xml"/><Relationship Id="rId41" Type="http://schemas.openxmlformats.org/officeDocument/2006/relationships/slideLayout" Target="../slideLayouts/slideLayout3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6" name="Objekt 35" hidden="1">
            <a:extLst>
              <a:ext uri="{FF2B5EF4-FFF2-40B4-BE49-F238E27FC236}">
                <a16:creationId xmlns:a16="http://schemas.microsoft.com/office/drawing/2014/main" id="{0DC6CDD8-C6A3-7A02-6A11-08B02198A96A}"/>
              </a:ext>
            </a:extLst>
          </p:cNvPr>
          <p:cNvGraphicFramePr>
            <a:graphicFrameLocks noChangeAspect="1"/>
          </p:cNvGraphicFramePr>
          <p:nvPr userDrawn="1">
            <p:custDataLst>
              <p:tags r:id="rId48"/>
            </p:custDataLst>
            <p:extLst>
              <p:ext uri="{D42A27DB-BD31-4B8C-83A1-F6EECF244321}">
                <p14:modId xmlns:p14="http://schemas.microsoft.com/office/powerpoint/2010/main" val="2690448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344" imgH="345" progId="TCLayout.ActiveDocument.1">
                  <p:embed/>
                </p:oleObj>
              </mc:Choice>
              <mc:Fallback>
                <p:oleObj name="think-cell Slide" r:id="rId49" imgW="344" imgH="345" progId="TCLayout.ActiveDocument.1">
                  <p:embed/>
                  <p:pic>
                    <p:nvPicPr>
                      <p:cNvPr id="36" name="Objekt 35" hidden="1">
                        <a:extLst>
                          <a:ext uri="{FF2B5EF4-FFF2-40B4-BE49-F238E27FC236}">
                            <a16:creationId xmlns:a16="http://schemas.microsoft.com/office/drawing/2014/main" id="{0DC6CDD8-C6A3-7A02-6A11-08B02198A96A}"/>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grpSp>
        <p:nvGrpSpPr>
          <p:cNvPr id="2" name="Gruppe 1">
            <a:extLst>
              <a:ext uri="{FF2B5EF4-FFF2-40B4-BE49-F238E27FC236}">
                <a16:creationId xmlns:a16="http://schemas.microsoft.com/office/drawing/2014/main" id="{E7A79386-2CAD-42B9-8219-409DCA72DCC5}"/>
              </a:ext>
            </a:extLst>
          </p:cNvPr>
          <p:cNvGrpSpPr/>
          <p:nvPr userDrawn="1"/>
        </p:nvGrpSpPr>
        <p:grpSpPr>
          <a:xfrm rot="5400000">
            <a:off x="-3352172" y="3328685"/>
            <a:ext cx="5898964" cy="200629"/>
            <a:chOff x="1631309" y="3082593"/>
            <a:chExt cx="5898964" cy="200629"/>
          </a:xfrm>
        </p:grpSpPr>
        <p:sp>
          <p:nvSpPr>
            <p:cNvPr id="3" name="Rectangle 26">
              <a:extLst>
                <a:ext uri="{FF2B5EF4-FFF2-40B4-BE49-F238E27FC236}">
                  <a16:creationId xmlns:a16="http://schemas.microsoft.com/office/drawing/2014/main" id="{84EC9EC3-5CB5-4A5D-849B-001E4FE054A4}"/>
                </a:ext>
              </a:extLst>
            </p:cNvPr>
            <p:cNvSpPr/>
            <p:nvPr userDrawn="1"/>
          </p:nvSpPr>
          <p:spPr>
            <a:xfrm>
              <a:off x="1631309" y="3082593"/>
              <a:ext cx="512754" cy="200629"/>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 name="Rectangle 27">
              <a:extLst>
                <a:ext uri="{FF2B5EF4-FFF2-40B4-BE49-F238E27FC236}">
                  <a16:creationId xmlns:a16="http://schemas.microsoft.com/office/drawing/2014/main" id="{11A7D1A6-EB8F-418B-B5BE-53B4A9388ECA}"/>
                </a:ext>
              </a:extLst>
            </p:cNvPr>
            <p:cNvSpPr/>
            <p:nvPr userDrawn="1"/>
          </p:nvSpPr>
          <p:spPr>
            <a:xfrm>
              <a:off x="2202260" y="3082593"/>
              <a:ext cx="512754" cy="200629"/>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 name="Rectangle 28">
              <a:extLst>
                <a:ext uri="{FF2B5EF4-FFF2-40B4-BE49-F238E27FC236}">
                  <a16:creationId xmlns:a16="http://schemas.microsoft.com/office/drawing/2014/main" id="{CD1390F7-23D2-4C44-AE36-15A7E29CEAF2}"/>
                </a:ext>
              </a:extLst>
            </p:cNvPr>
            <p:cNvSpPr/>
            <p:nvPr userDrawn="1"/>
          </p:nvSpPr>
          <p:spPr>
            <a:xfrm>
              <a:off x="2773211" y="3082593"/>
              <a:ext cx="512754" cy="200629"/>
            </a:xfrm>
            <a:prstGeom prst="rect">
              <a:avLst/>
            </a:prstGeom>
            <a:solidFill>
              <a:srgbClr val="FF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6" name="Rectangle 33">
              <a:extLst>
                <a:ext uri="{FF2B5EF4-FFF2-40B4-BE49-F238E27FC236}">
                  <a16:creationId xmlns:a16="http://schemas.microsoft.com/office/drawing/2014/main" id="{94DE3584-2EFA-48EE-9B44-C17C0B32C7C1}"/>
                </a:ext>
              </a:extLst>
            </p:cNvPr>
            <p:cNvSpPr/>
            <p:nvPr userDrawn="1"/>
          </p:nvSpPr>
          <p:spPr>
            <a:xfrm>
              <a:off x="3344162" y="3082593"/>
              <a:ext cx="512754" cy="200629"/>
            </a:xfrm>
            <a:prstGeom prst="rect">
              <a:avLst/>
            </a:prstGeom>
            <a:solidFill>
              <a:srgbClr val="B441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7" name="Rectangle 33">
              <a:extLst>
                <a:ext uri="{FF2B5EF4-FFF2-40B4-BE49-F238E27FC236}">
                  <a16:creationId xmlns:a16="http://schemas.microsoft.com/office/drawing/2014/main" id="{6CD4960A-0A66-4E37-A816-BF10A3E4B14C}"/>
                </a:ext>
              </a:extLst>
            </p:cNvPr>
            <p:cNvSpPr/>
            <p:nvPr/>
          </p:nvSpPr>
          <p:spPr>
            <a:xfrm>
              <a:off x="7017519" y="3082593"/>
              <a:ext cx="512754" cy="200629"/>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8" name="Rectangle 33">
              <a:extLst>
                <a:ext uri="{FF2B5EF4-FFF2-40B4-BE49-F238E27FC236}">
                  <a16:creationId xmlns:a16="http://schemas.microsoft.com/office/drawing/2014/main" id="{980B2C87-0EF0-4D6D-94EC-FE429A5FBD1A}"/>
                </a:ext>
              </a:extLst>
            </p:cNvPr>
            <p:cNvSpPr/>
            <p:nvPr/>
          </p:nvSpPr>
          <p:spPr>
            <a:xfrm>
              <a:off x="4162763" y="3082593"/>
              <a:ext cx="512754" cy="2006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 name="Rectangle 33">
              <a:extLst>
                <a:ext uri="{FF2B5EF4-FFF2-40B4-BE49-F238E27FC236}">
                  <a16:creationId xmlns:a16="http://schemas.microsoft.com/office/drawing/2014/main" id="{7EF67118-9837-4B31-9D40-97A73095DD1E}"/>
                </a:ext>
              </a:extLst>
            </p:cNvPr>
            <p:cNvSpPr/>
            <p:nvPr/>
          </p:nvSpPr>
          <p:spPr>
            <a:xfrm>
              <a:off x="4733714" y="3082593"/>
              <a:ext cx="512754" cy="200629"/>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0" name="Rectangle 33">
              <a:extLst>
                <a:ext uri="{FF2B5EF4-FFF2-40B4-BE49-F238E27FC236}">
                  <a16:creationId xmlns:a16="http://schemas.microsoft.com/office/drawing/2014/main" id="{31D66A04-1976-43A1-9B7B-8809B43F2CED}"/>
                </a:ext>
              </a:extLst>
            </p:cNvPr>
            <p:cNvSpPr/>
            <p:nvPr/>
          </p:nvSpPr>
          <p:spPr>
            <a:xfrm>
              <a:off x="5304665" y="3082593"/>
              <a:ext cx="512754" cy="20062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1" name="Rectangle 33">
              <a:extLst>
                <a:ext uri="{FF2B5EF4-FFF2-40B4-BE49-F238E27FC236}">
                  <a16:creationId xmlns:a16="http://schemas.microsoft.com/office/drawing/2014/main" id="{F928B4B3-AA58-4358-8EAC-926A142B9F38}"/>
                </a:ext>
              </a:extLst>
            </p:cNvPr>
            <p:cNvSpPr/>
            <p:nvPr/>
          </p:nvSpPr>
          <p:spPr>
            <a:xfrm>
              <a:off x="5875616" y="3082593"/>
              <a:ext cx="512754" cy="200629"/>
            </a:xfrm>
            <a:prstGeom prst="rect">
              <a:avLst/>
            </a:pr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2" name="Rectangle 33">
              <a:extLst>
                <a:ext uri="{FF2B5EF4-FFF2-40B4-BE49-F238E27FC236}">
                  <a16:creationId xmlns:a16="http://schemas.microsoft.com/office/drawing/2014/main" id="{457422B5-4FCE-4AC3-8455-D3A4B46B107E}"/>
                </a:ext>
              </a:extLst>
            </p:cNvPr>
            <p:cNvSpPr/>
            <p:nvPr/>
          </p:nvSpPr>
          <p:spPr>
            <a:xfrm>
              <a:off x="6446567" y="3082593"/>
              <a:ext cx="512754" cy="200629"/>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13" name="Gruppe 12">
            <a:extLst>
              <a:ext uri="{FF2B5EF4-FFF2-40B4-BE49-F238E27FC236}">
                <a16:creationId xmlns:a16="http://schemas.microsoft.com/office/drawing/2014/main" id="{D0951BC4-39D3-4241-B24E-B7EC18D1F607}"/>
              </a:ext>
            </a:extLst>
          </p:cNvPr>
          <p:cNvGrpSpPr/>
          <p:nvPr userDrawn="1"/>
        </p:nvGrpSpPr>
        <p:grpSpPr>
          <a:xfrm rot="5400000">
            <a:off x="9678030" y="3328686"/>
            <a:ext cx="5898964" cy="200629"/>
            <a:chOff x="1631309" y="3082593"/>
            <a:chExt cx="5898964" cy="200629"/>
          </a:xfrm>
        </p:grpSpPr>
        <p:sp>
          <p:nvSpPr>
            <p:cNvPr id="14" name="Rectangle 26">
              <a:extLst>
                <a:ext uri="{FF2B5EF4-FFF2-40B4-BE49-F238E27FC236}">
                  <a16:creationId xmlns:a16="http://schemas.microsoft.com/office/drawing/2014/main" id="{C0CF4AB4-1862-496D-95E3-1AF55D6C4914}"/>
                </a:ext>
              </a:extLst>
            </p:cNvPr>
            <p:cNvSpPr/>
            <p:nvPr userDrawn="1"/>
          </p:nvSpPr>
          <p:spPr>
            <a:xfrm>
              <a:off x="1631309" y="3082593"/>
              <a:ext cx="512754" cy="200629"/>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5" name="Rectangle 27">
              <a:extLst>
                <a:ext uri="{FF2B5EF4-FFF2-40B4-BE49-F238E27FC236}">
                  <a16:creationId xmlns:a16="http://schemas.microsoft.com/office/drawing/2014/main" id="{97035DDF-31EA-4F38-8FBC-D0C7A6108279}"/>
                </a:ext>
              </a:extLst>
            </p:cNvPr>
            <p:cNvSpPr/>
            <p:nvPr userDrawn="1"/>
          </p:nvSpPr>
          <p:spPr>
            <a:xfrm>
              <a:off x="2202260" y="3082593"/>
              <a:ext cx="512754" cy="200629"/>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Rectangle 28">
              <a:extLst>
                <a:ext uri="{FF2B5EF4-FFF2-40B4-BE49-F238E27FC236}">
                  <a16:creationId xmlns:a16="http://schemas.microsoft.com/office/drawing/2014/main" id="{8E055B91-1CA9-4AC5-B4F5-2F804F6D219E}"/>
                </a:ext>
              </a:extLst>
            </p:cNvPr>
            <p:cNvSpPr/>
            <p:nvPr userDrawn="1"/>
          </p:nvSpPr>
          <p:spPr>
            <a:xfrm>
              <a:off x="2773211" y="3082593"/>
              <a:ext cx="512754" cy="200629"/>
            </a:xfrm>
            <a:prstGeom prst="rect">
              <a:avLst/>
            </a:prstGeom>
            <a:solidFill>
              <a:srgbClr val="FF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Rectangle 33">
              <a:extLst>
                <a:ext uri="{FF2B5EF4-FFF2-40B4-BE49-F238E27FC236}">
                  <a16:creationId xmlns:a16="http://schemas.microsoft.com/office/drawing/2014/main" id="{4AAD8519-5E6C-4AE6-876A-E7FAE0E7A7FD}"/>
                </a:ext>
              </a:extLst>
            </p:cNvPr>
            <p:cNvSpPr/>
            <p:nvPr userDrawn="1"/>
          </p:nvSpPr>
          <p:spPr>
            <a:xfrm>
              <a:off x="3344162" y="3082593"/>
              <a:ext cx="512754" cy="200629"/>
            </a:xfrm>
            <a:prstGeom prst="rect">
              <a:avLst/>
            </a:prstGeom>
            <a:solidFill>
              <a:srgbClr val="B441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Rectangle 33">
              <a:extLst>
                <a:ext uri="{FF2B5EF4-FFF2-40B4-BE49-F238E27FC236}">
                  <a16:creationId xmlns:a16="http://schemas.microsoft.com/office/drawing/2014/main" id="{A3E750B4-E224-404C-AD3F-B35983B4A717}"/>
                </a:ext>
              </a:extLst>
            </p:cNvPr>
            <p:cNvSpPr/>
            <p:nvPr/>
          </p:nvSpPr>
          <p:spPr>
            <a:xfrm>
              <a:off x="7017519" y="3082593"/>
              <a:ext cx="512754" cy="200629"/>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9" name="Rectangle 33">
              <a:extLst>
                <a:ext uri="{FF2B5EF4-FFF2-40B4-BE49-F238E27FC236}">
                  <a16:creationId xmlns:a16="http://schemas.microsoft.com/office/drawing/2014/main" id="{6AE4CDA9-5522-4FD2-BF17-35482D237A9D}"/>
                </a:ext>
              </a:extLst>
            </p:cNvPr>
            <p:cNvSpPr/>
            <p:nvPr/>
          </p:nvSpPr>
          <p:spPr>
            <a:xfrm>
              <a:off x="4162763" y="3082593"/>
              <a:ext cx="512754" cy="2006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0" name="Rectangle 33">
              <a:extLst>
                <a:ext uri="{FF2B5EF4-FFF2-40B4-BE49-F238E27FC236}">
                  <a16:creationId xmlns:a16="http://schemas.microsoft.com/office/drawing/2014/main" id="{12C2E627-C9EB-495E-85F0-00134D94A9CC}"/>
                </a:ext>
              </a:extLst>
            </p:cNvPr>
            <p:cNvSpPr/>
            <p:nvPr/>
          </p:nvSpPr>
          <p:spPr>
            <a:xfrm>
              <a:off x="4733714" y="3082593"/>
              <a:ext cx="512754" cy="200629"/>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1" name="Rectangle 33">
              <a:extLst>
                <a:ext uri="{FF2B5EF4-FFF2-40B4-BE49-F238E27FC236}">
                  <a16:creationId xmlns:a16="http://schemas.microsoft.com/office/drawing/2014/main" id="{00398AD3-A224-49DC-B456-AF166CD84C06}"/>
                </a:ext>
              </a:extLst>
            </p:cNvPr>
            <p:cNvSpPr/>
            <p:nvPr/>
          </p:nvSpPr>
          <p:spPr>
            <a:xfrm>
              <a:off x="5304665" y="3082593"/>
              <a:ext cx="512754" cy="20062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2" name="Rectangle 33">
              <a:extLst>
                <a:ext uri="{FF2B5EF4-FFF2-40B4-BE49-F238E27FC236}">
                  <a16:creationId xmlns:a16="http://schemas.microsoft.com/office/drawing/2014/main" id="{786AF896-D24D-4C69-9D17-38B8DD939458}"/>
                </a:ext>
              </a:extLst>
            </p:cNvPr>
            <p:cNvSpPr/>
            <p:nvPr/>
          </p:nvSpPr>
          <p:spPr>
            <a:xfrm>
              <a:off x="5875616" y="3082593"/>
              <a:ext cx="512754" cy="200629"/>
            </a:xfrm>
            <a:prstGeom prst="rect">
              <a:avLst/>
            </a:pr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3" name="Rectangle 33">
              <a:extLst>
                <a:ext uri="{FF2B5EF4-FFF2-40B4-BE49-F238E27FC236}">
                  <a16:creationId xmlns:a16="http://schemas.microsoft.com/office/drawing/2014/main" id="{E71345EC-6978-4527-B4EE-75B74745391D}"/>
                </a:ext>
              </a:extLst>
            </p:cNvPr>
            <p:cNvSpPr/>
            <p:nvPr/>
          </p:nvSpPr>
          <p:spPr>
            <a:xfrm>
              <a:off x="6446567" y="3082593"/>
              <a:ext cx="512754" cy="200629"/>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24" name="Gruppe 23">
            <a:extLst>
              <a:ext uri="{FF2B5EF4-FFF2-40B4-BE49-F238E27FC236}">
                <a16:creationId xmlns:a16="http://schemas.microsoft.com/office/drawing/2014/main" id="{20A7E827-0E86-4D9C-8AAF-AD18DDBDF6B9}"/>
              </a:ext>
            </a:extLst>
          </p:cNvPr>
          <p:cNvGrpSpPr/>
          <p:nvPr userDrawn="1"/>
        </p:nvGrpSpPr>
        <p:grpSpPr>
          <a:xfrm rot="5400000">
            <a:off x="-3352173" y="3328685"/>
            <a:ext cx="5898964" cy="200629"/>
            <a:chOff x="1631309" y="3082593"/>
            <a:chExt cx="5898964" cy="200629"/>
          </a:xfrm>
        </p:grpSpPr>
        <p:sp>
          <p:nvSpPr>
            <p:cNvPr id="25" name="Rectangle 26">
              <a:extLst>
                <a:ext uri="{FF2B5EF4-FFF2-40B4-BE49-F238E27FC236}">
                  <a16:creationId xmlns:a16="http://schemas.microsoft.com/office/drawing/2014/main" id="{AE21A5CA-CC02-4188-8B0B-73B91709E4C4}"/>
                </a:ext>
              </a:extLst>
            </p:cNvPr>
            <p:cNvSpPr/>
            <p:nvPr userDrawn="1"/>
          </p:nvSpPr>
          <p:spPr>
            <a:xfrm>
              <a:off x="1631309" y="3082593"/>
              <a:ext cx="512754" cy="200629"/>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6" name="Rectangle 27">
              <a:extLst>
                <a:ext uri="{FF2B5EF4-FFF2-40B4-BE49-F238E27FC236}">
                  <a16:creationId xmlns:a16="http://schemas.microsoft.com/office/drawing/2014/main" id="{4EB7FE60-0667-4081-B0A5-F2A86DDFAB19}"/>
                </a:ext>
              </a:extLst>
            </p:cNvPr>
            <p:cNvSpPr/>
            <p:nvPr userDrawn="1"/>
          </p:nvSpPr>
          <p:spPr>
            <a:xfrm>
              <a:off x="2202260" y="3082593"/>
              <a:ext cx="512754" cy="200629"/>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7" name="Rectangle 28">
              <a:extLst>
                <a:ext uri="{FF2B5EF4-FFF2-40B4-BE49-F238E27FC236}">
                  <a16:creationId xmlns:a16="http://schemas.microsoft.com/office/drawing/2014/main" id="{366CA50D-30FC-4745-9726-BB9DFBB65A77}"/>
                </a:ext>
              </a:extLst>
            </p:cNvPr>
            <p:cNvSpPr/>
            <p:nvPr userDrawn="1"/>
          </p:nvSpPr>
          <p:spPr>
            <a:xfrm>
              <a:off x="2773211" y="3082593"/>
              <a:ext cx="512754" cy="200629"/>
            </a:xfrm>
            <a:prstGeom prst="rect">
              <a:avLst/>
            </a:prstGeom>
            <a:solidFill>
              <a:srgbClr val="FF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8" name="Rectangle 33">
              <a:extLst>
                <a:ext uri="{FF2B5EF4-FFF2-40B4-BE49-F238E27FC236}">
                  <a16:creationId xmlns:a16="http://schemas.microsoft.com/office/drawing/2014/main" id="{6E40009C-DC9E-4D13-A196-92C4DDD3F9D5}"/>
                </a:ext>
              </a:extLst>
            </p:cNvPr>
            <p:cNvSpPr/>
            <p:nvPr userDrawn="1"/>
          </p:nvSpPr>
          <p:spPr>
            <a:xfrm>
              <a:off x="3344162" y="3082593"/>
              <a:ext cx="512754" cy="200629"/>
            </a:xfrm>
            <a:prstGeom prst="rect">
              <a:avLst/>
            </a:prstGeom>
            <a:solidFill>
              <a:srgbClr val="B441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9" name="Rectangle 33">
              <a:extLst>
                <a:ext uri="{FF2B5EF4-FFF2-40B4-BE49-F238E27FC236}">
                  <a16:creationId xmlns:a16="http://schemas.microsoft.com/office/drawing/2014/main" id="{41504CF7-350D-4A90-940E-EEFB96016D67}"/>
                </a:ext>
              </a:extLst>
            </p:cNvPr>
            <p:cNvSpPr/>
            <p:nvPr/>
          </p:nvSpPr>
          <p:spPr>
            <a:xfrm>
              <a:off x="7017519" y="3082593"/>
              <a:ext cx="512754" cy="200629"/>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0" name="Rectangle 33">
              <a:extLst>
                <a:ext uri="{FF2B5EF4-FFF2-40B4-BE49-F238E27FC236}">
                  <a16:creationId xmlns:a16="http://schemas.microsoft.com/office/drawing/2014/main" id="{817C56C2-0BCC-4CE2-9603-D20F406497AB}"/>
                </a:ext>
              </a:extLst>
            </p:cNvPr>
            <p:cNvSpPr/>
            <p:nvPr/>
          </p:nvSpPr>
          <p:spPr>
            <a:xfrm>
              <a:off x="4162763" y="3082593"/>
              <a:ext cx="512754" cy="2006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1" name="Rectangle 33">
              <a:extLst>
                <a:ext uri="{FF2B5EF4-FFF2-40B4-BE49-F238E27FC236}">
                  <a16:creationId xmlns:a16="http://schemas.microsoft.com/office/drawing/2014/main" id="{500539BB-E414-4CB3-82B6-05D2109F3E53}"/>
                </a:ext>
              </a:extLst>
            </p:cNvPr>
            <p:cNvSpPr/>
            <p:nvPr/>
          </p:nvSpPr>
          <p:spPr>
            <a:xfrm>
              <a:off x="4733714" y="3082593"/>
              <a:ext cx="512754" cy="200629"/>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2" name="Rectangle 33">
              <a:extLst>
                <a:ext uri="{FF2B5EF4-FFF2-40B4-BE49-F238E27FC236}">
                  <a16:creationId xmlns:a16="http://schemas.microsoft.com/office/drawing/2014/main" id="{28AFB3A9-0D03-43EF-8AF7-341F26CFD438}"/>
                </a:ext>
              </a:extLst>
            </p:cNvPr>
            <p:cNvSpPr/>
            <p:nvPr/>
          </p:nvSpPr>
          <p:spPr>
            <a:xfrm>
              <a:off x="5304665" y="3082593"/>
              <a:ext cx="512754" cy="20062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3" name="Rectangle 33">
              <a:extLst>
                <a:ext uri="{FF2B5EF4-FFF2-40B4-BE49-F238E27FC236}">
                  <a16:creationId xmlns:a16="http://schemas.microsoft.com/office/drawing/2014/main" id="{8B5232D3-B457-40F6-AAE6-BFB163E4134F}"/>
                </a:ext>
              </a:extLst>
            </p:cNvPr>
            <p:cNvSpPr/>
            <p:nvPr/>
          </p:nvSpPr>
          <p:spPr>
            <a:xfrm>
              <a:off x="5875616" y="3082593"/>
              <a:ext cx="512754" cy="200629"/>
            </a:xfrm>
            <a:prstGeom prst="rect">
              <a:avLst/>
            </a:pr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4" name="Rectangle 33">
              <a:extLst>
                <a:ext uri="{FF2B5EF4-FFF2-40B4-BE49-F238E27FC236}">
                  <a16:creationId xmlns:a16="http://schemas.microsoft.com/office/drawing/2014/main" id="{F06A99A1-F1A7-442C-AFFE-7F5D70C81E31}"/>
                </a:ext>
              </a:extLst>
            </p:cNvPr>
            <p:cNvSpPr/>
            <p:nvPr/>
          </p:nvSpPr>
          <p:spPr>
            <a:xfrm>
              <a:off x="6446567" y="3082593"/>
              <a:ext cx="512754" cy="200629"/>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35" name="Footer Placeholder 34">
            <a:extLst>
              <a:ext uri="{FF2B5EF4-FFF2-40B4-BE49-F238E27FC236}">
                <a16:creationId xmlns:a16="http://schemas.microsoft.com/office/drawing/2014/main" id="{042693E4-8AB4-44C9-C223-DDEB71C210C5}"/>
              </a:ext>
            </a:extLst>
          </p:cNvPr>
          <p:cNvSpPr>
            <a:spLocks noGrp="1"/>
          </p:cNvSpPr>
          <p:nvPr>
            <p:ph type="ftr" sz="quarter" idx="3"/>
          </p:nvPr>
        </p:nvSpPr>
        <p:spPr>
          <a:xfrm>
            <a:off x="599662" y="6492875"/>
            <a:ext cx="2107096" cy="365125"/>
          </a:xfrm>
          <a:prstGeom prst="rect">
            <a:avLst/>
          </a:prstGeom>
        </p:spPr>
        <p:txBody>
          <a:bodyPr vert="horz" lIns="91440" tIns="45720" rIns="91440" bIns="45720" rtlCol="0" anchor="ctr"/>
          <a:lstStyle>
            <a:lvl1pPr algn="l">
              <a:defRPr sz="800" b="0" i="0">
                <a:solidFill>
                  <a:schemeClr val="bg1"/>
                </a:solidFill>
                <a:latin typeface="Helvetica Light" panose="020B0403020202020204" pitchFamily="34" charset="0"/>
              </a:defRPr>
            </a:lvl1pPr>
          </a:lstStyle>
          <a:p>
            <a:r>
              <a:rPr lang="en-US"/>
              <a:t>© StrongPoint 2022</a:t>
            </a:r>
          </a:p>
        </p:txBody>
      </p:sp>
      <p:sp>
        <p:nvSpPr>
          <p:cNvPr id="37" name="Slide Number Placeholder 36">
            <a:extLst>
              <a:ext uri="{FF2B5EF4-FFF2-40B4-BE49-F238E27FC236}">
                <a16:creationId xmlns:a16="http://schemas.microsoft.com/office/drawing/2014/main" id="{4631DC25-2B31-8D3B-1F79-0DD150BDB031}"/>
              </a:ext>
            </a:extLst>
          </p:cNvPr>
          <p:cNvSpPr>
            <a:spLocks noGrp="1"/>
          </p:cNvSpPr>
          <p:nvPr>
            <p:ph type="sldNum" sz="quarter" idx="4"/>
          </p:nvPr>
        </p:nvSpPr>
        <p:spPr>
          <a:xfrm>
            <a:off x="3596641" y="6492874"/>
            <a:ext cx="869249" cy="365125"/>
          </a:xfrm>
          <a:prstGeom prst="rect">
            <a:avLst/>
          </a:prstGeom>
        </p:spPr>
        <p:txBody>
          <a:bodyPr vert="horz" lIns="91440" tIns="45720" rIns="91440" bIns="45720" rtlCol="0" anchor="ctr"/>
          <a:lstStyle>
            <a:lvl1pPr algn="r">
              <a:defRPr sz="800" b="0" i="0">
                <a:solidFill>
                  <a:schemeClr val="bg1"/>
                </a:solidFill>
                <a:latin typeface="Helvetica Light" panose="020B0403020202020204" pitchFamily="34" charset="0"/>
              </a:defRPr>
            </a:lvl1pPr>
          </a:lstStyle>
          <a:p>
            <a:r>
              <a:rPr lang="en-US"/>
              <a:t>|   Slide </a:t>
            </a:r>
            <a:fld id="{637D13D3-0D1B-724F-9D9E-35319FA962A1}" type="slidenum">
              <a:rPr lang="en-US" smtClean="0"/>
              <a:pPr/>
              <a:t>‹#›</a:t>
            </a:fld>
            <a:endParaRPr lang="en-US"/>
          </a:p>
        </p:txBody>
      </p:sp>
      <p:sp>
        <p:nvSpPr>
          <p:cNvPr id="38" name="Date Placeholder 37">
            <a:extLst>
              <a:ext uri="{FF2B5EF4-FFF2-40B4-BE49-F238E27FC236}">
                <a16:creationId xmlns:a16="http://schemas.microsoft.com/office/drawing/2014/main" id="{A5292339-C4EB-28E5-53A6-24F45E35EDFC}"/>
              </a:ext>
            </a:extLst>
          </p:cNvPr>
          <p:cNvSpPr>
            <a:spLocks noGrp="1"/>
          </p:cNvSpPr>
          <p:nvPr>
            <p:ph type="dt" sz="half" idx="2"/>
          </p:nvPr>
        </p:nvSpPr>
        <p:spPr>
          <a:xfrm>
            <a:off x="2873829" y="6492875"/>
            <a:ext cx="722812" cy="365125"/>
          </a:xfrm>
          <a:prstGeom prst="rect">
            <a:avLst/>
          </a:prstGeom>
        </p:spPr>
        <p:txBody>
          <a:bodyPr vert="horz" lIns="91440" tIns="45720" rIns="91440" bIns="45720" rtlCol="0" anchor="ctr"/>
          <a:lstStyle>
            <a:lvl1pPr algn="l">
              <a:defRPr sz="800" b="0" i="0">
                <a:solidFill>
                  <a:schemeClr val="bg1"/>
                </a:solidFill>
                <a:latin typeface="Helvetica Light" panose="020B0403020202020204" pitchFamily="34" charset="0"/>
              </a:defRPr>
            </a:lvl1pPr>
          </a:lstStyle>
          <a:p>
            <a:fld id="{98660494-7098-F646-8148-0E9DEE0B5A93}" type="datetime1">
              <a:rPr lang="nb-NO" smtClean="0"/>
              <a:t>20.08.2024</a:t>
            </a:fld>
            <a:endParaRPr lang="en-US"/>
          </a:p>
        </p:txBody>
      </p:sp>
    </p:spTree>
    <p:extLst>
      <p:ext uri="{BB962C8B-B14F-4D97-AF65-F5344CB8AC3E}">
        <p14:creationId xmlns:p14="http://schemas.microsoft.com/office/powerpoint/2010/main" val="2482939575"/>
      </p:ext>
    </p:extLst>
  </p:cSld>
  <p:clrMap bg1="lt1" tx1="dk1" bg2="lt2" tx2="dk2" accent1="accent1" accent2="accent2" accent3="accent3" accent4="accent4" accent5="accent5" accent6="accent6" hlink="hlink" folHlink="folHlink"/>
  <p:sldLayoutIdLst>
    <p:sldLayoutId id="2147483837" r:id="rId1"/>
    <p:sldLayoutId id="2147484077" r:id="rId2"/>
    <p:sldLayoutId id="2147483806" r:id="rId3"/>
    <p:sldLayoutId id="2147483832" r:id="rId4"/>
    <p:sldLayoutId id="2147483805" r:id="rId5"/>
    <p:sldLayoutId id="2147483834" r:id="rId6"/>
    <p:sldLayoutId id="2147483755" r:id="rId7"/>
    <p:sldLayoutId id="2147483835" r:id="rId8"/>
    <p:sldLayoutId id="2147483838" r:id="rId9"/>
    <p:sldLayoutId id="2147483833" r:id="rId10"/>
    <p:sldLayoutId id="2147483812" r:id="rId11"/>
    <p:sldLayoutId id="2147484078" r:id="rId12"/>
    <p:sldLayoutId id="2147483847" r:id="rId13"/>
    <p:sldLayoutId id="2147483906" r:id="rId14"/>
    <p:sldLayoutId id="2147483908" r:id="rId15"/>
    <p:sldLayoutId id="2147483907" r:id="rId16"/>
    <p:sldLayoutId id="2147483848" r:id="rId17"/>
    <p:sldLayoutId id="2147483909" r:id="rId18"/>
    <p:sldLayoutId id="2147483892" r:id="rId19"/>
    <p:sldLayoutId id="2147483910" r:id="rId20"/>
    <p:sldLayoutId id="2147483893" r:id="rId21"/>
    <p:sldLayoutId id="2147483911" r:id="rId22"/>
    <p:sldLayoutId id="2147483894" r:id="rId23"/>
    <p:sldLayoutId id="2147483912" r:id="rId24"/>
    <p:sldLayoutId id="2147483856" r:id="rId25"/>
    <p:sldLayoutId id="2147483895" r:id="rId26"/>
    <p:sldLayoutId id="2147483896" r:id="rId27"/>
    <p:sldLayoutId id="2147483897" r:id="rId28"/>
    <p:sldLayoutId id="2147483860" r:id="rId29"/>
    <p:sldLayoutId id="2147483899" r:id="rId30"/>
    <p:sldLayoutId id="2147483904" r:id="rId31"/>
    <p:sldLayoutId id="2147483861" r:id="rId32"/>
    <p:sldLayoutId id="2147483862" r:id="rId33"/>
    <p:sldLayoutId id="2147483863" r:id="rId34"/>
    <p:sldLayoutId id="2147483898" r:id="rId35"/>
    <p:sldLayoutId id="2147483864" r:id="rId36"/>
    <p:sldLayoutId id="2147483865" r:id="rId37"/>
    <p:sldLayoutId id="2147483900" r:id="rId38"/>
    <p:sldLayoutId id="2147483901" r:id="rId39"/>
    <p:sldLayoutId id="2147483866" r:id="rId40"/>
    <p:sldLayoutId id="2147483872" r:id="rId41"/>
    <p:sldLayoutId id="2147483873" r:id="rId42"/>
    <p:sldLayoutId id="2147483902" r:id="rId43"/>
    <p:sldLayoutId id="2147483903" r:id="rId44"/>
    <p:sldLayoutId id="2147483905" r:id="rId45"/>
    <p:sldLayoutId id="2147483880" r:id="rId46"/>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6" name="Objekt 35" hidden="1">
            <a:extLst>
              <a:ext uri="{FF2B5EF4-FFF2-40B4-BE49-F238E27FC236}">
                <a16:creationId xmlns:a16="http://schemas.microsoft.com/office/drawing/2014/main" id="{33645425-966E-4453-F553-FA80383A252F}"/>
              </a:ext>
            </a:extLst>
          </p:cNvPr>
          <p:cNvGraphicFramePr>
            <a:graphicFrameLocks noChangeAspect="1"/>
          </p:cNvGraphicFramePr>
          <p:nvPr userDrawn="1">
            <p:custDataLst>
              <p:tags r:id="rId96"/>
            </p:custDataLst>
            <p:extLst>
              <p:ext uri="{D42A27DB-BD31-4B8C-83A1-F6EECF244321}">
                <p14:modId xmlns:p14="http://schemas.microsoft.com/office/powerpoint/2010/main" val="4293285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7" imgW="360" imgH="360" progId="TCLayout.ActiveDocument.1">
                  <p:embed/>
                </p:oleObj>
              </mc:Choice>
              <mc:Fallback>
                <p:oleObj name="think-cell Slide" r:id="rId97" imgW="360" imgH="360" progId="TCLayout.ActiveDocument.1">
                  <p:embed/>
                  <p:pic>
                    <p:nvPicPr>
                      <p:cNvPr id="36" name="Objekt 35" hidden="1">
                        <a:extLst>
                          <a:ext uri="{FF2B5EF4-FFF2-40B4-BE49-F238E27FC236}">
                            <a16:creationId xmlns:a16="http://schemas.microsoft.com/office/drawing/2014/main" id="{33645425-966E-4453-F553-FA80383A252F}"/>
                          </a:ext>
                        </a:extLst>
                      </p:cNvPr>
                      <p:cNvPicPr/>
                      <p:nvPr/>
                    </p:nvPicPr>
                    <p:blipFill>
                      <a:blip r:embed="rId98"/>
                      <a:stretch>
                        <a:fillRect/>
                      </a:stretch>
                    </p:blipFill>
                    <p:spPr>
                      <a:xfrm>
                        <a:off x="1588" y="1588"/>
                        <a:ext cx="1588" cy="1588"/>
                      </a:xfrm>
                      <a:prstGeom prst="rect">
                        <a:avLst/>
                      </a:prstGeom>
                    </p:spPr>
                  </p:pic>
                </p:oleObj>
              </mc:Fallback>
            </mc:AlternateContent>
          </a:graphicData>
        </a:graphic>
      </p:graphicFrame>
      <p:grpSp>
        <p:nvGrpSpPr>
          <p:cNvPr id="2" name="Gruppe 1">
            <a:extLst>
              <a:ext uri="{FF2B5EF4-FFF2-40B4-BE49-F238E27FC236}">
                <a16:creationId xmlns:a16="http://schemas.microsoft.com/office/drawing/2014/main" id="{E7A79386-2CAD-42B9-8219-409DCA72DCC5}"/>
              </a:ext>
            </a:extLst>
          </p:cNvPr>
          <p:cNvGrpSpPr/>
          <p:nvPr userDrawn="1"/>
        </p:nvGrpSpPr>
        <p:grpSpPr>
          <a:xfrm rot="5400000">
            <a:off x="-3352172" y="3328685"/>
            <a:ext cx="5898964" cy="200629"/>
            <a:chOff x="1631309" y="3082593"/>
            <a:chExt cx="5898964" cy="200629"/>
          </a:xfrm>
        </p:grpSpPr>
        <p:sp>
          <p:nvSpPr>
            <p:cNvPr id="3" name="Rectangle 26">
              <a:extLst>
                <a:ext uri="{FF2B5EF4-FFF2-40B4-BE49-F238E27FC236}">
                  <a16:creationId xmlns:a16="http://schemas.microsoft.com/office/drawing/2014/main" id="{84EC9EC3-5CB5-4A5D-849B-001E4FE054A4}"/>
                </a:ext>
              </a:extLst>
            </p:cNvPr>
            <p:cNvSpPr/>
            <p:nvPr userDrawn="1"/>
          </p:nvSpPr>
          <p:spPr>
            <a:xfrm>
              <a:off x="1631309" y="3082593"/>
              <a:ext cx="512754" cy="200629"/>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 name="Rectangle 27">
              <a:extLst>
                <a:ext uri="{FF2B5EF4-FFF2-40B4-BE49-F238E27FC236}">
                  <a16:creationId xmlns:a16="http://schemas.microsoft.com/office/drawing/2014/main" id="{11A7D1A6-EB8F-418B-B5BE-53B4A9388ECA}"/>
                </a:ext>
              </a:extLst>
            </p:cNvPr>
            <p:cNvSpPr/>
            <p:nvPr userDrawn="1"/>
          </p:nvSpPr>
          <p:spPr>
            <a:xfrm>
              <a:off x="2202260" y="3082593"/>
              <a:ext cx="512754" cy="200629"/>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 name="Rectangle 28">
              <a:extLst>
                <a:ext uri="{FF2B5EF4-FFF2-40B4-BE49-F238E27FC236}">
                  <a16:creationId xmlns:a16="http://schemas.microsoft.com/office/drawing/2014/main" id="{CD1390F7-23D2-4C44-AE36-15A7E29CEAF2}"/>
                </a:ext>
              </a:extLst>
            </p:cNvPr>
            <p:cNvSpPr/>
            <p:nvPr userDrawn="1"/>
          </p:nvSpPr>
          <p:spPr>
            <a:xfrm>
              <a:off x="2773211" y="3082593"/>
              <a:ext cx="512754" cy="200629"/>
            </a:xfrm>
            <a:prstGeom prst="rect">
              <a:avLst/>
            </a:prstGeom>
            <a:solidFill>
              <a:srgbClr val="FF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6" name="Rectangle 33">
              <a:extLst>
                <a:ext uri="{FF2B5EF4-FFF2-40B4-BE49-F238E27FC236}">
                  <a16:creationId xmlns:a16="http://schemas.microsoft.com/office/drawing/2014/main" id="{94DE3584-2EFA-48EE-9B44-C17C0B32C7C1}"/>
                </a:ext>
              </a:extLst>
            </p:cNvPr>
            <p:cNvSpPr/>
            <p:nvPr userDrawn="1"/>
          </p:nvSpPr>
          <p:spPr>
            <a:xfrm>
              <a:off x="3344162" y="3082593"/>
              <a:ext cx="512754" cy="200629"/>
            </a:xfrm>
            <a:prstGeom prst="rect">
              <a:avLst/>
            </a:prstGeom>
            <a:solidFill>
              <a:srgbClr val="B441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7" name="Rectangle 33">
              <a:extLst>
                <a:ext uri="{FF2B5EF4-FFF2-40B4-BE49-F238E27FC236}">
                  <a16:creationId xmlns:a16="http://schemas.microsoft.com/office/drawing/2014/main" id="{6CD4960A-0A66-4E37-A816-BF10A3E4B14C}"/>
                </a:ext>
              </a:extLst>
            </p:cNvPr>
            <p:cNvSpPr/>
            <p:nvPr/>
          </p:nvSpPr>
          <p:spPr>
            <a:xfrm>
              <a:off x="7017519" y="3082593"/>
              <a:ext cx="512754" cy="200629"/>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8" name="Rectangle 33">
              <a:extLst>
                <a:ext uri="{FF2B5EF4-FFF2-40B4-BE49-F238E27FC236}">
                  <a16:creationId xmlns:a16="http://schemas.microsoft.com/office/drawing/2014/main" id="{980B2C87-0EF0-4D6D-94EC-FE429A5FBD1A}"/>
                </a:ext>
              </a:extLst>
            </p:cNvPr>
            <p:cNvSpPr/>
            <p:nvPr/>
          </p:nvSpPr>
          <p:spPr>
            <a:xfrm>
              <a:off x="4162763" y="3082593"/>
              <a:ext cx="512754" cy="2006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 name="Rectangle 33">
              <a:extLst>
                <a:ext uri="{FF2B5EF4-FFF2-40B4-BE49-F238E27FC236}">
                  <a16:creationId xmlns:a16="http://schemas.microsoft.com/office/drawing/2014/main" id="{7EF67118-9837-4B31-9D40-97A73095DD1E}"/>
                </a:ext>
              </a:extLst>
            </p:cNvPr>
            <p:cNvSpPr/>
            <p:nvPr/>
          </p:nvSpPr>
          <p:spPr>
            <a:xfrm>
              <a:off x="4733714" y="3082593"/>
              <a:ext cx="512754" cy="200629"/>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0" name="Rectangle 33">
              <a:extLst>
                <a:ext uri="{FF2B5EF4-FFF2-40B4-BE49-F238E27FC236}">
                  <a16:creationId xmlns:a16="http://schemas.microsoft.com/office/drawing/2014/main" id="{31D66A04-1976-43A1-9B7B-8809B43F2CED}"/>
                </a:ext>
              </a:extLst>
            </p:cNvPr>
            <p:cNvSpPr/>
            <p:nvPr/>
          </p:nvSpPr>
          <p:spPr>
            <a:xfrm>
              <a:off x="5304665" y="3082593"/>
              <a:ext cx="512754" cy="20062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1" name="Rectangle 33">
              <a:extLst>
                <a:ext uri="{FF2B5EF4-FFF2-40B4-BE49-F238E27FC236}">
                  <a16:creationId xmlns:a16="http://schemas.microsoft.com/office/drawing/2014/main" id="{F928B4B3-AA58-4358-8EAC-926A142B9F38}"/>
                </a:ext>
              </a:extLst>
            </p:cNvPr>
            <p:cNvSpPr/>
            <p:nvPr/>
          </p:nvSpPr>
          <p:spPr>
            <a:xfrm>
              <a:off x="5875616" y="3082593"/>
              <a:ext cx="512754" cy="200629"/>
            </a:xfrm>
            <a:prstGeom prst="rect">
              <a:avLst/>
            </a:pr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2" name="Rectangle 33">
              <a:extLst>
                <a:ext uri="{FF2B5EF4-FFF2-40B4-BE49-F238E27FC236}">
                  <a16:creationId xmlns:a16="http://schemas.microsoft.com/office/drawing/2014/main" id="{457422B5-4FCE-4AC3-8455-D3A4B46B107E}"/>
                </a:ext>
              </a:extLst>
            </p:cNvPr>
            <p:cNvSpPr/>
            <p:nvPr/>
          </p:nvSpPr>
          <p:spPr>
            <a:xfrm>
              <a:off x="6446567" y="3082593"/>
              <a:ext cx="512754" cy="200629"/>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13" name="Gruppe 12">
            <a:extLst>
              <a:ext uri="{FF2B5EF4-FFF2-40B4-BE49-F238E27FC236}">
                <a16:creationId xmlns:a16="http://schemas.microsoft.com/office/drawing/2014/main" id="{D0951BC4-39D3-4241-B24E-B7EC18D1F607}"/>
              </a:ext>
            </a:extLst>
          </p:cNvPr>
          <p:cNvGrpSpPr/>
          <p:nvPr userDrawn="1"/>
        </p:nvGrpSpPr>
        <p:grpSpPr>
          <a:xfrm rot="5400000">
            <a:off x="9678030" y="3328686"/>
            <a:ext cx="5898964" cy="200629"/>
            <a:chOff x="1631309" y="3082593"/>
            <a:chExt cx="5898964" cy="200629"/>
          </a:xfrm>
        </p:grpSpPr>
        <p:sp>
          <p:nvSpPr>
            <p:cNvPr id="14" name="Rectangle 26">
              <a:extLst>
                <a:ext uri="{FF2B5EF4-FFF2-40B4-BE49-F238E27FC236}">
                  <a16:creationId xmlns:a16="http://schemas.microsoft.com/office/drawing/2014/main" id="{C0CF4AB4-1862-496D-95E3-1AF55D6C4914}"/>
                </a:ext>
              </a:extLst>
            </p:cNvPr>
            <p:cNvSpPr/>
            <p:nvPr userDrawn="1"/>
          </p:nvSpPr>
          <p:spPr>
            <a:xfrm>
              <a:off x="1631309" y="3082593"/>
              <a:ext cx="512754" cy="200629"/>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5" name="Rectangle 27">
              <a:extLst>
                <a:ext uri="{FF2B5EF4-FFF2-40B4-BE49-F238E27FC236}">
                  <a16:creationId xmlns:a16="http://schemas.microsoft.com/office/drawing/2014/main" id="{97035DDF-31EA-4F38-8FBC-D0C7A6108279}"/>
                </a:ext>
              </a:extLst>
            </p:cNvPr>
            <p:cNvSpPr/>
            <p:nvPr userDrawn="1"/>
          </p:nvSpPr>
          <p:spPr>
            <a:xfrm>
              <a:off x="2202260" y="3082593"/>
              <a:ext cx="512754" cy="200629"/>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Rectangle 28">
              <a:extLst>
                <a:ext uri="{FF2B5EF4-FFF2-40B4-BE49-F238E27FC236}">
                  <a16:creationId xmlns:a16="http://schemas.microsoft.com/office/drawing/2014/main" id="{8E055B91-1CA9-4AC5-B4F5-2F804F6D219E}"/>
                </a:ext>
              </a:extLst>
            </p:cNvPr>
            <p:cNvSpPr/>
            <p:nvPr userDrawn="1"/>
          </p:nvSpPr>
          <p:spPr>
            <a:xfrm>
              <a:off x="2773211" y="3082593"/>
              <a:ext cx="512754" cy="200629"/>
            </a:xfrm>
            <a:prstGeom prst="rect">
              <a:avLst/>
            </a:prstGeom>
            <a:solidFill>
              <a:srgbClr val="FF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Rectangle 33">
              <a:extLst>
                <a:ext uri="{FF2B5EF4-FFF2-40B4-BE49-F238E27FC236}">
                  <a16:creationId xmlns:a16="http://schemas.microsoft.com/office/drawing/2014/main" id="{4AAD8519-5E6C-4AE6-876A-E7FAE0E7A7FD}"/>
                </a:ext>
              </a:extLst>
            </p:cNvPr>
            <p:cNvSpPr/>
            <p:nvPr userDrawn="1"/>
          </p:nvSpPr>
          <p:spPr>
            <a:xfrm>
              <a:off x="3344162" y="3082593"/>
              <a:ext cx="512754" cy="200629"/>
            </a:xfrm>
            <a:prstGeom prst="rect">
              <a:avLst/>
            </a:prstGeom>
            <a:solidFill>
              <a:srgbClr val="B441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Rectangle 33">
              <a:extLst>
                <a:ext uri="{FF2B5EF4-FFF2-40B4-BE49-F238E27FC236}">
                  <a16:creationId xmlns:a16="http://schemas.microsoft.com/office/drawing/2014/main" id="{A3E750B4-E224-404C-AD3F-B35983B4A717}"/>
                </a:ext>
              </a:extLst>
            </p:cNvPr>
            <p:cNvSpPr/>
            <p:nvPr/>
          </p:nvSpPr>
          <p:spPr>
            <a:xfrm>
              <a:off x="7017519" y="3082593"/>
              <a:ext cx="512754" cy="200629"/>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9" name="Rectangle 33">
              <a:extLst>
                <a:ext uri="{FF2B5EF4-FFF2-40B4-BE49-F238E27FC236}">
                  <a16:creationId xmlns:a16="http://schemas.microsoft.com/office/drawing/2014/main" id="{6AE4CDA9-5522-4FD2-BF17-35482D237A9D}"/>
                </a:ext>
              </a:extLst>
            </p:cNvPr>
            <p:cNvSpPr/>
            <p:nvPr/>
          </p:nvSpPr>
          <p:spPr>
            <a:xfrm>
              <a:off x="4162763" y="3082593"/>
              <a:ext cx="512754" cy="2006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0" name="Rectangle 33">
              <a:extLst>
                <a:ext uri="{FF2B5EF4-FFF2-40B4-BE49-F238E27FC236}">
                  <a16:creationId xmlns:a16="http://schemas.microsoft.com/office/drawing/2014/main" id="{12C2E627-C9EB-495E-85F0-00134D94A9CC}"/>
                </a:ext>
              </a:extLst>
            </p:cNvPr>
            <p:cNvSpPr/>
            <p:nvPr/>
          </p:nvSpPr>
          <p:spPr>
            <a:xfrm>
              <a:off x="4733714" y="3082593"/>
              <a:ext cx="512754" cy="200629"/>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1" name="Rectangle 33">
              <a:extLst>
                <a:ext uri="{FF2B5EF4-FFF2-40B4-BE49-F238E27FC236}">
                  <a16:creationId xmlns:a16="http://schemas.microsoft.com/office/drawing/2014/main" id="{00398AD3-A224-49DC-B456-AF166CD84C06}"/>
                </a:ext>
              </a:extLst>
            </p:cNvPr>
            <p:cNvSpPr/>
            <p:nvPr/>
          </p:nvSpPr>
          <p:spPr>
            <a:xfrm>
              <a:off x="5304665" y="3082593"/>
              <a:ext cx="512754" cy="20062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2" name="Rectangle 33">
              <a:extLst>
                <a:ext uri="{FF2B5EF4-FFF2-40B4-BE49-F238E27FC236}">
                  <a16:creationId xmlns:a16="http://schemas.microsoft.com/office/drawing/2014/main" id="{786AF896-D24D-4C69-9D17-38B8DD939458}"/>
                </a:ext>
              </a:extLst>
            </p:cNvPr>
            <p:cNvSpPr/>
            <p:nvPr/>
          </p:nvSpPr>
          <p:spPr>
            <a:xfrm>
              <a:off x="5875616" y="3082593"/>
              <a:ext cx="512754" cy="200629"/>
            </a:xfrm>
            <a:prstGeom prst="rect">
              <a:avLst/>
            </a:pr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3" name="Rectangle 33">
              <a:extLst>
                <a:ext uri="{FF2B5EF4-FFF2-40B4-BE49-F238E27FC236}">
                  <a16:creationId xmlns:a16="http://schemas.microsoft.com/office/drawing/2014/main" id="{E71345EC-6978-4527-B4EE-75B74745391D}"/>
                </a:ext>
              </a:extLst>
            </p:cNvPr>
            <p:cNvSpPr/>
            <p:nvPr/>
          </p:nvSpPr>
          <p:spPr>
            <a:xfrm>
              <a:off x="6446567" y="3082593"/>
              <a:ext cx="512754" cy="200629"/>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24" name="Gruppe 23">
            <a:extLst>
              <a:ext uri="{FF2B5EF4-FFF2-40B4-BE49-F238E27FC236}">
                <a16:creationId xmlns:a16="http://schemas.microsoft.com/office/drawing/2014/main" id="{20A7E827-0E86-4D9C-8AAF-AD18DDBDF6B9}"/>
              </a:ext>
            </a:extLst>
          </p:cNvPr>
          <p:cNvGrpSpPr/>
          <p:nvPr userDrawn="1"/>
        </p:nvGrpSpPr>
        <p:grpSpPr>
          <a:xfrm rot="5400000">
            <a:off x="-3352173" y="3328685"/>
            <a:ext cx="5898964" cy="200629"/>
            <a:chOff x="1631309" y="3082593"/>
            <a:chExt cx="5898964" cy="200629"/>
          </a:xfrm>
        </p:grpSpPr>
        <p:sp>
          <p:nvSpPr>
            <p:cNvPr id="25" name="Rectangle 26">
              <a:extLst>
                <a:ext uri="{FF2B5EF4-FFF2-40B4-BE49-F238E27FC236}">
                  <a16:creationId xmlns:a16="http://schemas.microsoft.com/office/drawing/2014/main" id="{AE21A5CA-CC02-4188-8B0B-73B91709E4C4}"/>
                </a:ext>
              </a:extLst>
            </p:cNvPr>
            <p:cNvSpPr/>
            <p:nvPr userDrawn="1"/>
          </p:nvSpPr>
          <p:spPr>
            <a:xfrm>
              <a:off x="1631309" y="3082593"/>
              <a:ext cx="512754" cy="200629"/>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6" name="Rectangle 27">
              <a:extLst>
                <a:ext uri="{FF2B5EF4-FFF2-40B4-BE49-F238E27FC236}">
                  <a16:creationId xmlns:a16="http://schemas.microsoft.com/office/drawing/2014/main" id="{4EB7FE60-0667-4081-B0A5-F2A86DDFAB19}"/>
                </a:ext>
              </a:extLst>
            </p:cNvPr>
            <p:cNvSpPr/>
            <p:nvPr userDrawn="1"/>
          </p:nvSpPr>
          <p:spPr>
            <a:xfrm>
              <a:off x="2202260" y="3082593"/>
              <a:ext cx="512754" cy="200629"/>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7" name="Rectangle 28">
              <a:extLst>
                <a:ext uri="{FF2B5EF4-FFF2-40B4-BE49-F238E27FC236}">
                  <a16:creationId xmlns:a16="http://schemas.microsoft.com/office/drawing/2014/main" id="{366CA50D-30FC-4745-9726-BB9DFBB65A77}"/>
                </a:ext>
              </a:extLst>
            </p:cNvPr>
            <p:cNvSpPr/>
            <p:nvPr userDrawn="1"/>
          </p:nvSpPr>
          <p:spPr>
            <a:xfrm>
              <a:off x="2773211" y="3082593"/>
              <a:ext cx="512754" cy="200629"/>
            </a:xfrm>
            <a:prstGeom prst="rect">
              <a:avLst/>
            </a:prstGeom>
            <a:solidFill>
              <a:srgbClr val="FF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8" name="Rectangle 33">
              <a:extLst>
                <a:ext uri="{FF2B5EF4-FFF2-40B4-BE49-F238E27FC236}">
                  <a16:creationId xmlns:a16="http://schemas.microsoft.com/office/drawing/2014/main" id="{6E40009C-DC9E-4D13-A196-92C4DDD3F9D5}"/>
                </a:ext>
              </a:extLst>
            </p:cNvPr>
            <p:cNvSpPr/>
            <p:nvPr userDrawn="1"/>
          </p:nvSpPr>
          <p:spPr>
            <a:xfrm>
              <a:off x="3344162" y="3082593"/>
              <a:ext cx="512754" cy="200629"/>
            </a:xfrm>
            <a:prstGeom prst="rect">
              <a:avLst/>
            </a:prstGeom>
            <a:solidFill>
              <a:srgbClr val="B441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9" name="Rectangle 33">
              <a:extLst>
                <a:ext uri="{FF2B5EF4-FFF2-40B4-BE49-F238E27FC236}">
                  <a16:creationId xmlns:a16="http://schemas.microsoft.com/office/drawing/2014/main" id="{41504CF7-350D-4A90-940E-EEFB96016D67}"/>
                </a:ext>
              </a:extLst>
            </p:cNvPr>
            <p:cNvSpPr/>
            <p:nvPr/>
          </p:nvSpPr>
          <p:spPr>
            <a:xfrm>
              <a:off x="7017519" y="3082593"/>
              <a:ext cx="512754" cy="200629"/>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0" name="Rectangle 33">
              <a:extLst>
                <a:ext uri="{FF2B5EF4-FFF2-40B4-BE49-F238E27FC236}">
                  <a16:creationId xmlns:a16="http://schemas.microsoft.com/office/drawing/2014/main" id="{817C56C2-0BCC-4CE2-9603-D20F406497AB}"/>
                </a:ext>
              </a:extLst>
            </p:cNvPr>
            <p:cNvSpPr/>
            <p:nvPr/>
          </p:nvSpPr>
          <p:spPr>
            <a:xfrm>
              <a:off x="4162763" y="3082593"/>
              <a:ext cx="512754" cy="2006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1" name="Rectangle 33">
              <a:extLst>
                <a:ext uri="{FF2B5EF4-FFF2-40B4-BE49-F238E27FC236}">
                  <a16:creationId xmlns:a16="http://schemas.microsoft.com/office/drawing/2014/main" id="{500539BB-E414-4CB3-82B6-05D2109F3E53}"/>
                </a:ext>
              </a:extLst>
            </p:cNvPr>
            <p:cNvSpPr/>
            <p:nvPr/>
          </p:nvSpPr>
          <p:spPr>
            <a:xfrm>
              <a:off x="4733714" y="3082593"/>
              <a:ext cx="512754" cy="200629"/>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2" name="Rectangle 33">
              <a:extLst>
                <a:ext uri="{FF2B5EF4-FFF2-40B4-BE49-F238E27FC236}">
                  <a16:creationId xmlns:a16="http://schemas.microsoft.com/office/drawing/2014/main" id="{28AFB3A9-0D03-43EF-8AF7-341F26CFD438}"/>
                </a:ext>
              </a:extLst>
            </p:cNvPr>
            <p:cNvSpPr/>
            <p:nvPr/>
          </p:nvSpPr>
          <p:spPr>
            <a:xfrm>
              <a:off x="5304665" y="3082593"/>
              <a:ext cx="512754" cy="20062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3" name="Rectangle 33">
              <a:extLst>
                <a:ext uri="{FF2B5EF4-FFF2-40B4-BE49-F238E27FC236}">
                  <a16:creationId xmlns:a16="http://schemas.microsoft.com/office/drawing/2014/main" id="{8B5232D3-B457-40F6-AAE6-BFB163E4134F}"/>
                </a:ext>
              </a:extLst>
            </p:cNvPr>
            <p:cNvSpPr/>
            <p:nvPr/>
          </p:nvSpPr>
          <p:spPr>
            <a:xfrm>
              <a:off x="5875616" y="3082593"/>
              <a:ext cx="512754" cy="200629"/>
            </a:xfrm>
            <a:prstGeom prst="rect">
              <a:avLst/>
            </a:pr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4" name="Rectangle 33">
              <a:extLst>
                <a:ext uri="{FF2B5EF4-FFF2-40B4-BE49-F238E27FC236}">
                  <a16:creationId xmlns:a16="http://schemas.microsoft.com/office/drawing/2014/main" id="{F06A99A1-F1A7-442C-AFFE-7F5D70C81E31}"/>
                </a:ext>
              </a:extLst>
            </p:cNvPr>
            <p:cNvSpPr/>
            <p:nvPr/>
          </p:nvSpPr>
          <p:spPr>
            <a:xfrm>
              <a:off x="6446567" y="3082593"/>
              <a:ext cx="512754" cy="200629"/>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35" name="Footer Placeholder 34">
            <a:extLst>
              <a:ext uri="{FF2B5EF4-FFF2-40B4-BE49-F238E27FC236}">
                <a16:creationId xmlns:a16="http://schemas.microsoft.com/office/drawing/2014/main" id="{042693E4-8AB4-44C9-C223-DDEB71C210C5}"/>
              </a:ext>
            </a:extLst>
          </p:cNvPr>
          <p:cNvSpPr>
            <a:spLocks noGrp="1"/>
          </p:cNvSpPr>
          <p:nvPr>
            <p:ph type="ftr" sz="quarter" idx="3"/>
          </p:nvPr>
        </p:nvSpPr>
        <p:spPr>
          <a:xfrm>
            <a:off x="599662" y="6492875"/>
            <a:ext cx="2107096" cy="365125"/>
          </a:xfrm>
          <a:prstGeom prst="rect">
            <a:avLst/>
          </a:prstGeom>
        </p:spPr>
        <p:txBody>
          <a:bodyPr vert="horz" lIns="91440" tIns="45720" rIns="91440" bIns="45720" rtlCol="0" anchor="ctr"/>
          <a:lstStyle>
            <a:lvl1pPr algn="l">
              <a:defRPr sz="800" b="0" i="0">
                <a:solidFill>
                  <a:schemeClr val="bg1"/>
                </a:solidFill>
                <a:latin typeface="Helvetica Light" panose="020B0403020202020204" pitchFamily="34" charset="0"/>
              </a:defRPr>
            </a:lvl1pPr>
          </a:lstStyle>
          <a:p>
            <a:r>
              <a:rPr lang="en-US"/>
              <a:t>© Strongpoint 2022. All rights reserved.   |</a:t>
            </a:r>
          </a:p>
        </p:txBody>
      </p:sp>
      <p:sp>
        <p:nvSpPr>
          <p:cNvPr id="37" name="Slide Number Placeholder 36">
            <a:extLst>
              <a:ext uri="{FF2B5EF4-FFF2-40B4-BE49-F238E27FC236}">
                <a16:creationId xmlns:a16="http://schemas.microsoft.com/office/drawing/2014/main" id="{4631DC25-2B31-8D3B-1F79-0DD150BDB031}"/>
              </a:ext>
            </a:extLst>
          </p:cNvPr>
          <p:cNvSpPr>
            <a:spLocks noGrp="1"/>
          </p:cNvSpPr>
          <p:nvPr>
            <p:ph type="sldNum" sz="quarter" idx="4"/>
          </p:nvPr>
        </p:nvSpPr>
        <p:spPr>
          <a:xfrm>
            <a:off x="3596641" y="6492874"/>
            <a:ext cx="869249" cy="365125"/>
          </a:xfrm>
          <a:prstGeom prst="rect">
            <a:avLst/>
          </a:prstGeom>
        </p:spPr>
        <p:txBody>
          <a:bodyPr vert="horz" lIns="91440" tIns="45720" rIns="91440" bIns="45720" rtlCol="0" anchor="ctr"/>
          <a:lstStyle>
            <a:lvl1pPr algn="r">
              <a:defRPr sz="800" b="0" i="0">
                <a:solidFill>
                  <a:schemeClr val="bg1"/>
                </a:solidFill>
                <a:latin typeface="Helvetica Light" panose="020B0403020202020204" pitchFamily="34" charset="0"/>
              </a:defRPr>
            </a:lvl1pPr>
          </a:lstStyle>
          <a:p>
            <a:r>
              <a:rPr lang="en-US"/>
              <a:t>|   Slide </a:t>
            </a:r>
            <a:fld id="{637D13D3-0D1B-724F-9D9E-35319FA962A1}" type="slidenum">
              <a:rPr lang="en-US" smtClean="0"/>
              <a:pPr/>
              <a:t>‹#›</a:t>
            </a:fld>
            <a:endParaRPr lang="en-US"/>
          </a:p>
        </p:txBody>
      </p:sp>
      <p:sp>
        <p:nvSpPr>
          <p:cNvPr id="38" name="Date Placeholder 37">
            <a:extLst>
              <a:ext uri="{FF2B5EF4-FFF2-40B4-BE49-F238E27FC236}">
                <a16:creationId xmlns:a16="http://schemas.microsoft.com/office/drawing/2014/main" id="{A5292339-C4EB-28E5-53A6-24F45E35EDFC}"/>
              </a:ext>
            </a:extLst>
          </p:cNvPr>
          <p:cNvSpPr>
            <a:spLocks noGrp="1"/>
          </p:cNvSpPr>
          <p:nvPr>
            <p:ph type="dt" sz="half" idx="2"/>
          </p:nvPr>
        </p:nvSpPr>
        <p:spPr>
          <a:xfrm>
            <a:off x="2873829" y="6492875"/>
            <a:ext cx="722812" cy="365125"/>
          </a:xfrm>
          <a:prstGeom prst="rect">
            <a:avLst/>
          </a:prstGeom>
        </p:spPr>
        <p:txBody>
          <a:bodyPr vert="horz" lIns="91440" tIns="45720" rIns="91440" bIns="45720" rtlCol="0" anchor="ctr"/>
          <a:lstStyle>
            <a:lvl1pPr algn="l">
              <a:defRPr sz="800" b="0" i="0">
                <a:solidFill>
                  <a:schemeClr val="bg1"/>
                </a:solidFill>
                <a:latin typeface="Helvetica Light" panose="020B0403020202020204" pitchFamily="34" charset="0"/>
              </a:defRPr>
            </a:lvl1pPr>
          </a:lstStyle>
          <a:p>
            <a:fld id="{89EBDBA3-ED9C-5441-A1EE-6DCE277531F5}" type="datetimeFigureOut">
              <a:rPr lang="en-US" smtClean="0"/>
              <a:pPr/>
              <a:t>8/20/2024</a:t>
            </a:fld>
            <a:endParaRPr lang="en-US"/>
          </a:p>
        </p:txBody>
      </p:sp>
    </p:spTree>
    <p:extLst>
      <p:ext uri="{BB962C8B-B14F-4D97-AF65-F5344CB8AC3E}">
        <p14:creationId xmlns:p14="http://schemas.microsoft.com/office/powerpoint/2010/main" val="3868433510"/>
      </p:ext>
    </p:extLst>
  </p:cSld>
  <p:clrMap bg1="lt1" tx1="dk1" bg2="lt2" tx2="dk2" accent1="accent1" accent2="accent2" accent3="accent3" accent4="accent4" accent5="accent5" accent6="accent6" hlink="hlink" folHlink="folHlink"/>
  <p:sldLayoutIdLst>
    <p:sldLayoutId id="2147484197" r:id="rId1"/>
    <p:sldLayoutId id="2147484204" r:id="rId2"/>
    <p:sldLayoutId id="2147484203" r:id="rId3"/>
    <p:sldLayoutId id="2147484202" r:id="rId4"/>
    <p:sldLayoutId id="2147484201" r:id="rId5"/>
    <p:sldLayoutId id="2147484200" r:id="rId6"/>
    <p:sldLayoutId id="2147484199" r:id="rId7"/>
    <p:sldLayoutId id="2147484198" r:id="rId8"/>
    <p:sldLayoutId id="2147484086" r:id="rId9"/>
    <p:sldLayoutId id="2147484087" r:id="rId10"/>
    <p:sldLayoutId id="2147484088" r:id="rId11"/>
    <p:sldLayoutId id="2147484089" r:id="rId12"/>
    <p:sldLayoutId id="2147484090" r:id="rId13"/>
    <p:sldLayoutId id="2147484091" r:id="rId14"/>
    <p:sldLayoutId id="2147484092" r:id="rId15"/>
    <p:sldLayoutId id="2147484093" r:id="rId16"/>
    <p:sldLayoutId id="2147484094" r:id="rId17"/>
    <p:sldLayoutId id="2147484095" r:id="rId18"/>
    <p:sldLayoutId id="2147484096" r:id="rId19"/>
    <p:sldLayoutId id="2147484097" r:id="rId20"/>
    <p:sldLayoutId id="2147484098" r:id="rId21"/>
    <p:sldLayoutId id="2147484099" r:id="rId22"/>
    <p:sldLayoutId id="2147484100" r:id="rId23"/>
    <p:sldLayoutId id="2147484101" r:id="rId24"/>
    <p:sldLayoutId id="2147484102" r:id="rId25"/>
    <p:sldLayoutId id="2147484103" r:id="rId26"/>
    <p:sldLayoutId id="2147484104" r:id="rId27"/>
    <p:sldLayoutId id="2147484105" r:id="rId28"/>
    <p:sldLayoutId id="2147484106" r:id="rId29"/>
    <p:sldLayoutId id="2147484107" r:id="rId30"/>
    <p:sldLayoutId id="2147484108" r:id="rId31"/>
    <p:sldLayoutId id="2147484109" r:id="rId32"/>
    <p:sldLayoutId id="2147484110" r:id="rId33"/>
    <p:sldLayoutId id="2147484111" r:id="rId34"/>
    <p:sldLayoutId id="2147484112" r:id="rId35"/>
    <p:sldLayoutId id="2147484113" r:id="rId36"/>
    <p:sldLayoutId id="2147484114" r:id="rId37"/>
    <p:sldLayoutId id="2147484115" r:id="rId38"/>
    <p:sldLayoutId id="2147484116" r:id="rId39"/>
    <p:sldLayoutId id="2147484117" r:id="rId40"/>
    <p:sldLayoutId id="2147484118" r:id="rId41"/>
    <p:sldLayoutId id="2147484119" r:id="rId42"/>
    <p:sldLayoutId id="2147484120" r:id="rId43"/>
    <p:sldLayoutId id="2147484121" r:id="rId44"/>
    <p:sldLayoutId id="2147484122" r:id="rId45"/>
    <p:sldLayoutId id="2147484123" r:id="rId46"/>
    <p:sldLayoutId id="2147484124" r:id="rId47"/>
    <p:sldLayoutId id="2147484692" r:id="rId48"/>
    <p:sldLayoutId id="2147484693" r:id="rId49"/>
    <p:sldLayoutId id="2147484694" r:id="rId50"/>
    <p:sldLayoutId id="2147484695" r:id="rId51"/>
    <p:sldLayoutId id="2147484696" r:id="rId52"/>
    <p:sldLayoutId id="2147484697" r:id="rId53"/>
    <p:sldLayoutId id="2147484698" r:id="rId54"/>
    <p:sldLayoutId id="2147484699" r:id="rId55"/>
    <p:sldLayoutId id="2147484700" r:id="rId56"/>
    <p:sldLayoutId id="2147484701" r:id="rId57"/>
    <p:sldLayoutId id="2147484702" r:id="rId58"/>
    <p:sldLayoutId id="2147484703" r:id="rId59"/>
    <p:sldLayoutId id="2147484704" r:id="rId60"/>
    <p:sldLayoutId id="2147484705" r:id="rId61"/>
    <p:sldLayoutId id="2147484706" r:id="rId62"/>
    <p:sldLayoutId id="2147484707" r:id="rId63"/>
    <p:sldLayoutId id="2147484708" r:id="rId64"/>
    <p:sldLayoutId id="2147484709" r:id="rId65"/>
    <p:sldLayoutId id="2147484710" r:id="rId66"/>
    <p:sldLayoutId id="2147484711" r:id="rId67"/>
    <p:sldLayoutId id="2147484712" r:id="rId68"/>
    <p:sldLayoutId id="2147484713" r:id="rId69"/>
    <p:sldLayoutId id="2147484714" r:id="rId70"/>
    <p:sldLayoutId id="2147484715" r:id="rId71"/>
    <p:sldLayoutId id="2147484716" r:id="rId72"/>
    <p:sldLayoutId id="2147484717" r:id="rId73"/>
    <p:sldLayoutId id="2147484718" r:id="rId74"/>
    <p:sldLayoutId id="2147484719" r:id="rId75"/>
    <p:sldLayoutId id="2147484720" r:id="rId76"/>
    <p:sldLayoutId id="2147484721" r:id="rId77"/>
    <p:sldLayoutId id="2147484722" r:id="rId78"/>
    <p:sldLayoutId id="2147484723" r:id="rId79"/>
    <p:sldLayoutId id="2147484724" r:id="rId80"/>
    <p:sldLayoutId id="2147484725" r:id="rId81"/>
    <p:sldLayoutId id="2147484726" r:id="rId82"/>
    <p:sldLayoutId id="2147484727" r:id="rId83"/>
    <p:sldLayoutId id="2147484728" r:id="rId84"/>
    <p:sldLayoutId id="2147484729" r:id="rId85"/>
    <p:sldLayoutId id="2147484730" r:id="rId86"/>
    <p:sldLayoutId id="2147484731" r:id="rId87"/>
    <p:sldLayoutId id="2147484732" r:id="rId88"/>
    <p:sldLayoutId id="2147484733" r:id="rId89"/>
    <p:sldLayoutId id="2147484734" r:id="rId90"/>
    <p:sldLayoutId id="2147484735" r:id="rId91"/>
    <p:sldLayoutId id="2147484736" r:id="rId92"/>
    <p:sldLayoutId id="2147484737" r:id="rId93"/>
    <p:sldLayoutId id="2147484738" r:id="rId94"/>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5" name="Objekt 34" hidden="1">
            <a:extLst>
              <a:ext uri="{FF2B5EF4-FFF2-40B4-BE49-F238E27FC236}">
                <a16:creationId xmlns:a16="http://schemas.microsoft.com/office/drawing/2014/main" id="{E7BD3D22-A824-43A4-AC9F-C282CA5248BB}"/>
              </a:ext>
            </a:extLst>
          </p:cNvPr>
          <p:cNvGraphicFramePr>
            <a:graphicFrameLocks noChangeAspect="1"/>
          </p:cNvGraphicFramePr>
          <p:nvPr userDrawn="1">
            <p:custDataLst>
              <p:tags r:id="rId58"/>
            </p:custDataLst>
            <p:extLst>
              <p:ext uri="{D42A27DB-BD31-4B8C-83A1-F6EECF244321}">
                <p14:modId xmlns:p14="http://schemas.microsoft.com/office/powerpoint/2010/main" val="2611522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360" imgH="360" progId="TCLayout.ActiveDocument.1">
                  <p:embed/>
                </p:oleObj>
              </mc:Choice>
              <mc:Fallback>
                <p:oleObj name="think-cell Slide" r:id="rId59" imgW="360" imgH="360" progId="TCLayout.ActiveDocument.1">
                  <p:embed/>
                  <p:pic>
                    <p:nvPicPr>
                      <p:cNvPr id="35" name="Objekt 34" hidden="1">
                        <a:extLst>
                          <a:ext uri="{FF2B5EF4-FFF2-40B4-BE49-F238E27FC236}">
                            <a16:creationId xmlns:a16="http://schemas.microsoft.com/office/drawing/2014/main" id="{E7BD3D22-A824-43A4-AC9F-C282CA5248BB}"/>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grpSp>
        <p:nvGrpSpPr>
          <p:cNvPr id="2" name="Gruppe 1">
            <a:extLst>
              <a:ext uri="{FF2B5EF4-FFF2-40B4-BE49-F238E27FC236}">
                <a16:creationId xmlns:a16="http://schemas.microsoft.com/office/drawing/2014/main" id="{E7A79386-2CAD-42B9-8219-409DCA72DCC5}"/>
              </a:ext>
            </a:extLst>
          </p:cNvPr>
          <p:cNvGrpSpPr/>
          <p:nvPr userDrawn="1"/>
        </p:nvGrpSpPr>
        <p:grpSpPr>
          <a:xfrm rot="5400000">
            <a:off x="-3352172" y="3328685"/>
            <a:ext cx="5898964" cy="200629"/>
            <a:chOff x="1631309" y="3082593"/>
            <a:chExt cx="5898964" cy="200629"/>
          </a:xfrm>
        </p:grpSpPr>
        <p:sp>
          <p:nvSpPr>
            <p:cNvPr id="3" name="Rectangle 26">
              <a:extLst>
                <a:ext uri="{FF2B5EF4-FFF2-40B4-BE49-F238E27FC236}">
                  <a16:creationId xmlns:a16="http://schemas.microsoft.com/office/drawing/2014/main" id="{84EC9EC3-5CB5-4A5D-849B-001E4FE054A4}"/>
                </a:ext>
              </a:extLst>
            </p:cNvPr>
            <p:cNvSpPr/>
            <p:nvPr userDrawn="1"/>
          </p:nvSpPr>
          <p:spPr>
            <a:xfrm>
              <a:off x="1631309" y="3082593"/>
              <a:ext cx="512754" cy="200629"/>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4" name="Rectangle 27">
              <a:extLst>
                <a:ext uri="{FF2B5EF4-FFF2-40B4-BE49-F238E27FC236}">
                  <a16:creationId xmlns:a16="http://schemas.microsoft.com/office/drawing/2014/main" id="{11A7D1A6-EB8F-418B-B5BE-53B4A9388ECA}"/>
                </a:ext>
              </a:extLst>
            </p:cNvPr>
            <p:cNvSpPr/>
            <p:nvPr userDrawn="1"/>
          </p:nvSpPr>
          <p:spPr>
            <a:xfrm>
              <a:off x="2202260" y="3082593"/>
              <a:ext cx="512754" cy="200629"/>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5" name="Rectangle 28">
              <a:extLst>
                <a:ext uri="{FF2B5EF4-FFF2-40B4-BE49-F238E27FC236}">
                  <a16:creationId xmlns:a16="http://schemas.microsoft.com/office/drawing/2014/main" id="{CD1390F7-23D2-4C44-AE36-15A7E29CEAF2}"/>
                </a:ext>
              </a:extLst>
            </p:cNvPr>
            <p:cNvSpPr/>
            <p:nvPr userDrawn="1"/>
          </p:nvSpPr>
          <p:spPr>
            <a:xfrm>
              <a:off x="2773211" y="3082593"/>
              <a:ext cx="512754" cy="200629"/>
            </a:xfrm>
            <a:prstGeom prst="rect">
              <a:avLst/>
            </a:prstGeom>
            <a:solidFill>
              <a:srgbClr val="FF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6" name="Rectangle 33">
              <a:extLst>
                <a:ext uri="{FF2B5EF4-FFF2-40B4-BE49-F238E27FC236}">
                  <a16:creationId xmlns:a16="http://schemas.microsoft.com/office/drawing/2014/main" id="{94DE3584-2EFA-48EE-9B44-C17C0B32C7C1}"/>
                </a:ext>
              </a:extLst>
            </p:cNvPr>
            <p:cNvSpPr/>
            <p:nvPr userDrawn="1"/>
          </p:nvSpPr>
          <p:spPr>
            <a:xfrm>
              <a:off x="3344162" y="3082593"/>
              <a:ext cx="512754" cy="200629"/>
            </a:xfrm>
            <a:prstGeom prst="rect">
              <a:avLst/>
            </a:prstGeom>
            <a:solidFill>
              <a:srgbClr val="B441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7" name="Rectangle 33">
              <a:extLst>
                <a:ext uri="{FF2B5EF4-FFF2-40B4-BE49-F238E27FC236}">
                  <a16:creationId xmlns:a16="http://schemas.microsoft.com/office/drawing/2014/main" id="{6CD4960A-0A66-4E37-A816-BF10A3E4B14C}"/>
                </a:ext>
              </a:extLst>
            </p:cNvPr>
            <p:cNvSpPr/>
            <p:nvPr/>
          </p:nvSpPr>
          <p:spPr>
            <a:xfrm>
              <a:off x="7017519" y="3082593"/>
              <a:ext cx="512754" cy="200629"/>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8" name="Rectangle 33">
              <a:extLst>
                <a:ext uri="{FF2B5EF4-FFF2-40B4-BE49-F238E27FC236}">
                  <a16:creationId xmlns:a16="http://schemas.microsoft.com/office/drawing/2014/main" id="{980B2C87-0EF0-4D6D-94EC-FE429A5FBD1A}"/>
                </a:ext>
              </a:extLst>
            </p:cNvPr>
            <p:cNvSpPr/>
            <p:nvPr/>
          </p:nvSpPr>
          <p:spPr>
            <a:xfrm>
              <a:off x="4162763" y="3082593"/>
              <a:ext cx="512754" cy="2006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9" name="Rectangle 33">
              <a:extLst>
                <a:ext uri="{FF2B5EF4-FFF2-40B4-BE49-F238E27FC236}">
                  <a16:creationId xmlns:a16="http://schemas.microsoft.com/office/drawing/2014/main" id="{7EF67118-9837-4B31-9D40-97A73095DD1E}"/>
                </a:ext>
              </a:extLst>
            </p:cNvPr>
            <p:cNvSpPr/>
            <p:nvPr/>
          </p:nvSpPr>
          <p:spPr>
            <a:xfrm>
              <a:off x="4733714" y="3082593"/>
              <a:ext cx="512754" cy="200629"/>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10" name="Rectangle 33">
              <a:extLst>
                <a:ext uri="{FF2B5EF4-FFF2-40B4-BE49-F238E27FC236}">
                  <a16:creationId xmlns:a16="http://schemas.microsoft.com/office/drawing/2014/main" id="{31D66A04-1976-43A1-9B7B-8809B43F2CED}"/>
                </a:ext>
              </a:extLst>
            </p:cNvPr>
            <p:cNvSpPr/>
            <p:nvPr/>
          </p:nvSpPr>
          <p:spPr>
            <a:xfrm>
              <a:off x="5304665" y="3082593"/>
              <a:ext cx="512754" cy="20062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11" name="Rectangle 33">
              <a:extLst>
                <a:ext uri="{FF2B5EF4-FFF2-40B4-BE49-F238E27FC236}">
                  <a16:creationId xmlns:a16="http://schemas.microsoft.com/office/drawing/2014/main" id="{F928B4B3-AA58-4358-8EAC-926A142B9F38}"/>
                </a:ext>
              </a:extLst>
            </p:cNvPr>
            <p:cNvSpPr/>
            <p:nvPr/>
          </p:nvSpPr>
          <p:spPr>
            <a:xfrm>
              <a:off x="5875616" y="3082593"/>
              <a:ext cx="512754" cy="200629"/>
            </a:xfrm>
            <a:prstGeom prst="rect">
              <a:avLst/>
            </a:pr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12" name="Rectangle 33">
              <a:extLst>
                <a:ext uri="{FF2B5EF4-FFF2-40B4-BE49-F238E27FC236}">
                  <a16:creationId xmlns:a16="http://schemas.microsoft.com/office/drawing/2014/main" id="{457422B5-4FCE-4AC3-8455-D3A4B46B107E}"/>
                </a:ext>
              </a:extLst>
            </p:cNvPr>
            <p:cNvSpPr/>
            <p:nvPr/>
          </p:nvSpPr>
          <p:spPr>
            <a:xfrm>
              <a:off x="6446567" y="3082593"/>
              <a:ext cx="512754" cy="200629"/>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grpSp>
      <p:grpSp>
        <p:nvGrpSpPr>
          <p:cNvPr id="13" name="Gruppe 12">
            <a:extLst>
              <a:ext uri="{FF2B5EF4-FFF2-40B4-BE49-F238E27FC236}">
                <a16:creationId xmlns:a16="http://schemas.microsoft.com/office/drawing/2014/main" id="{D0951BC4-39D3-4241-B24E-B7EC18D1F607}"/>
              </a:ext>
            </a:extLst>
          </p:cNvPr>
          <p:cNvGrpSpPr/>
          <p:nvPr userDrawn="1"/>
        </p:nvGrpSpPr>
        <p:grpSpPr>
          <a:xfrm rot="5400000">
            <a:off x="9678030" y="3328686"/>
            <a:ext cx="5898964" cy="200629"/>
            <a:chOff x="1631309" y="3082593"/>
            <a:chExt cx="5898964" cy="200629"/>
          </a:xfrm>
        </p:grpSpPr>
        <p:sp>
          <p:nvSpPr>
            <p:cNvPr id="14" name="Rectangle 26">
              <a:extLst>
                <a:ext uri="{FF2B5EF4-FFF2-40B4-BE49-F238E27FC236}">
                  <a16:creationId xmlns:a16="http://schemas.microsoft.com/office/drawing/2014/main" id="{C0CF4AB4-1862-496D-95E3-1AF55D6C4914}"/>
                </a:ext>
              </a:extLst>
            </p:cNvPr>
            <p:cNvSpPr/>
            <p:nvPr userDrawn="1"/>
          </p:nvSpPr>
          <p:spPr>
            <a:xfrm>
              <a:off x="1631309" y="3082593"/>
              <a:ext cx="512754" cy="200629"/>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15" name="Rectangle 27">
              <a:extLst>
                <a:ext uri="{FF2B5EF4-FFF2-40B4-BE49-F238E27FC236}">
                  <a16:creationId xmlns:a16="http://schemas.microsoft.com/office/drawing/2014/main" id="{97035DDF-31EA-4F38-8FBC-D0C7A6108279}"/>
                </a:ext>
              </a:extLst>
            </p:cNvPr>
            <p:cNvSpPr/>
            <p:nvPr userDrawn="1"/>
          </p:nvSpPr>
          <p:spPr>
            <a:xfrm>
              <a:off x="2202260" y="3082593"/>
              <a:ext cx="512754" cy="200629"/>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16" name="Rectangle 28">
              <a:extLst>
                <a:ext uri="{FF2B5EF4-FFF2-40B4-BE49-F238E27FC236}">
                  <a16:creationId xmlns:a16="http://schemas.microsoft.com/office/drawing/2014/main" id="{8E055B91-1CA9-4AC5-B4F5-2F804F6D219E}"/>
                </a:ext>
              </a:extLst>
            </p:cNvPr>
            <p:cNvSpPr/>
            <p:nvPr userDrawn="1"/>
          </p:nvSpPr>
          <p:spPr>
            <a:xfrm>
              <a:off x="2773211" y="3082593"/>
              <a:ext cx="512754" cy="200629"/>
            </a:xfrm>
            <a:prstGeom prst="rect">
              <a:avLst/>
            </a:prstGeom>
            <a:solidFill>
              <a:srgbClr val="FF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17" name="Rectangle 33">
              <a:extLst>
                <a:ext uri="{FF2B5EF4-FFF2-40B4-BE49-F238E27FC236}">
                  <a16:creationId xmlns:a16="http://schemas.microsoft.com/office/drawing/2014/main" id="{4AAD8519-5E6C-4AE6-876A-E7FAE0E7A7FD}"/>
                </a:ext>
              </a:extLst>
            </p:cNvPr>
            <p:cNvSpPr/>
            <p:nvPr userDrawn="1"/>
          </p:nvSpPr>
          <p:spPr>
            <a:xfrm>
              <a:off x="3344162" y="3082593"/>
              <a:ext cx="512754" cy="200629"/>
            </a:xfrm>
            <a:prstGeom prst="rect">
              <a:avLst/>
            </a:prstGeom>
            <a:solidFill>
              <a:srgbClr val="B441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18" name="Rectangle 33">
              <a:extLst>
                <a:ext uri="{FF2B5EF4-FFF2-40B4-BE49-F238E27FC236}">
                  <a16:creationId xmlns:a16="http://schemas.microsoft.com/office/drawing/2014/main" id="{A3E750B4-E224-404C-AD3F-B35983B4A717}"/>
                </a:ext>
              </a:extLst>
            </p:cNvPr>
            <p:cNvSpPr/>
            <p:nvPr/>
          </p:nvSpPr>
          <p:spPr>
            <a:xfrm>
              <a:off x="7017519" y="3082593"/>
              <a:ext cx="512754" cy="200629"/>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19" name="Rectangle 33">
              <a:extLst>
                <a:ext uri="{FF2B5EF4-FFF2-40B4-BE49-F238E27FC236}">
                  <a16:creationId xmlns:a16="http://schemas.microsoft.com/office/drawing/2014/main" id="{6AE4CDA9-5522-4FD2-BF17-35482D237A9D}"/>
                </a:ext>
              </a:extLst>
            </p:cNvPr>
            <p:cNvSpPr/>
            <p:nvPr/>
          </p:nvSpPr>
          <p:spPr>
            <a:xfrm>
              <a:off x="4162763" y="3082593"/>
              <a:ext cx="512754" cy="2006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20" name="Rectangle 33">
              <a:extLst>
                <a:ext uri="{FF2B5EF4-FFF2-40B4-BE49-F238E27FC236}">
                  <a16:creationId xmlns:a16="http://schemas.microsoft.com/office/drawing/2014/main" id="{12C2E627-C9EB-495E-85F0-00134D94A9CC}"/>
                </a:ext>
              </a:extLst>
            </p:cNvPr>
            <p:cNvSpPr/>
            <p:nvPr/>
          </p:nvSpPr>
          <p:spPr>
            <a:xfrm>
              <a:off x="4733714" y="3082593"/>
              <a:ext cx="512754" cy="200629"/>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21" name="Rectangle 33">
              <a:extLst>
                <a:ext uri="{FF2B5EF4-FFF2-40B4-BE49-F238E27FC236}">
                  <a16:creationId xmlns:a16="http://schemas.microsoft.com/office/drawing/2014/main" id="{00398AD3-A224-49DC-B456-AF166CD84C06}"/>
                </a:ext>
              </a:extLst>
            </p:cNvPr>
            <p:cNvSpPr/>
            <p:nvPr/>
          </p:nvSpPr>
          <p:spPr>
            <a:xfrm>
              <a:off x="5304665" y="3082593"/>
              <a:ext cx="512754" cy="20062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22" name="Rectangle 33">
              <a:extLst>
                <a:ext uri="{FF2B5EF4-FFF2-40B4-BE49-F238E27FC236}">
                  <a16:creationId xmlns:a16="http://schemas.microsoft.com/office/drawing/2014/main" id="{786AF896-D24D-4C69-9D17-38B8DD939458}"/>
                </a:ext>
              </a:extLst>
            </p:cNvPr>
            <p:cNvSpPr/>
            <p:nvPr/>
          </p:nvSpPr>
          <p:spPr>
            <a:xfrm>
              <a:off x="5875616" y="3082593"/>
              <a:ext cx="512754" cy="200629"/>
            </a:xfrm>
            <a:prstGeom prst="rect">
              <a:avLst/>
            </a:pr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23" name="Rectangle 33">
              <a:extLst>
                <a:ext uri="{FF2B5EF4-FFF2-40B4-BE49-F238E27FC236}">
                  <a16:creationId xmlns:a16="http://schemas.microsoft.com/office/drawing/2014/main" id="{E71345EC-6978-4527-B4EE-75B74745391D}"/>
                </a:ext>
              </a:extLst>
            </p:cNvPr>
            <p:cNvSpPr/>
            <p:nvPr/>
          </p:nvSpPr>
          <p:spPr>
            <a:xfrm>
              <a:off x="6446567" y="3082593"/>
              <a:ext cx="512754" cy="200629"/>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grpSp>
      <p:grpSp>
        <p:nvGrpSpPr>
          <p:cNvPr id="24" name="Gruppe 23">
            <a:extLst>
              <a:ext uri="{FF2B5EF4-FFF2-40B4-BE49-F238E27FC236}">
                <a16:creationId xmlns:a16="http://schemas.microsoft.com/office/drawing/2014/main" id="{20A7E827-0E86-4D9C-8AAF-AD18DDBDF6B9}"/>
              </a:ext>
            </a:extLst>
          </p:cNvPr>
          <p:cNvGrpSpPr/>
          <p:nvPr userDrawn="1"/>
        </p:nvGrpSpPr>
        <p:grpSpPr>
          <a:xfrm rot="5400000">
            <a:off x="-3352173" y="3328685"/>
            <a:ext cx="5898964" cy="200629"/>
            <a:chOff x="1631309" y="3082593"/>
            <a:chExt cx="5898964" cy="200629"/>
          </a:xfrm>
        </p:grpSpPr>
        <p:sp>
          <p:nvSpPr>
            <p:cNvPr id="25" name="Rectangle 26">
              <a:extLst>
                <a:ext uri="{FF2B5EF4-FFF2-40B4-BE49-F238E27FC236}">
                  <a16:creationId xmlns:a16="http://schemas.microsoft.com/office/drawing/2014/main" id="{AE21A5CA-CC02-4188-8B0B-73B91709E4C4}"/>
                </a:ext>
              </a:extLst>
            </p:cNvPr>
            <p:cNvSpPr/>
            <p:nvPr userDrawn="1"/>
          </p:nvSpPr>
          <p:spPr>
            <a:xfrm>
              <a:off x="1631309" y="3082593"/>
              <a:ext cx="512754" cy="200629"/>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26" name="Rectangle 27">
              <a:extLst>
                <a:ext uri="{FF2B5EF4-FFF2-40B4-BE49-F238E27FC236}">
                  <a16:creationId xmlns:a16="http://schemas.microsoft.com/office/drawing/2014/main" id="{4EB7FE60-0667-4081-B0A5-F2A86DDFAB19}"/>
                </a:ext>
              </a:extLst>
            </p:cNvPr>
            <p:cNvSpPr/>
            <p:nvPr userDrawn="1"/>
          </p:nvSpPr>
          <p:spPr>
            <a:xfrm>
              <a:off x="2202260" y="3082593"/>
              <a:ext cx="512754" cy="200629"/>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27" name="Rectangle 28">
              <a:extLst>
                <a:ext uri="{FF2B5EF4-FFF2-40B4-BE49-F238E27FC236}">
                  <a16:creationId xmlns:a16="http://schemas.microsoft.com/office/drawing/2014/main" id="{366CA50D-30FC-4745-9726-BB9DFBB65A77}"/>
                </a:ext>
              </a:extLst>
            </p:cNvPr>
            <p:cNvSpPr/>
            <p:nvPr userDrawn="1"/>
          </p:nvSpPr>
          <p:spPr>
            <a:xfrm>
              <a:off x="2773211" y="3082593"/>
              <a:ext cx="512754" cy="200629"/>
            </a:xfrm>
            <a:prstGeom prst="rect">
              <a:avLst/>
            </a:prstGeom>
            <a:solidFill>
              <a:srgbClr val="FF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28" name="Rectangle 33">
              <a:extLst>
                <a:ext uri="{FF2B5EF4-FFF2-40B4-BE49-F238E27FC236}">
                  <a16:creationId xmlns:a16="http://schemas.microsoft.com/office/drawing/2014/main" id="{6E40009C-DC9E-4D13-A196-92C4DDD3F9D5}"/>
                </a:ext>
              </a:extLst>
            </p:cNvPr>
            <p:cNvSpPr/>
            <p:nvPr userDrawn="1"/>
          </p:nvSpPr>
          <p:spPr>
            <a:xfrm>
              <a:off x="3344162" y="3082593"/>
              <a:ext cx="512754" cy="200629"/>
            </a:xfrm>
            <a:prstGeom prst="rect">
              <a:avLst/>
            </a:prstGeom>
            <a:solidFill>
              <a:srgbClr val="B441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29" name="Rectangle 33">
              <a:extLst>
                <a:ext uri="{FF2B5EF4-FFF2-40B4-BE49-F238E27FC236}">
                  <a16:creationId xmlns:a16="http://schemas.microsoft.com/office/drawing/2014/main" id="{41504CF7-350D-4A90-940E-EEFB96016D67}"/>
                </a:ext>
              </a:extLst>
            </p:cNvPr>
            <p:cNvSpPr/>
            <p:nvPr/>
          </p:nvSpPr>
          <p:spPr>
            <a:xfrm>
              <a:off x="7017519" y="3082593"/>
              <a:ext cx="512754" cy="200629"/>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30" name="Rectangle 33">
              <a:extLst>
                <a:ext uri="{FF2B5EF4-FFF2-40B4-BE49-F238E27FC236}">
                  <a16:creationId xmlns:a16="http://schemas.microsoft.com/office/drawing/2014/main" id="{817C56C2-0BCC-4CE2-9603-D20F406497AB}"/>
                </a:ext>
              </a:extLst>
            </p:cNvPr>
            <p:cNvSpPr/>
            <p:nvPr/>
          </p:nvSpPr>
          <p:spPr>
            <a:xfrm>
              <a:off x="4162763" y="3082593"/>
              <a:ext cx="512754" cy="2006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31" name="Rectangle 33">
              <a:extLst>
                <a:ext uri="{FF2B5EF4-FFF2-40B4-BE49-F238E27FC236}">
                  <a16:creationId xmlns:a16="http://schemas.microsoft.com/office/drawing/2014/main" id="{500539BB-E414-4CB3-82B6-05D2109F3E53}"/>
                </a:ext>
              </a:extLst>
            </p:cNvPr>
            <p:cNvSpPr/>
            <p:nvPr/>
          </p:nvSpPr>
          <p:spPr>
            <a:xfrm>
              <a:off x="4733714" y="3082593"/>
              <a:ext cx="512754" cy="200629"/>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32" name="Rectangle 33">
              <a:extLst>
                <a:ext uri="{FF2B5EF4-FFF2-40B4-BE49-F238E27FC236}">
                  <a16:creationId xmlns:a16="http://schemas.microsoft.com/office/drawing/2014/main" id="{28AFB3A9-0D03-43EF-8AF7-341F26CFD438}"/>
                </a:ext>
              </a:extLst>
            </p:cNvPr>
            <p:cNvSpPr/>
            <p:nvPr/>
          </p:nvSpPr>
          <p:spPr>
            <a:xfrm>
              <a:off x="5304665" y="3082593"/>
              <a:ext cx="512754" cy="20062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33" name="Rectangle 33">
              <a:extLst>
                <a:ext uri="{FF2B5EF4-FFF2-40B4-BE49-F238E27FC236}">
                  <a16:creationId xmlns:a16="http://schemas.microsoft.com/office/drawing/2014/main" id="{8B5232D3-B457-40F6-AAE6-BFB163E4134F}"/>
                </a:ext>
              </a:extLst>
            </p:cNvPr>
            <p:cNvSpPr/>
            <p:nvPr/>
          </p:nvSpPr>
          <p:spPr>
            <a:xfrm>
              <a:off x="5875616" y="3082593"/>
              <a:ext cx="512754" cy="200629"/>
            </a:xfrm>
            <a:prstGeom prst="rect">
              <a:avLst/>
            </a:pr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sp>
          <p:nvSpPr>
            <p:cNvPr id="34" name="Rectangle 33">
              <a:extLst>
                <a:ext uri="{FF2B5EF4-FFF2-40B4-BE49-F238E27FC236}">
                  <a16:creationId xmlns:a16="http://schemas.microsoft.com/office/drawing/2014/main" id="{F06A99A1-F1A7-442C-AFFE-7F5D70C81E31}"/>
                </a:ext>
              </a:extLst>
            </p:cNvPr>
            <p:cNvSpPr/>
            <p:nvPr/>
          </p:nvSpPr>
          <p:spPr>
            <a:xfrm>
              <a:off x="6446567" y="3082593"/>
              <a:ext cx="512754" cy="200629"/>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noProof="0">
                <a:latin typeface="Helvetica" pitchFamily="2" charset="0"/>
              </a:endParaRPr>
            </a:p>
          </p:txBody>
        </p:sp>
      </p:grpSp>
      <p:sp>
        <p:nvSpPr>
          <p:cNvPr id="36" name="Title Placeholder 3">
            <a:extLst>
              <a:ext uri="{FF2B5EF4-FFF2-40B4-BE49-F238E27FC236}">
                <a16:creationId xmlns:a16="http://schemas.microsoft.com/office/drawing/2014/main" id="{FE8601B0-18A6-4027-8ED7-D199F8ADE4DE}"/>
              </a:ext>
            </a:extLst>
          </p:cNvPr>
          <p:cNvSpPr>
            <a:spLocks noGrp="1"/>
          </p:cNvSpPr>
          <p:nvPr>
            <p:ph type="title"/>
          </p:nvPr>
        </p:nvSpPr>
        <p:spPr>
          <a:xfrm>
            <a:off x="838200" y="365125"/>
            <a:ext cx="10515600" cy="1325563"/>
          </a:xfrm>
          <a:prstGeom prst="rect">
            <a:avLst/>
          </a:prstGeom>
        </p:spPr>
        <p:txBody>
          <a:bodyPr vert="horz" lIns="91440" tIns="45720" rIns="91440" bIns="45720" rtlCol="0" anchor="t">
            <a:normAutofit/>
          </a:bodyPr>
          <a:lstStyle/>
          <a:p>
            <a:pPr lvl="0"/>
            <a:r>
              <a:rPr lang="en-GB" noProof="0"/>
              <a:t>Click to edit Master title style</a:t>
            </a:r>
          </a:p>
        </p:txBody>
      </p:sp>
      <p:sp>
        <p:nvSpPr>
          <p:cNvPr id="37" name="Text Placeholder 4">
            <a:extLst>
              <a:ext uri="{FF2B5EF4-FFF2-40B4-BE49-F238E27FC236}">
                <a16:creationId xmlns:a16="http://schemas.microsoft.com/office/drawing/2014/main" id="{C1929986-A4C6-4AD3-89E3-B29BFA17B5A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Plassholder for lysbildenummer 38">
            <a:extLst>
              <a:ext uri="{FF2B5EF4-FFF2-40B4-BE49-F238E27FC236}">
                <a16:creationId xmlns:a16="http://schemas.microsoft.com/office/drawing/2014/main" id="{AFC49D8C-4220-441E-B3D4-0EDEAD0F8B49}"/>
              </a:ext>
            </a:extLst>
          </p:cNvPr>
          <p:cNvSpPr>
            <a:spLocks noGrp="1"/>
          </p:cNvSpPr>
          <p:nvPr>
            <p:ph type="sldNum" sz="quarter" idx="4"/>
          </p:nvPr>
        </p:nvSpPr>
        <p:spPr>
          <a:xfrm>
            <a:off x="0" y="6429314"/>
            <a:ext cx="838200" cy="319232"/>
          </a:xfrm>
          <a:prstGeom prst="rect">
            <a:avLst/>
          </a:prstGeom>
        </p:spPr>
        <p:txBody>
          <a:bodyPr vert="horz" lIns="91440" tIns="45720" rIns="91440" bIns="45720" rtlCol="0" anchor="t"/>
          <a:lstStyle>
            <a:lvl1pPr algn="ctr">
              <a:defRPr sz="1000" b="0" i="0">
                <a:solidFill>
                  <a:srgbClr val="1B1B1B"/>
                </a:solidFill>
                <a:latin typeface="Helvetica" pitchFamily="2" charset="0"/>
              </a:defRPr>
            </a:lvl1pPr>
          </a:lstStyle>
          <a:p>
            <a:fld id="{EDFF9B70-FADC-4CC7-9FFB-4C4965B0F731}" type="slidenum">
              <a:rPr lang="en-GB" smtClean="0"/>
              <a:pPr/>
              <a:t>‹#›</a:t>
            </a:fld>
            <a:endParaRPr lang="en-GB"/>
          </a:p>
        </p:txBody>
      </p:sp>
    </p:spTree>
    <p:extLst>
      <p:ext uri="{BB962C8B-B14F-4D97-AF65-F5344CB8AC3E}">
        <p14:creationId xmlns:p14="http://schemas.microsoft.com/office/powerpoint/2010/main" val="471882725"/>
      </p:ext>
    </p:extLst>
  </p:cSld>
  <p:clrMap bg1="lt1" tx1="dk1" bg2="lt2" tx2="dk2" accent1="accent1" accent2="accent2" accent3="accent3" accent4="accent4" accent5="accent5" accent6="accent6" hlink="hlink" folHlink="folHlink"/>
  <p:sldLayoutIdLst>
    <p:sldLayoutId id="2147484126" r:id="rId1"/>
    <p:sldLayoutId id="2147484127" r:id="rId2"/>
    <p:sldLayoutId id="2147484128" r:id="rId3"/>
    <p:sldLayoutId id="2147484129" r:id="rId4"/>
    <p:sldLayoutId id="2147484130" r:id="rId5"/>
    <p:sldLayoutId id="2147484131" r:id="rId6"/>
    <p:sldLayoutId id="2147484132" r:id="rId7"/>
    <p:sldLayoutId id="2147484133" r:id="rId8"/>
    <p:sldLayoutId id="2147484134" r:id="rId9"/>
    <p:sldLayoutId id="2147484135" r:id="rId10"/>
    <p:sldLayoutId id="2147484136" r:id="rId11"/>
    <p:sldLayoutId id="2147484137" r:id="rId12"/>
    <p:sldLayoutId id="2147484138" r:id="rId13"/>
    <p:sldLayoutId id="2147484139" r:id="rId14"/>
    <p:sldLayoutId id="2147484140" r:id="rId15"/>
    <p:sldLayoutId id="2147484141" r:id="rId16"/>
    <p:sldLayoutId id="2147484142" r:id="rId17"/>
    <p:sldLayoutId id="2147484143" r:id="rId18"/>
    <p:sldLayoutId id="2147484144" r:id="rId19"/>
    <p:sldLayoutId id="2147484145" r:id="rId20"/>
    <p:sldLayoutId id="2147484146" r:id="rId21"/>
    <p:sldLayoutId id="2147484147" r:id="rId22"/>
    <p:sldLayoutId id="2147484148" r:id="rId23"/>
    <p:sldLayoutId id="2147484149" r:id="rId24"/>
    <p:sldLayoutId id="2147484150" r:id="rId25"/>
    <p:sldLayoutId id="2147484151" r:id="rId26"/>
    <p:sldLayoutId id="2147484152" r:id="rId27"/>
    <p:sldLayoutId id="2147484153" r:id="rId28"/>
    <p:sldLayoutId id="2147484154" r:id="rId29"/>
    <p:sldLayoutId id="2147484155" r:id="rId30"/>
    <p:sldLayoutId id="2147484156" r:id="rId31"/>
    <p:sldLayoutId id="2147484157" r:id="rId32"/>
    <p:sldLayoutId id="2147484159" r:id="rId33"/>
    <p:sldLayoutId id="2147484161" r:id="rId34"/>
    <p:sldLayoutId id="2147484162" r:id="rId35"/>
    <p:sldLayoutId id="2147484163" r:id="rId36"/>
    <p:sldLayoutId id="2147484164" r:id="rId37"/>
    <p:sldLayoutId id="2147484165" r:id="rId38"/>
    <p:sldLayoutId id="2147484166" r:id="rId39"/>
    <p:sldLayoutId id="2147484167" r:id="rId40"/>
    <p:sldLayoutId id="2147484168" r:id="rId41"/>
    <p:sldLayoutId id="2147484169" r:id="rId42"/>
    <p:sldLayoutId id="2147484170" r:id="rId43"/>
    <p:sldLayoutId id="2147484171" r:id="rId44"/>
    <p:sldLayoutId id="2147484172" r:id="rId45"/>
    <p:sldLayoutId id="2147484173" r:id="rId46"/>
    <p:sldLayoutId id="2147484174" r:id="rId47"/>
    <p:sldLayoutId id="2147484175" r:id="rId48"/>
    <p:sldLayoutId id="2147484176" r:id="rId49"/>
    <p:sldLayoutId id="2147484177" r:id="rId50"/>
    <p:sldLayoutId id="2147484193" r:id="rId51"/>
    <p:sldLayoutId id="2147484194" r:id="rId52"/>
    <p:sldLayoutId id="2147484195" r:id="rId53"/>
    <p:sldLayoutId id="2147484383" r:id="rId54"/>
    <p:sldLayoutId id="2147484820" r:id="rId55"/>
    <p:sldLayoutId id="2147484854" r:id="rId56"/>
  </p:sldLayoutIdLst>
  <p:transition spd="slow">
    <p:fade/>
  </p:transition>
  <p:hf hdr="0" dt="0"/>
  <p:txStyles>
    <p:titleStyle>
      <a:lvl1pPr algn="l" defTabSz="914400" rtl="0" eaLnBrk="1" latinLnBrk="0" hangingPunct="1">
        <a:lnSpc>
          <a:spcPct val="90000"/>
        </a:lnSpc>
        <a:spcBef>
          <a:spcPct val="0"/>
        </a:spcBef>
        <a:buNone/>
        <a:defRPr lang="en-GB" sz="3200" b="0" i="0" kern="1200" noProof="0" dirty="0">
          <a:solidFill>
            <a:schemeClr val="accent6"/>
          </a:solidFill>
          <a:latin typeface="Helvetica" pitchFamily="2"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b="0" i="0" kern="1200">
          <a:solidFill>
            <a:schemeClr val="tx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Helvetica"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Helvetica"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Helvetica"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29">
          <p15:clr>
            <a:srgbClr val="F26B43"/>
          </p15:clr>
        </p15:guide>
        <p15:guide id="2" pos="7151">
          <p15:clr>
            <a:srgbClr val="F26B43"/>
          </p15:clr>
        </p15:guide>
        <p15:guide id="3" orient="horz" pos="232">
          <p15:clr>
            <a:srgbClr val="F26B43"/>
          </p15:clr>
        </p15:guide>
        <p15:guide id="4" orient="horz" pos="1071">
          <p15:clr>
            <a:srgbClr val="F26B43"/>
          </p15:clr>
        </p15:guide>
        <p15:guide id="5" orient="horz" pos="1139">
          <p15:clr>
            <a:srgbClr val="F26B43"/>
          </p15:clr>
        </p15:guide>
        <p15:guide id="6" orient="horz" pos="39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6" name="Objekt 35" hidden="1">
            <a:extLst>
              <a:ext uri="{FF2B5EF4-FFF2-40B4-BE49-F238E27FC236}">
                <a16:creationId xmlns:a16="http://schemas.microsoft.com/office/drawing/2014/main" id="{267C7D7C-ADC5-4E35-813D-2789DA50D7DC}"/>
              </a:ext>
            </a:extLst>
          </p:cNvPr>
          <p:cNvGraphicFramePr>
            <a:graphicFrameLocks noChangeAspect="1"/>
          </p:cNvGraphicFramePr>
          <p:nvPr userDrawn="1">
            <p:custDataLst>
              <p:tags r:id="rId95"/>
            </p:custDataLst>
            <p:extLst>
              <p:ext uri="{D42A27DB-BD31-4B8C-83A1-F6EECF244321}">
                <p14:modId xmlns:p14="http://schemas.microsoft.com/office/powerpoint/2010/main" val="4209757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6" imgW="360" imgH="360" progId="TCLayout.ActiveDocument.1">
                  <p:embed/>
                </p:oleObj>
              </mc:Choice>
              <mc:Fallback>
                <p:oleObj name="think-cell Slide" r:id="rId96" imgW="360" imgH="360" progId="TCLayout.ActiveDocument.1">
                  <p:embed/>
                  <p:pic>
                    <p:nvPicPr>
                      <p:cNvPr id="36" name="Objekt 35" hidden="1">
                        <a:extLst>
                          <a:ext uri="{FF2B5EF4-FFF2-40B4-BE49-F238E27FC236}">
                            <a16:creationId xmlns:a16="http://schemas.microsoft.com/office/drawing/2014/main" id="{267C7D7C-ADC5-4E35-813D-2789DA50D7DC}"/>
                          </a:ext>
                        </a:extLst>
                      </p:cNvPr>
                      <p:cNvPicPr/>
                      <p:nvPr/>
                    </p:nvPicPr>
                    <p:blipFill>
                      <a:blip r:embed="rId97"/>
                      <a:stretch>
                        <a:fillRect/>
                      </a:stretch>
                    </p:blipFill>
                    <p:spPr>
                      <a:xfrm>
                        <a:off x="1588" y="1588"/>
                        <a:ext cx="1588" cy="1588"/>
                      </a:xfrm>
                      <a:prstGeom prst="rect">
                        <a:avLst/>
                      </a:prstGeom>
                    </p:spPr>
                  </p:pic>
                </p:oleObj>
              </mc:Fallback>
            </mc:AlternateContent>
          </a:graphicData>
        </a:graphic>
      </p:graphicFrame>
      <p:grpSp>
        <p:nvGrpSpPr>
          <p:cNvPr id="2" name="Gruppe 1">
            <a:extLst>
              <a:ext uri="{FF2B5EF4-FFF2-40B4-BE49-F238E27FC236}">
                <a16:creationId xmlns:a16="http://schemas.microsoft.com/office/drawing/2014/main" id="{E7A79386-2CAD-42B9-8219-409DCA72DCC5}"/>
              </a:ext>
            </a:extLst>
          </p:cNvPr>
          <p:cNvGrpSpPr/>
          <p:nvPr userDrawn="1"/>
        </p:nvGrpSpPr>
        <p:grpSpPr>
          <a:xfrm rot="5400000">
            <a:off x="-3352172" y="3328685"/>
            <a:ext cx="5898964" cy="200629"/>
            <a:chOff x="1631309" y="3082593"/>
            <a:chExt cx="5898964" cy="200629"/>
          </a:xfrm>
        </p:grpSpPr>
        <p:sp>
          <p:nvSpPr>
            <p:cNvPr id="3" name="Rectangle 26">
              <a:extLst>
                <a:ext uri="{FF2B5EF4-FFF2-40B4-BE49-F238E27FC236}">
                  <a16:creationId xmlns:a16="http://schemas.microsoft.com/office/drawing/2014/main" id="{84EC9EC3-5CB5-4A5D-849B-001E4FE054A4}"/>
                </a:ext>
              </a:extLst>
            </p:cNvPr>
            <p:cNvSpPr/>
            <p:nvPr userDrawn="1"/>
          </p:nvSpPr>
          <p:spPr>
            <a:xfrm>
              <a:off x="1631309" y="3082593"/>
              <a:ext cx="512754" cy="200629"/>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 name="Rectangle 27">
              <a:extLst>
                <a:ext uri="{FF2B5EF4-FFF2-40B4-BE49-F238E27FC236}">
                  <a16:creationId xmlns:a16="http://schemas.microsoft.com/office/drawing/2014/main" id="{11A7D1A6-EB8F-418B-B5BE-53B4A9388ECA}"/>
                </a:ext>
              </a:extLst>
            </p:cNvPr>
            <p:cNvSpPr/>
            <p:nvPr userDrawn="1"/>
          </p:nvSpPr>
          <p:spPr>
            <a:xfrm>
              <a:off x="2202260" y="3082593"/>
              <a:ext cx="512754" cy="200629"/>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 name="Rectangle 28">
              <a:extLst>
                <a:ext uri="{FF2B5EF4-FFF2-40B4-BE49-F238E27FC236}">
                  <a16:creationId xmlns:a16="http://schemas.microsoft.com/office/drawing/2014/main" id="{CD1390F7-23D2-4C44-AE36-15A7E29CEAF2}"/>
                </a:ext>
              </a:extLst>
            </p:cNvPr>
            <p:cNvSpPr/>
            <p:nvPr userDrawn="1"/>
          </p:nvSpPr>
          <p:spPr>
            <a:xfrm>
              <a:off x="2773211" y="3082593"/>
              <a:ext cx="512754" cy="200629"/>
            </a:xfrm>
            <a:prstGeom prst="rect">
              <a:avLst/>
            </a:prstGeom>
            <a:solidFill>
              <a:srgbClr val="FF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6" name="Rectangle 33">
              <a:extLst>
                <a:ext uri="{FF2B5EF4-FFF2-40B4-BE49-F238E27FC236}">
                  <a16:creationId xmlns:a16="http://schemas.microsoft.com/office/drawing/2014/main" id="{94DE3584-2EFA-48EE-9B44-C17C0B32C7C1}"/>
                </a:ext>
              </a:extLst>
            </p:cNvPr>
            <p:cNvSpPr/>
            <p:nvPr userDrawn="1"/>
          </p:nvSpPr>
          <p:spPr>
            <a:xfrm>
              <a:off x="3344162" y="3082593"/>
              <a:ext cx="512754" cy="200629"/>
            </a:xfrm>
            <a:prstGeom prst="rect">
              <a:avLst/>
            </a:prstGeom>
            <a:solidFill>
              <a:srgbClr val="B441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7" name="Rectangle 33">
              <a:extLst>
                <a:ext uri="{FF2B5EF4-FFF2-40B4-BE49-F238E27FC236}">
                  <a16:creationId xmlns:a16="http://schemas.microsoft.com/office/drawing/2014/main" id="{6CD4960A-0A66-4E37-A816-BF10A3E4B14C}"/>
                </a:ext>
              </a:extLst>
            </p:cNvPr>
            <p:cNvSpPr/>
            <p:nvPr/>
          </p:nvSpPr>
          <p:spPr>
            <a:xfrm>
              <a:off x="7017519" y="3082593"/>
              <a:ext cx="512754" cy="200629"/>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8" name="Rectangle 33">
              <a:extLst>
                <a:ext uri="{FF2B5EF4-FFF2-40B4-BE49-F238E27FC236}">
                  <a16:creationId xmlns:a16="http://schemas.microsoft.com/office/drawing/2014/main" id="{980B2C87-0EF0-4D6D-94EC-FE429A5FBD1A}"/>
                </a:ext>
              </a:extLst>
            </p:cNvPr>
            <p:cNvSpPr/>
            <p:nvPr/>
          </p:nvSpPr>
          <p:spPr>
            <a:xfrm>
              <a:off x="4162763" y="3082593"/>
              <a:ext cx="512754" cy="2006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 name="Rectangle 33">
              <a:extLst>
                <a:ext uri="{FF2B5EF4-FFF2-40B4-BE49-F238E27FC236}">
                  <a16:creationId xmlns:a16="http://schemas.microsoft.com/office/drawing/2014/main" id="{7EF67118-9837-4B31-9D40-97A73095DD1E}"/>
                </a:ext>
              </a:extLst>
            </p:cNvPr>
            <p:cNvSpPr/>
            <p:nvPr/>
          </p:nvSpPr>
          <p:spPr>
            <a:xfrm>
              <a:off x="4733714" y="3082593"/>
              <a:ext cx="512754" cy="200629"/>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0" name="Rectangle 33">
              <a:extLst>
                <a:ext uri="{FF2B5EF4-FFF2-40B4-BE49-F238E27FC236}">
                  <a16:creationId xmlns:a16="http://schemas.microsoft.com/office/drawing/2014/main" id="{31D66A04-1976-43A1-9B7B-8809B43F2CED}"/>
                </a:ext>
              </a:extLst>
            </p:cNvPr>
            <p:cNvSpPr/>
            <p:nvPr/>
          </p:nvSpPr>
          <p:spPr>
            <a:xfrm>
              <a:off x="5304665" y="3082593"/>
              <a:ext cx="512754" cy="20062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1" name="Rectangle 33">
              <a:extLst>
                <a:ext uri="{FF2B5EF4-FFF2-40B4-BE49-F238E27FC236}">
                  <a16:creationId xmlns:a16="http://schemas.microsoft.com/office/drawing/2014/main" id="{F928B4B3-AA58-4358-8EAC-926A142B9F38}"/>
                </a:ext>
              </a:extLst>
            </p:cNvPr>
            <p:cNvSpPr/>
            <p:nvPr/>
          </p:nvSpPr>
          <p:spPr>
            <a:xfrm>
              <a:off x="5875616" y="3082593"/>
              <a:ext cx="512754" cy="200629"/>
            </a:xfrm>
            <a:prstGeom prst="rect">
              <a:avLst/>
            </a:pr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2" name="Rectangle 33">
              <a:extLst>
                <a:ext uri="{FF2B5EF4-FFF2-40B4-BE49-F238E27FC236}">
                  <a16:creationId xmlns:a16="http://schemas.microsoft.com/office/drawing/2014/main" id="{457422B5-4FCE-4AC3-8455-D3A4B46B107E}"/>
                </a:ext>
              </a:extLst>
            </p:cNvPr>
            <p:cNvSpPr/>
            <p:nvPr/>
          </p:nvSpPr>
          <p:spPr>
            <a:xfrm>
              <a:off x="6446567" y="3082593"/>
              <a:ext cx="512754" cy="200629"/>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13" name="Gruppe 12">
            <a:extLst>
              <a:ext uri="{FF2B5EF4-FFF2-40B4-BE49-F238E27FC236}">
                <a16:creationId xmlns:a16="http://schemas.microsoft.com/office/drawing/2014/main" id="{D0951BC4-39D3-4241-B24E-B7EC18D1F607}"/>
              </a:ext>
            </a:extLst>
          </p:cNvPr>
          <p:cNvGrpSpPr/>
          <p:nvPr userDrawn="1"/>
        </p:nvGrpSpPr>
        <p:grpSpPr>
          <a:xfrm rot="5400000">
            <a:off x="9678030" y="3328686"/>
            <a:ext cx="5898964" cy="200629"/>
            <a:chOff x="1631309" y="3082593"/>
            <a:chExt cx="5898964" cy="200629"/>
          </a:xfrm>
        </p:grpSpPr>
        <p:sp>
          <p:nvSpPr>
            <p:cNvPr id="14" name="Rectangle 26">
              <a:extLst>
                <a:ext uri="{FF2B5EF4-FFF2-40B4-BE49-F238E27FC236}">
                  <a16:creationId xmlns:a16="http://schemas.microsoft.com/office/drawing/2014/main" id="{C0CF4AB4-1862-496D-95E3-1AF55D6C4914}"/>
                </a:ext>
              </a:extLst>
            </p:cNvPr>
            <p:cNvSpPr/>
            <p:nvPr userDrawn="1"/>
          </p:nvSpPr>
          <p:spPr>
            <a:xfrm>
              <a:off x="1631309" y="3082593"/>
              <a:ext cx="512754" cy="200629"/>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5" name="Rectangle 27">
              <a:extLst>
                <a:ext uri="{FF2B5EF4-FFF2-40B4-BE49-F238E27FC236}">
                  <a16:creationId xmlns:a16="http://schemas.microsoft.com/office/drawing/2014/main" id="{97035DDF-31EA-4F38-8FBC-D0C7A6108279}"/>
                </a:ext>
              </a:extLst>
            </p:cNvPr>
            <p:cNvSpPr/>
            <p:nvPr userDrawn="1"/>
          </p:nvSpPr>
          <p:spPr>
            <a:xfrm>
              <a:off x="2202260" y="3082593"/>
              <a:ext cx="512754" cy="200629"/>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Rectangle 28">
              <a:extLst>
                <a:ext uri="{FF2B5EF4-FFF2-40B4-BE49-F238E27FC236}">
                  <a16:creationId xmlns:a16="http://schemas.microsoft.com/office/drawing/2014/main" id="{8E055B91-1CA9-4AC5-B4F5-2F804F6D219E}"/>
                </a:ext>
              </a:extLst>
            </p:cNvPr>
            <p:cNvSpPr/>
            <p:nvPr userDrawn="1"/>
          </p:nvSpPr>
          <p:spPr>
            <a:xfrm>
              <a:off x="2773211" y="3082593"/>
              <a:ext cx="512754" cy="200629"/>
            </a:xfrm>
            <a:prstGeom prst="rect">
              <a:avLst/>
            </a:prstGeom>
            <a:solidFill>
              <a:srgbClr val="FF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Rectangle 33">
              <a:extLst>
                <a:ext uri="{FF2B5EF4-FFF2-40B4-BE49-F238E27FC236}">
                  <a16:creationId xmlns:a16="http://schemas.microsoft.com/office/drawing/2014/main" id="{4AAD8519-5E6C-4AE6-876A-E7FAE0E7A7FD}"/>
                </a:ext>
              </a:extLst>
            </p:cNvPr>
            <p:cNvSpPr/>
            <p:nvPr userDrawn="1"/>
          </p:nvSpPr>
          <p:spPr>
            <a:xfrm>
              <a:off x="3344162" y="3082593"/>
              <a:ext cx="512754" cy="200629"/>
            </a:xfrm>
            <a:prstGeom prst="rect">
              <a:avLst/>
            </a:prstGeom>
            <a:solidFill>
              <a:srgbClr val="B441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Rectangle 33">
              <a:extLst>
                <a:ext uri="{FF2B5EF4-FFF2-40B4-BE49-F238E27FC236}">
                  <a16:creationId xmlns:a16="http://schemas.microsoft.com/office/drawing/2014/main" id="{A3E750B4-E224-404C-AD3F-B35983B4A717}"/>
                </a:ext>
              </a:extLst>
            </p:cNvPr>
            <p:cNvSpPr/>
            <p:nvPr/>
          </p:nvSpPr>
          <p:spPr>
            <a:xfrm>
              <a:off x="7017519" y="3082593"/>
              <a:ext cx="512754" cy="200629"/>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9" name="Rectangle 33">
              <a:extLst>
                <a:ext uri="{FF2B5EF4-FFF2-40B4-BE49-F238E27FC236}">
                  <a16:creationId xmlns:a16="http://schemas.microsoft.com/office/drawing/2014/main" id="{6AE4CDA9-5522-4FD2-BF17-35482D237A9D}"/>
                </a:ext>
              </a:extLst>
            </p:cNvPr>
            <p:cNvSpPr/>
            <p:nvPr/>
          </p:nvSpPr>
          <p:spPr>
            <a:xfrm>
              <a:off x="4162763" y="3082593"/>
              <a:ext cx="512754" cy="2006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0" name="Rectangle 33">
              <a:extLst>
                <a:ext uri="{FF2B5EF4-FFF2-40B4-BE49-F238E27FC236}">
                  <a16:creationId xmlns:a16="http://schemas.microsoft.com/office/drawing/2014/main" id="{12C2E627-C9EB-495E-85F0-00134D94A9CC}"/>
                </a:ext>
              </a:extLst>
            </p:cNvPr>
            <p:cNvSpPr/>
            <p:nvPr/>
          </p:nvSpPr>
          <p:spPr>
            <a:xfrm>
              <a:off x="4733714" y="3082593"/>
              <a:ext cx="512754" cy="200629"/>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1" name="Rectangle 33">
              <a:extLst>
                <a:ext uri="{FF2B5EF4-FFF2-40B4-BE49-F238E27FC236}">
                  <a16:creationId xmlns:a16="http://schemas.microsoft.com/office/drawing/2014/main" id="{00398AD3-A224-49DC-B456-AF166CD84C06}"/>
                </a:ext>
              </a:extLst>
            </p:cNvPr>
            <p:cNvSpPr/>
            <p:nvPr/>
          </p:nvSpPr>
          <p:spPr>
            <a:xfrm>
              <a:off x="5304665" y="3082593"/>
              <a:ext cx="512754" cy="20062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2" name="Rectangle 33">
              <a:extLst>
                <a:ext uri="{FF2B5EF4-FFF2-40B4-BE49-F238E27FC236}">
                  <a16:creationId xmlns:a16="http://schemas.microsoft.com/office/drawing/2014/main" id="{786AF896-D24D-4C69-9D17-38B8DD939458}"/>
                </a:ext>
              </a:extLst>
            </p:cNvPr>
            <p:cNvSpPr/>
            <p:nvPr/>
          </p:nvSpPr>
          <p:spPr>
            <a:xfrm>
              <a:off x="5875616" y="3082593"/>
              <a:ext cx="512754" cy="200629"/>
            </a:xfrm>
            <a:prstGeom prst="rect">
              <a:avLst/>
            </a:pr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3" name="Rectangle 33">
              <a:extLst>
                <a:ext uri="{FF2B5EF4-FFF2-40B4-BE49-F238E27FC236}">
                  <a16:creationId xmlns:a16="http://schemas.microsoft.com/office/drawing/2014/main" id="{E71345EC-6978-4527-B4EE-75B74745391D}"/>
                </a:ext>
              </a:extLst>
            </p:cNvPr>
            <p:cNvSpPr/>
            <p:nvPr/>
          </p:nvSpPr>
          <p:spPr>
            <a:xfrm>
              <a:off x="6446567" y="3082593"/>
              <a:ext cx="512754" cy="200629"/>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24" name="Gruppe 23">
            <a:extLst>
              <a:ext uri="{FF2B5EF4-FFF2-40B4-BE49-F238E27FC236}">
                <a16:creationId xmlns:a16="http://schemas.microsoft.com/office/drawing/2014/main" id="{20A7E827-0E86-4D9C-8AAF-AD18DDBDF6B9}"/>
              </a:ext>
            </a:extLst>
          </p:cNvPr>
          <p:cNvGrpSpPr/>
          <p:nvPr userDrawn="1"/>
        </p:nvGrpSpPr>
        <p:grpSpPr>
          <a:xfrm rot="5400000">
            <a:off x="-3352173" y="3328685"/>
            <a:ext cx="5898964" cy="200629"/>
            <a:chOff x="1631309" y="3082593"/>
            <a:chExt cx="5898964" cy="200629"/>
          </a:xfrm>
        </p:grpSpPr>
        <p:sp>
          <p:nvSpPr>
            <p:cNvPr id="25" name="Rectangle 26">
              <a:extLst>
                <a:ext uri="{FF2B5EF4-FFF2-40B4-BE49-F238E27FC236}">
                  <a16:creationId xmlns:a16="http://schemas.microsoft.com/office/drawing/2014/main" id="{AE21A5CA-CC02-4188-8B0B-73B91709E4C4}"/>
                </a:ext>
              </a:extLst>
            </p:cNvPr>
            <p:cNvSpPr/>
            <p:nvPr userDrawn="1"/>
          </p:nvSpPr>
          <p:spPr>
            <a:xfrm>
              <a:off x="1631309" y="3082593"/>
              <a:ext cx="512754" cy="200629"/>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6" name="Rectangle 27">
              <a:extLst>
                <a:ext uri="{FF2B5EF4-FFF2-40B4-BE49-F238E27FC236}">
                  <a16:creationId xmlns:a16="http://schemas.microsoft.com/office/drawing/2014/main" id="{4EB7FE60-0667-4081-B0A5-F2A86DDFAB19}"/>
                </a:ext>
              </a:extLst>
            </p:cNvPr>
            <p:cNvSpPr/>
            <p:nvPr userDrawn="1"/>
          </p:nvSpPr>
          <p:spPr>
            <a:xfrm>
              <a:off x="2202260" y="3082593"/>
              <a:ext cx="512754" cy="200629"/>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7" name="Rectangle 28">
              <a:extLst>
                <a:ext uri="{FF2B5EF4-FFF2-40B4-BE49-F238E27FC236}">
                  <a16:creationId xmlns:a16="http://schemas.microsoft.com/office/drawing/2014/main" id="{366CA50D-30FC-4745-9726-BB9DFBB65A77}"/>
                </a:ext>
              </a:extLst>
            </p:cNvPr>
            <p:cNvSpPr/>
            <p:nvPr userDrawn="1"/>
          </p:nvSpPr>
          <p:spPr>
            <a:xfrm>
              <a:off x="2773211" y="3082593"/>
              <a:ext cx="512754" cy="200629"/>
            </a:xfrm>
            <a:prstGeom prst="rect">
              <a:avLst/>
            </a:prstGeom>
            <a:solidFill>
              <a:srgbClr val="FF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8" name="Rectangle 33">
              <a:extLst>
                <a:ext uri="{FF2B5EF4-FFF2-40B4-BE49-F238E27FC236}">
                  <a16:creationId xmlns:a16="http://schemas.microsoft.com/office/drawing/2014/main" id="{6E40009C-DC9E-4D13-A196-92C4DDD3F9D5}"/>
                </a:ext>
              </a:extLst>
            </p:cNvPr>
            <p:cNvSpPr/>
            <p:nvPr userDrawn="1"/>
          </p:nvSpPr>
          <p:spPr>
            <a:xfrm>
              <a:off x="3344162" y="3082593"/>
              <a:ext cx="512754" cy="200629"/>
            </a:xfrm>
            <a:prstGeom prst="rect">
              <a:avLst/>
            </a:prstGeom>
            <a:solidFill>
              <a:srgbClr val="B441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9" name="Rectangle 33">
              <a:extLst>
                <a:ext uri="{FF2B5EF4-FFF2-40B4-BE49-F238E27FC236}">
                  <a16:creationId xmlns:a16="http://schemas.microsoft.com/office/drawing/2014/main" id="{41504CF7-350D-4A90-940E-EEFB96016D67}"/>
                </a:ext>
              </a:extLst>
            </p:cNvPr>
            <p:cNvSpPr/>
            <p:nvPr/>
          </p:nvSpPr>
          <p:spPr>
            <a:xfrm>
              <a:off x="7017519" y="3082593"/>
              <a:ext cx="512754" cy="200629"/>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0" name="Rectangle 33">
              <a:extLst>
                <a:ext uri="{FF2B5EF4-FFF2-40B4-BE49-F238E27FC236}">
                  <a16:creationId xmlns:a16="http://schemas.microsoft.com/office/drawing/2014/main" id="{817C56C2-0BCC-4CE2-9603-D20F406497AB}"/>
                </a:ext>
              </a:extLst>
            </p:cNvPr>
            <p:cNvSpPr/>
            <p:nvPr/>
          </p:nvSpPr>
          <p:spPr>
            <a:xfrm>
              <a:off x="4162763" y="3082593"/>
              <a:ext cx="512754" cy="2006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1" name="Rectangle 33">
              <a:extLst>
                <a:ext uri="{FF2B5EF4-FFF2-40B4-BE49-F238E27FC236}">
                  <a16:creationId xmlns:a16="http://schemas.microsoft.com/office/drawing/2014/main" id="{500539BB-E414-4CB3-82B6-05D2109F3E53}"/>
                </a:ext>
              </a:extLst>
            </p:cNvPr>
            <p:cNvSpPr/>
            <p:nvPr/>
          </p:nvSpPr>
          <p:spPr>
            <a:xfrm>
              <a:off x="4733714" y="3082593"/>
              <a:ext cx="512754" cy="200629"/>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2" name="Rectangle 33">
              <a:extLst>
                <a:ext uri="{FF2B5EF4-FFF2-40B4-BE49-F238E27FC236}">
                  <a16:creationId xmlns:a16="http://schemas.microsoft.com/office/drawing/2014/main" id="{28AFB3A9-0D03-43EF-8AF7-341F26CFD438}"/>
                </a:ext>
              </a:extLst>
            </p:cNvPr>
            <p:cNvSpPr/>
            <p:nvPr/>
          </p:nvSpPr>
          <p:spPr>
            <a:xfrm>
              <a:off x="5304665" y="3082593"/>
              <a:ext cx="512754" cy="20062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3" name="Rectangle 33">
              <a:extLst>
                <a:ext uri="{FF2B5EF4-FFF2-40B4-BE49-F238E27FC236}">
                  <a16:creationId xmlns:a16="http://schemas.microsoft.com/office/drawing/2014/main" id="{8B5232D3-B457-40F6-AAE6-BFB163E4134F}"/>
                </a:ext>
              </a:extLst>
            </p:cNvPr>
            <p:cNvSpPr/>
            <p:nvPr/>
          </p:nvSpPr>
          <p:spPr>
            <a:xfrm>
              <a:off x="5875616" y="3082593"/>
              <a:ext cx="512754" cy="200629"/>
            </a:xfrm>
            <a:prstGeom prst="rect">
              <a:avLst/>
            </a:pr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4" name="Rectangle 33">
              <a:extLst>
                <a:ext uri="{FF2B5EF4-FFF2-40B4-BE49-F238E27FC236}">
                  <a16:creationId xmlns:a16="http://schemas.microsoft.com/office/drawing/2014/main" id="{F06A99A1-F1A7-442C-AFFE-7F5D70C81E31}"/>
                </a:ext>
              </a:extLst>
            </p:cNvPr>
            <p:cNvSpPr/>
            <p:nvPr/>
          </p:nvSpPr>
          <p:spPr>
            <a:xfrm>
              <a:off x="6446567" y="3082593"/>
              <a:ext cx="512754" cy="200629"/>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35" name="Footer Placeholder 34">
            <a:extLst>
              <a:ext uri="{FF2B5EF4-FFF2-40B4-BE49-F238E27FC236}">
                <a16:creationId xmlns:a16="http://schemas.microsoft.com/office/drawing/2014/main" id="{042693E4-8AB4-44C9-C223-DDEB71C210C5}"/>
              </a:ext>
            </a:extLst>
          </p:cNvPr>
          <p:cNvSpPr>
            <a:spLocks noGrp="1"/>
          </p:cNvSpPr>
          <p:nvPr>
            <p:ph type="ftr" sz="quarter" idx="3"/>
          </p:nvPr>
        </p:nvSpPr>
        <p:spPr>
          <a:xfrm>
            <a:off x="599662" y="6492875"/>
            <a:ext cx="2107096" cy="365125"/>
          </a:xfrm>
          <a:prstGeom prst="rect">
            <a:avLst/>
          </a:prstGeom>
        </p:spPr>
        <p:txBody>
          <a:bodyPr vert="horz" lIns="91440" tIns="45720" rIns="91440" bIns="45720" rtlCol="0" anchor="ctr"/>
          <a:lstStyle>
            <a:lvl1pPr algn="l">
              <a:defRPr sz="800" b="0" i="0">
                <a:solidFill>
                  <a:schemeClr val="bg1"/>
                </a:solidFill>
                <a:latin typeface="Helvetica Light" panose="020B0403020202020204" pitchFamily="34" charset="0"/>
              </a:defRPr>
            </a:lvl1pPr>
          </a:lstStyle>
          <a:p>
            <a:r>
              <a:rPr lang="en-US"/>
              <a:t>© StrongPoint 2022. All rights reserved.</a:t>
            </a:r>
          </a:p>
        </p:txBody>
      </p:sp>
      <p:sp>
        <p:nvSpPr>
          <p:cNvPr id="37" name="Slide Number Placeholder 36">
            <a:extLst>
              <a:ext uri="{FF2B5EF4-FFF2-40B4-BE49-F238E27FC236}">
                <a16:creationId xmlns:a16="http://schemas.microsoft.com/office/drawing/2014/main" id="{4631DC25-2B31-8D3B-1F79-0DD150BDB031}"/>
              </a:ext>
            </a:extLst>
          </p:cNvPr>
          <p:cNvSpPr>
            <a:spLocks noGrp="1"/>
          </p:cNvSpPr>
          <p:nvPr>
            <p:ph type="sldNum" sz="quarter" idx="4"/>
          </p:nvPr>
        </p:nvSpPr>
        <p:spPr>
          <a:xfrm>
            <a:off x="3596641" y="6492874"/>
            <a:ext cx="869249" cy="365125"/>
          </a:xfrm>
          <a:prstGeom prst="rect">
            <a:avLst/>
          </a:prstGeom>
        </p:spPr>
        <p:txBody>
          <a:bodyPr vert="horz" lIns="91440" tIns="45720" rIns="91440" bIns="45720" rtlCol="0" anchor="ctr"/>
          <a:lstStyle>
            <a:lvl1pPr algn="r">
              <a:defRPr sz="800" b="0" i="0">
                <a:solidFill>
                  <a:schemeClr val="bg1"/>
                </a:solidFill>
                <a:latin typeface="Helvetica Light" panose="020B0403020202020204" pitchFamily="34" charset="0"/>
              </a:defRPr>
            </a:lvl1pPr>
          </a:lstStyle>
          <a:p>
            <a:r>
              <a:rPr lang="en-US"/>
              <a:t>|   Slide </a:t>
            </a:r>
            <a:fld id="{637D13D3-0D1B-724F-9D9E-35319FA962A1}" type="slidenum">
              <a:rPr lang="en-US" smtClean="0"/>
              <a:pPr/>
              <a:t>‹#›</a:t>
            </a:fld>
            <a:endParaRPr lang="en-US"/>
          </a:p>
        </p:txBody>
      </p:sp>
      <p:sp>
        <p:nvSpPr>
          <p:cNvPr id="38" name="Date Placeholder 37">
            <a:extLst>
              <a:ext uri="{FF2B5EF4-FFF2-40B4-BE49-F238E27FC236}">
                <a16:creationId xmlns:a16="http://schemas.microsoft.com/office/drawing/2014/main" id="{A5292339-C4EB-28E5-53A6-24F45E35EDFC}"/>
              </a:ext>
            </a:extLst>
          </p:cNvPr>
          <p:cNvSpPr>
            <a:spLocks noGrp="1"/>
          </p:cNvSpPr>
          <p:nvPr>
            <p:ph type="dt" sz="half" idx="2"/>
          </p:nvPr>
        </p:nvSpPr>
        <p:spPr>
          <a:xfrm>
            <a:off x="2873829" y="6492875"/>
            <a:ext cx="722812" cy="365125"/>
          </a:xfrm>
          <a:prstGeom prst="rect">
            <a:avLst/>
          </a:prstGeom>
        </p:spPr>
        <p:txBody>
          <a:bodyPr vert="horz" lIns="91440" tIns="45720" rIns="91440" bIns="45720" rtlCol="0" anchor="ctr"/>
          <a:lstStyle>
            <a:lvl1pPr algn="l">
              <a:defRPr sz="800" b="0" i="0">
                <a:solidFill>
                  <a:schemeClr val="bg1"/>
                </a:solidFill>
                <a:latin typeface="Helvetica Light" panose="020B0403020202020204" pitchFamily="34" charset="0"/>
              </a:defRPr>
            </a:lvl1pPr>
          </a:lstStyle>
          <a:p>
            <a:fld id="{2B571260-EDC6-D44F-95E6-271F15C8FDA9}" type="datetime1">
              <a:rPr lang="nb-NO" smtClean="0"/>
              <a:t>20.08.2024</a:t>
            </a:fld>
            <a:endParaRPr lang="en-US"/>
          </a:p>
        </p:txBody>
      </p:sp>
    </p:spTree>
    <p:extLst>
      <p:ext uri="{BB962C8B-B14F-4D97-AF65-F5344CB8AC3E}">
        <p14:creationId xmlns:p14="http://schemas.microsoft.com/office/powerpoint/2010/main" val="3739661755"/>
      </p:ext>
    </p:extLst>
  </p:cSld>
  <p:clrMap bg1="lt1" tx1="dk1" bg2="lt2" tx2="dk2" accent1="accent1" accent2="accent2" accent3="accent3" accent4="accent4" accent5="accent5" accent6="accent6" hlink="hlink" folHlink="folHlink"/>
  <p:sldLayoutIdLst>
    <p:sldLayoutId id="2147484206" r:id="rId1"/>
    <p:sldLayoutId id="2147484207" r:id="rId2"/>
    <p:sldLayoutId id="2147484208" r:id="rId3"/>
    <p:sldLayoutId id="2147484209" r:id="rId4"/>
    <p:sldLayoutId id="2147484210" r:id="rId5"/>
    <p:sldLayoutId id="2147484211" r:id="rId6"/>
    <p:sldLayoutId id="2147484212" r:id="rId7"/>
    <p:sldLayoutId id="2147484213" r:id="rId8"/>
    <p:sldLayoutId id="2147484214" r:id="rId9"/>
    <p:sldLayoutId id="2147484215" r:id="rId10"/>
    <p:sldLayoutId id="2147484216" r:id="rId11"/>
    <p:sldLayoutId id="2147484217" r:id="rId12"/>
    <p:sldLayoutId id="2147484218" r:id="rId13"/>
    <p:sldLayoutId id="2147484219" r:id="rId14"/>
    <p:sldLayoutId id="2147484220" r:id="rId15"/>
    <p:sldLayoutId id="2147484221" r:id="rId16"/>
    <p:sldLayoutId id="2147484222" r:id="rId17"/>
    <p:sldLayoutId id="2147484223" r:id="rId18"/>
    <p:sldLayoutId id="2147484224" r:id="rId19"/>
    <p:sldLayoutId id="2147484225" r:id="rId20"/>
    <p:sldLayoutId id="2147484226" r:id="rId21"/>
    <p:sldLayoutId id="2147484227" r:id="rId22"/>
    <p:sldLayoutId id="2147484228" r:id="rId23"/>
    <p:sldLayoutId id="2147484229" r:id="rId24"/>
    <p:sldLayoutId id="2147484230" r:id="rId25"/>
    <p:sldLayoutId id="2147484231" r:id="rId26"/>
    <p:sldLayoutId id="2147484232" r:id="rId27"/>
    <p:sldLayoutId id="2147484233" r:id="rId28"/>
    <p:sldLayoutId id="2147484234" r:id="rId29"/>
    <p:sldLayoutId id="2147484235" r:id="rId30"/>
    <p:sldLayoutId id="2147484236" r:id="rId31"/>
    <p:sldLayoutId id="2147484237" r:id="rId32"/>
    <p:sldLayoutId id="2147484238" r:id="rId33"/>
    <p:sldLayoutId id="2147484239" r:id="rId34"/>
    <p:sldLayoutId id="2147484240" r:id="rId35"/>
    <p:sldLayoutId id="2147484241" r:id="rId36"/>
    <p:sldLayoutId id="2147484242" r:id="rId37"/>
    <p:sldLayoutId id="2147484243" r:id="rId38"/>
    <p:sldLayoutId id="2147484244" r:id="rId39"/>
    <p:sldLayoutId id="2147484245" r:id="rId40"/>
    <p:sldLayoutId id="2147484246" r:id="rId41"/>
    <p:sldLayoutId id="2147484247" r:id="rId42"/>
    <p:sldLayoutId id="2147484248" r:id="rId43"/>
    <p:sldLayoutId id="2147484249" r:id="rId44"/>
    <p:sldLayoutId id="2147484250" r:id="rId45"/>
    <p:sldLayoutId id="2147484855" r:id="rId46"/>
    <p:sldLayoutId id="2147484251" r:id="rId47"/>
    <p:sldLayoutId id="2147484385" r:id="rId48"/>
    <p:sldLayoutId id="2147484386" r:id="rId49"/>
    <p:sldLayoutId id="2147484387" r:id="rId50"/>
    <p:sldLayoutId id="2147484389" r:id="rId51"/>
    <p:sldLayoutId id="2147484390" r:id="rId52"/>
    <p:sldLayoutId id="2147484391" r:id="rId53"/>
    <p:sldLayoutId id="2147484393" r:id="rId54"/>
    <p:sldLayoutId id="2147484395" r:id="rId55"/>
    <p:sldLayoutId id="2147484396" r:id="rId56"/>
    <p:sldLayoutId id="2147484397" r:id="rId57"/>
    <p:sldLayoutId id="2147484398" r:id="rId58"/>
    <p:sldLayoutId id="2147484399" r:id="rId59"/>
    <p:sldLayoutId id="2147484400" r:id="rId60"/>
    <p:sldLayoutId id="2147484401" r:id="rId61"/>
    <p:sldLayoutId id="2147484402" r:id="rId62"/>
    <p:sldLayoutId id="2147484403" r:id="rId63"/>
    <p:sldLayoutId id="2147484404" r:id="rId64"/>
    <p:sldLayoutId id="2147484405" r:id="rId65"/>
    <p:sldLayoutId id="2147484406" r:id="rId66"/>
    <p:sldLayoutId id="2147484407" r:id="rId67"/>
    <p:sldLayoutId id="2147484408" r:id="rId68"/>
    <p:sldLayoutId id="2147484409" r:id="rId69"/>
    <p:sldLayoutId id="2147484410" r:id="rId70"/>
    <p:sldLayoutId id="2147484411" r:id="rId71"/>
    <p:sldLayoutId id="2147484412" r:id="rId72"/>
    <p:sldLayoutId id="2147484413" r:id="rId73"/>
    <p:sldLayoutId id="2147484414" r:id="rId74"/>
    <p:sldLayoutId id="2147484415" r:id="rId75"/>
    <p:sldLayoutId id="2147484416" r:id="rId76"/>
    <p:sldLayoutId id="2147484417" r:id="rId77"/>
    <p:sldLayoutId id="2147484418" r:id="rId78"/>
    <p:sldLayoutId id="2147484419" r:id="rId79"/>
    <p:sldLayoutId id="2147484420" r:id="rId80"/>
    <p:sldLayoutId id="2147484422" r:id="rId81"/>
    <p:sldLayoutId id="2147484423" r:id="rId82"/>
    <p:sldLayoutId id="2147484424" r:id="rId83"/>
    <p:sldLayoutId id="2147484425" r:id="rId84"/>
    <p:sldLayoutId id="2147484426" r:id="rId85"/>
    <p:sldLayoutId id="2147484427" r:id="rId86"/>
    <p:sldLayoutId id="2147484428" r:id="rId87"/>
    <p:sldLayoutId id="2147484429" r:id="rId88"/>
    <p:sldLayoutId id="2147484430" r:id="rId89"/>
    <p:sldLayoutId id="2147484576" r:id="rId90"/>
    <p:sldLayoutId id="2147484582" r:id="rId91"/>
    <p:sldLayoutId id="2147484601" r:id="rId92"/>
    <p:sldLayoutId id="2147484769" r:id="rId93"/>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5" name="think-cell data - do not delete" hidden="1">
            <a:extLst>
              <a:ext uri="{FF2B5EF4-FFF2-40B4-BE49-F238E27FC236}">
                <a16:creationId xmlns:a16="http://schemas.microsoft.com/office/drawing/2014/main" id="{72C7DED6-1E51-C91B-A2E3-43A8DD10293B}"/>
              </a:ext>
            </a:extLst>
          </p:cNvPr>
          <p:cNvGraphicFramePr>
            <a:graphicFrameLocks noChangeAspect="1"/>
          </p:cNvGraphicFramePr>
          <p:nvPr userDrawn="1">
            <p:custDataLst>
              <p:tags r:id="rId43"/>
            </p:custDataLst>
            <p:extLst>
              <p:ext uri="{D42A27DB-BD31-4B8C-83A1-F6EECF244321}">
                <p14:modId xmlns:p14="http://schemas.microsoft.com/office/powerpoint/2010/main" val="5519656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4" imgW="7772400" imgH="10058400" progId="TCLayout.ActiveDocument.1">
                  <p:embed/>
                </p:oleObj>
              </mc:Choice>
              <mc:Fallback>
                <p:oleObj name="think-cell Slide" r:id="rId44" imgW="7772400" imgH="10058400" progId="TCLayout.ActiveDocument.1">
                  <p:embed/>
                  <p:pic>
                    <p:nvPicPr>
                      <p:cNvPr id="35" name="think-cell data - do not delete" hidden="1">
                        <a:extLst>
                          <a:ext uri="{FF2B5EF4-FFF2-40B4-BE49-F238E27FC236}">
                            <a16:creationId xmlns:a16="http://schemas.microsoft.com/office/drawing/2014/main" id="{72C7DED6-1E51-C91B-A2E3-43A8DD10293B}"/>
                          </a:ext>
                        </a:extLst>
                      </p:cNvPr>
                      <p:cNvPicPr/>
                      <p:nvPr/>
                    </p:nvPicPr>
                    <p:blipFill>
                      <a:blip r:embed="rId45"/>
                      <a:stretch>
                        <a:fillRect/>
                      </a:stretch>
                    </p:blipFill>
                    <p:spPr>
                      <a:xfrm>
                        <a:off x="1588" y="1588"/>
                        <a:ext cx="1227" cy="1588"/>
                      </a:xfrm>
                      <a:prstGeom prst="rect">
                        <a:avLst/>
                      </a:prstGeom>
                    </p:spPr>
                  </p:pic>
                </p:oleObj>
              </mc:Fallback>
            </mc:AlternateContent>
          </a:graphicData>
        </a:graphic>
      </p:graphicFrame>
      <p:grpSp>
        <p:nvGrpSpPr>
          <p:cNvPr id="2" name="Gruppe 1">
            <a:extLst>
              <a:ext uri="{FF2B5EF4-FFF2-40B4-BE49-F238E27FC236}">
                <a16:creationId xmlns:a16="http://schemas.microsoft.com/office/drawing/2014/main" id="{E7A79386-2CAD-42B9-8219-409DCA72DCC5}"/>
              </a:ext>
            </a:extLst>
          </p:cNvPr>
          <p:cNvGrpSpPr/>
          <p:nvPr userDrawn="1"/>
        </p:nvGrpSpPr>
        <p:grpSpPr>
          <a:xfrm rot="5400000">
            <a:off x="-3352172" y="3328685"/>
            <a:ext cx="5898964" cy="200629"/>
            <a:chOff x="1631309" y="3082593"/>
            <a:chExt cx="5898964" cy="200629"/>
          </a:xfrm>
        </p:grpSpPr>
        <p:sp>
          <p:nvSpPr>
            <p:cNvPr id="3" name="Rectangle 26">
              <a:extLst>
                <a:ext uri="{FF2B5EF4-FFF2-40B4-BE49-F238E27FC236}">
                  <a16:creationId xmlns:a16="http://schemas.microsoft.com/office/drawing/2014/main" id="{84EC9EC3-5CB5-4A5D-849B-001E4FE054A4}"/>
                </a:ext>
              </a:extLst>
            </p:cNvPr>
            <p:cNvSpPr/>
            <p:nvPr userDrawn="1"/>
          </p:nvSpPr>
          <p:spPr>
            <a:xfrm>
              <a:off x="1631309" y="3082593"/>
              <a:ext cx="512754" cy="200629"/>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 name="Rectangle 27">
              <a:extLst>
                <a:ext uri="{FF2B5EF4-FFF2-40B4-BE49-F238E27FC236}">
                  <a16:creationId xmlns:a16="http://schemas.microsoft.com/office/drawing/2014/main" id="{11A7D1A6-EB8F-418B-B5BE-53B4A9388ECA}"/>
                </a:ext>
              </a:extLst>
            </p:cNvPr>
            <p:cNvSpPr/>
            <p:nvPr userDrawn="1"/>
          </p:nvSpPr>
          <p:spPr>
            <a:xfrm>
              <a:off x="2202260" y="3082593"/>
              <a:ext cx="512754" cy="200629"/>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 name="Rectangle 28">
              <a:extLst>
                <a:ext uri="{FF2B5EF4-FFF2-40B4-BE49-F238E27FC236}">
                  <a16:creationId xmlns:a16="http://schemas.microsoft.com/office/drawing/2014/main" id="{CD1390F7-23D2-4C44-AE36-15A7E29CEAF2}"/>
                </a:ext>
              </a:extLst>
            </p:cNvPr>
            <p:cNvSpPr/>
            <p:nvPr userDrawn="1"/>
          </p:nvSpPr>
          <p:spPr>
            <a:xfrm>
              <a:off x="2773211" y="3082593"/>
              <a:ext cx="512754" cy="200629"/>
            </a:xfrm>
            <a:prstGeom prst="rect">
              <a:avLst/>
            </a:prstGeom>
            <a:solidFill>
              <a:srgbClr val="FF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6" name="Rectangle 33">
              <a:extLst>
                <a:ext uri="{FF2B5EF4-FFF2-40B4-BE49-F238E27FC236}">
                  <a16:creationId xmlns:a16="http://schemas.microsoft.com/office/drawing/2014/main" id="{94DE3584-2EFA-48EE-9B44-C17C0B32C7C1}"/>
                </a:ext>
              </a:extLst>
            </p:cNvPr>
            <p:cNvSpPr/>
            <p:nvPr userDrawn="1"/>
          </p:nvSpPr>
          <p:spPr>
            <a:xfrm>
              <a:off x="3344162" y="3082593"/>
              <a:ext cx="512754" cy="200629"/>
            </a:xfrm>
            <a:prstGeom prst="rect">
              <a:avLst/>
            </a:prstGeom>
            <a:solidFill>
              <a:srgbClr val="B441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7" name="Rectangle 33">
              <a:extLst>
                <a:ext uri="{FF2B5EF4-FFF2-40B4-BE49-F238E27FC236}">
                  <a16:creationId xmlns:a16="http://schemas.microsoft.com/office/drawing/2014/main" id="{6CD4960A-0A66-4E37-A816-BF10A3E4B14C}"/>
                </a:ext>
              </a:extLst>
            </p:cNvPr>
            <p:cNvSpPr/>
            <p:nvPr/>
          </p:nvSpPr>
          <p:spPr>
            <a:xfrm>
              <a:off x="7017519" y="3082593"/>
              <a:ext cx="512754" cy="200629"/>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8" name="Rectangle 33">
              <a:extLst>
                <a:ext uri="{FF2B5EF4-FFF2-40B4-BE49-F238E27FC236}">
                  <a16:creationId xmlns:a16="http://schemas.microsoft.com/office/drawing/2014/main" id="{980B2C87-0EF0-4D6D-94EC-FE429A5FBD1A}"/>
                </a:ext>
              </a:extLst>
            </p:cNvPr>
            <p:cNvSpPr/>
            <p:nvPr/>
          </p:nvSpPr>
          <p:spPr>
            <a:xfrm>
              <a:off x="4162763" y="3082593"/>
              <a:ext cx="512754" cy="2006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 name="Rectangle 33">
              <a:extLst>
                <a:ext uri="{FF2B5EF4-FFF2-40B4-BE49-F238E27FC236}">
                  <a16:creationId xmlns:a16="http://schemas.microsoft.com/office/drawing/2014/main" id="{7EF67118-9837-4B31-9D40-97A73095DD1E}"/>
                </a:ext>
              </a:extLst>
            </p:cNvPr>
            <p:cNvSpPr/>
            <p:nvPr/>
          </p:nvSpPr>
          <p:spPr>
            <a:xfrm>
              <a:off x="4733714" y="3082593"/>
              <a:ext cx="512754" cy="200629"/>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0" name="Rectangle 33">
              <a:extLst>
                <a:ext uri="{FF2B5EF4-FFF2-40B4-BE49-F238E27FC236}">
                  <a16:creationId xmlns:a16="http://schemas.microsoft.com/office/drawing/2014/main" id="{31D66A04-1976-43A1-9B7B-8809B43F2CED}"/>
                </a:ext>
              </a:extLst>
            </p:cNvPr>
            <p:cNvSpPr/>
            <p:nvPr/>
          </p:nvSpPr>
          <p:spPr>
            <a:xfrm>
              <a:off x="5304665" y="3082593"/>
              <a:ext cx="512754" cy="20062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1" name="Rectangle 33">
              <a:extLst>
                <a:ext uri="{FF2B5EF4-FFF2-40B4-BE49-F238E27FC236}">
                  <a16:creationId xmlns:a16="http://schemas.microsoft.com/office/drawing/2014/main" id="{F928B4B3-AA58-4358-8EAC-926A142B9F38}"/>
                </a:ext>
              </a:extLst>
            </p:cNvPr>
            <p:cNvSpPr/>
            <p:nvPr/>
          </p:nvSpPr>
          <p:spPr>
            <a:xfrm>
              <a:off x="5875616" y="3082593"/>
              <a:ext cx="512754" cy="200629"/>
            </a:xfrm>
            <a:prstGeom prst="rect">
              <a:avLst/>
            </a:pr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2" name="Rectangle 33">
              <a:extLst>
                <a:ext uri="{FF2B5EF4-FFF2-40B4-BE49-F238E27FC236}">
                  <a16:creationId xmlns:a16="http://schemas.microsoft.com/office/drawing/2014/main" id="{457422B5-4FCE-4AC3-8455-D3A4B46B107E}"/>
                </a:ext>
              </a:extLst>
            </p:cNvPr>
            <p:cNvSpPr/>
            <p:nvPr/>
          </p:nvSpPr>
          <p:spPr>
            <a:xfrm>
              <a:off x="6446567" y="3082593"/>
              <a:ext cx="512754" cy="200629"/>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13" name="Gruppe 12">
            <a:extLst>
              <a:ext uri="{FF2B5EF4-FFF2-40B4-BE49-F238E27FC236}">
                <a16:creationId xmlns:a16="http://schemas.microsoft.com/office/drawing/2014/main" id="{D0951BC4-39D3-4241-B24E-B7EC18D1F607}"/>
              </a:ext>
            </a:extLst>
          </p:cNvPr>
          <p:cNvGrpSpPr/>
          <p:nvPr userDrawn="1"/>
        </p:nvGrpSpPr>
        <p:grpSpPr>
          <a:xfrm rot="5400000">
            <a:off x="9678030" y="3328686"/>
            <a:ext cx="5898964" cy="200629"/>
            <a:chOff x="1631309" y="3082593"/>
            <a:chExt cx="5898964" cy="200629"/>
          </a:xfrm>
        </p:grpSpPr>
        <p:sp>
          <p:nvSpPr>
            <p:cNvPr id="14" name="Rectangle 26">
              <a:extLst>
                <a:ext uri="{FF2B5EF4-FFF2-40B4-BE49-F238E27FC236}">
                  <a16:creationId xmlns:a16="http://schemas.microsoft.com/office/drawing/2014/main" id="{C0CF4AB4-1862-496D-95E3-1AF55D6C4914}"/>
                </a:ext>
              </a:extLst>
            </p:cNvPr>
            <p:cNvSpPr/>
            <p:nvPr userDrawn="1"/>
          </p:nvSpPr>
          <p:spPr>
            <a:xfrm>
              <a:off x="1631309" y="3082593"/>
              <a:ext cx="512754" cy="200629"/>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5" name="Rectangle 27">
              <a:extLst>
                <a:ext uri="{FF2B5EF4-FFF2-40B4-BE49-F238E27FC236}">
                  <a16:creationId xmlns:a16="http://schemas.microsoft.com/office/drawing/2014/main" id="{97035DDF-31EA-4F38-8FBC-D0C7A6108279}"/>
                </a:ext>
              </a:extLst>
            </p:cNvPr>
            <p:cNvSpPr/>
            <p:nvPr userDrawn="1"/>
          </p:nvSpPr>
          <p:spPr>
            <a:xfrm>
              <a:off x="2202260" y="3082593"/>
              <a:ext cx="512754" cy="200629"/>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Rectangle 28">
              <a:extLst>
                <a:ext uri="{FF2B5EF4-FFF2-40B4-BE49-F238E27FC236}">
                  <a16:creationId xmlns:a16="http://schemas.microsoft.com/office/drawing/2014/main" id="{8E055B91-1CA9-4AC5-B4F5-2F804F6D219E}"/>
                </a:ext>
              </a:extLst>
            </p:cNvPr>
            <p:cNvSpPr/>
            <p:nvPr userDrawn="1"/>
          </p:nvSpPr>
          <p:spPr>
            <a:xfrm>
              <a:off x="2773211" y="3082593"/>
              <a:ext cx="512754" cy="200629"/>
            </a:xfrm>
            <a:prstGeom prst="rect">
              <a:avLst/>
            </a:prstGeom>
            <a:solidFill>
              <a:srgbClr val="FF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Rectangle 33">
              <a:extLst>
                <a:ext uri="{FF2B5EF4-FFF2-40B4-BE49-F238E27FC236}">
                  <a16:creationId xmlns:a16="http://schemas.microsoft.com/office/drawing/2014/main" id="{4AAD8519-5E6C-4AE6-876A-E7FAE0E7A7FD}"/>
                </a:ext>
              </a:extLst>
            </p:cNvPr>
            <p:cNvSpPr/>
            <p:nvPr userDrawn="1"/>
          </p:nvSpPr>
          <p:spPr>
            <a:xfrm>
              <a:off x="3344162" y="3082593"/>
              <a:ext cx="512754" cy="200629"/>
            </a:xfrm>
            <a:prstGeom prst="rect">
              <a:avLst/>
            </a:prstGeom>
            <a:solidFill>
              <a:srgbClr val="B441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Rectangle 33">
              <a:extLst>
                <a:ext uri="{FF2B5EF4-FFF2-40B4-BE49-F238E27FC236}">
                  <a16:creationId xmlns:a16="http://schemas.microsoft.com/office/drawing/2014/main" id="{A3E750B4-E224-404C-AD3F-B35983B4A717}"/>
                </a:ext>
              </a:extLst>
            </p:cNvPr>
            <p:cNvSpPr/>
            <p:nvPr/>
          </p:nvSpPr>
          <p:spPr>
            <a:xfrm>
              <a:off x="7017519" y="3082593"/>
              <a:ext cx="512754" cy="200629"/>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9" name="Rectangle 33">
              <a:extLst>
                <a:ext uri="{FF2B5EF4-FFF2-40B4-BE49-F238E27FC236}">
                  <a16:creationId xmlns:a16="http://schemas.microsoft.com/office/drawing/2014/main" id="{6AE4CDA9-5522-4FD2-BF17-35482D237A9D}"/>
                </a:ext>
              </a:extLst>
            </p:cNvPr>
            <p:cNvSpPr/>
            <p:nvPr/>
          </p:nvSpPr>
          <p:spPr>
            <a:xfrm>
              <a:off x="4162763" y="3082593"/>
              <a:ext cx="512754" cy="2006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0" name="Rectangle 33">
              <a:extLst>
                <a:ext uri="{FF2B5EF4-FFF2-40B4-BE49-F238E27FC236}">
                  <a16:creationId xmlns:a16="http://schemas.microsoft.com/office/drawing/2014/main" id="{12C2E627-C9EB-495E-85F0-00134D94A9CC}"/>
                </a:ext>
              </a:extLst>
            </p:cNvPr>
            <p:cNvSpPr/>
            <p:nvPr/>
          </p:nvSpPr>
          <p:spPr>
            <a:xfrm>
              <a:off x="4733714" y="3082593"/>
              <a:ext cx="512754" cy="200629"/>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1" name="Rectangle 33">
              <a:extLst>
                <a:ext uri="{FF2B5EF4-FFF2-40B4-BE49-F238E27FC236}">
                  <a16:creationId xmlns:a16="http://schemas.microsoft.com/office/drawing/2014/main" id="{00398AD3-A224-49DC-B456-AF166CD84C06}"/>
                </a:ext>
              </a:extLst>
            </p:cNvPr>
            <p:cNvSpPr/>
            <p:nvPr/>
          </p:nvSpPr>
          <p:spPr>
            <a:xfrm>
              <a:off x="5304665" y="3082593"/>
              <a:ext cx="512754" cy="20062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2" name="Rectangle 33">
              <a:extLst>
                <a:ext uri="{FF2B5EF4-FFF2-40B4-BE49-F238E27FC236}">
                  <a16:creationId xmlns:a16="http://schemas.microsoft.com/office/drawing/2014/main" id="{786AF896-D24D-4C69-9D17-38B8DD939458}"/>
                </a:ext>
              </a:extLst>
            </p:cNvPr>
            <p:cNvSpPr/>
            <p:nvPr/>
          </p:nvSpPr>
          <p:spPr>
            <a:xfrm>
              <a:off x="5875616" y="3082593"/>
              <a:ext cx="512754" cy="200629"/>
            </a:xfrm>
            <a:prstGeom prst="rect">
              <a:avLst/>
            </a:pr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3" name="Rectangle 33">
              <a:extLst>
                <a:ext uri="{FF2B5EF4-FFF2-40B4-BE49-F238E27FC236}">
                  <a16:creationId xmlns:a16="http://schemas.microsoft.com/office/drawing/2014/main" id="{E71345EC-6978-4527-B4EE-75B74745391D}"/>
                </a:ext>
              </a:extLst>
            </p:cNvPr>
            <p:cNvSpPr/>
            <p:nvPr/>
          </p:nvSpPr>
          <p:spPr>
            <a:xfrm>
              <a:off x="6446567" y="3082593"/>
              <a:ext cx="512754" cy="200629"/>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24" name="Gruppe 23">
            <a:extLst>
              <a:ext uri="{FF2B5EF4-FFF2-40B4-BE49-F238E27FC236}">
                <a16:creationId xmlns:a16="http://schemas.microsoft.com/office/drawing/2014/main" id="{20A7E827-0E86-4D9C-8AAF-AD18DDBDF6B9}"/>
              </a:ext>
            </a:extLst>
          </p:cNvPr>
          <p:cNvGrpSpPr/>
          <p:nvPr userDrawn="1"/>
        </p:nvGrpSpPr>
        <p:grpSpPr>
          <a:xfrm rot="5400000">
            <a:off x="-3352173" y="3328685"/>
            <a:ext cx="5898964" cy="200629"/>
            <a:chOff x="1631309" y="3082593"/>
            <a:chExt cx="5898964" cy="200629"/>
          </a:xfrm>
        </p:grpSpPr>
        <p:sp>
          <p:nvSpPr>
            <p:cNvPr id="25" name="Rectangle 26">
              <a:extLst>
                <a:ext uri="{FF2B5EF4-FFF2-40B4-BE49-F238E27FC236}">
                  <a16:creationId xmlns:a16="http://schemas.microsoft.com/office/drawing/2014/main" id="{AE21A5CA-CC02-4188-8B0B-73B91709E4C4}"/>
                </a:ext>
              </a:extLst>
            </p:cNvPr>
            <p:cNvSpPr/>
            <p:nvPr userDrawn="1"/>
          </p:nvSpPr>
          <p:spPr>
            <a:xfrm>
              <a:off x="1631309" y="3082593"/>
              <a:ext cx="512754" cy="200629"/>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6" name="Rectangle 27">
              <a:extLst>
                <a:ext uri="{FF2B5EF4-FFF2-40B4-BE49-F238E27FC236}">
                  <a16:creationId xmlns:a16="http://schemas.microsoft.com/office/drawing/2014/main" id="{4EB7FE60-0667-4081-B0A5-F2A86DDFAB19}"/>
                </a:ext>
              </a:extLst>
            </p:cNvPr>
            <p:cNvSpPr/>
            <p:nvPr userDrawn="1"/>
          </p:nvSpPr>
          <p:spPr>
            <a:xfrm>
              <a:off x="2202260" y="3082593"/>
              <a:ext cx="512754" cy="200629"/>
            </a:xfrm>
            <a:prstGeom prst="rect">
              <a:avLst/>
            </a:prstGeom>
            <a:solidFill>
              <a:srgbClr val="14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7" name="Rectangle 28">
              <a:extLst>
                <a:ext uri="{FF2B5EF4-FFF2-40B4-BE49-F238E27FC236}">
                  <a16:creationId xmlns:a16="http://schemas.microsoft.com/office/drawing/2014/main" id="{366CA50D-30FC-4745-9726-BB9DFBB65A77}"/>
                </a:ext>
              </a:extLst>
            </p:cNvPr>
            <p:cNvSpPr/>
            <p:nvPr userDrawn="1"/>
          </p:nvSpPr>
          <p:spPr>
            <a:xfrm>
              <a:off x="2773211" y="3082593"/>
              <a:ext cx="512754" cy="200629"/>
            </a:xfrm>
            <a:prstGeom prst="rect">
              <a:avLst/>
            </a:prstGeom>
            <a:solidFill>
              <a:srgbClr val="FF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8" name="Rectangle 33">
              <a:extLst>
                <a:ext uri="{FF2B5EF4-FFF2-40B4-BE49-F238E27FC236}">
                  <a16:creationId xmlns:a16="http://schemas.microsoft.com/office/drawing/2014/main" id="{6E40009C-DC9E-4D13-A196-92C4DDD3F9D5}"/>
                </a:ext>
              </a:extLst>
            </p:cNvPr>
            <p:cNvSpPr/>
            <p:nvPr userDrawn="1"/>
          </p:nvSpPr>
          <p:spPr>
            <a:xfrm>
              <a:off x="3344162" y="3082593"/>
              <a:ext cx="512754" cy="200629"/>
            </a:xfrm>
            <a:prstGeom prst="rect">
              <a:avLst/>
            </a:prstGeom>
            <a:solidFill>
              <a:srgbClr val="B441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9" name="Rectangle 33">
              <a:extLst>
                <a:ext uri="{FF2B5EF4-FFF2-40B4-BE49-F238E27FC236}">
                  <a16:creationId xmlns:a16="http://schemas.microsoft.com/office/drawing/2014/main" id="{41504CF7-350D-4A90-940E-EEFB96016D67}"/>
                </a:ext>
              </a:extLst>
            </p:cNvPr>
            <p:cNvSpPr/>
            <p:nvPr/>
          </p:nvSpPr>
          <p:spPr>
            <a:xfrm>
              <a:off x="7017519" y="3082593"/>
              <a:ext cx="512754" cy="200629"/>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0" name="Rectangle 33">
              <a:extLst>
                <a:ext uri="{FF2B5EF4-FFF2-40B4-BE49-F238E27FC236}">
                  <a16:creationId xmlns:a16="http://schemas.microsoft.com/office/drawing/2014/main" id="{817C56C2-0BCC-4CE2-9603-D20F406497AB}"/>
                </a:ext>
              </a:extLst>
            </p:cNvPr>
            <p:cNvSpPr/>
            <p:nvPr/>
          </p:nvSpPr>
          <p:spPr>
            <a:xfrm>
              <a:off x="4162763" y="3082593"/>
              <a:ext cx="512754" cy="2006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1" name="Rectangle 33">
              <a:extLst>
                <a:ext uri="{FF2B5EF4-FFF2-40B4-BE49-F238E27FC236}">
                  <a16:creationId xmlns:a16="http://schemas.microsoft.com/office/drawing/2014/main" id="{500539BB-E414-4CB3-82B6-05D2109F3E53}"/>
                </a:ext>
              </a:extLst>
            </p:cNvPr>
            <p:cNvSpPr/>
            <p:nvPr/>
          </p:nvSpPr>
          <p:spPr>
            <a:xfrm>
              <a:off x="4733714" y="3082593"/>
              <a:ext cx="512754" cy="200629"/>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2" name="Rectangle 33">
              <a:extLst>
                <a:ext uri="{FF2B5EF4-FFF2-40B4-BE49-F238E27FC236}">
                  <a16:creationId xmlns:a16="http://schemas.microsoft.com/office/drawing/2014/main" id="{28AFB3A9-0D03-43EF-8AF7-341F26CFD438}"/>
                </a:ext>
              </a:extLst>
            </p:cNvPr>
            <p:cNvSpPr/>
            <p:nvPr/>
          </p:nvSpPr>
          <p:spPr>
            <a:xfrm>
              <a:off x="5304665" y="3082593"/>
              <a:ext cx="512754" cy="20062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3" name="Rectangle 33">
              <a:extLst>
                <a:ext uri="{FF2B5EF4-FFF2-40B4-BE49-F238E27FC236}">
                  <a16:creationId xmlns:a16="http://schemas.microsoft.com/office/drawing/2014/main" id="{8B5232D3-B457-40F6-AAE6-BFB163E4134F}"/>
                </a:ext>
              </a:extLst>
            </p:cNvPr>
            <p:cNvSpPr/>
            <p:nvPr/>
          </p:nvSpPr>
          <p:spPr>
            <a:xfrm>
              <a:off x="5875616" y="3082593"/>
              <a:ext cx="512754" cy="200629"/>
            </a:xfrm>
            <a:prstGeom prst="rect">
              <a:avLst/>
            </a:pr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4" name="Rectangle 33">
              <a:extLst>
                <a:ext uri="{FF2B5EF4-FFF2-40B4-BE49-F238E27FC236}">
                  <a16:creationId xmlns:a16="http://schemas.microsoft.com/office/drawing/2014/main" id="{F06A99A1-F1A7-442C-AFFE-7F5D70C81E31}"/>
                </a:ext>
              </a:extLst>
            </p:cNvPr>
            <p:cNvSpPr/>
            <p:nvPr/>
          </p:nvSpPr>
          <p:spPr>
            <a:xfrm>
              <a:off x="6446567" y="3082593"/>
              <a:ext cx="512754" cy="200629"/>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Tree>
    <p:extLst>
      <p:ext uri="{BB962C8B-B14F-4D97-AF65-F5344CB8AC3E}">
        <p14:creationId xmlns:p14="http://schemas.microsoft.com/office/powerpoint/2010/main" val="690478813"/>
      </p:ext>
    </p:extLst>
  </p:cSld>
  <p:clrMap bg1="lt1" tx1="dk1" bg2="lt2" tx2="dk2" accent1="accent1" accent2="accent2" accent3="accent3" accent4="accent4" accent5="accent5" accent6="accent6" hlink="hlink" folHlink="folHlink"/>
  <p:sldLayoutIdLst>
    <p:sldLayoutId id="2147484253" r:id="rId1"/>
    <p:sldLayoutId id="2147484254" r:id="rId2"/>
    <p:sldLayoutId id="2147484255" r:id="rId3"/>
    <p:sldLayoutId id="2147484256" r:id="rId4"/>
    <p:sldLayoutId id="2147484257" r:id="rId5"/>
    <p:sldLayoutId id="2147484258" r:id="rId6"/>
    <p:sldLayoutId id="2147484259" r:id="rId7"/>
    <p:sldLayoutId id="2147484260" r:id="rId8"/>
    <p:sldLayoutId id="2147484261" r:id="rId9"/>
    <p:sldLayoutId id="2147484262" r:id="rId10"/>
    <p:sldLayoutId id="2147484263" r:id="rId11"/>
    <p:sldLayoutId id="2147484264" r:id="rId12"/>
    <p:sldLayoutId id="2147484265" r:id="rId13"/>
    <p:sldLayoutId id="2147484266" r:id="rId14"/>
    <p:sldLayoutId id="2147484267" r:id="rId15"/>
    <p:sldLayoutId id="2147484268" r:id="rId16"/>
    <p:sldLayoutId id="2147484269" r:id="rId17"/>
    <p:sldLayoutId id="2147484270" r:id="rId18"/>
    <p:sldLayoutId id="2147484271" r:id="rId19"/>
    <p:sldLayoutId id="2147484272" r:id="rId20"/>
    <p:sldLayoutId id="2147484273" r:id="rId21"/>
    <p:sldLayoutId id="2147484274" r:id="rId22"/>
    <p:sldLayoutId id="2147484275" r:id="rId23"/>
    <p:sldLayoutId id="2147484276" r:id="rId24"/>
    <p:sldLayoutId id="2147484277" r:id="rId25"/>
    <p:sldLayoutId id="2147484278" r:id="rId26"/>
    <p:sldLayoutId id="2147484279" r:id="rId27"/>
    <p:sldLayoutId id="2147484280" r:id="rId28"/>
    <p:sldLayoutId id="2147484281" r:id="rId29"/>
    <p:sldLayoutId id="2147484282" r:id="rId30"/>
    <p:sldLayoutId id="2147484283" r:id="rId31"/>
    <p:sldLayoutId id="2147484284" r:id="rId32"/>
    <p:sldLayoutId id="2147484285" r:id="rId33"/>
    <p:sldLayoutId id="2147484286" r:id="rId34"/>
    <p:sldLayoutId id="2147484287" r:id="rId35"/>
    <p:sldLayoutId id="2147484288" r:id="rId36"/>
    <p:sldLayoutId id="2147484289" r:id="rId37"/>
    <p:sldLayoutId id="2147484290" r:id="rId38"/>
    <p:sldLayoutId id="2147484292" r:id="rId39"/>
    <p:sldLayoutId id="2147484293" r:id="rId40"/>
    <p:sldLayoutId id="2147484294" r:id="rId41"/>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18" Type="http://schemas.openxmlformats.org/officeDocument/2006/relationships/image" Target="../media/image72.svg"/><Relationship Id="rId3" Type="http://schemas.openxmlformats.org/officeDocument/2006/relationships/notesSlide" Target="../notesSlides/notesSlide1.xml"/><Relationship Id="rId21" Type="http://schemas.openxmlformats.org/officeDocument/2006/relationships/image" Target="../media/image75.png"/><Relationship Id="rId7" Type="http://schemas.openxmlformats.org/officeDocument/2006/relationships/image" Target="../media/image61.png"/><Relationship Id="rId12" Type="http://schemas.openxmlformats.org/officeDocument/2006/relationships/image" Target="../media/image66.png"/><Relationship Id="rId17" Type="http://schemas.openxmlformats.org/officeDocument/2006/relationships/image" Target="../media/image71.png"/><Relationship Id="rId2" Type="http://schemas.openxmlformats.org/officeDocument/2006/relationships/slideLayout" Target="../slideLayouts/slideLayout59.xml"/><Relationship Id="rId16" Type="http://schemas.openxmlformats.org/officeDocument/2006/relationships/image" Target="../media/image70.png"/><Relationship Id="rId20" Type="http://schemas.openxmlformats.org/officeDocument/2006/relationships/image" Target="../media/image74.jpeg"/><Relationship Id="rId1" Type="http://schemas.openxmlformats.org/officeDocument/2006/relationships/tags" Target="../tags/tag9.xml"/><Relationship Id="rId6" Type="http://schemas.openxmlformats.org/officeDocument/2006/relationships/image" Target="../media/image60.jpeg"/><Relationship Id="rId11" Type="http://schemas.openxmlformats.org/officeDocument/2006/relationships/image" Target="../media/image65.jpeg"/><Relationship Id="rId5" Type="http://schemas.openxmlformats.org/officeDocument/2006/relationships/image" Target="../media/image59.emf"/><Relationship Id="rId15" Type="http://schemas.openxmlformats.org/officeDocument/2006/relationships/image" Target="../media/image69.png"/><Relationship Id="rId10" Type="http://schemas.openxmlformats.org/officeDocument/2006/relationships/image" Target="../media/image64.jpeg"/><Relationship Id="rId19" Type="http://schemas.openxmlformats.org/officeDocument/2006/relationships/image" Target="../media/image73.png"/><Relationship Id="rId4" Type="http://schemas.openxmlformats.org/officeDocument/2006/relationships/oleObject" Target="../embeddings/oleObject7.bin"/><Relationship Id="rId9" Type="http://schemas.openxmlformats.org/officeDocument/2006/relationships/image" Target="../media/image63.png"/><Relationship Id="rId14" Type="http://schemas.openxmlformats.org/officeDocument/2006/relationships/image" Target="../media/image68.jpeg"/></Relationships>
</file>

<file path=ppt/slides/_rels/slide10.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26" Type="http://schemas.openxmlformats.org/officeDocument/2006/relationships/oleObject" Target="../embeddings/oleObject14.bin"/><Relationship Id="rId3" Type="http://schemas.openxmlformats.org/officeDocument/2006/relationships/tags" Target="../tags/tag18.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slideLayout" Target="../slideLayouts/slideLayout225.xml"/><Relationship Id="rId2" Type="http://schemas.openxmlformats.org/officeDocument/2006/relationships/tags" Target="../tags/tag17.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tags" Target="../tags/tag39.xml"/><Relationship Id="rId5" Type="http://schemas.openxmlformats.org/officeDocument/2006/relationships/tags" Target="../tags/tag20.xml"/><Relationship Id="rId15" Type="http://schemas.openxmlformats.org/officeDocument/2006/relationships/tags" Target="../tags/tag30.xml"/><Relationship Id="rId23" Type="http://schemas.openxmlformats.org/officeDocument/2006/relationships/tags" Target="../tags/tag38.xml"/><Relationship Id="rId28" Type="http://schemas.openxmlformats.org/officeDocument/2006/relationships/chart" Target="../charts/chart1.xml"/><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 Id="rId27" Type="http://schemas.openxmlformats.org/officeDocument/2006/relationships/image" Target="../media/image39.emf"/></Relationships>
</file>

<file path=ppt/slides/_rels/slide11.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notesSlide" Target="../notesSlides/notesSlide9.xml"/><Relationship Id="rId3" Type="http://schemas.openxmlformats.org/officeDocument/2006/relationships/tags" Target="../tags/tag42.xml"/><Relationship Id="rId21" Type="http://schemas.openxmlformats.org/officeDocument/2006/relationships/chart" Target="../charts/chart2.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slideLayout" Target="../slideLayouts/slideLayout226.xml"/><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image" Target="../media/image1.emf"/><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5" Type="http://schemas.openxmlformats.org/officeDocument/2006/relationships/tags" Target="../tags/tag44.xml"/><Relationship Id="rId15" Type="http://schemas.openxmlformats.org/officeDocument/2006/relationships/tags" Target="../tags/tag54.xml"/><Relationship Id="rId10" Type="http://schemas.openxmlformats.org/officeDocument/2006/relationships/tags" Target="../tags/tag49.xml"/><Relationship Id="rId19" Type="http://schemas.openxmlformats.org/officeDocument/2006/relationships/oleObject" Target="../embeddings/oleObject15.bin"/><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chart" Target="../charts/chart3.xml"/></Relationships>
</file>

<file path=ppt/slides/_rels/slide12.xml.rels><?xml version="1.0" encoding="UTF-8" standalone="yes"?>
<Relationships xmlns="http://schemas.openxmlformats.org/package/2006/relationships"><Relationship Id="rId8" Type="http://schemas.openxmlformats.org/officeDocument/2006/relationships/image" Target="../media/image203.svg"/><Relationship Id="rId3" Type="http://schemas.openxmlformats.org/officeDocument/2006/relationships/oleObject" Target="../embeddings/oleObject16.bin"/><Relationship Id="rId7" Type="http://schemas.openxmlformats.org/officeDocument/2006/relationships/image" Target="../media/image202.png"/><Relationship Id="rId2" Type="http://schemas.openxmlformats.org/officeDocument/2006/relationships/slideLayout" Target="../slideLayouts/slideLayout226.xml"/><Relationship Id="rId1" Type="http://schemas.openxmlformats.org/officeDocument/2006/relationships/tags" Target="../tags/tag56.xml"/><Relationship Id="rId6" Type="http://schemas.openxmlformats.org/officeDocument/2006/relationships/image" Target="../media/image201.svg"/><Relationship Id="rId5" Type="http://schemas.openxmlformats.org/officeDocument/2006/relationships/image" Target="../media/image200.png"/><Relationship Id="rId10" Type="http://schemas.openxmlformats.org/officeDocument/2006/relationships/image" Target="../media/image205.svg"/><Relationship Id="rId4" Type="http://schemas.openxmlformats.org/officeDocument/2006/relationships/image" Target="../media/image199.emf"/><Relationship Id="rId9" Type="http://schemas.openxmlformats.org/officeDocument/2006/relationships/image" Target="../media/image204.png"/></Relationships>
</file>

<file path=ppt/slides/_rels/slide13.xml.rels><?xml version="1.0" encoding="UTF-8" standalone="yes"?>
<Relationships xmlns="http://schemas.openxmlformats.org/package/2006/relationships"><Relationship Id="rId8" Type="http://schemas.openxmlformats.org/officeDocument/2006/relationships/image" Target="../media/image209.png"/><Relationship Id="rId13" Type="http://schemas.openxmlformats.org/officeDocument/2006/relationships/image" Target="../media/image212.svg"/><Relationship Id="rId3" Type="http://schemas.openxmlformats.org/officeDocument/2006/relationships/notesSlide" Target="../notesSlides/notesSlide10.xml"/><Relationship Id="rId7" Type="http://schemas.openxmlformats.org/officeDocument/2006/relationships/image" Target="../media/image208.emf"/><Relationship Id="rId12" Type="http://schemas.openxmlformats.org/officeDocument/2006/relationships/image" Target="../media/image211.png"/><Relationship Id="rId17" Type="http://schemas.openxmlformats.org/officeDocument/2006/relationships/image" Target="../media/image215.png"/><Relationship Id="rId2" Type="http://schemas.openxmlformats.org/officeDocument/2006/relationships/slideLayout" Target="../slideLayouts/slideLayout225.xml"/><Relationship Id="rId16" Type="http://schemas.openxmlformats.org/officeDocument/2006/relationships/image" Target="../media/image214.png"/><Relationship Id="rId1" Type="http://schemas.openxmlformats.org/officeDocument/2006/relationships/tags" Target="../tags/tag57.xml"/><Relationship Id="rId6" Type="http://schemas.openxmlformats.org/officeDocument/2006/relationships/oleObject" Target="../embeddings/oleObject17.bin"/><Relationship Id="rId11" Type="http://schemas.openxmlformats.org/officeDocument/2006/relationships/image" Target="../media/image203.svg"/><Relationship Id="rId5" Type="http://schemas.openxmlformats.org/officeDocument/2006/relationships/image" Target="../media/image207.png"/><Relationship Id="rId15" Type="http://schemas.openxmlformats.org/officeDocument/2006/relationships/image" Target="../media/image213.png"/><Relationship Id="rId10" Type="http://schemas.openxmlformats.org/officeDocument/2006/relationships/image" Target="../media/image202.png"/><Relationship Id="rId4" Type="http://schemas.openxmlformats.org/officeDocument/2006/relationships/image" Target="../media/image206.png"/><Relationship Id="rId9" Type="http://schemas.openxmlformats.org/officeDocument/2006/relationships/image" Target="../media/image210.svg"/><Relationship Id="rId14" Type="http://schemas.openxmlformats.org/officeDocument/2006/relationships/chart" Target="../charts/chart4.xml"/></Relationships>
</file>

<file path=ppt/slides/_rels/slide14.xml.rels><?xml version="1.0" encoding="UTF-8" standalone="yes"?>
<Relationships xmlns="http://schemas.openxmlformats.org/package/2006/relationships"><Relationship Id="rId13" Type="http://schemas.openxmlformats.org/officeDocument/2006/relationships/tags" Target="../tags/tag70.xml"/><Relationship Id="rId18" Type="http://schemas.openxmlformats.org/officeDocument/2006/relationships/tags" Target="../tags/tag75.xml"/><Relationship Id="rId26" Type="http://schemas.openxmlformats.org/officeDocument/2006/relationships/tags" Target="../tags/tag83.xml"/><Relationship Id="rId3" Type="http://schemas.openxmlformats.org/officeDocument/2006/relationships/tags" Target="../tags/tag60.xml"/><Relationship Id="rId21" Type="http://schemas.openxmlformats.org/officeDocument/2006/relationships/tags" Target="../tags/tag78.xml"/><Relationship Id="rId34" Type="http://schemas.openxmlformats.org/officeDocument/2006/relationships/image" Target="../media/image200.png"/><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tags" Target="../tags/tag74.xml"/><Relationship Id="rId25" Type="http://schemas.openxmlformats.org/officeDocument/2006/relationships/tags" Target="../tags/tag82.xml"/><Relationship Id="rId33" Type="http://schemas.openxmlformats.org/officeDocument/2006/relationships/image" Target="../media/image208.emf"/><Relationship Id="rId2" Type="http://schemas.openxmlformats.org/officeDocument/2006/relationships/tags" Target="../tags/tag59.xml"/><Relationship Id="rId16" Type="http://schemas.openxmlformats.org/officeDocument/2006/relationships/tags" Target="../tags/tag73.xml"/><Relationship Id="rId20" Type="http://schemas.openxmlformats.org/officeDocument/2006/relationships/tags" Target="../tags/tag77.xml"/><Relationship Id="rId29" Type="http://schemas.openxmlformats.org/officeDocument/2006/relationships/tags" Target="../tags/tag86.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tags" Target="../tags/tag68.xml"/><Relationship Id="rId24" Type="http://schemas.openxmlformats.org/officeDocument/2006/relationships/tags" Target="../tags/tag81.xml"/><Relationship Id="rId32" Type="http://schemas.openxmlformats.org/officeDocument/2006/relationships/oleObject" Target="../embeddings/oleObject18.bin"/><Relationship Id="rId5" Type="http://schemas.openxmlformats.org/officeDocument/2006/relationships/tags" Target="../tags/tag62.xml"/><Relationship Id="rId15" Type="http://schemas.openxmlformats.org/officeDocument/2006/relationships/tags" Target="../tags/tag72.xml"/><Relationship Id="rId23" Type="http://schemas.openxmlformats.org/officeDocument/2006/relationships/tags" Target="../tags/tag80.xml"/><Relationship Id="rId28" Type="http://schemas.openxmlformats.org/officeDocument/2006/relationships/tags" Target="../tags/tag85.xml"/><Relationship Id="rId36" Type="http://schemas.openxmlformats.org/officeDocument/2006/relationships/chart" Target="../charts/chart5.xml"/><Relationship Id="rId10" Type="http://schemas.openxmlformats.org/officeDocument/2006/relationships/tags" Target="../tags/tag67.xml"/><Relationship Id="rId19" Type="http://schemas.openxmlformats.org/officeDocument/2006/relationships/tags" Target="../tags/tag76.xml"/><Relationship Id="rId31" Type="http://schemas.openxmlformats.org/officeDocument/2006/relationships/notesSlide" Target="../notesSlides/notesSlide11.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tags" Target="../tags/tag71.xml"/><Relationship Id="rId22" Type="http://schemas.openxmlformats.org/officeDocument/2006/relationships/tags" Target="../tags/tag79.xml"/><Relationship Id="rId27" Type="http://schemas.openxmlformats.org/officeDocument/2006/relationships/tags" Target="../tags/tag84.xml"/><Relationship Id="rId30" Type="http://schemas.openxmlformats.org/officeDocument/2006/relationships/slideLayout" Target="../slideLayouts/slideLayout225.xml"/><Relationship Id="rId35" Type="http://schemas.openxmlformats.org/officeDocument/2006/relationships/image" Target="../media/image201.svg"/><Relationship Id="rId8" Type="http://schemas.openxmlformats.org/officeDocument/2006/relationships/tags" Target="../tags/tag65.xml"/></Relationships>
</file>

<file path=ppt/slides/_rels/slide15.xml.rels><?xml version="1.0" encoding="UTF-8" standalone="yes"?>
<Relationships xmlns="http://schemas.openxmlformats.org/package/2006/relationships"><Relationship Id="rId8" Type="http://schemas.openxmlformats.org/officeDocument/2006/relationships/image" Target="../media/image216.png"/><Relationship Id="rId3" Type="http://schemas.openxmlformats.org/officeDocument/2006/relationships/notesSlide" Target="../notesSlides/notesSlide12.xml"/><Relationship Id="rId7" Type="http://schemas.openxmlformats.org/officeDocument/2006/relationships/image" Target="../media/image205.svg"/><Relationship Id="rId2" Type="http://schemas.openxmlformats.org/officeDocument/2006/relationships/slideLayout" Target="../slideLayouts/slideLayout226.xml"/><Relationship Id="rId1" Type="http://schemas.openxmlformats.org/officeDocument/2006/relationships/tags" Target="../tags/tag87.xml"/><Relationship Id="rId6" Type="http://schemas.openxmlformats.org/officeDocument/2006/relationships/image" Target="../media/image204.png"/><Relationship Id="rId5" Type="http://schemas.openxmlformats.org/officeDocument/2006/relationships/image" Target="../media/image199.emf"/><Relationship Id="rId4" Type="http://schemas.openxmlformats.org/officeDocument/2006/relationships/oleObject" Target="../embeddings/oleObject19.bin"/><Relationship Id="rId9" Type="http://schemas.openxmlformats.org/officeDocument/2006/relationships/image" Target="../media/image217.svg"/></Relationships>
</file>

<file path=ppt/slides/_rels/slide16.xml.rels><?xml version="1.0" encoding="UTF-8" standalone="yes"?>
<Relationships xmlns="http://schemas.openxmlformats.org/package/2006/relationships"><Relationship Id="rId8" Type="http://schemas.openxmlformats.org/officeDocument/2006/relationships/image" Target="../media/image203.svg"/><Relationship Id="rId3" Type="http://schemas.openxmlformats.org/officeDocument/2006/relationships/oleObject" Target="../embeddings/oleObject20.bin"/><Relationship Id="rId7" Type="http://schemas.openxmlformats.org/officeDocument/2006/relationships/image" Target="../media/image202.png"/><Relationship Id="rId2" Type="http://schemas.openxmlformats.org/officeDocument/2006/relationships/slideLayout" Target="../slideLayouts/slideLayout226.xml"/><Relationship Id="rId1" Type="http://schemas.openxmlformats.org/officeDocument/2006/relationships/tags" Target="../tags/tag88.xml"/><Relationship Id="rId6" Type="http://schemas.openxmlformats.org/officeDocument/2006/relationships/image" Target="../media/image201.svg"/><Relationship Id="rId5" Type="http://schemas.openxmlformats.org/officeDocument/2006/relationships/image" Target="../media/image200.png"/><Relationship Id="rId10" Type="http://schemas.openxmlformats.org/officeDocument/2006/relationships/image" Target="../media/image205.svg"/><Relationship Id="rId4" Type="http://schemas.openxmlformats.org/officeDocument/2006/relationships/image" Target="../media/image199.emf"/><Relationship Id="rId9" Type="http://schemas.openxmlformats.org/officeDocument/2006/relationships/image" Target="../media/image204.png"/></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26.xml"/><Relationship Id="rId1" Type="http://schemas.openxmlformats.org/officeDocument/2006/relationships/tags" Target="../tags/tag89.xml"/><Relationship Id="rId5" Type="http://schemas.openxmlformats.org/officeDocument/2006/relationships/image" Target="../media/image31.png"/><Relationship Id="rId4" Type="http://schemas.openxmlformats.org/officeDocument/2006/relationships/image" Target="../media/image39.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26.xml"/><Relationship Id="rId1" Type="http://schemas.openxmlformats.org/officeDocument/2006/relationships/tags" Target="../tags/tag90.xml"/><Relationship Id="rId5" Type="http://schemas.openxmlformats.org/officeDocument/2006/relationships/image" Target="../media/image31.png"/><Relationship Id="rId4" Type="http://schemas.openxmlformats.org/officeDocument/2006/relationships/image" Target="../media/image39.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25.xml"/><Relationship Id="rId1" Type="http://schemas.openxmlformats.org/officeDocument/2006/relationships/tags" Target="../tags/tag91.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chart" Target="../charts/chart6.xml"/></Relationships>
</file>

<file path=ppt/slides/_rels/slide2.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notesSlide" Target="../notesSlides/notesSlide2.xml"/><Relationship Id="rId7" Type="http://schemas.openxmlformats.org/officeDocument/2006/relationships/image" Target="../media/image78.png"/><Relationship Id="rId2" Type="http://schemas.openxmlformats.org/officeDocument/2006/relationships/slideLayout" Target="../slideLayouts/slideLayout75.xml"/><Relationship Id="rId1" Type="http://schemas.openxmlformats.org/officeDocument/2006/relationships/tags" Target="../tags/tag10.xml"/><Relationship Id="rId6" Type="http://schemas.openxmlformats.org/officeDocument/2006/relationships/image" Target="../media/image77.png"/><Relationship Id="rId5" Type="http://schemas.openxmlformats.org/officeDocument/2006/relationships/image" Target="../media/image76.emf"/><Relationship Id="rId10" Type="http://schemas.openxmlformats.org/officeDocument/2006/relationships/image" Target="../media/image81.png"/><Relationship Id="rId4" Type="http://schemas.openxmlformats.org/officeDocument/2006/relationships/oleObject" Target="../embeddings/oleObject8.bin"/><Relationship Id="rId9" Type="http://schemas.openxmlformats.org/officeDocument/2006/relationships/image" Target="../media/image80.png"/></Relationships>
</file>

<file path=ppt/slides/_rels/slide20.xml.rels><?xml version="1.0" encoding="UTF-8" standalone="yes"?>
<Relationships xmlns="http://schemas.openxmlformats.org/package/2006/relationships"><Relationship Id="rId3" Type="http://schemas.openxmlformats.org/officeDocument/2006/relationships/image" Target="../media/image218.jpeg"/><Relationship Id="rId2" Type="http://schemas.openxmlformats.org/officeDocument/2006/relationships/slideLayout" Target="../slideLayouts/slideLayout242.xml"/><Relationship Id="rId1" Type="http://schemas.openxmlformats.org/officeDocument/2006/relationships/tags" Target="../tags/tag92.xml"/><Relationship Id="rId6" Type="http://schemas.openxmlformats.org/officeDocument/2006/relationships/image" Target="../media/image220.png"/><Relationship Id="rId5" Type="http://schemas.openxmlformats.org/officeDocument/2006/relationships/image" Target="../media/image219.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14.xml"/><Relationship Id="rId1" Type="http://schemas.openxmlformats.org/officeDocument/2006/relationships/slideLayout" Target="../slideLayouts/slideLayout226.xml"/><Relationship Id="rId6" Type="http://schemas.openxmlformats.org/officeDocument/2006/relationships/image" Target="../media/image224.png"/><Relationship Id="rId5" Type="http://schemas.openxmlformats.org/officeDocument/2006/relationships/image" Target="../media/image223.png"/><Relationship Id="rId4" Type="http://schemas.openxmlformats.org/officeDocument/2006/relationships/image" Target="../media/image222.png"/></Relationships>
</file>

<file path=ppt/slides/_rels/slide22.xml.rels><?xml version="1.0" encoding="UTF-8" standalone="yes"?>
<Relationships xmlns="http://schemas.openxmlformats.org/package/2006/relationships"><Relationship Id="rId8" Type="http://schemas.openxmlformats.org/officeDocument/2006/relationships/image" Target="../media/image228.png"/><Relationship Id="rId3" Type="http://schemas.openxmlformats.org/officeDocument/2006/relationships/notesSlide" Target="../notesSlides/notesSlide15.xml"/><Relationship Id="rId7" Type="http://schemas.openxmlformats.org/officeDocument/2006/relationships/image" Target="../media/image227.png"/><Relationship Id="rId2" Type="http://schemas.openxmlformats.org/officeDocument/2006/relationships/slideLayout" Target="../slideLayouts/slideLayout29.xml"/><Relationship Id="rId1" Type="http://schemas.openxmlformats.org/officeDocument/2006/relationships/tags" Target="../tags/tag93.xml"/><Relationship Id="rId6" Type="http://schemas.openxmlformats.org/officeDocument/2006/relationships/image" Target="../media/image226.png"/><Relationship Id="rId5" Type="http://schemas.openxmlformats.org/officeDocument/2006/relationships/image" Target="../media/image225.emf"/><Relationship Id="rId4" Type="http://schemas.openxmlformats.org/officeDocument/2006/relationships/oleObject" Target="../embeddings/oleObject25.bin"/><Relationship Id="rId9" Type="http://schemas.microsoft.com/office/2007/relationships/hdphoto" Target="../media/hdphoto2.wdp"/></Relationships>
</file>

<file path=ppt/slides/_rels/slide23.xml.rels><?xml version="1.0" encoding="UTF-8" standalone="yes"?>
<Relationships xmlns="http://schemas.openxmlformats.org/package/2006/relationships"><Relationship Id="rId8" Type="http://schemas.openxmlformats.org/officeDocument/2006/relationships/image" Target="../media/image231.png"/><Relationship Id="rId3" Type="http://schemas.openxmlformats.org/officeDocument/2006/relationships/notesSlide" Target="../notesSlides/notesSlide16.xml"/><Relationship Id="rId7" Type="http://schemas.openxmlformats.org/officeDocument/2006/relationships/image" Target="../media/image230.png"/><Relationship Id="rId2" Type="http://schemas.openxmlformats.org/officeDocument/2006/relationships/slideLayout" Target="../slideLayouts/slideLayout29.xml"/><Relationship Id="rId1" Type="http://schemas.openxmlformats.org/officeDocument/2006/relationships/tags" Target="../tags/tag94.xml"/><Relationship Id="rId6" Type="http://schemas.openxmlformats.org/officeDocument/2006/relationships/image" Target="../media/image229.png"/><Relationship Id="rId5" Type="http://schemas.openxmlformats.org/officeDocument/2006/relationships/image" Target="../media/image225.emf"/><Relationship Id="rId4" Type="http://schemas.openxmlformats.org/officeDocument/2006/relationships/oleObject" Target="../embeddings/oleObject26.bin"/></Relationships>
</file>

<file path=ppt/slides/_rels/slide24.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slideLayout" Target="../slideLayouts/slideLayout75.xml"/><Relationship Id="rId18" Type="http://schemas.openxmlformats.org/officeDocument/2006/relationships/image" Target="../media/image234.png"/><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image" Target="../media/image233.png"/><Relationship Id="rId2" Type="http://schemas.openxmlformats.org/officeDocument/2006/relationships/tags" Target="../tags/tag96.xml"/><Relationship Id="rId16" Type="http://schemas.openxmlformats.org/officeDocument/2006/relationships/chart" Target="../charts/chart7.xml"/><Relationship Id="rId20" Type="http://schemas.openxmlformats.org/officeDocument/2006/relationships/image" Target="../media/image236.png"/><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tags" Target="../tags/tag105.xml"/><Relationship Id="rId5" Type="http://schemas.openxmlformats.org/officeDocument/2006/relationships/tags" Target="../tags/tag99.xml"/><Relationship Id="rId15" Type="http://schemas.openxmlformats.org/officeDocument/2006/relationships/image" Target="../media/image232.emf"/><Relationship Id="rId10" Type="http://schemas.openxmlformats.org/officeDocument/2006/relationships/tags" Target="../tags/tag104.xml"/><Relationship Id="rId19" Type="http://schemas.openxmlformats.org/officeDocument/2006/relationships/image" Target="../media/image235.png"/><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8" Type="http://schemas.openxmlformats.org/officeDocument/2006/relationships/image" Target="../media/image239.png"/><Relationship Id="rId3" Type="http://schemas.openxmlformats.org/officeDocument/2006/relationships/oleObject" Target="../embeddings/oleObject28.bin"/><Relationship Id="rId7" Type="http://schemas.openxmlformats.org/officeDocument/2006/relationships/chart" Target="../charts/chart9.xml"/><Relationship Id="rId2" Type="http://schemas.openxmlformats.org/officeDocument/2006/relationships/slideLayout" Target="../slideLayouts/slideLayout225.xml"/><Relationship Id="rId1" Type="http://schemas.openxmlformats.org/officeDocument/2006/relationships/tags" Target="../tags/tag107.xml"/><Relationship Id="rId6" Type="http://schemas.openxmlformats.org/officeDocument/2006/relationships/image" Target="../media/image238.png"/><Relationship Id="rId5" Type="http://schemas.openxmlformats.org/officeDocument/2006/relationships/chart" Target="../charts/chart8.xml"/><Relationship Id="rId10" Type="http://schemas.openxmlformats.org/officeDocument/2006/relationships/image" Target="../media/image234.png"/><Relationship Id="rId4" Type="http://schemas.openxmlformats.org/officeDocument/2006/relationships/image" Target="../media/image237.emf"/><Relationship Id="rId9" Type="http://schemas.openxmlformats.org/officeDocument/2006/relationships/image" Target="../media/image233.png"/></Relationships>
</file>

<file path=ppt/slides/_rels/slide26.xml.rels><?xml version="1.0" encoding="UTF-8" standalone="yes"?>
<Relationships xmlns="http://schemas.openxmlformats.org/package/2006/relationships"><Relationship Id="rId8" Type="http://schemas.openxmlformats.org/officeDocument/2006/relationships/chart" Target="../charts/chart12.xml"/><Relationship Id="rId13" Type="http://schemas.openxmlformats.org/officeDocument/2006/relationships/chart" Target="../charts/chart17.xml"/><Relationship Id="rId3" Type="http://schemas.openxmlformats.org/officeDocument/2006/relationships/notesSlide" Target="../notesSlides/notesSlide17.xml"/><Relationship Id="rId7" Type="http://schemas.openxmlformats.org/officeDocument/2006/relationships/chart" Target="../charts/chart11.xml"/><Relationship Id="rId12" Type="http://schemas.openxmlformats.org/officeDocument/2006/relationships/chart" Target="../charts/chart16.xml"/><Relationship Id="rId2" Type="http://schemas.openxmlformats.org/officeDocument/2006/relationships/slideLayout" Target="../slideLayouts/slideLayout270.xml"/><Relationship Id="rId1" Type="http://schemas.openxmlformats.org/officeDocument/2006/relationships/tags" Target="../tags/tag108.xml"/><Relationship Id="rId6" Type="http://schemas.openxmlformats.org/officeDocument/2006/relationships/chart" Target="../charts/chart10.xml"/><Relationship Id="rId11" Type="http://schemas.openxmlformats.org/officeDocument/2006/relationships/chart" Target="../charts/chart15.xml"/><Relationship Id="rId5" Type="http://schemas.openxmlformats.org/officeDocument/2006/relationships/image" Target="../media/image240.emf"/><Relationship Id="rId15" Type="http://schemas.openxmlformats.org/officeDocument/2006/relationships/chart" Target="../charts/chart19.xml"/><Relationship Id="rId10" Type="http://schemas.openxmlformats.org/officeDocument/2006/relationships/chart" Target="../charts/chart14.xml"/><Relationship Id="rId4" Type="http://schemas.openxmlformats.org/officeDocument/2006/relationships/oleObject" Target="../embeddings/oleObject29.bin"/><Relationship Id="rId9" Type="http://schemas.openxmlformats.org/officeDocument/2006/relationships/chart" Target="../charts/chart13.xml"/><Relationship Id="rId14" Type="http://schemas.openxmlformats.org/officeDocument/2006/relationships/chart" Target="../charts/chart1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220.png"/><Relationship Id="rId2" Type="http://schemas.openxmlformats.org/officeDocument/2006/relationships/slideLayout" Target="../slideLayouts/slideLayout59.xml"/><Relationship Id="rId1" Type="http://schemas.openxmlformats.org/officeDocument/2006/relationships/tags" Target="../tags/tag109.xml"/><Relationship Id="rId6" Type="http://schemas.openxmlformats.org/officeDocument/2006/relationships/image" Target="../media/image190.emf"/><Relationship Id="rId5" Type="http://schemas.openxmlformats.org/officeDocument/2006/relationships/oleObject" Target="../embeddings/oleObject30.bin"/><Relationship Id="rId4" Type="http://schemas.openxmlformats.org/officeDocument/2006/relationships/image" Target="../media/image241.jpeg"/></Relationships>
</file>

<file path=ppt/slides/_rels/slide28.xml.rels><?xml version="1.0" encoding="UTF-8" standalone="yes"?>
<Relationships xmlns="http://schemas.openxmlformats.org/package/2006/relationships"><Relationship Id="rId8" Type="http://schemas.openxmlformats.org/officeDocument/2006/relationships/image" Target="../media/image245.png"/><Relationship Id="rId3" Type="http://schemas.openxmlformats.org/officeDocument/2006/relationships/notesSlide" Target="../notesSlides/notesSlide19.xml"/><Relationship Id="rId7" Type="http://schemas.openxmlformats.org/officeDocument/2006/relationships/image" Target="../media/image244.png"/><Relationship Id="rId2" Type="http://schemas.openxmlformats.org/officeDocument/2006/relationships/slideLayout" Target="../slideLayouts/slideLayout75.xml"/><Relationship Id="rId1" Type="http://schemas.openxmlformats.org/officeDocument/2006/relationships/tags" Target="../tags/tag110.xml"/><Relationship Id="rId6" Type="http://schemas.openxmlformats.org/officeDocument/2006/relationships/image" Target="../media/image243.png"/><Relationship Id="rId5" Type="http://schemas.openxmlformats.org/officeDocument/2006/relationships/image" Target="../media/image242.emf"/><Relationship Id="rId4" Type="http://schemas.openxmlformats.org/officeDocument/2006/relationships/oleObject" Target="../embeddings/oleObject31.bin"/><Relationship Id="rId9" Type="http://schemas.openxmlformats.org/officeDocument/2006/relationships/image" Target="../media/image246.png"/></Relationships>
</file>

<file path=ppt/slides/_rels/slide29.xml.rels><?xml version="1.0" encoding="UTF-8" standalone="yes"?>
<Relationships xmlns="http://schemas.openxmlformats.org/package/2006/relationships"><Relationship Id="rId3" Type="http://schemas.openxmlformats.org/officeDocument/2006/relationships/image" Target="../media/image247.jpeg"/><Relationship Id="rId2" Type="http://schemas.openxmlformats.org/officeDocument/2006/relationships/slideLayout" Target="../slideLayouts/slideLayout173.xml"/><Relationship Id="rId1" Type="http://schemas.openxmlformats.org/officeDocument/2006/relationships/tags" Target="../tags/tag111.xml"/><Relationship Id="rId6" Type="http://schemas.openxmlformats.org/officeDocument/2006/relationships/image" Target="../media/image220.png"/><Relationship Id="rId5" Type="http://schemas.openxmlformats.org/officeDocument/2006/relationships/image" Target="../media/image219.emf"/><Relationship Id="rId4" Type="http://schemas.openxmlformats.org/officeDocument/2006/relationships/oleObject" Target="../embeddings/oleObject32.bin"/></Relationships>
</file>

<file path=ppt/slides/_rels/slide3.xml.rels><?xml version="1.0" encoding="UTF-8" standalone="yes"?>
<Relationships xmlns="http://schemas.openxmlformats.org/package/2006/relationships"><Relationship Id="rId8" Type="http://schemas.openxmlformats.org/officeDocument/2006/relationships/image" Target="../media/image84.svg"/><Relationship Id="rId13" Type="http://schemas.openxmlformats.org/officeDocument/2006/relationships/image" Target="../media/image89.svg"/><Relationship Id="rId3" Type="http://schemas.openxmlformats.org/officeDocument/2006/relationships/notesSlide" Target="../notesSlides/notesSlide3.xml"/><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slideLayout" Target="../slideLayouts/slideLayout225.xml"/><Relationship Id="rId1" Type="http://schemas.openxmlformats.org/officeDocument/2006/relationships/tags" Target="../tags/tag11.xml"/><Relationship Id="rId6" Type="http://schemas.openxmlformats.org/officeDocument/2006/relationships/image" Target="../media/image39.emf"/><Relationship Id="rId11" Type="http://schemas.openxmlformats.org/officeDocument/2006/relationships/image" Target="../media/image87.svg"/><Relationship Id="rId5" Type="http://schemas.openxmlformats.org/officeDocument/2006/relationships/oleObject" Target="../embeddings/oleObject9.bin"/><Relationship Id="rId15" Type="http://schemas.openxmlformats.org/officeDocument/2006/relationships/image" Target="../media/image91.svg"/><Relationship Id="rId10" Type="http://schemas.openxmlformats.org/officeDocument/2006/relationships/image" Target="../media/image86.png"/><Relationship Id="rId4" Type="http://schemas.openxmlformats.org/officeDocument/2006/relationships/image" Target="../media/image82.jpeg"/><Relationship Id="rId9" Type="http://schemas.openxmlformats.org/officeDocument/2006/relationships/image" Target="../media/image85.jpeg"/><Relationship Id="rId14" Type="http://schemas.openxmlformats.org/officeDocument/2006/relationships/image" Target="../media/image90.png"/></Relationships>
</file>

<file path=ppt/slides/_rels/slide30.xml.rels><?xml version="1.0" encoding="UTF-8" standalone="yes"?>
<Relationships xmlns="http://schemas.openxmlformats.org/package/2006/relationships"><Relationship Id="rId8" Type="http://schemas.openxmlformats.org/officeDocument/2006/relationships/image" Target="../media/image248.png"/><Relationship Id="rId13" Type="http://schemas.openxmlformats.org/officeDocument/2006/relationships/image" Target="../media/image253.png"/><Relationship Id="rId3" Type="http://schemas.openxmlformats.org/officeDocument/2006/relationships/notesSlide" Target="../notesSlides/notesSlide20.xml"/><Relationship Id="rId7" Type="http://schemas.openxmlformats.org/officeDocument/2006/relationships/image" Target="../media/image245.png"/><Relationship Id="rId12" Type="http://schemas.openxmlformats.org/officeDocument/2006/relationships/image" Target="../media/image252.png"/><Relationship Id="rId2" Type="http://schemas.openxmlformats.org/officeDocument/2006/relationships/slideLayout" Target="../slideLayouts/slideLayout76.xml"/><Relationship Id="rId16" Type="http://schemas.openxmlformats.org/officeDocument/2006/relationships/image" Target="../media/image256.png"/><Relationship Id="rId1" Type="http://schemas.openxmlformats.org/officeDocument/2006/relationships/tags" Target="../tags/tag112.xml"/><Relationship Id="rId6" Type="http://schemas.openxmlformats.org/officeDocument/2006/relationships/image" Target="../media/image244.png"/><Relationship Id="rId11" Type="http://schemas.openxmlformats.org/officeDocument/2006/relationships/image" Target="../media/image251.png"/><Relationship Id="rId5" Type="http://schemas.openxmlformats.org/officeDocument/2006/relationships/image" Target="../media/image199.emf"/><Relationship Id="rId15" Type="http://schemas.openxmlformats.org/officeDocument/2006/relationships/image" Target="../media/image255.svg"/><Relationship Id="rId10" Type="http://schemas.openxmlformats.org/officeDocument/2006/relationships/image" Target="../media/image250.png"/><Relationship Id="rId4" Type="http://schemas.openxmlformats.org/officeDocument/2006/relationships/oleObject" Target="../embeddings/oleObject33.bin"/><Relationship Id="rId9" Type="http://schemas.openxmlformats.org/officeDocument/2006/relationships/image" Target="../media/image249.svg"/><Relationship Id="rId14" Type="http://schemas.openxmlformats.org/officeDocument/2006/relationships/image" Target="../media/image254.png"/></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26.xml"/><Relationship Id="rId1" Type="http://schemas.openxmlformats.org/officeDocument/2006/relationships/tags" Target="../tags/tag113.xml"/><Relationship Id="rId6" Type="http://schemas.openxmlformats.org/officeDocument/2006/relationships/image" Target="../media/image245.png"/><Relationship Id="rId5" Type="http://schemas.openxmlformats.org/officeDocument/2006/relationships/image" Target="../media/image244.png"/><Relationship Id="rId4" Type="http://schemas.openxmlformats.org/officeDocument/2006/relationships/image" Target="../media/image199.emf"/></Relationships>
</file>

<file path=ppt/slides/_rels/slide32.xml.rels><?xml version="1.0" encoding="UTF-8" standalone="yes"?>
<Relationships xmlns="http://schemas.openxmlformats.org/package/2006/relationships"><Relationship Id="rId8" Type="http://schemas.openxmlformats.org/officeDocument/2006/relationships/image" Target="../media/image260.png"/><Relationship Id="rId13" Type="http://schemas.openxmlformats.org/officeDocument/2006/relationships/image" Target="../media/image265.png"/><Relationship Id="rId3" Type="http://schemas.openxmlformats.org/officeDocument/2006/relationships/notesSlide" Target="../notesSlides/notesSlide21.xml"/><Relationship Id="rId7" Type="http://schemas.openxmlformats.org/officeDocument/2006/relationships/image" Target="../media/image259.png"/><Relationship Id="rId12" Type="http://schemas.openxmlformats.org/officeDocument/2006/relationships/image" Target="../media/image264.png"/><Relationship Id="rId2" Type="http://schemas.openxmlformats.org/officeDocument/2006/relationships/slideLayout" Target="../slideLayouts/slideLayout76.xml"/><Relationship Id="rId16" Type="http://schemas.openxmlformats.org/officeDocument/2006/relationships/image" Target="../media/image266.png"/><Relationship Id="rId1" Type="http://schemas.openxmlformats.org/officeDocument/2006/relationships/tags" Target="../tags/tag114.xml"/><Relationship Id="rId6" Type="http://schemas.openxmlformats.org/officeDocument/2006/relationships/image" Target="../media/image258.png"/><Relationship Id="rId11" Type="http://schemas.openxmlformats.org/officeDocument/2006/relationships/image" Target="../media/image263.png"/><Relationship Id="rId5" Type="http://schemas.openxmlformats.org/officeDocument/2006/relationships/image" Target="../media/image257.emf"/><Relationship Id="rId15" Type="http://schemas.openxmlformats.org/officeDocument/2006/relationships/image" Target="../media/image132.png"/><Relationship Id="rId10" Type="http://schemas.openxmlformats.org/officeDocument/2006/relationships/image" Target="../media/image262.png"/><Relationship Id="rId4" Type="http://schemas.openxmlformats.org/officeDocument/2006/relationships/oleObject" Target="../embeddings/oleObject35.bin"/><Relationship Id="rId9" Type="http://schemas.openxmlformats.org/officeDocument/2006/relationships/image" Target="../media/image261.png"/><Relationship Id="rId14" Type="http://schemas.openxmlformats.org/officeDocument/2006/relationships/image" Target="../media/image140.png"/></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173.xml"/><Relationship Id="rId1" Type="http://schemas.openxmlformats.org/officeDocument/2006/relationships/tags" Target="../tags/tag115.xml"/><Relationship Id="rId6" Type="http://schemas.openxmlformats.org/officeDocument/2006/relationships/image" Target="../media/image220.png"/><Relationship Id="rId5" Type="http://schemas.openxmlformats.org/officeDocument/2006/relationships/image" Target="../media/image267.jpeg"/><Relationship Id="rId4" Type="http://schemas.openxmlformats.org/officeDocument/2006/relationships/image" Target="../media/image219.emf"/></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94.xml"/><Relationship Id="rId1" Type="http://schemas.openxmlformats.org/officeDocument/2006/relationships/tags" Target="../tags/tag116.xml"/><Relationship Id="rId6" Type="http://schemas.openxmlformats.org/officeDocument/2006/relationships/image" Target="../media/image246.png"/><Relationship Id="rId5" Type="http://schemas.openxmlformats.org/officeDocument/2006/relationships/image" Target="../media/image199.emf"/><Relationship Id="rId4" Type="http://schemas.openxmlformats.org/officeDocument/2006/relationships/oleObject" Target="../embeddings/oleObject37.bin"/></Relationships>
</file>

<file path=ppt/slides/_rels/slide35.xml.rels><?xml version="1.0" encoding="UTF-8" standalone="yes"?>
<Relationships xmlns="http://schemas.openxmlformats.org/package/2006/relationships"><Relationship Id="rId8" Type="http://schemas.openxmlformats.org/officeDocument/2006/relationships/image" Target="../media/image270.jpeg"/><Relationship Id="rId3" Type="http://schemas.openxmlformats.org/officeDocument/2006/relationships/notesSlide" Target="../notesSlides/notesSlide23.xml"/><Relationship Id="rId7" Type="http://schemas.openxmlformats.org/officeDocument/2006/relationships/image" Target="../media/image269.png"/><Relationship Id="rId2" Type="http://schemas.openxmlformats.org/officeDocument/2006/relationships/slideLayout" Target="../slideLayouts/slideLayout194.xml"/><Relationship Id="rId1" Type="http://schemas.openxmlformats.org/officeDocument/2006/relationships/tags" Target="../tags/tag117.xml"/><Relationship Id="rId6" Type="http://schemas.openxmlformats.org/officeDocument/2006/relationships/image" Target="../media/image268.png"/><Relationship Id="rId5" Type="http://schemas.openxmlformats.org/officeDocument/2006/relationships/image" Target="../media/image199.emf"/><Relationship Id="rId4" Type="http://schemas.openxmlformats.org/officeDocument/2006/relationships/oleObject" Target="../embeddings/oleObject38.bin"/></Relationships>
</file>

<file path=ppt/slides/_rels/slide36.xml.rels><?xml version="1.0" encoding="UTF-8" standalone="yes"?>
<Relationships xmlns="http://schemas.openxmlformats.org/package/2006/relationships"><Relationship Id="rId8" Type="http://schemas.openxmlformats.org/officeDocument/2006/relationships/image" Target="../media/image274.png"/><Relationship Id="rId3" Type="http://schemas.openxmlformats.org/officeDocument/2006/relationships/notesSlide" Target="../notesSlides/notesSlide24.xml"/><Relationship Id="rId7" Type="http://schemas.openxmlformats.org/officeDocument/2006/relationships/image" Target="../media/image273.png"/><Relationship Id="rId12" Type="http://schemas.openxmlformats.org/officeDocument/2006/relationships/image" Target="../media/image278.svg"/><Relationship Id="rId2" Type="http://schemas.openxmlformats.org/officeDocument/2006/relationships/slideLayout" Target="../slideLayouts/slideLayout193.xml"/><Relationship Id="rId1" Type="http://schemas.openxmlformats.org/officeDocument/2006/relationships/tags" Target="../tags/tag118.xml"/><Relationship Id="rId6" Type="http://schemas.openxmlformats.org/officeDocument/2006/relationships/image" Target="../media/image272.png"/><Relationship Id="rId11" Type="http://schemas.openxmlformats.org/officeDocument/2006/relationships/image" Target="../media/image277.png"/><Relationship Id="rId5" Type="http://schemas.openxmlformats.org/officeDocument/2006/relationships/image" Target="../media/image271.emf"/><Relationship Id="rId10" Type="http://schemas.openxmlformats.org/officeDocument/2006/relationships/image" Target="../media/image276.png"/><Relationship Id="rId4" Type="http://schemas.openxmlformats.org/officeDocument/2006/relationships/oleObject" Target="../embeddings/oleObject39.bin"/><Relationship Id="rId9" Type="http://schemas.openxmlformats.org/officeDocument/2006/relationships/image" Target="../media/image275.png"/></Relationships>
</file>

<file path=ppt/slides/_rels/slide37.xml.rels><?xml version="1.0" encoding="UTF-8" standalone="yes"?>
<Relationships xmlns="http://schemas.openxmlformats.org/package/2006/relationships"><Relationship Id="rId8" Type="http://schemas.openxmlformats.org/officeDocument/2006/relationships/image" Target="../media/image282.png"/><Relationship Id="rId3" Type="http://schemas.openxmlformats.org/officeDocument/2006/relationships/notesSlide" Target="../notesSlides/notesSlide25.xml"/><Relationship Id="rId7" Type="http://schemas.openxmlformats.org/officeDocument/2006/relationships/image" Target="../media/image281.png"/><Relationship Id="rId2" Type="http://schemas.openxmlformats.org/officeDocument/2006/relationships/slideLayout" Target="../slideLayouts/slideLayout225.xml"/><Relationship Id="rId1" Type="http://schemas.openxmlformats.org/officeDocument/2006/relationships/tags" Target="../tags/tag119.xml"/><Relationship Id="rId6" Type="http://schemas.openxmlformats.org/officeDocument/2006/relationships/image" Target="../media/image280.png"/><Relationship Id="rId11" Type="http://schemas.openxmlformats.org/officeDocument/2006/relationships/image" Target="../media/image266.png"/><Relationship Id="rId5" Type="http://schemas.openxmlformats.org/officeDocument/2006/relationships/image" Target="../media/image279.emf"/><Relationship Id="rId10" Type="http://schemas.openxmlformats.org/officeDocument/2006/relationships/image" Target="../media/image283.png"/><Relationship Id="rId4" Type="http://schemas.openxmlformats.org/officeDocument/2006/relationships/oleObject" Target="../embeddings/oleObject40.bin"/><Relationship Id="rId9" Type="http://schemas.openxmlformats.org/officeDocument/2006/relationships/image" Target="../media/image140.png"/></Relationships>
</file>

<file path=ppt/slides/_rels/slide38.xml.rels><?xml version="1.0" encoding="UTF-8" standalone="yes"?>
<Relationships xmlns="http://schemas.openxmlformats.org/package/2006/relationships"><Relationship Id="rId8" Type="http://schemas.openxmlformats.org/officeDocument/2006/relationships/image" Target="../media/image287.jpeg"/><Relationship Id="rId3" Type="http://schemas.openxmlformats.org/officeDocument/2006/relationships/notesSlide" Target="../notesSlides/notesSlide26.xml"/><Relationship Id="rId7" Type="http://schemas.openxmlformats.org/officeDocument/2006/relationships/image" Target="../media/image286.jpeg"/><Relationship Id="rId2" Type="http://schemas.openxmlformats.org/officeDocument/2006/relationships/slideLayout" Target="../slideLayouts/slideLayout225.xml"/><Relationship Id="rId1" Type="http://schemas.openxmlformats.org/officeDocument/2006/relationships/tags" Target="../tags/tag120.xml"/><Relationship Id="rId6" Type="http://schemas.openxmlformats.org/officeDocument/2006/relationships/image" Target="../media/image285.png"/><Relationship Id="rId5" Type="http://schemas.openxmlformats.org/officeDocument/2006/relationships/image" Target="../media/image284.emf"/><Relationship Id="rId4" Type="http://schemas.openxmlformats.org/officeDocument/2006/relationships/oleObject" Target="../embeddings/oleObject41.bin"/><Relationship Id="rId9" Type="http://schemas.openxmlformats.org/officeDocument/2006/relationships/image" Target="../media/image288.jpeg"/></Relationships>
</file>

<file path=ppt/slides/_rels/slide39.xml.rels><?xml version="1.0" encoding="UTF-8" standalone="yes"?>
<Relationships xmlns="http://schemas.openxmlformats.org/package/2006/relationships"><Relationship Id="rId3" Type="http://schemas.openxmlformats.org/officeDocument/2006/relationships/image" Target="../media/image218.jpeg"/><Relationship Id="rId2" Type="http://schemas.openxmlformats.org/officeDocument/2006/relationships/slideLayout" Target="../slideLayouts/slideLayout173.xml"/><Relationship Id="rId1" Type="http://schemas.openxmlformats.org/officeDocument/2006/relationships/tags" Target="../tags/tag121.xml"/><Relationship Id="rId6" Type="http://schemas.openxmlformats.org/officeDocument/2006/relationships/image" Target="../media/image220.png"/><Relationship Id="rId5" Type="http://schemas.openxmlformats.org/officeDocument/2006/relationships/image" Target="../media/image219.emf"/><Relationship Id="rId4" Type="http://schemas.openxmlformats.org/officeDocument/2006/relationships/oleObject" Target="../embeddings/oleObject42.bin"/></Relationships>
</file>

<file path=ppt/slides/_rels/slide4.xml.rels><?xml version="1.0" encoding="UTF-8" standalone="yes"?>
<Relationships xmlns="http://schemas.openxmlformats.org/package/2006/relationships"><Relationship Id="rId8" Type="http://schemas.openxmlformats.org/officeDocument/2006/relationships/image" Target="../media/image97.svg"/><Relationship Id="rId13" Type="http://schemas.openxmlformats.org/officeDocument/2006/relationships/image" Target="../media/image102.png"/><Relationship Id="rId18" Type="http://schemas.openxmlformats.org/officeDocument/2006/relationships/image" Target="../media/image107.svg"/><Relationship Id="rId3" Type="http://schemas.openxmlformats.org/officeDocument/2006/relationships/image" Target="../media/image92.png"/><Relationship Id="rId7" Type="http://schemas.openxmlformats.org/officeDocument/2006/relationships/image" Target="../media/image96.png"/><Relationship Id="rId12" Type="http://schemas.openxmlformats.org/officeDocument/2006/relationships/image" Target="../media/image101.svg"/><Relationship Id="rId17" Type="http://schemas.openxmlformats.org/officeDocument/2006/relationships/image" Target="../media/image106.png"/><Relationship Id="rId2" Type="http://schemas.openxmlformats.org/officeDocument/2006/relationships/notesSlide" Target="../notesSlides/notesSlide4.xml"/><Relationship Id="rId16" Type="http://schemas.openxmlformats.org/officeDocument/2006/relationships/image" Target="../media/image105.svg"/><Relationship Id="rId1" Type="http://schemas.openxmlformats.org/officeDocument/2006/relationships/slideLayout" Target="../slideLayouts/slideLayout226.xml"/><Relationship Id="rId6" Type="http://schemas.openxmlformats.org/officeDocument/2006/relationships/image" Target="../media/image95.svg"/><Relationship Id="rId11" Type="http://schemas.openxmlformats.org/officeDocument/2006/relationships/image" Target="../media/image100.png"/><Relationship Id="rId5" Type="http://schemas.openxmlformats.org/officeDocument/2006/relationships/image" Target="../media/image94.png"/><Relationship Id="rId15" Type="http://schemas.openxmlformats.org/officeDocument/2006/relationships/image" Target="../media/image104.png"/><Relationship Id="rId10" Type="http://schemas.openxmlformats.org/officeDocument/2006/relationships/image" Target="../media/image99.png"/><Relationship Id="rId4" Type="http://schemas.openxmlformats.org/officeDocument/2006/relationships/image" Target="../media/image93.svg"/><Relationship Id="rId9" Type="http://schemas.openxmlformats.org/officeDocument/2006/relationships/image" Target="../media/image98.png"/><Relationship Id="rId14" Type="http://schemas.openxmlformats.org/officeDocument/2006/relationships/image" Target="../media/image103.png"/></Relationships>
</file>

<file path=ppt/slides/_rels/slide40.xml.rels><?xml version="1.0" encoding="UTF-8" standalone="yes"?>
<Relationships xmlns="http://schemas.openxmlformats.org/package/2006/relationships"><Relationship Id="rId8" Type="http://schemas.openxmlformats.org/officeDocument/2006/relationships/image" Target="../media/image290.png"/><Relationship Id="rId3" Type="http://schemas.openxmlformats.org/officeDocument/2006/relationships/notesSlide" Target="../notesSlides/notesSlide27.xml"/><Relationship Id="rId7" Type="http://schemas.openxmlformats.org/officeDocument/2006/relationships/image" Target="../media/image289.png"/><Relationship Id="rId2" Type="http://schemas.openxmlformats.org/officeDocument/2006/relationships/slideLayout" Target="../slideLayouts/slideLayout196.xml"/><Relationship Id="rId1" Type="http://schemas.openxmlformats.org/officeDocument/2006/relationships/tags" Target="../tags/tag122.xml"/><Relationship Id="rId6" Type="http://schemas.openxmlformats.org/officeDocument/2006/relationships/image" Target="../media/image243.png"/><Relationship Id="rId5" Type="http://schemas.openxmlformats.org/officeDocument/2006/relationships/image" Target="../media/image199.emf"/><Relationship Id="rId4" Type="http://schemas.openxmlformats.org/officeDocument/2006/relationships/oleObject" Target="../embeddings/oleObject43.bin"/><Relationship Id="rId9" Type="http://schemas.openxmlformats.org/officeDocument/2006/relationships/image" Target="../media/image291.png"/></Relationships>
</file>

<file path=ppt/slides/_rels/slide41.xml.rels><?xml version="1.0" encoding="UTF-8" standalone="yes"?>
<Relationships xmlns="http://schemas.openxmlformats.org/package/2006/relationships"><Relationship Id="rId8" Type="http://schemas.openxmlformats.org/officeDocument/2006/relationships/image" Target="../media/image295.png"/><Relationship Id="rId3" Type="http://schemas.openxmlformats.org/officeDocument/2006/relationships/notesSlide" Target="../notesSlides/notesSlide28.xml"/><Relationship Id="rId7" Type="http://schemas.openxmlformats.org/officeDocument/2006/relationships/image" Target="../media/image294.png"/><Relationship Id="rId2" Type="http://schemas.openxmlformats.org/officeDocument/2006/relationships/slideLayout" Target="../slideLayouts/slideLayout226.xml"/><Relationship Id="rId1" Type="http://schemas.openxmlformats.org/officeDocument/2006/relationships/tags" Target="../tags/tag123.xml"/><Relationship Id="rId6" Type="http://schemas.openxmlformats.org/officeDocument/2006/relationships/image" Target="../media/image293.jpeg"/><Relationship Id="rId5" Type="http://schemas.openxmlformats.org/officeDocument/2006/relationships/image" Target="../media/image292.emf"/><Relationship Id="rId4" Type="http://schemas.openxmlformats.org/officeDocument/2006/relationships/oleObject" Target="../embeddings/oleObject44.bin"/><Relationship Id="rId9" Type="http://schemas.openxmlformats.org/officeDocument/2006/relationships/image" Target="../media/image296.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5.xml"/><Relationship Id="rId1" Type="http://schemas.openxmlformats.org/officeDocument/2006/relationships/tags" Target="../tags/tag124.xml"/><Relationship Id="rId6" Type="http://schemas.openxmlformats.org/officeDocument/2006/relationships/image" Target="../media/image298.png"/><Relationship Id="rId5" Type="http://schemas.openxmlformats.org/officeDocument/2006/relationships/image" Target="../media/image297.emf"/><Relationship Id="rId4" Type="http://schemas.openxmlformats.org/officeDocument/2006/relationships/oleObject" Target="../embeddings/oleObject45.bin"/></Relationships>
</file>

<file path=ppt/slides/_rels/slide43.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30.xml"/><Relationship Id="rId1" Type="http://schemas.openxmlformats.org/officeDocument/2006/relationships/slideLayout" Target="../slideLayouts/slideLayout194.xml"/><Relationship Id="rId4" Type="http://schemas.openxmlformats.org/officeDocument/2006/relationships/image" Target="../media/image300.png"/></Relationships>
</file>

<file path=ppt/slides/_rels/slide44.xml.rels><?xml version="1.0" encoding="UTF-8" standalone="yes"?>
<Relationships xmlns="http://schemas.openxmlformats.org/package/2006/relationships"><Relationship Id="rId8" Type="http://schemas.openxmlformats.org/officeDocument/2006/relationships/image" Target="../media/image283.png"/><Relationship Id="rId3" Type="http://schemas.openxmlformats.org/officeDocument/2006/relationships/notesSlide" Target="../notesSlides/notesSlide31.xml"/><Relationship Id="rId7" Type="http://schemas.openxmlformats.org/officeDocument/2006/relationships/image" Target="../media/image140.png"/><Relationship Id="rId2" Type="http://schemas.openxmlformats.org/officeDocument/2006/relationships/slideLayout" Target="../slideLayouts/slideLayout225.xml"/><Relationship Id="rId1" Type="http://schemas.openxmlformats.org/officeDocument/2006/relationships/tags" Target="../tags/tag125.xml"/><Relationship Id="rId6" Type="http://schemas.openxmlformats.org/officeDocument/2006/relationships/image" Target="../media/image281.png"/><Relationship Id="rId11" Type="http://schemas.openxmlformats.org/officeDocument/2006/relationships/image" Target="../media/image303.png"/><Relationship Id="rId5" Type="http://schemas.openxmlformats.org/officeDocument/2006/relationships/image" Target="../media/image301.emf"/><Relationship Id="rId10" Type="http://schemas.openxmlformats.org/officeDocument/2006/relationships/image" Target="../media/image302.png"/><Relationship Id="rId4" Type="http://schemas.openxmlformats.org/officeDocument/2006/relationships/oleObject" Target="../embeddings/oleObject46.bin"/><Relationship Id="rId9" Type="http://schemas.openxmlformats.org/officeDocument/2006/relationships/image" Target="../media/image266.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220.png"/><Relationship Id="rId2" Type="http://schemas.openxmlformats.org/officeDocument/2006/relationships/slideLayout" Target="../slideLayouts/slideLayout173.xml"/><Relationship Id="rId1" Type="http://schemas.openxmlformats.org/officeDocument/2006/relationships/tags" Target="../tags/tag126.xml"/><Relationship Id="rId6" Type="http://schemas.openxmlformats.org/officeDocument/2006/relationships/image" Target="../media/image56.jpeg"/><Relationship Id="rId5" Type="http://schemas.openxmlformats.org/officeDocument/2006/relationships/image" Target="../media/image219.emf"/><Relationship Id="rId4" Type="http://schemas.openxmlformats.org/officeDocument/2006/relationships/oleObject" Target="../embeddings/oleObject47.bin"/></Relationships>
</file>

<file path=ppt/slides/_rels/slide46.xml.rels><?xml version="1.0" encoding="UTF-8" standalone="yes"?>
<Relationships xmlns="http://schemas.openxmlformats.org/package/2006/relationships"><Relationship Id="rId8" Type="http://schemas.openxmlformats.org/officeDocument/2006/relationships/image" Target="../media/image195.png"/><Relationship Id="rId3" Type="http://schemas.openxmlformats.org/officeDocument/2006/relationships/notesSlide" Target="../notesSlides/notesSlide33.xml"/><Relationship Id="rId7" Type="http://schemas.openxmlformats.org/officeDocument/2006/relationships/image" Target="../media/image194.svg"/><Relationship Id="rId2" Type="http://schemas.openxmlformats.org/officeDocument/2006/relationships/slideLayout" Target="../slideLayouts/slideLayout330.xml"/><Relationship Id="rId1" Type="http://schemas.openxmlformats.org/officeDocument/2006/relationships/tags" Target="../tags/tag127.xml"/><Relationship Id="rId6" Type="http://schemas.openxmlformats.org/officeDocument/2006/relationships/image" Target="../media/image193.png"/><Relationship Id="rId5" Type="http://schemas.openxmlformats.org/officeDocument/2006/relationships/image" Target="../media/image197.emf"/><Relationship Id="rId4" Type="http://schemas.openxmlformats.org/officeDocument/2006/relationships/oleObject" Target="../embeddings/oleObject48.bin"/><Relationship Id="rId9" Type="http://schemas.openxmlformats.org/officeDocument/2006/relationships/image" Target="../media/image198.svg"/></Relationships>
</file>

<file path=ppt/slides/_rels/slide47.xml.rels><?xml version="1.0" encoding="UTF-8" standalone="yes"?>
<Relationships xmlns="http://schemas.openxmlformats.org/package/2006/relationships"><Relationship Id="rId8" Type="http://schemas.openxmlformats.org/officeDocument/2006/relationships/tags" Target="../tags/tag135.xml"/><Relationship Id="rId13" Type="http://schemas.openxmlformats.org/officeDocument/2006/relationships/image" Target="../media/image1.emf"/><Relationship Id="rId3" Type="http://schemas.openxmlformats.org/officeDocument/2006/relationships/tags" Target="../tags/tag130.xml"/><Relationship Id="rId7" Type="http://schemas.openxmlformats.org/officeDocument/2006/relationships/tags" Target="../tags/tag134.xml"/><Relationship Id="rId12" Type="http://schemas.openxmlformats.org/officeDocument/2006/relationships/oleObject" Target="../embeddings/oleObject49.bin"/><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11" Type="http://schemas.openxmlformats.org/officeDocument/2006/relationships/notesSlide" Target="../notesSlides/notesSlide34.xml"/><Relationship Id="rId5" Type="http://schemas.openxmlformats.org/officeDocument/2006/relationships/tags" Target="../tags/tag132.xml"/><Relationship Id="rId10" Type="http://schemas.openxmlformats.org/officeDocument/2006/relationships/slideLayout" Target="../slideLayouts/slideLayout269.xml"/><Relationship Id="rId4" Type="http://schemas.openxmlformats.org/officeDocument/2006/relationships/tags" Target="../tags/tag131.xml"/><Relationship Id="rId9" Type="http://schemas.openxmlformats.org/officeDocument/2006/relationships/tags" Target="../tags/tag136.xml"/><Relationship Id="rId14" Type="http://schemas.openxmlformats.org/officeDocument/2006/relationships/chart" Target="../charts/chart20.xml"/></Relationships>
</file>

<file path=ppt/slides/_rels/slide48.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image" Target="../media/image1.emf"/><Relationship Id="rId3" Type="http://schemas.openxmlformats.org/officeDocument/2006/relationships/tags" Target="../tags/tag139.xml"/><Relationship Id="rId7" Type="http://schemas.openxmlformats.org/officeDocument/2006/relationships/tags" Target="../tags/tag143.xml"/><Relationship Id="rId12" Type="http://schemas.openxmlformats.org/officeDocument/2006/relationships/oleObject" Target="../embeddings/oleObject50.bin"/><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notesSlide" Target="../notesSlides/notesSlide35.xml"/><Relationship Id="rId5" Type="http://schemas.openxmlformats.org/officeDocument/2006/relationships/tags" Target="../tags/tag141.xml"/><Relationship Id="rId10" Type="http://schemas.openxmlformats.org/officeDocument/2006/relationships/slideLayout" Target="../slideLayouts/slideLayout269.xml"/><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chart" Target="../charts/chart21.xml"/></Relationships>
</file>

<file path=ppt/slides/_rels/slide49.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tags" Target="../tags/tag158.xml"/><Relationship Id="rId18" Type="http://schemas.openxmlformats.org/officeDocument/2006/relationships/slideLayout" Target="../slideLayouts/slideLayout269.xml"/><Relationship Id="rId3" Type="http://schemas.openxmlformats.org/officeDocument/2006/relationships/tags" Target="../tags/tag148.xml"/><Relationship Id="rId21" Type="http://schemas.openxmlformats.org/officeDocument/2006/relationships/image" Target="../media/image1.emf"/><Relationship Id="rId7" Type="http://schemas.openxmlformats.org/officeDocument/2006/relationships/tags" Target="../tags/tag152.xml"/><Relationship Id="rId12" Type="http://schemas.openxmlformats.org/officeDocument/2006/relationships/tags" Target="../tags/tag157.xml"/><Relationship Id="rId17" Type="http://schemas.openxmlformats.org/officeDocument/2006/relationships/tags" Target="../tags/tag162.xml"/><Relationship Id="rId2" Type="http://schemas.openxmlformats.org/officeDocument/2006/relationships/tags" Target="../tags/tag147.xml"/><Relationship Id="rId16" Type="http://schemas.openxmlformats.org/officeDocument/2006/relationships/tags" Target="../tags/tag161.xml"/><Relationship Id="rId20" Type="http://schemas.openxmlformats.org/officeDocument/2006/relationships/oleObject" Target="../embeddings/oleObject51.bin"/><Relationship Id="rId1" Type="http://schemas.openxmlformats.org/officeDocument/2006/relationships/tags" Target="../tags/tag146.xml"/><Relationship Id="rId6" Type="http://schemas.openxmlformats.org/officeDocument/2006/relationships/tags" Target="../tags/tag151.xml"/><Relationship Id="rId11" Type="http://schemas.openxmlformats.org/officeDocument/2006/relationships/tags" Target="../tags/tag156.xml"/><Relationship Id="rId5" Type="http://schemas.openxmlformats.org/officeDocument/2006/relationships/tags" Target="../tags/tag150.xml"/><Relationship Id="rId15" Type="http://schemas.openxmlformats.org/officeDocument/2006/relationships/tags" Target="../tags/tag160.xml"/><Relationship Id="rId10" Type="http://schemas.openxmlformats.org/officeDocument/2006/relationships/tags" Target="../tags/tag155.xml"/><Relationship Id="rId19" Type="http://schemas.openxmlformats.org/officeDocument/2006/relationships/notesSlide" Target="../notesSlides/notesSlide36.xml"/><Relationship Id="rId4" Type="http://schemas.openxmlformats.org/officeDocument/2006/relationships/tags" Target="../tags/tag149.xml"/><Relationship Id="rId9" Type="http://schemas.openxmlformats.org/officeDocument/2006/relationships/tags" Target="../tags/tag154.xml"/><Relationship Id="rId14" Type="http://schemas.openxmlformats.org/officeDocument/2006/relationships/tags" Target="../tags/tag159.xml"/><Relationship Id="rId22" Type="http://schemas.openxmlformats.org/officeDocument/2006/relationships/chart" Target="../charts/chart22.xml"/></Relationships>
</file>

<file path=ppt/slides/_rels/slide5.xml.rels><?xml version="1.0" encoding="UTF-8" standalone="yes"?>
<Relationships xmlns="http://schemas.openxmlformats.org/package/2006/relationships"><Relationship Id="rId13" Type="http://schemas.openxmlformats.org/officeDocument/2006/relationships/image" Target="../media/image118.png"/><Relationship Id="rId18" Type="http://schemas.openxmlformats.org/officeDocument/2006/relationships/image" Target="../media/image123.png"/><Relationship Id="rId26" Type="http://schemas.openxmlformats.org/officeDocument/2006/relationships/image" Target="../media/image131.png"/><Relationship Id="rId39" Type="http://schemas.openxmlformats.org/officeDocument/2006/relationships/image" Target="../media/image144.png"/><Relationship Id="rId21" Type="http://schemas.openxmlformats.org/officeDocument/2006/relationships/image" Target="../media/image126.png"/><Relationship Id="rId34" Type="http://schemas.openxmlformats.org/officeDocument/2006/relationships/image" Target="../media/image139.png"/><Relationship Id="rId7" Type="http://schemas.openxmlformats.org/officeDocument/2006/relationships/image" Target="../media/image112.png"/><Relationship Id="rId12" Type="http://schemas.openxmlformats.org/officeDocument/2006/relationships/image" Target="../media/image117.png"/><Relationship Id="rId17" Type="http://schemas.openxmlformats.org/officeDocument/2006/relationships/image" Target="../media/image122.png"/><Relationship Id="rId25" Type="http://schemas.openxmlformats.org/officeDocument/2006/relationships/image" Target="../media/image130.png"/><Relationship Id="rId33" Type="http://schemas.openxmlformats.org/officeDocument/2006/relationships/image" Target="../media/image138.png"/><Relationship Id="rId38" Type="http://schemas.openxmlformats.org/officeDocument/2006/relationships/image" Target="../media/image143.png"/><Relationship Id="rId2" Type="http://schemas.openxmlformats.org/officeDocument/2006/relationships/notesSlide" Target="../notesSlides/notesSlide5.xml"/><Relationship Id="rId16" Type="http://schemas.openxmlformats.org/officeDocument/2006/relationships/image" Target="../media/image121.png"/><Relationship Id="rId20" Type="http://schemas.openxmlformats.org/officeDocument/2006/relationships/image" Target="../media/image125.png"/><Relationship Id="rId29" Type="http://schemas.openxmlformats.org/officeDocument/2006/relationships/image" Target="../media/image134.png"/><Relationship Id="rId1" Type="http://schemas.openxmlformats.org/officeDocument/2006/relationships/slideLayout" Target="../slideLayouts/slideLayout30.xml"/><Relationship Id="rId6" Type="http://schemas.openxmlformats.org/officeDocument/2006/relationships/image" Target="../media/image111.png"/><Relationship Id="rId11" Type="http://schemas.openxmlformats.org/officeDocument/2006/relationships/image" Target="../media/image116.png"/><Relationship Id="rId24" Type="http://schemas.openxmlformats.org/officeDocument/2006/relationships/image" Target="../media/image129.png"/><Relationship Id="rId32" Type="http://schemas.openxmlformats.org/officeDocument/2006/relationships/image" Target="../media/image137.png"/><Relationship Id="rId37" Type="http://schemas.openxmlformats.org/officeDocument/2006/relationships/image" Target="../media/image142.png"/><Relationship Id="rId40" Type="http://schemas.openxmlformats.org/officeDocument/2006/relationships/image" Target="../media/image145.svg"/><Relationship Id="rId5" Type="http://schemas.openxmlformats.org/officeDocument/2006/relationships/image" Target="../media/image110.png"/><Relationship Id="rId15" Type="http://schemas.openxmlformats.org/officeDocument/2006/relationships/image" Target="../media/image120.png"/><Relationship Id="rId23" Type="http://schemas.openxmlformats.org/officeDocument/2006/relationships/image" Target="../media/image128.png"/><Relationship Id="rId28" Type="http://schemas.openxmlformats.org/officeDocument/2006/relationships/image" Target="../media/image133.png"/><Relationship Id="rId36" Type="http://schemas.openxmlformats.org/officeDocument/2006/relationships/image" Target="../media/image141.png"/><Relationship Id="rId10" Type="http://schemas.openxmlformats.org/officeDocument/2006/relationships/image" Target="../media/image115.png"/><Relationship Id="rId19" Type="http://schemas.openxmlformats.org/officeDocument/2006/relationships/image" Target="../media/image124.png"/><Relationship Id="rId31" Type="http://schemas.openxmlformats.org/officeDocument/2006/relationships/image" Target="../media/image136.png"/><Relationship Id="rId4" Type="http://schemas.openxmlformats.org/officeDocument/2006/relationships/image" Target="../media/image109.png"/><Relationship Id="rId9" Type="http://schemas.openxmlformats.org/officeDocument/2006/relationships/image" Target="../media/image114.png"/><Relationship Id="rId14" Type="http://schemas.openxmlformats.org/officeDocument/2006/relationships/image" Target="../media/image119.png"/><Relationship Id="rId22" Type="http://schemas.openxmlformats.org/officeDocument/2006/relationships/image" Target="../media/image127.png"/><Relationship Id="rId27" Type="http://schemas.openxmlformats.org/officeDocument/2006/relationships/image" Target="../media/image132.png"/><Relationship Id="rId30" Type="http://schemas.openxmlformats.org/officeDocument/2006/relationships/image" Target="../media/image135.png"/><Relationship Id="rId35" Type="http://schemas.openxmlformats.org/officeDocument/2006/relationships/image" Target="../media/image140.png"/><Relationship Id="rId8" Type="http://schemas.openxmlformats.org/officeDocument/2006/relationships/image" Target="../media/image113.png"/><Relationship Id="rId3" Type="http://schemas.openxmlformats.org/officeDocument/2006/relationships/image" Target="../media/image108.pn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94.xml"/><Relationship Id="rId1" Type="http://schemas.openxmlformats.org/officeDocument/2006/relationships/tags" Target="../tags/tag163.xml"/><Relationship Id="rId5" Type="http://schemas.openxmlformats.org/officeDocument/2006/relationships/image" Target="../media/image199.emf"/><Relationship Id="rId4" Type="http://schemas.openxmlformats.org/officeDocument/2006/relationships/oleObject" Target="../embeddings/oleObject52.bin"/></Relationships>
</file>

<file path=ppt/slides/_rels/slide51.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slideLayout" Target="../slideLayouts/slideLayout194.xml"/><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tags" Target="../tags/tag175.xml"/><Relationship Id="rId17" Type="http://schemas.openxmlformats.org/officeDocument/2006/relationships/chart" Target="../charts/chart23.xml"/><Relationship Id="rId2" Type="http://schemas.openxmlformats.org/officeDocument/2006/relationships/tags" Target="../tags/tag165.xml"/><Relationship Id="rId16" Type="http://schemas.openxmlformats.org/officeDocument/2006/relationships/image" Target="../media/image199.emf"/><Relationship Id="rId1" Type="http://schemas.openxmlformats.org/officeDocument/2006/relationships/tags" Target="../tags/tag164.xml"/><Relationship Id="rId6" Type="http://schemas.openxmlformats.org/officeDocument/2006/relationships/tags" Target="../tags/tag169.xml"/><Relationship Id="rId11" Type="http://schemas.openxmlformats.org/officeDocument/2006/relationships/tags" Target="../tags/tag174.xml"/><Relationship Id="rId5" Type="http://schemas.openxmlformats.org/officeDocument/2006/relationships/tags" Target="../tags/tag168.xml"/><Relationship Id="rId15" Type="http://schemas.openxmlformats.org/officeDocument/2006/relationships/oleObject" Target="../embeddings/oleObject53.bin"/><Relationship Id="rId10" Type="http://schemas.openxmlformats.org/officeDocument/2006/relationships/tags" Target="../tags/tag173.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notesSlide" Target="../notesSlides/notesSlide38.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69.xml"/><Relationship Id="rId7" Type="http://schemas.openxmlformats.org/officeDocument/2006/relationships/image" Target="../media/image41.emf"/><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oleObject" Target="../embeddings/oleObject54.bin"/><Relationship Id="rId5" Type="http://schemas.openxmlformats.org/officeDocument/2006/relationships/chart" Target="../charts/chart24.xml"/><Relationship Id="rId4" Type="http://schemas.openxmlformats.org/officeDocument/2006/relationships/notesSlide" Target="../notesSlides/notesSlide39.xm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173.xml"/><Relationship Id="rId1" Type="http://schemas.openxmlformats.org/officeDocument/2006/relationships/tags" Target="../tags/tag178.xml"/><Relationship Id="rId6" Type="http://schemas.openxmlformats.org/officeDocument/2006/relationships/image" Target="../media/image220.png"/><Relationship Id="rId5" Type="http://schemas.openxmlformats.org/officeDocument/2006/relationships/image" Target="../media/image56.jpeg"/><Relationship Id="rId4" Type="http://schemas.openxmlformats.org/officeDocument/2006/relationships/image" Target="../media/image219.emf"/></Relationships>
</file>

<file path=ppt/slides/_rels/slide54.xml.rels><?xml version="1.0" encoding="UTF-8" standalone="yes"?>
<Relationships xmlns="http://schemas.openxmlformats.org/package/2006/relationships"><Relationship Id="rId8" Type="http://schemas.openxmlformats.org/officeDocument/2006/relationships/image" Target="../media/image307.png"/><Relationship Id="rId3" Type="http://schemas.openxmlformats.org/officeDocument/2006/relationships/notesSlide" Target="../notesSlides/notesSlide40.xml"/><Relationship Id="rId7" Type="http://schemas.openxmlformats.org/officeDocument/2006/relationships/image" Target="../media/image306.png"/><Relationship Id="rId12" Type="http://schemas.openxmlformats.org/officeDocument/2006/relationships/image" Target="../media/image311.svg"/><Relationship Id="rId2" Type="http://schemas.openxmlformats.org/officeDocument/2006/relationships/slideLayout" Target="../slideLayouts/slideLayout269.xml"/><Relationship Id="rId1" Type="http://schemas.openxmlformats.org/officeDocument/2006/relationships/tags" Target="../tags/tag179.xml"/><Relationship Id="rId6" Type="http://schemas.openxmlformats.org/officeDocument/2006/relationships/image" Target="../media/image305.png"/><Relationship Id="rId11" Type="http://schemas.openxmlformats.org/officeDocument/2006/relationships/image" Target="../media/image310.png"/><Relationship Id="rId5" Type="http://schemas.openxmlformats.org/officeDocument/2006/relationships/image" Target="../media/image304.emf"/><Relationship Id="rId10" Type="http://schemas.openxmlformats.org/officeDocument/2006/relationships/image" Target="../media/image309.svg"/><Relationship Id="rId4" Type="http://schemas.openxmlformats.org/officeDocument/2006/relationships/oleObject" Target="../embeddings/oleObject56.bin"/><Relationship Id="rId9" Type="http://schemas.openxmlformats.org/officeDocument/2006/relationships/image" Target="../media/image308.png"/></Relationships>
</file>

<file path=ppt/slides/_rels/slide55.xml.rels><?xml version="1.0" encoding="UTF-8" standalone="yes"?>
<Relationships xmlns="http://schemas.openxmlformats.org/package/2006/relationships"><Relationship Id="rId8" Type="http://schemas.openxmlformats.org/officeDocument/2006/relationships/image" Target="../media/image316.svg"/><Relationship Id="rId3" Type="http://schemas.openxmlformats.org/officeDocument/2006/relationships/image" Target="../media/image312.jpeg"/><Relationship Id="rId7" Type="http://schemas.openxmlformats.org/officeDocument/2006/relationships/image" Target="../media/image315.png"/><Relationship Id="rId2" Type="http://schemas.openxmlformats.org/officeDocument/2006/relationships/notesSlide" Target="../notesSlides/notesSlide41.xml"/><Relationship Id="rId1" Type="http://schemas.openxmlformats.org/officeDocument/2006/relationships/slideLayout" Target="../slideLayouts/slideLayout194.xml"/><Relationship Id="rId6" Type="http://schemas.openxmlformats.org/officeDocument/2006/relationships/image" Target="../media/image314.svg"/><Relationship Id="rId5" Type="http://schemas.openxmlformats.org/officeDocument/2006/relationships/image" Target="../media/image313.png"/><Relationship Id="rId4" Type="http://schemas.openxmlformats.org/officeDocument/2006/relationships/image" Target="../media/image31.png"/></Relationships>
</file>

<file path=ppt/slides/_rels/slide56.xml.rels><?xml version="1.0" encoding="UTF-8" standalone="yes"?>
<Relationships xmlns="http://schemas.openxmlformats.org/package/2006/relationships"><Relationship Id="rId3" Type="http://schemas.openxmlformats.org/officeDocument/2006/relationships/image" Target="../media/image317.png"/><Relationship Id="rId2" Type="http://schemas.openxmlformats.org/officeDocument/2006/relationships/notesSlide" Target="../notesSlides/notesSlide42.xml"/><Relationship Id="rId1" Type="http://schemas.openxmlformats.org/officeDocument/2006/relationships/slideLayout" Target="../slideLayouts/slideLayout194.xml"/><Relationship Id="rId6" Type="http://schemas.openxmlformats.org/officeDocument/2006/relationships/image" Target="../media/image316.svg"/><Relationship Id="rId5" Type="http://schemas.openxmlformats.org/officeDocument/2006/relationships/image" Target="../media/image315.png"/><Relationship Id="rId4" Type="http://schemas.openxmlformats.org/officeDocument/2006/relationships/image" Target="../media/image318.png"/></Relationships>
</file>

<file path=ppt/slides/_rels/slide57.xml.rels><?xml version="1.0" encoding="UTF-8" standalone="yes"?>
<Relationships xmlns="http://schemas.openxmlformats.org/package/2006/relationships"><Relationship Id="rId8" Type="http://schemas.openxmlformats.org/officeDocument/2006/relationships/image" Target="../media/image244.png"/><Relationship Id="rId13" Type="http://schemas.openxmlformats.org/officeDocument/2006/relationships/image" Target="../media/image323.png"/><Relationship Id="rId3" Type="http://schemas.openxmlformats.org/officeDocument/2006/relationships/notesSlide" Target="../notesSlides/notesSlide43.xml"/><Relationship Id="rId7" Type="http://schemas.openxmlformats.org/officeDocument/2006/relationships/image" Target="../media/image246.png"/><Relationship Id="rId12" Type="http://schemas.openxmlformats.org/officeDocument/2006/relationships/image" Target="../media/image322.png"/><Relationship Id="rId2" Type="http://schemas.openxmlformats.org/officeDocument/2006/relationships/slideLayout" Target="../slideLayouts/slideLayout193.xml"/><Relationship Id="rId1" Type="http://schemas.openxmlformats.org/officeDocument/2006/relationships/tags" Target="../tags/tag180.xml"/><Relationship Id="rId6" Type="http://schemas.openxmlformats.org/officeDocument/2006/relationships/image" Target="../media/image243.png"/><Relationship Id="rId11" Type="http://schemas.openxmlformats.org/officeDocument/2006/relationships/image" Target="../media/image321.png"/><Relationship Id="rId5" Type="http://schemas.openxmlformats.org/officeDocument/2006/relationships/image" Target="../media/image319.emf"/><Relationship Id="rId15" Type="http://schemas.openxmlformats.org/officeDocument/2006/relationships/image" Target="../media/image325.png"/><Relationship Id="rId10" Type="http://schemas.openxmlformats.org/officeDocument/2006/relationships/image" Target="../media/image320.png"/><Relationship Id="rId4" Type="http://schemas.openxmlformats.org/officeDocument/2006/relationships/oleObject" Target="../embeddings/oleObject57.bin"/><Relationship Id="rId9" Type="http://schemas.openxmlformats.org/officeDocument/2006/relationships/image" Target="../media/image245.png"/><Relationship Id="rId14" Type="http://schemas.openxmlformats.org/officeDocument/2006/relationships/image" Target="../media/image324.png"/></Relationships>
</file>

<file path=ppt/slides/_rels/slide58.xml.rels><?xml version="1.0" encoding="UTF-8" standalone="yes"?>
<Relationships xmlns="http://schemas.openxmlformats.org/package/2006/relationships"><Relationship Id="rId3" Type="http://schemas.openxmlformats.org/officeDocument/2006/relationships/image" Target="../media/image326.jpeg"/><Relationship Id="rId2" Type="http://schemas.openxmlformats.org/officeDocument/2006/relationships/slideLayout" Target="../slideLayouts/slideLayout173.xml"/><Relationship Id="rId1" Type="http://schemas.openxmlformats.org/officeDocument/2006/relationships/tags" Target="../tags/tag181.xml"/><Relationship Id="rId6" Type="http://schemas.openxmlformats.org/officeDocument/2006/relationships/image" Target="../media/image220.png"/><Relationship Id="rId5" Type="http://schemas.openxmlformats.org/officeDocument/2006/relationships/image" Target="../media/image219.emf"/><Relationship Id="rId4" Type="http://schemas.openxmlformats.org/officeDocument/2006/relationships/oleObject" Target="../embeddings/oleObject58.bin"/></Relationships>
</file>

<file path=ppt/slides/_rels/slide59.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3" Type="http://schemas.openxmlformats.org/officeDocument/2006/relationships/image" Target="../media/image49.png"/><Relationship Id="rId7" Type="http://schemas.openxmlformats.org/officeDocument/2006/relationships/image" Target="../media/image65.jpeg"/><Relationship Id="rId12" Type="http://schemas.openxmlformats.org/officeDocument/2006/relationships/image" Target="../media/image70.png"/><Relationship Id="rId17" Type="http://schemas.openxmlformats.org/officeDocument/2006/relationships/image" Target="../media/image75.png"/><Relationship Id="rId2" Type="http://schemas.openxmlformats.org/officeDocument/2006/relationships/image" Target="../media/image327.jpeg"/><Relationship Id="rId16" Type="http://schemas.openxmlformats.org/officeDocument/2006/relationships/image" Target="../media/image74.jpeg"/><Relationship Id="rId1" Type="http://schemas.openxmlformats.org/officeDocument/2006/relationships/slideLayout" Target="../slideLayouts/slideLayout253.xml"/><Relationship Id="rId6" Type="http://schemas.openxmlformats.org/officeDocument/2006/relationships/image" Target="../media/image64.jpeg"/><Relationship Id="rId11" Type="http://schemas.openxmlformats.org/officeDocument/2006/relationships/image" Target="../media/image69.png"/><Relationship Id="rId5" Type="http://schemas.openxmlformats.org/officeDocument/2006/relationships/image" Target="../media/image63.png"/><Relationship Id="rId15" Type="http://schemas.openxmlformats.org/officeDocument/2006/relationships/image" Target="../media/image73.png"/><Relationship Id="rId10" Type="http://schemas.openxmlformats.org/officeDocument/2006/relationships/image" Target="../media/image68.jpeg"/><Relationship Id="rId4" Type="http://schemas.openxmlformats.org/officeDocument/2006/relationships/image" Target="../media/image62.png"/><Relationship Id="rId9" Type="http://schemas.openxmlformats.org/officeDocument/2006/relationships/image" Target="../media/image67.png"/><Relationship Id="rId14" Type="http://schemas.openxmlformats.org/officeDocument/2006/relationships/image" Target="../media/image72.svg"/></Relationships>
</file>

<file path=ppt/slides/_rels/slide6.xml.rels><?xml version="1.0" encoding="UTF-8" standalone="yes"?>
<Relationships xmlns="http://schemas.openxmlformats.org/package/2006/relationships"><Relationship Id="rId13" Type="http://schemas.openxmlformats.org/officeDocument/2006/relationships/image" Target="../media/image155.png"/><Relationship Id="rId18" Type="http://schemas.openxmlformats.org/officeDocument/2006/relationships/image" Target="../media/image160.jpeg"/><Relationship Id="rId26" Type="http://schemas.openxmlformats.org/officeDocument/2006/relationships/image" Target="../media/image168.png"/><Relationship Id="rId39" Type="http://schemas.openxmlformats.org/officeDocument/2006/relationships/image" Target="../media/image181.png"/><Relationship Id="rId21" Type="http://schemas.openxmlformats.org/officeDocument/2006/relationships/image" Target="../media/image163.png"/><Relationship Id="rId34" Type="http://schemas.openxmlformats.org/officeDocument/2006/relationships/image" Target="../media/image176.png"/><Relationship Id="rId42" Type="http://schemas.openxmlformats.org/officeDocument/2006/relationships/image" Target="../media/image184.png"/><Relationship Id="rId47" Type="http://schemas.openxmlformats.org/officeDocument/2006/relationships/image" Target="../media/image189.svg"/><Relationship Id="rId7" Type="http://schemas.openxmlformats.org/officeDocument/2006/relationships/image" Target="../media/image149.png"/><Relationship Id="rId2" Type="http://schemas.openxmlformats.org/officeDocument/2006/relationships/slideLayout" Target="../slideLayouts/slideLayout29.xml"/><Relationship Id="rId16" Type="http://schemas.openxmlformats.org/officeDocument/2006/relationships/image" Target="../media/image158.png"/><Relationship Id="rId29" Type="http://schemas.openxmlformats.org/officeDocument/2006/relationships/image" Target="../media/image171.png"/><Relationship Id="rId1" Type="http://schemas.openxmlformats.org/officeDocument/2006/relationships/tags" Target="../tags/tag12.xml"/><Relationship Id="rId6" Type="http://schemas.openxmlformats.org/officeDocument/2006/relationships/image" Target="../media/image148.png"/><Relationship Id="rId11" Type="http://schemas.openxmlformats.org/officeDocument/2006/relationships/image" Target="../media/image153.png"/><Relationship Id="rId24" Type="http://schemas.openxmlformats.org/officeDocument/2006/relationships/image" Target="../media/image166.jpeg"/><Relationship Id="rId32" Type="http://schemas.openxmlformats.org/officeDocument/2006/relationships/image" Target="../media/image174.jpeg"/><Relationship Id="rId37" Type="http://schemas.openxmlformats.org/officeDocument/2006/relationships/image" Target="../media/image179.png"/><Relationship Id="rId40" Type="http://schemas.openxmlformats.org/officeDocument/2006/relationships/image" Target="../media/image182.png"/><Relationship Id="rId45" Type="http://schemas.openxmlformats.org/officeDocument/2006/relationships/image" Target="../media/image187.svg"/><Relationship Id="rId5" Type="http://schemas.openxmlformats.org/officeDocument/2006/relationships/image" Target="../media/image147.jpeg"/><Relationship Id="rId15" Type="http://schemas.openxmlformats.org/officeDocument/2006/relationships/image" Target="../media/image157.png"/><Relationship Id="rId23" Type="http://schemas.openxmlformats.org/officeDocument/2006/relationships/image" Target="../media/image165.svg"/><Relationship Id="rId28" Type="http://schemas.openxmlformats.org/officeDocument/2006/relationships/image" Target="../media/image170.jpeg"/><Relationship Id="rId36" Type="http://schemas.openxmlformats.org/officeDocument/2006/relationships/image" Target="../media/image178.png"/><Relationship Id="rId10" Type="http://schemas.openxmlformats.org/officeDocument/2006/relationships/image" Target="../media/image152.png"/><Relationship Id="rId19" Type="http://schemas.openxmlformats.org/officeDocument/2006/relationships/image" Target="../media/image161.jpeg"/><Relationship Id="rId31" Type="http://schemas.openxmlformats.org/officeDocument/2006/relationships/image" Target="../media/image173.png"/><Relationship Id="rId44" Type="http://schemas.openxmlformats.org/officeDocument/2006/relationships/image" Target="../media/image186.png"/><Relationship Id="rId4" Type="http://schemas.openxmlformats.org/officeDocument/2006/relationships/image" Target="../media/image146.emf"/><Relationship Id="rId9" Type="http://schemas.openxmlformats.org/officeDocument/2006/relationships/image" Target="../media/image151.png"/><Relationship Id="rId14" Type="http://schemas.openxmlformats.org/officeDocument/2006/relationships/image" Target="../media/image156.png"/><Relationship Id="rId22" Type="http://schemas.openxmlformats.org/officeDocument/2006/relationships/image" Target="../media/image164.png"/><Relationship Id="rId27" Type="http://schemas.openxmlformats.org/officeDocument/2006/relationships/image" Target="../media/image169.png"/><Relationship Id="rId30" Type="http://schemas.openxmlformats.org/officeDocument/2006/relationships/image" Target="../media/image172.png"/><Relationship Id="rId35" Type="http://schemas.openxmlformats.org/officeDocument/2006/relationships/image" Target="../media/image177.png"/><Relationship Id="rId43" Type="http://schemas.openxmlformats.org/officeDocument/2006/relationships/image" Target="../media/image185.svg"/><Relationship Id="rId8" Type="http://schemas.openxmlformats.org/officeDocument/2006/relationships/image" Target="../media/image150.png"/><Relationship Id="rId3" Type="http://schemas.openxmlformats.org/officeDocument/2006/relationships/oleObject" Target="../embeddings/oleObject10.bin"/><Relationship Id="rId12" Type="http://schemas.openxmlformats.org/officeDocument/2006/relationships/image" Target="../media/image154.png"/><Relationship Id="rId17" Type="http://schemas.openxmlformats.org/officeDocument/2006/relationships/image" Target="../media/image159.png"/><Relationship Id="rId25" Type="http://schemas.openxmlformats.org/officeDocument/2006/relationships/image" Target="../media/image167.png"/><Relationship Id="rId33" Type="http://schemas.openxmlformats.org/officeDocument/2006/relationships/image" Target="../media/image175.png"/><Relationship Id="rId38" Type="http://schemas.openxmlformats.org/officeDocument/2006/relationships/image" Target="../media/image180.png"/><Relationship Id="rId46" Type="http://schemas.openxmlformats.org/officeDocument/2006/relationships/image" Target="../media/image188.png"/><Relationship Id="rId20" Type="http://schemas.openxmlformats.org/officeDocument/2006/relationships/image" Target="../media/image162.png"/><Relationship Id="rId41" Type="http://schemas.openxmlformats.org/officeDocument/2006/relationships/image" Target="../media/image183.sv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26.png"/><Relationship Id="rId2" Type="http://schemas.openxmlformats.org/officeDocument/2006/relationships/slideLayout" Target="../slideLayouts/slideLayout329.xml"/><Relationship Id="rId1" Type="http://schemas.openxmlformats.org/officeDocument/2006/relationships/tags" Target="../tags/tag13.xml"/><Relationship Id="rId6" Type="http://schemas.openxmlformats.org/officeDocument/2006/relationships/image" Target="../media/image191.jpeg"/><Relationship Id="rId5" Type="http://schemas.openxmlformats.org/officeDocument/2006/relationships/image" Target="../media/image190.emf"/><Relationship Id="rId4" Type="http://schemas.openxmlformats.org/officeDocument/2006/relationships/oleObject" Target="../embeddings/oleObject11.bin"/></Relationships>
</file>

<file path=ppt/slides/_rels/slide8.xml.rels><?xml version="1.0" encoding="UTF-8" standalone="yes"?>
<Relationships xmlns="http://schemas.openxmlformats.org/package/2006/relationships"><Relationship Id="rId8" Type="http://schemas.openxmlformats.org/officeDocument/2006/relationships/image" Target="../media/image195.png"/><Relationship Id="rId3" Type="http://schemas.openxmlformats.org/officeDocument/2006/relationships/notesSlide" Target="../notesSlides/notesSlide7.xml"/><Relationship Id="rId7" Type="http://schemas.openxmlformats.org/officeDocument/2006/relationships/image" Target="../media/image194.svg"/><Relationship Id="rId2" Type="http://schemas.openxmlformats.org/officeDocument/2006/relationships/slideLayout" Target="../slideLayouts/slideLayout270.xml"/><Relationship Id="rId1" Type="http://schemas.openxmlformats.org/officeDocument/2006/relationships/tags" Target="../tags/tag14.xml"/><Relationship Id="rId6" Type="http://schemas.openxmlformats.org/officeDocument/2006/relationships/image" Target="../media/image193.png"/><Relationship Id="rId5" Type="http://schemas.openxmlformats.org/officeDocument/2006/relationships/image" Target="../media/image192.emf"/><Relationship Id="rId4" Type="http://schemas.openxmlformats.org/officeDocument/2006/relationships/oleObject" Target="../embeddings/oleObject12.bin"/><Relationship Id="rId9" Type="http://schemas.openxmlformats.org/officeDocument/2006/relationships/image" Target="../media/image196.svg"/></Relationships>
</file>

<file path=ppt/slides/_rels/slide9.xml.rels><?xml version="1.0" encoding="UTF-8" standalone="yes"?>
<Relationships xmlns="http://schemas.openxmlformats.org/package/2006/relationships"><Relationship Id="rId8" Type="http://schemas.openxmlformats.org/officeDocument/2006/relationships/image" Target="../media/image195.png"/><Relationship Id="rId3" Type="http://schemas.openxmlformats.org/officeDocument/2006/relationships/notesSlide" Target="../notesSlides/notesSlide8.xml"/><Relationship Id="rId7" Type="http://schemas.openxmlformats.org/officeDocument/2006/relationships/image" Target="../media/image194.svg"/><Relationship Id="rId2" Type="http://schemas.openxmlformats.org/officeDocument/2006/relationships/slideLayout" Target="../slideLayouts/slideLayout330.xml"/><Relationship Id="rId1" Type="http://schemas.openxmlformats.org/officeDocument/2006/relationships/tags" Target="../tags/tag15.xml"/><Relationship Id="rId6" Type="http://schemas.openxmlformats.org/officeDocument/2006/relationships/image" Target="../media/image193.png"/><Relationship Id="rId5" Type="http://schemas.openxmlformats.org/officeDocument/2006/relationships/image" Target="../media/image197.emf"/><Relationship Id="rId4" Type="http://schemas.openxmlformats.org/officeDocument/2006/relationships/oleObject" Target="../embeddings/oleObject13.bin"/><Relationship Id="rId9" Type="http://schemas.openxmlformats.org/officeDocument/2006/relationships/image" Target="../media/image198.sv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7CE6970-2244-A97E-BCFE-5FD30D38269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57CE6970-2244-A97E-BCFE-5FD30D38269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 name="Picture 9" descr="A person in a grocery store&#10;&#10;Description automatically generated with low confidence">
            <a:extLst>
              <a:ext uri="{FF2B5EF4-FFF2-40B4-BE49-F238E27FC236}">
                <a16:creationId xmlns:a16="http://schemas.microsoft.com/office/drawing/2014/main" id="{C6B303C3-B303-B676-FCE0-4E1CC7D84E4C}"/>
              </a:ext>
            </a:extLst>
          </p:cNvPr>
          <p:cNvPicPr>
            <a:picLocks noChangeAspect="1"/>
          </p:cNvPicPr>
          <p:nvPr/>
        </p:nvPicPr>
        <p:blipFill rotWithShape="1">
          <a:blip r:embed="rId6" cstate="print">
            <a:alphaModFix amt="21000"/>
            <a:extLst>
              <a:ext uri="{28A0092B-C50C-407E-A947-70E740481C1C}">
                <a14:useLocalDpi xmlns:a14="http://schemas.microsoft.com/office/drawing/2010/main"/>
              </a:ext>
            </a:extLst>
          </a:blip>
          <a:srcRect/>
          <a:stretch/>
        </p:blipFill>
        <p:spPr>
          <a:xfrm flipH="1">
            <a:off x="-16661" y="-16139"/>
            <a:ext cx="12220692" cy="6874139"/>
          </a:xfrm>
          <a:prstGeom prst="rect">
            <a:avLst/>
          </a:prstGeom>
        </p:spPr>
      </p:pic>
      <p:sp>
        <p:nvSpPr>
          <p:cNvPr id="4" name="Title 1">
            <a:extLst>
              <a:ext uri="{FF2B5EF4-FFF2-40B4-BE49-F238E27FC236}">
                <a16:creationId xmlns:a16="http://schemas.microsoft.com/office/drawing/2014/main" id="{B71F8C46-8B36-1CE5-D416-CFE46B3B4FCD}"/>
              </a:ext>
            </a:extLst>
          </p:cNvPr>
          <p:cNvSpPr>
            <a:spLocks noGrp="1"/>
          </p:cNvSpPr>
          <p:nvPr>
            <p:ph type="title"/>
          </p:nvPr>
        </p:nvSpPr>
        <p:spPr>
          <a:xfrm>
            <a:off x="1150991" y="4482937"/>
            <a:ext cx="9418875" cy="982937"/>
          </a:xfrm>
        </p:spPr>
        <p:txBody>
          <a:bodyPr vert="horz"/>
          <a:lstStyle/>
          <a:p>
            <a:r>
              <a:rPr lang="en-GB" sz="4700"/>
              <a:t>Strategy Update Session </a:t>
            </a:r>
            <a:endParaRPr lang="en-US" sz="4700"/>
          </a:p>
        </p:txBody>
      </p:sp>
      <p:sp>
        <p:nvSpPr>
          <p:cNvPr id="5" name="Text Placeholder 2">
            <a:extLst>
              <a:ext uri="{FF2B5EF4-FFF2-40B4-BE49-F238E27FC236}">
                <a16:creationId xmlns:a16="http://schemas.microsoft.com/office/drawing/2014/main" id="{A18ACD2B-31F7-49FF-3331-133380422019}"/>
              </a:ext>
            </a:extLst>
          </p:cNvPr>
          <p:cNvSpPr>
            <a:spLocks noGrp="1"/>
          </p:cNvSpPr>
          <p:nvPr>
            <p:ph type="body" sz="quarter" idx="25"/>
          </p:nvPr>
        </p:nvSpPr>
        <p:spPr>
          <a:xfrm>
            <a:off x="1272645" y="5744690"/>
            <a:ext cx="5730817" cy="1227888"/>
          </a:xfrm>
        </p:spPr>
        <p:txBody>
          <a:bodyPr/>
          <a:lstStyle/>
          <a:p>
            <a:r>
              <a:rPr lang="en-GB" b="1">
                <a:solidFill>
                  <a:schemeClr val="accent2"/>
                </a:solidFill>
                <a:latin typeface="Helvetica" pitchFamily="2" charset="0"/>
              </a:rPr>
              <a:t>25</a:t>
            </a:r>
            <a:r>
              <a:rPr lang="en-GB" sz="1400" b="1">
                <a:solidFill>
                  <a:schemeClr val="accent2"/>
                </a:solidFill>
                <a:latin typeface="Helvetica" pitchFamily="2" charset="0"/>
              </a:rPr>
              <a:t> April 2024</a:t>
            </a:r>
            <a:endParaRPr lang="en-US" sz="1400" b="1">
              <a:solidFill>
                <a:schemeClr val="accent2"/>
              </a:solidFill>
              <a:latin typeface="Helvetica" pitchFamily="2" charset="0"/>
            </a:endParaRPr>
          </a:p>
          <a:p>
            <a:endParaRPr lang="en-US"/>
          </a:p>
        </p:txBody>
      </p:sp>
      <p:pic>
        <p:nvPicPr>
          <p:cNvPr id="17" name="Bilde 5">
            <a:extLst>
              <a:ext uri="{FF2B5EF4-FFF2-40B4-BE49-F238E27FC236}">
                <a16:creationId xmlns:a16="http://schemas.microsoft.com/office/drawing/2014/main" id="{0B2807CC-374E-BF28-9289-9EF1977D444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215170" y="2937450"/>
            <a:ext cx="5109760" cy="893349"/>
          </a:xfrm>
          <a:prstGeom prst="rect">
            <a:avLst/>
          </a:prstGeom>
        </p:spPr>
      </p:pic>
      <p:cxnSp>
        <p:nvCxnSpPr>
          <p:cNvPr id="40" name="Straight Connector 39">
            <a:extLst>
              <a:ext uri="{FF2B5EF4-FFF2-40B4-BE49-F238E27FC236}">
                <a16:creationId xmlns:a16="http://schemas.microsoft.com/office/drawing/2014/main" id="{AA9EFC40-85F5-4F4E-A9FF-AD29E129FFD3}"/>
              </a:ext>
            </a:extLst>
          </p:cNvPr>
          <p:cNvCxnSpPr/>
          <p:nvPr/>
        </p:nvCxnSpPr>
        <p:spPr>
          <a:xfrm>
            <a:off x="1315186" y="5497093"/>
            <a:ext cx="827826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7E58C490-6210-BF82-C733-76315D97E0BB}"/>
              </a:ext>
            </a:extLst>
          </p:cNvPr>
          <p:cNvGrpSpPr/>
          <p:nvPr/>
        </p:nvGrpSpPr>
        <p:grpSpPr>
          <a:xfrm rot="643992">
            <a:off x="8449483" y="644778"/>
            <a:ext cx="2961113" cy="5552304"/>
            <a:chOff x="8640694" y="644778"/>
            <a:chExt cx="2961113" cy="5552304"/>
          </a:xfrm>
        </p:grpSpPr>
        <p:sp>
          <p:nvSpPr>
            <p:cNvPr id="7" name="Rectangle 6">
              <a:extLst>
                <a:ext uri="{FF2B5EF4-FFF2-40B4-BE49-F238E27FC236}">
                  <a16:creationId xmlns:a16="http://schemas.microsoft.com/office/drawing/2014/main" id="{5CEF9873-BE66-A636-5C3E-C0EB3F3A95B4}"/>
                </a:ext>
              </a:extLst>
            </p:cNvPr>
            <p:cNvSpPr/>
            <p:nvPr/>
          </p:nvSpPr>
          <p:spPr>
            <a:xfrm>
              <a:off x="8640695" y="644778"/>
              <a:ext cx="2961112" cy="5552304"/>
            </a:xfrm>
            <a:prstGeom prst="rect">
              <a:avLst/>
            </a:prstGeom>
            <a:gradFill>
              <a:gsLst>
                <a:gs pos="21000">
                  <a:schemeClr val="bg1"/>
                </a:gs>
                <a:gs pos="100000">
                  <a:schemeClr val="bg1">
                    <a:lumMod val="75000"/>
                  </a:schemeClr>
                </a:gs>
                <a:gs pos="70000">
                  <a:srgbClr val="FBFBFB"/>
                </a:gs>
                <a:gs pos="1000">
                  <a:schemeClr val="bg1">
                    <a:lumMod val="85000"/>
                  </a:schemeClr>
                </a:gs>
              </a:gsLst>
              <a:lin ang="5400000" scaled="1"/>
            </a:gradFill>
            <a:ln>
              <a:noFill/>
            </a:ln>
            <a:effectLst>
              <a:outerShdw blurRad="412839"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a:ln>
                  <a:noFill/>
                </a:ln>
                <a:solidFill>
                  <a:prstClr val="white"/>
                </a:solidFill>
                <a:effectLst/>
                <a:uLnTx/>
                <a:uFillTx/>
                <a:latin typeface="Helvetica"/>
                <a:ea typeface="+mn-ea"/>
                <a:cs typeface="+mn-cs"/>
              </a:endParaRPr>
            </a:p>
          </p:txBody>
        </p:sp>
        <p:sp>
          <p:nvSpPr>
            <p:cNvPr id="8" name="TextBox 7">
              <a:extLst>
                <a:ext uri="{FF2B5EF4-FFF2-40B4-BE49-F238E27FC236}">
                  <a16:creationId xmlns:a16="http://schemas.microsoft.com/office/drawing/2014/main" id="{CD6B52DB-494E-8186-9D2C-391BEB35BA1D}"/>
                </a:ext>
              </a:extLst>
            </p:cNvPr>
            <p:cNvSpPr txBox="1"/>
            <p:nvPr/>
          </p:nvSpPr>
          <p:spPr>
            <a:xfrm>
              <a:off x="9152070" y="929123"/>
              <a:ext cx="198818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E1E50"/>
                  </a:solidFill>
                  <a:effectLst/>
                  <a:uLnTx/>
                  <a:uFillTx/>
                  <a:latin typeface="Helvetica" pitchFamily="2" charset="0"/>
                  <a:ea typeface="+mn-ea"/>
                  <a:cs typeface="+mn-cs"/>
                </a:rPr>
                <a:t>StrongPoint</a:t>
              </a:r>
            </a:p>
          </p:txBody>
        </p:sp>
        <p:sp>
          <p:nvSpPr>
            <p:cNvPr id="9" name="TextBox 8">
              <a:extLst>
                <a:ext uri="{FF2B5EF4-FFF2-40B4-BE49-F238E27FC236}">
                  <a16:creationId xmlns:a16="http://schemas.microsoft.com/office/drawing/2014/main" id="{835DD2BB-F18E-ECB4-911B-79A8E7BC247B}"/>
                </a:ext>
              </a:extLst>
            </p:cNvPr>
            <p:cNvSpPr txBox="1"/>
            <p:nvPr/>
          </p:nvSpPr>
          <p:spPr>
            <a:xfrm>
              <a:off x="9140618" y="1253777"/>
              <a:ext cx="1988184" cy="217432"/>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GB" sz="600" b="0" i="0" u="none" strike="noStrike" kern="1200" cap="none" spc="0" normalizeH="0" baseline="0" noProof="0" dirty="0" err="1">
                  <a:ln>
                    <a:noFill/>
                  </a:ln>
                  <a:solidFill>
                    <a:srgbClr val="1E1E50"/>
                  </a:solidFill>
                  <a:effectLst/>
                  <a:uLnTx/>
                  <a:uFillTx/>
                  <a:latin typeface="Helvetica Light" panose="020B0403020202020204" pitchFamily="34" charset="0"/>
                  <a:ea typeface="+mn-ea"/>
                  <a:cs typeface="+mn-cs"/>
                </a:rPr>
                <a:t>www.strongpoint.com</a:t>
              </a:r>
              <a:endParaRPr kumimoji="0" lang="en-GB" sz="600" b="0" i="0" u="none" strike="noStrike" kern="1200" cap="none" spc="0" normalizeH="0" baseline="0" noProof="0" dirty="0">
                <a:ln>
                  <a:noFill/>
                </a:ln>
                <a:solidFill>
                  <a:srgbClr val="1E1E50"/>
                </a:solidFill>
                <a:effectLst/>
                <a:uLnTx/>
                <a:uFillTx/>
                <a:latin typeface="Helvetica Light" panose="020B0403020202020204" pitchFamily="34" charset="0"/>
                <a:ea typeface="+mn-ea"/>
                <a:cs typeface="+mn-cs"/>
              </a:endParaRPr>
            </a:p>
          </p:txBody>
        </p:sp>
        <p:grpSp>
          <p:nvGrpSpPr>
            <p:cNvPr id="32" name="Group 31">
              <a:extLst>
                <a:ext uri="{FF2B5EF4-FFF2-40B4-BE49-F238E27FC236}">
                  <a16:creationId xmlns:a16="http://schemas.microsoft.com/office/drawing/2014/main" id="{D88907A5-8BBE-3310-311F-81F5827CFD9D}"/>
                </a:ext>
              </a:extLst>
            </p:cNvPr>
            <p:cNvGrpSpPr/>
            <p:nvPr/>
          </p:nvGrpSpPr>
          <p:grpSpPr>
            <a:xfrm>
              <a:off x="9087377" y="4277465"/>
              <a:ext cx="2027970" cy="236696"/>
              <a:chOff x="9087377" y="4277465"/>
              <a:chExt cx="2027970" cy="236696"/>
            </a:xfrm>
          </p:grpSpPr>
          <p:pic>
            <p:nvPicPr>
              <p:cNvPr id="30" name="Picture 29">
                <a:extLst>
                  <a:ext uri="{FF2B5EF4-FFF2-40B4-BE49-F238E27FC236}">
                    <a16:creationId xmlns:a16="http://schemas.microsoft.com/office/drawing/2014/main" id="{C1D6CA39-6FEF-A4D5-6865-A2D3FD40941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087377" y="4285564"/>
                <a:ext cx="783991" cy="220498"/>
              </a:xfrm>
              <a:prstGeom prst="rect">
                <a:avLst/>
              </a:prstGeom>
            </p:spPr>
          </p:pic>
          <p:pic>
            <p:nvPicPr>
              <p:cNvPr id="31" name="Picture 30">
                <a:extLst>
                  <a:ext uri="{FF2B5EF4-FFF2-40B4-BE49-F238E27FC236}">
                    <a16:creationId xmlns:a16="http://schemas.microsoft.com/office/drawing/2014/main" id="{7BD976FE-2435-8065-99BF-32C28DA2918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318051" y="4277465"/>
                <a:ext cx="797296" cy="236696"/>
              </a:xfrm>
              <a:prstGeom prst="rect">
                <a:avLst/>
              </a:prstGeom>
            </p:spPr>
          </p:pic>
        </p:grpSp>
        <p:grpSp>
          <p:nvGrpSpPr>
            <p:cNvPr id="37" name="Group 36">
              <a:extLst>
                <a:ext uri="{FF2B5EF4-FFF2-40B4-BE49-F238E27FC236}">
                  <a16:creationId xmlns:a16="http://schemas.microsoft.com/office/drawing/2014/main" id="{F66310F7-DA2E-7B05-6793-43DE3C6E1DE7}"/>
                </a:ext>
              </a:extLst>
            </p:cNvPr>
            <p:cNvGrpSpPr/>
            <p:nvPr/>
          </p:nvGrpSpPr>
          <p:grpSpPr>
            <a:xfrm>
              <a:off x="9036897" y="2462084"/>
              <a:ext cx="2109634" cy="281411"/>
              <a:chOff x="9036897" y="2319487"/>
              <a:chExt cx="2109634" cy="281411"/>
            </a:xfrm>
          </p:grpSpPr>
          <p:pic>
            <p:nvPicPr>
              <p:cNvPr id="26" name="Bilde 81" descr="Et bilde som inneholder tegning&#10;&#10;Automatisk generert beskrivelse">
                <a:extLst>
                  <a:ext uri="{FF2B5EF4-FFF2-40B4-BE49-F238E27FC236}">
                    <a16:creationId xmlns:a16="http://schemas.microsoft.com/office/drawing/2014/main" id="{61CB0DDE-80C1-FE1D-49BC-469199E7E14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036897" y="2319487"/>
                <a:ext cx="563418" cy="281411"/>
              </a:xfrm>
              <a:prstGeom prst="rect">
                <a:avLst/>
              </a:prstGeom>
            </p:spPr>
          </p:pic>
          <p:pic>
            <p:nvPicPr>
              <p:cNvPr id="22" name="Bilde 73" descr="Et bilde som inneholder tegning&#10;&#10;Automatisk generert beskrivelse">
                <a:extLst>
                  <a:ext uri="{FF2B5EF4-FFF2-40B4-BE49-F238E27FC236}">
                    <a16:creationId xmlns:a16="http://schemas.microsoft.com/office/drawing/2014/main" id="{209B7893-2E00-43D6-C0F7-7433373069B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496848" y="2383218"/>
                <a:ext cx="649683" cy="153948"/>
              </a:xfrm>
              <a:prstGeom prst="rect">
                <a:avLst/>
              </a:prstGeom>
            </p:spPr>
          </p:pic>
          <p:pic>
            <p:nvPicPr>
              <p:cNvPr id="23" name="Bilde 82" descr="Et bilde som inneholder tegning&#10;&#10;Automatisk generert beskrivelse">
                <a:extLst>
                  <a:ext uri="{FF2B5EF4-FFF2-40B4-BE49-F238E27FC236}">
                    <a16:creationId xmlns:a16="http://schemas.microsoft.com/office/drawing/2014/main" id="{5F8AEEDC-C7E4-33FA-8101-94CC9EB2801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869893" y="2370847"/>
                <a:ext cx="357377" cy="178690"/>
              </a:xfrm>
              <a:prstGeom prst="rect">
                <a:avLst/>
              </a:prstGeom>
            </p:spPr>
          </p:pic>
        </p:grpSp>
        <p:grpSp>
          <p:nvGrpSpPr>
            <p:cNvPr id="35" name="Group 34">
              <a:extLst>
                <a:ext uri="{FF2B5EF4-FFF2-40B4-BE49-F238E27FC236}">
                  <a16:creationId xmlns:a16="http://schemas.microsoft.com/office/drawing/2014/main" id="{3E389478-B840-5C6A-7897-9B5404321A3D}"/>
                </a:ext>
              </a:extLst>
            </p:cNvPr>
            <p:cNvGrpSpPr/>
            <p:nvPr/>
          </p:nvGrpSpPr>
          <p:grpSpPr>
            <a:xfrm>
              <a:off x="9036573" y="2937323"/>
              <a:ext cx="2126202" cy="213584"/>
              <a:chOff x="9036573" y="2769018"/>
              <a:chExt cx="2126202" cy="213584"/>
            </a:xfrm>
          </p:grpSpPr>
          <p:pic>
            <p:nvPicPr>
              <p:cNvPr id="24" name="Bilde 87" descr="Et bilde som inneholder klokke, tegning&#10;&#10;Automatisk generert beskrivelse">
                <a:extLst>
                  <a:ext uri="{FF2B5EF4-FFF2-40B4-BE49-F238E27FC236}">
                    <a16:creationId xmlns:a16="http://schemas.microsoft.com/office/drawing/2014/main" id="{CDE93608-9B17-52CA-65A2-EE2CEFCE3D88}"/>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036573" y="2769018"/>
                <a:ext cx="935395" cy="213584"/>
              </a:xfrm>
              <a:prstGeom prst="rect">
                <a:avLst/>
              </a:prstGeom>
            </p:spPr>
          </p:pic>
          <p:pic>
            <p:nvPicPr>
              <p:cNvPr id="20" name="Bilde 85" descr="Et bilde som inneholder tegning&#10;&#10;Automatisk generert beskrivelse">
                <a:extLst>
                  <a:ext uri="{FF2B5EF4-FFF2-40B4-BE49-F238E27FC236}">
                    <a16:creationId xmlns:a16="http://schemas.microsoft.com/office/drawing/2014/main" id="{2730F405-D5B6-B0B9-30E4-3FEE2FE6EC2E}"/>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0249330" y="2784189"/>
                <a:ext cx="913445" cy="183242"/>
              </a:xfrm>
              <a:prstGeom prst="rect">
                <a:avLst/>
              </a:prstGeom>
            </p:spPr>
          </p:pic>
        </p:grpSp>
        <p:grpSp>
          <p:nvGrpSpPr>
            <p:cNvPr id="33" name="Group 32">
              <a:extLst>
                <a:ext uri="{FF2B5EF4-FFF2-40B4-BE49-F238E27FC236}">
                  <a16:creationId xmlns:a16="http://schemas.microsoft.com/office/drawing/2014/main" id="{27BEBF34-0014-8FD6-763E-4050D22D8013}"/>
                </a:ext>
              </a:extLst>
            </p:cNvPr>
            <p:cNvGrpSpPr/>
            <p:nvPr/>
          </p:nvGrpSpPr>
          <p:grpSpPr>
            <a:xfrm>
              <a:off x="9036573" y="3344735"/>
              <a:ext cx="2123729" cy="233462"/>
              <a:chOff x="9036573" y="3186599"/>
              <a:chExt cx="2123729" cy="233462"/>
            </a:xfrm>
          </p:grpSpPr>
          <p:pic>
            <p:nvPicPr>
              <p:cNvPr id="28" name="Picture 27">
                <a:extLst>
                  <a:ext uri="{FF2B5EF4-FFF2-40B4-BE49-F238E27FC236}">
                    <a16:creationId xmlns:a16="http://schemas.microsoft.com/office/drawing/2014/main" id="{4A3E0672-1716-B9E9-FC7F-A25F15887FF5}"/>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9925453" y="3186599"/>
                <a:ext cx="1234849" cy="233462"/>
              </a:xfrm>
              <a:prstGeom prst="rect">
                <a:avLst/>
              </a:prstGeom>
            </p:spPr>
          </p:pic>
          <p:pic>
            <p:nvPicPr>
              <p:cNvPr id="21" name="Bilde 90" descr="Et bilde som inneholder tegning&#10;&#10;Automatisk generert beskrivelse">
                <a:extLst>
                  <a:ext uri="{FF2B5EF4-FFF2-40B4-BE49-F238E27FC236}">
                    <a16:creationId xmlns:a16="http://schemas.microsoft.com/office/drawing/2014/main" id="{E3847D72-7166-4EB3-6918-89943B2B067A}"/>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9036573" y="3198684"/>
                <a:ext cx="582380" cy="209292"/>
              </a:xfrm>
              <a:prstGeom prst="rect">
                <a:avLst/>
              </a:prstGeom>
            </p:spPr>
          </p:pic>
        </p:grpSp>
        <p:pic>
          <p:nvPicPr>
            <p:cNvPr id="11" name="Graphic 10">
              <a:extLst>
                <a:ext uri="{FF2B5EF4-FFF2-40B4-BE49-F238E27FC236}">
                  <a16:creationId xmlns:a16="http://schemas.microsoft.com/office/drawing/2014/main" id="{F62A69A6-A9D0-1901-4486-37C2A5A7483D}"/>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9127158" y="5464087"/>
              <a:ext cx="1988184" cy="483440"/>
            </a:xfrm>
            <a:prstGeom prst="rect">
              <a:avLst/>
            </a:prstGeom>
          </p:spPr>
        </p:pic>
        <p:sp>
          <p:nvSpPr>
            <p:cNvPr id="12" name="TextBox 11">
              <a:extLst>
                <a:ext uri="{FF2B5EF4-FFF2-40B4-BE49-F238E27FC236}">
                  <a16:creationId xmlns:a16="http://schemas.microsoft.com/office/drawing/2014/main" id="{F2EEB374-B4DE-5A38-A1A9-757528953D63}"/>
                </a:ext>
              </a:extLst>
            </p:cNvPr>
            <p:cNvSpPr txBox="1"/>
            <p:nvPr/>
          </p:nvSpPr>
          <p:spPr>
            <a:xfrm>
              <a:off x="8640694" y="1554096"/>
              <a:ext cx="2961112"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a:t>
              </a:r>
              <a:endParaRPr kumimoji="0" lang="en-US" sz="800" b="0" i="1"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13" name="TextBox 12">
              <a:extLst>
                <a:ext uri="{FF2B5EF4-FFF2-40B4-BE49-F238E27FC236}">
                  <a16:creationId xmlns:a16="http://schemas.microsoft.com/office/drawing/2014/main" id="{406AB2EE-8159-A3A1-05A1-4208623670CC}"/>
                </a:ext>
              </a:extLst>
            </p:cNvPr>
            <p:cNvSpPr txBox="1"/>
            <p:nvPr/>
          </p:nvSpPr>
          <p:spPr>
            <a:xfrm>
              <a:off x="9127158" y="4883453"/>
              <a:ext cx="1988184"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1E1E50"/>
                  </a:solidFill>
                  <a:effectLst/>
                  <a:uLnTx/>
                  <a:uFillTx/>
                  <a:latin typeface="Helvetica" pitchFamily="2" charset="0"/>
                  <a:ea typeface="+mn-ea"/>
                  <a:cs typeface="+mn-cs"/>
                </a:rPr>
                <a:t>Thank you for shopping with StrongPoint</a:t>
              </a:r>
            </a:p>
          </p:txBody>
        </p:sp>
        <p:sp>
          <p:nvSpPr>
            <p:cNvPr id="14" name="TextBox 13">
              <a:extLst>
                <a:ext uri="{FF2B5EF4-FFF2-40B4-BE49-F238E27FC236}">
                  <a16:creationId xmlns:a16="http://schemas.microsoft.com/office/drawing/2014/main" id="{70FCE419-3B4C-3A70-3C4D-F3780D86FD43}"/>
                </a:ext>
              </a:extLst>
            </p:cNvPr>
            <p:cNvSpPr txBox="1"/>
            <p:nvPr/>
          </p:nvSpPr>
          <p:spPr>
            <a:xfrm>
              <a:off x="8640694" y="4663932"/>
              <a:ext cx="2961112"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a:t>
              </a:r>
              <a:endParaRPr kumimoji="0" lang="en-US" sz="800" b="0" i="1"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pic>
          <p:nvPicPr>
            <p:cNvPr id="6" name="Picture 2">
              <a:extLst>
                <a:ext uri="{FF2B5EF4-FFF2-40B4-BE49-F238E27FC236}">
                  <a16:creationId xmlns:a16="http://schemas.microsoft.com/office/drawing/2014/main" id="{0B309950-8735-5497-E625-F754EE910305}"/>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9011762" y="3772025"/>
              <a:ext cx="2193567" cy="311613"/>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659E002-3514-70A4-87C2-8EBA768B0E80}"/>
                </a:ext>
              </a:extLst>
            </p:cNvPr>
            <p:cNvGrpSpPr/>
            <p:nvPr/>
          </p:nvGrpSpPr>
          <p:grpSpPr>
            <a:xfrm>
              <a:off x="9036573" y="1722507"/>
              <a:ext cx="2203823" cy="545749"/>
              <a:chOff x="9036573" y="1722507"/>
              <a:chExt cx="2203823" cy="545749"/>
            </a:xfrm>
          </p:grpSpPr>
          <p:pic>
            <p:nvPicPr>
              <p:cNvPr id="25" name="Bilde 96" descr="Et bilde som inneholder tegning&#10;&#10;Automatisk generert beskrivelse">
                <a:extLst>
                  <a:ext uri="{FF2B5EF4-FFF2-40B4-BE49-F238E27FC236}">
                    <a16:creationId xmlns:a16="http://schemas.microsoft.com/office/drawing/2014/main" id="{15993A43-7588-35EA-C2C8-FD3344D1E8B6}"/>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10381261" y="1722507"/>
                <a:ext cx="859135" cy="545749"/>
              </a:xfrm>
              <a:prstGeom prst="rect">
                <a:avLst/>
              </a:prstGeom>
            </p:spPr>
          </p:pic>
          <p:pic>
            <p:nvPicPr>
              <p:cNvPr id="34" name="Picture 33" descr="A red white and blue letter a&#10;&#10;Description automatically generated">
                <a:extLst>
                  <a:ext uri="{FF2B5EF4-FFF2-40B4-BE49-F238E27FC236}">
                    <a16:creationId xmlns:a16="http://schemas.microsoft.com/office/drawing/2014/main" id="{7669F6B7-1B62-AADC-135D-152B1BFFDC89}"/>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9036573" y="1906036"/>
                <a:ext cx="1212757" cy="178691"/>
              </a:xfrm>
              <a:prstGeom prst="rect">
                <a:avLst/>
              </a:prstGeom>
            </p:spPr>
          </p:pic>
        </p:grpSp>
      </p:grpSp>
    </p:spTree>
    <p:extLst>
      <p:ext uri="{BB962C8B-B14F-4D97-AF65-F5344CB8AC3E}">
        <p14:creationId xmlns:p14="http://schemas.microsoft.com/office/powerpoint/2010/main" val="12509158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kt 24" hidden="1">
            <a:extLst>
              <a:ext uri="{FF2B5EF4-FFF2-40B4-BE49-F238E27FC236}">
                <a16:creationId xmlns:a16="http://schemas.microsoft.com/office/drawing/2014/main" id="{7703C1EF-803F-014C-5A32-052EB0768D3C}"/>
              </a:ext>
            </a:extLst>
          </p:cNvPr>
          <p:cNvGraphicFramePr>
            <a:graphicFrameLocks noChangeAspect="1"/>
          </p:cNvGraphicFramePr>
          <p:nvPr>
            <p:custDataLst>
              <p:tags r:id="rId1"/>
            </p:custDataLst>
            <p:extLst>
              <p:ext uri="{D42A27DB-BD31-4B8C-83A1-F6EECF244321}">
                <p14:modId xmlns:p14="http://schemas.microsoft.com/office/powerpoint/2010/main" val="528132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11" imgH="409" progId="TCLayout.ActiveDocument.1">
                  <p:embed/>
                </p:oleObj>
              </mc:Choice>
              <mc:Fallback>
                <p:oleObj name="think-cell Slide" r:id="rId26" imgW="411" imgH="409" progId="TCLayout.ActiveDocument.1">
                  <p:embed/>
                  <p:pic>
                    <p:nvPicPr>
                      <p:cNvPr id="25" name="Objekt 24" hidden="1">
                        <a:extLst>
                          <a:ext uri="{FF2B5EF4-FFF2-40B4-BE49-F238E27FC236}">
                            <a16:creationId xmlns:a16="http://schemas.microsoft.com/office/drawing/2014/main" id="{7703C1EF-803F-014C-5A32-052EB0768D3C}"/>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Rectangle 7">
            <a:extLst>
              <a:ext uri="{FF2B5EF4-FFF2-40B4-BE49-F238E27FC236}">
                <a16:creationId xmlns:a16="http://schemas.microsoft.com/office/drawing/2014/main" id="{498EBD5A-4ECD-388C-E874-91114580F6F9}"/>
              </a:ext>
            </a:extLst>
          </p:cNvPr>
          <p:cNvSpPr/>
          <p:nvPr/>
        </p:nvSpPr>
        <p:spPr>
          <a:xfrm>
            <a:off x="756367" y="1310054"/>
            <a:ext cx="10981308" cy="4843455"/>
          </a:xfrm>
          <a:prstGeom prst="rect">
            <a:avLst/>
          </a:prstGeom>
          <a:solidFill>
            <a:schemeClr val="accent4">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A2F91251-CDCE-C7E5-B155-E1FF9EF62BF9}"/>
              </a:ext>
            </a:extLst>
          </p:cNvPr>
          <p:cNvSpPr>
            <a:spLocks noGrp="1"/>
          </p:cNvSpPr>
          <p:nvPr>
            <p:ph type="title"/>
          </p:nvPr>
        </p:nvSpPr>
        <p:spPr/>
        <p:txBody>
          <a:bodyPr vert="horz">
            <a:normAutofit/>
          </a:bodyPr>
          <a:lstStyle/>
          <a:p>
            <a:r>
              <a:rPr lang="en-GB"/>
              <a:t>Why did we hold onto ambitions for so long?</a:t>
            </a:r>
            <a:endParaRPr lang="en-US"/>
          </a:p>
        </p:txBody>
      </p:sp>
      <p:sp>
        <p:nvSpPr>
          <p:cNvPr id="46" name="TekstSylinder 59">
            <a:extLst>
              <a:ext uri="{FF2B5EF4-FFF2-40B4-BE49-F238E27FC236}">
                <a16:creationId xmlns:a16="http://schemas.microsoft.com/office/drawing/2014/main" id="{8A78934C-367A-C045-6C36-7EED6EB7E013}"/>
              </a:ext>
            </a:extLst>
          </p:cNvPr>
          <p:cNvSpPr txBox="1"/>
          <p:nvPr/>
        </p:nvSpPr>
        <p:spPr>
          <a:xfrm>
            <a:off x="946800" y="1425600"/>
            <a:ext cx="2831882" cy="469359"/>
          </a:xfrm>
          <a:prstGeom prst="rect">
            <a:avLst/>
          </a:prstGeom>
          <a:noFill/>
        </p:spPr>
        <p:txBody>
          <a:bodyPr wrap="square">
            <a:spAutoFit/>
          </a:bodyPr>
          <a:lstStyle/>
          <a:p>
            <a:r>
              <a:rPr lang="en-US" sz="1400" b="1"/>
              <a:t>Revenue </a:t>
            </a:r>
            <a:br>
              <a:rPr lang="en-US" sz="1400" b="1"/>
            </a:br>
            <a:r>
              <a:rPr lang="en-US" sz="1050">
                <a:latin typeface="Helvetica Light" panose="020B0403020202020204" pitchFamily="34" charset="0"/>
              </a:rPr>
              <a:t>MNOK</a:t>
            </a:r>
            <a:endParaRPr lang="en-US" sz="1050" noProof="0">
              <a:latin typeface="Helvetica Light" panose="020B0403020202020204" pitchFamily="34" charset="0"/>
            </a:endParaRPr>
          </a:p>
        </p:txBody>
      </p:sp>
      <p:sp>
        <p:nvSpPr>
          <p:cNvPr id="87" name="Text Placeholder 2">
            <a:extLst>
              <a:ext uri="{FF2B5EF4-FFF2-40B4-BE49-F238E27FC236}">
                <a16:creationId xmlns:a16="http://schemas.microsoft.com/office/drawing/2014/main" id="{189ABB6D-6A7D-082F-9E10-826A451E1054}"/>
              </a:ext>
            </a:extLst>
          </p:cNvPr>
          <p:cNvSpPr>
            <a:spLocks noGrp="1"/>
          </p:cNvSpPr>
          <p:nvPr>
            <p:custDataLst>
              <p:tags r:id="rId2"/>
            </p:custDataLst>
          </p:nvPr>
        </p:nvSpPr>
        <p:spPr bwMode="auto">
          <a:xfrm>
            <a:off x="10852900" y="5803900"/>
            <a:ext cx="614363" cy="247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Clr>
                <a:srgbClr val="A6914F"/>
              </a:buClr>
              <a:buFont typeface="Arial" panose="020B0604020202020204" pitchFamily="34" charset="0"/>
              <a:buNone/>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Clr>
                <a:srgbClr val="A6914F"/>
              </a:buClr>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Clr>
                <a:srgbClr val="A6914F"/>
              </a:buClr>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endParaRPr lang="en-US" sz="1800">
              <a:solidFill>
                <a:schemeClr val="accent6"/>
              </a:solidFill>
              <a:latin typeface="Helvetica Light" panose="020B0403020202020204"/>
              <a:sym typeface="Franklin Gothic Book" panose="020B0503020102020204" pitchFamily="34" charset="0"/>
            </a:endParaRPr>
          </a:p>
        </p:txBody>
      </p:sp>
      <p:graphicFrame>
        <p:nvGraphicFramePr>
          <p:cNvPr id="12" name="Chart 11">
            <a:extLst>
              <a:ext uri="{FF2B5EF4-FFF2-40B4-BE49-F238E27FC236}">
                <a16:creationId xmlns:a16="http://schemas.microsoft.com/office/drawing/2014/main" id="{C336E4B7-5C91-4B6D-AC4B-974930036760}"/>
              </a:ext>
            </a:extLst>
          </p:cNvPr>
          <p:cNvGraphicFramePr/>
          <p:nvPr>
            <p:custDataLst>
              <p:tags r:id="rId3"/>
            </p:custDataLst>
            <p:extLst>
              <p:ext uri="{D42A27DB-BD31-4B8C-83A1-F6EECF244321}">
                <p14:modId xmlns:p14="http://schemas.microsoft.com/office/powerpoint/2010/main" val="1104409799"/>
              </p:ext>
            </p:extLst>
          </p:nvPr>
        </p:nvGraphicFramePr>
        <p:xfrm>
          <a:off x="962025" y="1687513"/>
          <a:ext cx="10364788" cy="4306887"/>
        </p:xfrm>
        <a:graphic>
          <a:graphicData uri="http://schemas.openxmlformats.org/drawingml/2006/chart">
            <c:chart xmlns:c="http://schemas.openxmlformats.org/drawingml/2006/chart" xmlns:r="http://schemas.openxmlformats.org/officeDocument/2006/relationships" r:id="rId28"/>
          </a:graphicData>
        </a:graphic>
      </p:graphicFrame>
      <p:cxnSp>
        <p:nvCxnSpPr>
          <p:cNvPr id="4" name="Rett linje 3">
            <a:extLst>
              <a:ext uri="{FF2B5EF4-FFF2-40B4-BE49-F238E27FC236}">
                <a16:creationId xmlns:a16="http://schemas.microsoft.com/office/drawing/2014/main" id="{2C297D66-645C-29ED-38CB-546A66AE6529}"/>
              </a:ext>
            </a:extLst>
          </p:cNvPr>
          <p:cNvCxnSpPr/>
          <p:nvPr>
            <p:custDataLst>
              <p:tags r:id="rId4"/>
            </p:custDataLst>
          </p:nvPr>
        </p:nvCxnSpPr>
        <p:spPr bwMode="gray">
          <a:xfrm flipV="1">
            <a:off x="6927850" y="1760538"/>
            <a:ext cx="0" cy="611188"/>
          </a:xfrm>
          <a:prstGeom prst="line">
            <a:avLst/>
          </a:prstGeom>
          <a:ln w="127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Rett linje 4">
            <a:extLst>
              <a:ext uri="{FF2B5EF4-FFF2-40B4-BE49-F238E27FC236}">
                <a16:creationId xmlns:a16="http://schemas.microsoft.com/office/drawing/2014/main" id="{AFD9ABAE-D525-A76C-3E8D-93917D7551C9}"/>
              </a:ext>
            </a:extLst>
          </p:cNvPr>
          <p:cNvCxnSpPr>
            <a:cxnSpLocks/>
          </p:cNvCxnSpPr>
          <p:nvPr>
            <p:custDataLst>
              <p:tags r:id="rId5"/>
            </p:custDataLst>
          </p:nvPr>
        </p:nvCxnSpPr>
        <p:spPr bwMode="gray">
          <a:xfrm>
            <a:off x="6927850" y="1760538"/>
            <a:ext cx="3138488" cy="0"/>
          </a:xfrm>
          <a:prstGeom prst="line">
            <a:avLst/>
          </a:prstGeom>
          <a:ln w="127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Rett linje 2">
            <a:extLst>
              <a:ext uri="{FF2B5EF4-FFF2-40B4-BE49-F238E27FC236}">
                <a16:creationId xmlns:a16="http://schemas.microsoft.com/office/drawing/2014/main" id="{8BEECBB6-7393-C52E-BD18-E4EC466B10FD}"/>
              </a:ext>
            </a:extLst>
          </p:cNvPr>
          <p:cNvCxnSpPr/>
          <p:nvPr>
            <p:custDataLst>
              <p:tags r:id="rId6"/>
            </p:custDataLst>
          </p:nvPr>
        </p:nvCxnSpPr>
        <p:spPr bwMode="gray">
          <a:xfrm>
            <a:off x="10066338" y="1760538"/>
            <a:ext cx="0" cy="1089025"/>
          </a:xfrm>
          <a:prstGeom prst="line">
            <a:avLst/>
          </a:prstGeom>
          <a:ln w="12700" cap="flat" cmpd="sng" algn="ctr">
            <a:solidFill>
              <a:schemeClr val="tx2"/>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FDAC3E5-EB1C-B049-E6C2-5CA99821363A}"/>
              </a:ext>
            </a:extLst>
          </p:cNvPr>
          <p:cNvCxnSpPr/>
          <p:nvPr>
            <p:custDataLst>
              <p:tags r:id="rId7"/>
            </p:custDataLst>
          </p:nvPr>
        </p:nvCxnSpPr>
        <p:spPr bwMode="auto">
          <a:xfrm flipV="1">
            <a:off x="7712075" y="1511300"/>
            <a:ext cx="0" cy="3254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AF22CA95-B985-59CC-E16E-F56C03BD1040}"/>
              </a:ext>
            </a:extLst>
          </p:cNvPr>
          <p:cNvCxnSpPr/>
          <p:nvPr>
            <p:custDataLst>
              <p:tags r:id="rId8"/>
            </p:custDataLst>
          </p:nvPr>
        </p:nvCxnSpPr>
        <p:spPr bwMode="auto">
          <a:xfrm>
            <a:off x="7712075" y="1511300"/>
            <a:ext cx="313848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412C3D92-0910-03F3-D7E3-1DAEE054CD2D}"/>
              </a:ext>
            </a:extLst>
          </p:cNvPr>
          <p:cNvCxnSpPr/>
          <p:nvPr>
            <p:custDataLst>
              <p:tags r:id="rId9"/>
            </p:custDataLst>
          </p:nvPr>
        </p:nvCxnSpPr>
        <p:spPr bwMode="auto">
          <a:xfrm>
            <a:off x="10850563" y="1511301"/>
            <a:ext cx="0" cy="9953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6" name="Text Placeholder 2">
            <a:extLst>
              <a:ext uri="{FF2B5EF4-FFF2-40B4-BE49-F238E27FC236}">
                <a16:creationId xmlns:a16="http://schemas.microsoft.com/office/drawing/2014/main" id="{72C66409-5027-472B-5B62-4632DB7A2C1D}"/>
              </a:ext>
            </a:extLst>
          </p:cNvPr>
          <p:cNvSpPr>
            <a:spLocks noGrp="1"/>
          </p:cNvSpPr>
          <p:nvPr>
            <p:custDataLst>
              <p:tags r:id="rId10"/>
            </p:custDataLst>
          </p:nvPr>
        </p:nvSpPr>
        <p:spPr bwMode="auto">
          <a:xfrm>
            <a:off x="1222375" y="5778500"/>
            <a:ext cx="4270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Clr>
                <a:srgbClr val="A6914F"/>
              </a:buClr>
              <a:buFont typeface="Arial" panose="020B0604020202020204" pitchFamily="34" charset="0"/>
              <a:buNone/>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Clr>
                <a:srgbClr val="A6914F"/>
              </a:buClr>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Clr>
                <a:srgbClr val="A6914F"/>
              </a:buClr>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62F93633-3B98-407D-8ABC-90D9DBB71BC4}" type="datetime'''''''Q4'''''''''''''''''''''''''''''''''' ''''2''''0'''">
              <a:rPr lang="en-US" altLang="en-US" sz="1200" smtClean="0">
                <a:latin typeface="+mn-lt"/>
              </a:rPr>
              <a:pPr algn="ctr">
                <a:spcBef>
                  <a:spcPct val="0"/>
                </a:spcBef>
                <a:spcAft>
                  <a:spcPct val="0"/>
                </a:spcAft>
              </a:pPr>
              <a:t>Q4 20</a:t>
            </a:fld>
            <a:endParaRPr lang="en-US" sz="1200">
              <a:latin typeface="+mn-lt"/>
              <a:sym typeface="Helvetica" panose="020B0604020202020204" pitchFamily="34" charset="0"/>
            </a:endParaRPr>
          </a:p>
        </p:txBody>
      </p:sp>
      <p:sp>
        <p:nvSpPr>
          <p:cNvPr id="7" name="Text Placeholder 2">
            <a:extLst>
              <a:ext uri="{FF2B5EF4-FFF2-40B4-BE49-F238E27FC236}">
                <a16:creationId xmlns:a16="http://schemas.microsoft.com/office/drawing/2014/main" id="{5F1887F5-A8C8-41CC-4FB2-54B0F782F2FC}"/>
              </a:ext>
            </a:extLst>
          </p:cNvPr>
          <p:cNvSpPr>
            <a:spLocks noGrp="1"/>
          </p:cNvSpPr>
          <p:nvPr>
            <p:custDataLst>
              <p:tags r:id="rId11"/>
            </p:custDataLst>
          </p:nvPr>
        </p:nvSpPr>
        <p:spPr bwMode="auto">
          <a:xfrm>
            <a:off x="2006600" y="5778500"/>
            <a:ext cx="4270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Clr>
                <a:srgbClr val="A6914F"/>
              </a:buClr>
              <a:buFont typeface="Arial" panose="020B0604020202020204" pitchFamily="34" charset="0"/>
              <a:buNone/>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Clr>
                <a:srgbClr val="A6914F"/>
              </a:buClr>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Clr>
                <a:srgbClr val="A6914F"/>
              </a:buClr>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FFD6E2D3-91E4-4716-BCD9-F98D85BEC3A2}" type="datetime'''''''''Q''1'''''''''' ''''''2''1'''">
              <a:rPr lang="en-US" altLang="en-US" sz="1200" smtClean="0">
                <a:latin typeface="+mn-lt"/>
              </a:rPr>
              <a:pPr algn="ctr">
                <a:spcBef>
                  <a:spcPct val="0"/>
                </a:spcBef>
                <a:spcAft>
                  <a:spcPct val="0"/>
                </a:spcAft>
              </a:pPr>
              <a:t>Q1 21</a:t>
            </a:fld>
            <a:endParaRPr lang="en-US" sz="1200">
              <a:latin typeface="+mn-lt"/>
              <a:sym typeface="Helvetica" panose="020B0604020202020204" pitchFamily="34" charset="0"/>
            </a:endParaRPr>
          </a:p>
        </p:txBody>
      </p:sp>
      <p:sp>
        <p:nvSpPr>
          <p:cNvPr id="14" name="Text Placeholder 2">
            <a:extLst>
              <a:ext uri="{FF2B5EF4-FFF2-40B4-BE49-F238E27FC236}">
                <a16:creationId xmlns:a16="http://schemas.microsoft.com/office/drawing/2014/main" id="{1827C19C-D7B7-0E0B-2011-464DD4AB7BC6}"/>
              </a:ext>
            </a:extLst>
          </p:cNvPr>
          <p:cNvSpPr>
            <a:spLocks noGrp="1"/>
          </p:cNvSpPr>
          <p:nvPr>
            <p:custDataLst>
              <p:tags r:id="rId12"/>
            </p:custDataLst>
          </p:nvPr>
        </p:nvSpPr>
        <p:spPr bwMode="auto">
          <a:xfrm>
            <a:off x="2792413" y="5778500"/>
            <a:ext cx="4270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Clr>
                <a:srgbClr val="A6914F"/>
              </a:buClr>
              <a:buFont typeface="Arial" panose="020B0604020202020204" pitchFamily="34" charset="0"/>
              <a:buNone/>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Clr>
                <a:srgbClr val="A6914F"/>
              </a:buClr>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Clr>
                <a:srgbClr val="A6914F"/>
              </a:buClr>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46B1B04F-3737-40D7-9DC2-FCBBCEC53ED2}" type="datetime'''''Q''2'''''''''''''''''''''' 21'''''''''''">
              <a:rPr lang="en-US" altLang="en-US" sz="1200" smtClean="0">
                <a:latin typeface="+mn-lt"/>
              </a:rPr>
              <a:pPr algn="ctr">
                <a:spcBef>
                  <a:spcPct val="0"/>
                </a:spcBef>
                <a:spcAft>
                  <a:spcPct val="0"/>
                </a:spcAft>
              </a:pPr>
              <a:t>Q2 21</a:t>
            </a:fld>
            <a:endParaRPr lang="en-US" sz="1200">
              <a:latin typeface="+mn-lt"/>
              <a:sym typeface="Helvetica" panose="020B0604020202020204" pitchFamily="34" charset="0"/>
            </a:endParaRPr>
          </a:p>
        </p:txBody>
      </p:sp>
      <p:sp>
        <p:nvSpPr>
          <p:cNvPr id="9" name="Text Placeholder 2">
            <a:extLst>
              <a:ext uri="{FF2B5EF4-FFF2-40B4-BE49-F238E27FC236}">
                <a16:creationId xmlns:a16="http://schemas.microsoft.com/office/drawing/2014/main" id="{937AA09F-A83A-DDC8-BBA2-52B9ED3D0810}"/>
              </a:ext>
            </a:extLst>
          </p:cNvPr>
          <p:cNvSpPr>
            <a:spLocks noGrp="1"/>
          </p:cNvSpPr>
          <p:nvPr>
            <p:custDataLst>
              <p:tags r:id="rId13"/>
            </p:custDataLst>
          </p:nvPr>
        </p:nvSpPr>
        <p:spPr bwMode="auto">
          <a:xfrm>
            <a:off x="3576638" y="5778500"/>
            <a:ext cx="4270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Clr>
                <a:srgbClr val="A6914F"/>
              </a:buClr>
              <a:buFont typeface="Arial" panose="020B0604020202020204" pitchFamily="34" charset="0"/>
              <a:buNone/>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Clr>
                <a:srgbClr val="A6914F"/>
              </a:buClr>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Clr>
                <a:srgbClr val="A6914F"/>
              </a:buClr>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E084E581-F9A6-4F3E-8FE3-BFBE25D7E236}" type="datetime'''''''''''Q''''''''''''''''3'''' 2''''''''''1'''''''''">
              <a:rPr lang="en-US" altLang="en-US" sz="1200" smtClean="0">
                <a:latin typeface="+mn-lt"/>
              </a:rPr>
              <a:pPr algn="ctr">
                <a:spcBef>
                  <a:spcPct val="0"/>
                </a:spcBef>
                <a:spcAft>
                  <a:spcPct val="0"/>
                </a:spcAft>
              </a:pPr>
              <a:t>Q3 21</a:t>
            </a:fld>
            <a:endParaRPr lang="en-US" sz="1200">
              <a:latin typeface="+mn-lt"/>
              <a:sym typeface="Helvetica" panose="020B0604020202020204" pitchFamily="34" charset="0"/>
            </a:endParaRPr>
          </a:p>
        </p:txBody>
      </p:sp>
      <p:sp>
        <p:nvSpPr>
          <p:cNvPr id="17" name="Text Placeholder 2">
            <a:extLst>
              <a:ext uri="{FF2B5EF4-FFF2-40B4-BE49-F238E27FC236}">
                <a16:creationId xmlns:a16="http://schemas.microsoft.com/office/drawing/2014/main" id="{3E737172-C742-A579-A087-222DA51204E8}"/>
              </a:ext>
            </a:extLst>
          </p:cNvPr>
          <p:cNvSpPr>
            <a:spLocks noGrp="1"/>
          </p:cNvSpPr>
          <p:nvPr>
            <p:custDataLst>
              <p:tags r:id="rId14"/>
            </p:custDataLst>
          </p:nvPr>
        </p:nvSpPr>
        <p:spPr bwMode="auto">
          <a:xfrm>
            <a:off x="4360863" y="5778500"/>
            <a:ext cx="4270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Clr>
                <a:srgbClr val="A6914F"/>
              </a:buClr>
              <a:buFont typeface="Arial" panose="020B0604020202020204" pitchFamily="34" charset="0"/>
              <a:buNone/>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Clr>
                <a:srgbClr val="A6914F"/>
              </a:buClr>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Clr>
                <a:srgbClr val="A6914F"/>
              </a:buClr>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E7A1AB86-1346-4AA1-8277-5D66D7226450}" type="datetime'''''''''''''''Q''''''''''4'''''' ''''2''''''1'''''''''''''''">
              <a:rPr lang="en-US" altLang="en-US" sz="1200" smtClean="0">
                <a:latin typeface="+mn-lt"/>
              </a:rPr>
              <a:pPr algn="ctr">
                <a:spcBef>
                  <a:spcPct val="0"/>
                </a:spcBef>
                <a:spcAft>
                  <a:spcPct val="0"/>
                </a:spcAft>
              </a:pPr>
              <a:t>Q4 21</a:t>
            </a:fld>
            <a:endParaRPr lang="en-US" sz="1200">
              <a:latin typeface="+mn-lt"/>
              <a:sym typeface="Helvetica" panose="020B0604020202020204" pitchFamily="34" charset="0"/>
            </a:endParaRPr>
          </a:p>
        </p:txBody>
      </p:sp>
      <p:sp>
        <p:nvSpPr>
          <p:cNvPr id="18" name="Text Placeholder 2">
            <a:extLst>
              <a:ext uri="{FF2B5EF4-FFF2-40B4-BE49-F238E27FC236}">
                <a16:creationId xmlns:a16="http://schemas.microsoft.com/office/drawing/2014/main" id="{37007EA7-BF88-FC02-279C-162E0712B316}"/>
              </a:ext>
            </a:extLst>
          </p:cNvPr>
          <p:cNvSpPr>
            <a:spLocks noGrp="1"/>
          </p:cNvSpPr>
          <p:nvPr>
            <p:custDataLst>
              <p:tags r:id="rId15"/>
            </p:custDataLst>
          </p:nvPr>
        </p:nvSpPr>
        <p:spPr bwMode="auto">
          <a:xfrm>
            <a:off x="5145088" y="5778500"/>
            <a:ext cx="4270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Clr>
                <a:srgbClr val="A6914F"/>
              </a:buClr>
              <a:buFont typeface="Arial" panose="020B0604020202020204" pitchFamily="34" charset="0"/>
              <a:buNone/>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Clr>
                <a:srgbClr val="A6914F"/>
              </a:buClr>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Clr>
                <a:srgbClr val="A6914F"/>
              </a:buClr>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D7BED3C6-EB24-49D6-AE2E-572324F8BFEF}" type="datetime'''''Q''''''''''''''''''''''''''''''''''''1 ''2''2'''''''''''">
              <a:rPr lang="en-US" altLang="en-US" sz="1200" smtClean="0">
                <a:latin typeface="+mn-lt"/>
              </a:rPr>
              <a:pPr algn="ctr">
                <a:spcBef>
                  <a:spcPct val="0"/>
                </a:spcBef>
                <a:spcAft>
                  <a:spcPct val="0"/>
                </a:spcAft>
              </a:pPr>
              <a:t>Q1 22</a:t>
            </a:fld>
            <a:endParaRPr lang="en-US" sz="1200">
              <a:latin typeface="+mn-lt"/>
              <a:sym typeface="Helvetica" panose="020B0604020202020204" pitchFamily="34" charset="0"/>
            </a:endParaRPr>
          </a:p>
        </p:txBody>
      </p:sp>
      <p:sp>
        <p:nvSpPr>
          <p:cNvPr id="19" name="Text Placeholder 2">
            <a:extLst>
              <a:ext uri="{FF2B5EF4-FFF2-40B4-BE49-F238E27FC236}">
                <a16:creationId xmlns:a16="http://schemas.microsoft.com/office/drawing/2014/main" id="{C2A2DE01-069C-2AC4-D80C-2EC24D6E2B0C}"/>
              </a:ext>
            </a:extLst>
          </p:cNvPr>
          <p:cNvSpPr>
            <a:spLocks noGrp="1"/>
          </p:cNvSpPr>
          <p:nvPr>
            <p:custDataLst>
              <p:tags r:id="rId16"/>
            </p:custDataLst>
          </p:nvPr>
        </p:nvSpPr>
        <p:spPr bwMode="auto">
          <a:xfrm>
            <a:off x="5930900" y="5778500"/>
            <a:ext cx="4270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Clr>
                <a:srgbClr val="A6914F"/>
              </a:buClr>
              <a:buFont typeface="Arial" panose="020B0604020202020204" pitchFamily="34" charset="0"/>
              <a:buNone/>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Clr>
                <a:srgbClr val="A6914F"/>
              </a:buClr>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Clr>
                <a:srgbClr val="A6914F"/>
              </a:buClr>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136C2DC8-990F-483E-B9E2-00DCDBB00771}" type="datetime'''''Q''''''''''''''2'''''''''''' ''''''2''2'">
              <a:rPr lang="en-US" altLang="en-US" sz="1200" smtClean="0">
                <a:latin typeface="+mn-lt"/>
              </a:rPr>
              <a:pPr algn="ctr">
                <a:spcBef>
                  <a:spcPct val="0"/>
                </a:spcBef>
                <a:spcAft>
                  <a:spcPct val="0"/>
                </a:spcAft>
              </a:pPr>
              <a:t>Q2 22</a:t>
            </a:fld>
            <a:endParaRPr lang="en-US" sz="1200">
              <a:latin typeface="+mn-lt"/>
              <a:sym typeface="Helvetica" panose="020B0604020202020204" pitchFamily="34" charset="0"/>
            </a:endParaRPr>
          </a:p>
        </p:txBody>
      </p:sp>
      <p:sp>
        <p:nvSpPr>
          <p:cNvPr id="20" name="Text Placeholder 2">
            <a:extLst>
              <a:ext uri="{FF2B5EF4-FFF2-40B4-BE49-F238E27FC236}">
                <a16:creationId xmlns:a16="http://schemas.microsoft.com/office/drawing/2014/main" id="{0BAE4B54-7EA1-87CE-4085-E22885A23DBA}"/>
              </a:ext>
            </a:extLst>
          </p:cNvPr>
          <p:cNvSpPr>
            <a:spLocks noGrp="1"/>
          </p:cNvSpPr>
          <p:nvPr>
            <p:custDataLst>
              <p:tags r:id="rId17"/>
            </p:custDataLst>
          </p:nvPr>
        </p:nvSpPr>
        <p:spPr bwMode="auto">
          <a:xfrm>
            <a:off x="6715125" y="5778500"/>
            <a:ext cx="4270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Clr>
                <a:srgbClr val="A6914F"/>
              </a:buClr>
              <a:buFont typeface="Arial" panose="020B0604020202020204" pitchFamily="34" charset="0"/>
              <a:buNone/>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Clr>
                <a:srgbClr val="A6914F"/>
              </a:buClr>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Clr>
                <a:srgbClr val="A6914F"/>
              </a:buClr>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36B32D80-7DE8-4568-B07A-C0F5250C52C6}" type="datetime'''''''''''''''''''''Q3'' ''''''''''''''''2''''''''''''''2'''''">
              <a:rPr lang="en-US" altLang="en-US" sz="1200" smtClean="0">
                <a:latin typeface="+mn-lt"/>
              </a:rPr>
              <a:pPr algn="ctr">
                <a:spcBef>
                  <a:spcPct val="0"/>
                </a:spcBef>
                <a:spcAft>
                  <a:spcPct val="0"/>
                </a:spcAft>
              </a:pPr>
              <a:t>Q3 22</a:t>
            </a:fld>
            <a:endParaRPr lang="en-US" sz="1200">
              <a:latin typeface="+mn-lt"/>
              <a:sym typeface="Helvetica" panose="020B0604020202020204" pitchFamily="34" charset="0"/>
            </a:endParaRPr>
          </a:p>
        </p:txBody>
      </p:sp>
      <p:sp>
        <p:nvSpPr>
          <p:cNvPr id="21" name="Text Placeholder 2">
            <a:extLst>
              <a:ext uri="{FF2B5EF4-FFF2-40B4-BE49-F238E27FC236}">
                <a16:creationId xmlns:a16="http://schemas.microsoft.com/office/drawing/2014/main" id="{C9F3C794-E88D-5625-AA82-73339BC1B842}"/>
              </a:ext>
            </a:extLst>
          </p:cNvPr>
          <p:cNvSpPr>
            <a:spLocks noGrp="1"/>
          </p:cNvSpPr>
          <p:nvPr>
            <p:custDataLst>
              <p:tags r:id="rId18"/>
            </p:custDataLst>
          </p:nvPr>
        </p:nvSpPr>
        <p:spPr bwMode="auto">
          <a:xfrm>
            <a:off x="7499350" y="5778500"/>
            <a:ext cx="4270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Clr>
                <a:srgbClr val="A6914F"/>
              </a:buClr>
              <a:buFont typeface="Arial" panose="020B0604020202020204" pitchFamily="34" charset="0"/>
              <a:buNone/>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Clr>
                <a:srgbClr val="A6914F"/>
              </a:buClr>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Clr>
                <a:srgbClr val="A6914F"/>
              </a:buClr>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D50029D6-3B0C-4FB8-80A4-9F333F44B12F}" type="datetime'''''''''''''''''''''Q''''''''''4 ''2''''''2'''''''">
              <a:rPr lang="en-US" altLang="en-US" sz="1200" smtClean="0">
                <a:latin typeface="+mn-lt"/>
              </a:rPr>
              <a:pPr algn="ctr">
                <a:spcBef>
                  <a:spcPct val="0"/>
                </a:spcBef>
                <a:spcAft>
                  <a:spcPct val="0"/>
                </a:spcAft>
              </a:pPr>
              <a:t>Q4 22</a:t>
            </a:fld>
            <a:endParaRPr lang="en-US" sz="1200">
              <a:latin typeface="+mn-lt"/>
              <a:sym typeface="Helvetica" panose="020B0604020202020204" pitchFamily="34" charset="0"/>
            </a:endParaRPr>
          </a:p>
        </p:txBody>
      </p:sp>
      <p:sp>
        <p:nvSpPr>
          <p:cNvPr id="27" name="Text Placeholder 2">
            <a:extLst>
              <a:ext uri="{FF2B5EF4-FFF2-40B4-BE49-F238E27FC236}">
                <a16:creationId xmlns:a16="http://schemas.microsoft.com/office/drawing/2014/main" id="{5D7935A1-7A92-C4F3-1718-0DAD049217FF}"/>
              </a:ext>
            </a:extLst>
          </p:cNvPr>
          <p:cNvSpPr>
            <a:spLocks noGrp="1"/>
          </p:cNvSpPr>
          <p:nvPr>
            <p:custDataLst>
              <p:tags r:id="rId19"/>
            </p:custDataLst>
          </p:nvPr>
        </p:nvSpPr>
        <p:spPr bwMode="auto">
          <a:xfrm>
            <a:off x="8283575" y="5778500"/>
            <a:ext cx="4270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Clr>
                <a:srgbClr val="A6914F"/>
              </a:buClr>
              <a:buFont typeface="Arial" panose="020B0604020202020204" pitchFamily="34" charset="0"/>
              <a:buNone/>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Clr>
                <a:srgbClr val="A6914F"/>
              </a:buClr>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Clr>
                <a:srgbClr val="A6914F"/>
              </a:buClr>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CC6770C7-F0EB-43BF-999D-EB69D1AADBD6}" type="datetime'''''''''''''''''''''Q''1'' ''2''''''3'''''''''">
              <a:rPr lang="en-US" altLang="en-US" sz="1200" smtClean="0">
                <a:latin typeface="+mn-lt"/>
              </a:rPr>
              <a:pPr algn="ctr">
                <a:spcBef>
                  <a:spcPct val="0"/>
                </a:spcBef>
                <a:spcAft>
                  <a:spcPct val="0"/>
                </a:spcAft>
              </a:pPr>
              <a:t>Q1 23</a:t>
            </a:fld>
            <a:endParaRPr lang="en-US" sz="1200">
              <a:latin typeface="+mn-lt"/>
              <a:sym typeface="Helvetica" panose="020B0604020202020204" pitchFamily="34" charset="0"/>
            </a:endParaRPr>
          </a:p>
        </p:txBody>
      </p:sp>
      <p:sp>
        <p:nvSpPr>
          <p:cNvPr id="11" name="Text Placeholder 2">
            <a:extLst>
              <a:ext uri="{FF2B5EF4-FFF2-40B4-BE49-F238E27FC236}">
                <a16:creationId xmlns:a16="http://schemas.microsoft.com/office/drawing/2014/main" id="{273D5770-A23A-CB25-4A64-8339F60130D0}"/>
              </a:ext>
            </a:extLst>
          </p:cNvPr>
          <p:cNvSpPr>
            <a:spLocks noGrp="1"/>
          </p:cNvSpPr>
          <p:nvPr>
            <p:custDataLst>
              <p:tags r:id="rId20"/>
            </p:custDataLst>
          </p:nvPr>
        </p:nvSpPr>
        <p:spPr bwMode="auto">
          <a:xfrm>
            <a:off x="9069388" y="5778500"/>
            <a:ext cx="4270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Clr>
                <a:srgbClr val="A6914F"/>
              </a:buClr>
              <a:buFont typeface="Arial" panose="020B0604020202020204" pitchFamily="34" charset="0"/>
              <a:buNone/>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Clr>
                <a:srgbClr val="A6914F"/>
              </a:buClr>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Clr>
                <a:srgbClr val="A6914F"/>
              </a:buClr>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8C374C74-6938-45D4-AA66-8DC0793B398D}" type="datetime'''''''''''''Q''''''''''''''2'''''''''''''''''''' ''''''''23'">
              <a:rPr lang="en-US" altLang="en-US" sz="1200" smtClean="0">
                <a:latin typeface="+mn-lt"/>
              </a:rPr>
              <a:pPr algn="ctr">
                <a:spcBef>
                  <a:spcPct val="0"/>
                </a:spcBef>
                <a:spcAft>
                  <a:spcPct val="0"/>
                </a:spcAft>
              </a:pPr>
              <a:t>Q2 23</a:t>
            </a:fld>
            <a:endParaRPr lang="en-US" sz="1200">
              <a:latin typeface="+mn-lt"/>
              <a:sym typeface="Helvetica" panose="020B0604020202020204" pitchFamily="34" charset="0"/>
            </a:endParaRPr>
          </a:p>
        </p:txBody>
      </p:sp>
      <p:sp>
        <p:nvSpPr>
          <p:cNvPr id="26" name="Text Placeholder 2">
            <a:extLst>
              <a:ext uri="{FF2B5EF4-FFF2-40B4-BE49-F238E27FC236}">
                <a16:creationId xmlns:a16="http://schemas.microsoft.com/office/drawing/2014/main" id="{4C70DB36-37FB-D19D-71E0-E584FEB59597}"/>
              </a:ext>
            </a:extLst>
          </p:cNvPr>
          <p:cNvSpPr>
            <a:spLocks noGrp="1"/>
          </p:cNvSpPr>
          <p:nvPr>
            <p:custDataLst>
              <p:tags r:id="rId21"/>
            </p:custDataLst>
          </p:nvPr>
        </p:nvSpPr>
        <p:spPr bwMode="auto">
          <a:xfrm>
            <a:off x="9853613" y="5778500"/>
            <a:ext cx="4270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Clr>
                <a:srgbClr val="A6914F"/>
              </a:buClr>
              <a:buFont typeface="Arial" panose="020B0604020202020204" pitchFamily="34" charset="0"/>
              <a:buNone/>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Clr>
                <a:srgbClr val="A6914F"/>
              </a:buClr>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Clr>
                <a:srgbClr val="A6914F"/>
              </a:buClr>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AFD28233-F627-4B97-8EC4-F5DBFC019632}" type="datetime'''Q''''''''''''3'''' ''''''''''''''''''''''''2''''''3'''''''">
              <a:rPr lang="en-US" altLang="en-US" sz="1200" smtClean="0">
                <a:latin typeface="+mn-lt"/>
              </a:rPr>
              <a:pPr algn="ctr">
                <a:spcBef>
                  <a:spcPct val="0"/>
                </a:spcBef>
                <a:spcAft>
                  <a:spcPct val="0"/>
                </a:spcAft>
              </a:pPr>
              <a:t>Q3 23</a:t>
            </a:fld>
            <a:endParaRPr lang="en-US" sz="1200">
              <a:latin typeface="+mn-lt"/>
              <a:sym typeface="Helvetica" panose="020B0604020202020204" pitchFamily="34" charset="0"/>
            </a:endParaRPr>
          </a:p>
        </p:txBody>
      </p:sp>
      <p:sp>
        <p:nvSpPr>
          <p:cNvPr id="24" name="Text Placeholder 2">
            <a:extLst>
              <a:ext uri="{FF2B5EF4-FFF2-40B4-BE49-F238E27FC236}">
                <a16:creationId xmlns:a16="http://schemas.microsoft.com/office/drawing/2014/main" id="{A96FC091-9D7A-9E22-B3B0-E3C7774850DC}"/>
              </a:ext>
            </a:extLst>
          </p:cNvPr>
          <p:cNvSpPr>
            <a:spLocks noGrp="1"/>
          </p:cNvSpPr>
          <p:nvPr>
            <p:custDataLst>
              <p:tags r:id="rId22"/>
            </p:custDataLst>
          </p:nvPr>
        </p:nvSpPr>
        <p:spPr bwMode="auto">
          <a:xfrm>
            <a:off x="10637838" y="5778500"/>
            <a:ext cx="4270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Clr>
                <a:srgbClr val="A6914F"/>
              </a:buClr>
              <a:buFont typeface="Arial" panose="020B0604020202020204" pitchFamily="34" charset="0"/>
              <a:buNone/>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Clr>
                <a:srgbClr val="A6914F"/>
              </a:buClr>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Clr>
                <a:srgbClr val="A6914F"/>
              </a:buClr>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Clr>
                <a:srgbClr val="A6914F"/>
              </a:buClr>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2B0A8E53-FF15-4F5C-8FA2-8EEE8B9AD69E}" type="datetime'''''''''Q''''4'''''''''''''' ''''''''2''''''''3'''''">
              <a:rPr lang="en-US" altLang="en-US" sz="1200" smtClean="0">
                <a:latin typeface="+mn-lt"/>
              </a:rPr>
              <a:pPr algn="ctr">
                <a:spcBef>
                  <a:spcPct val="0"/>
                </a:spcBef>
                <a:spcAft>
                  <a:spcPct val="0"/>
                </a:spcAft>
              </a:pPr>
              <a:t>Q4 23</a:t>
            </a:fld>
            <a:endParaRPr lang="en-US" sz="1200">
              <a:latin typeface="+mn-lt"/>
              <a:sym typeface="Helvetica" panose="020B0604020202020204" pitchFamily="34" charset="0"/>
            </a:endParaRPr>
          </a:p>
        </p:txBody>
      </p:sp>
      <p:sp>
        <p:nvSpPr>
          <p:cNvPr id="22" name="Text Placeholder 2">
            <a:extLst>
              <a:ext uri="{FF2B5EF4-FFF2-40B4-BE49-F238E27FC236}">
                <a16:creationId xmlns:a16="http://schemas.microsoft.com/office/drawing/2014/main" id="{4C163521-6399-DAF4-8337-95BE77FBA3C7}"/>
              </a:ext>
            </a:extLst>
          </p:cNvPr>
          <p:cNvSpPr>
            <a:spLocks noGrp="1"/>
          </p:cNvSpPr>
          <p:nvPr>
            <p:custDataLst>
              <p:tags r:id="rId23"/>
            </p:custDataLst>
          </p:nvPr>
        </p:nvSpPr>
        <p:spPr bwMode="auto">
          <a:xfrm>
            <a:off x="8161338" y="1604963"/>
            <a:ext cx="671513" cy="311150"/>
          </a:xfrm>
          <a:prstGeom prst="ellipse">
            <a:avLst/>
          </a:prstGeom>
          <a:solidFill>
            <a:schemeClr val="accent3"/>
          </a:solidFill>
          <a:ln w="9525" algn="ctr">
            <a:noFill/>
          </a:ln>
          <a:extLst>
            <a:ext uri="{91240B29-F687-4F45-9708-019B960494DF}">
              <a14:hiddenLine xmlns:a14="http://schemas.microsoft.com/office/drawing/2010/main" w="9525" algn="ctr">
                <a:solidFill>
                  <a:schemeClr val="bg1"/>
                </a:solidFill>
              </a14:hiddenLine>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Clr>
                <a:srgbClr val="EDDD95"/>
              </a:buClr>
              <a:buFont typeface="Arial" panose="020B0604020202020204" pitchFamily="34" charset="0"/>
              <a:buNone/>
              <a:defRPr sz="2400" kern="1200">
                <a:solidFill>
                  <a:schemeClr val="bg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Clr>
                <a:schemeClr val="bg1"/>
              </a:buClr>
              <a:buFont typeface="Arial" panose="020B0604020202020204" pitchFamily="34" charset="0"/>
              <a:buChar char="•"/>
              <a:defRPr sz="2000" kern="1200">
                <a:solidFill>
                  <a:schemeClr val="bg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Clr>
                <a:schemeClr val="bg1"/>
              </a:buClr>
              <a:buFont typeface="Arial" panose="020B0604020202020204" pitchFamily="34" charset="0"/>
              <a:buChar char="•"/>
              <a:defRPr sz="1800" kern="1200">
                <a:solidFill>
                  <a:schemeClr val="bg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Clr>
                <a:schemeClr val="bg1"/>
              </a:buClr>
              <a:buFont typeface="Arial" panose="020B0604020202020204" pitchFamily="34" charset="0"/>
              <a:buChar char="•"/>
              <a:defRPr sz="1600" kern="1200">
                <a:solidFill>
                  <a:schemeClr val="bg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Clr>
                <a:schemeClr val="bg1"/>
              </a:buClr>
              <a:buFont typeface="Arial" panose="020B0604020202020204" pitchFamily="34" charset="0"/>
              <a:buChar char="•"/>
              <a:defRPr sz="1600" kern="1200">
                <a:solidFill>
                  <a:schemeClr val="bg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BE7FADA8-EA0F-427E-ABDF-99D66BB2915C}" type="datetime'''-1''''''''''''''5''%'''''''''''''''">
              <a:rPr lang="en-US" altLang="en-US" sz="1600" b="1" smtClean="0">
                <a:latin typeface="+mn-lt"/>
              </a:rPr>
              <a:pPr algn="ctr">
                <a:spcBef>
                  <a:spcPct val="0"/>
                </a:spcBef>
                <a:spcAft>
                  <a:spcPct val="0"/>
                </a:spcAft>
              </a:pPr>
              <a:t>-15%</a:t>
            </a:fld>
            <a:endParaRPr lang="en-US" sz="1600" b="1">
              <a:latin typeface="+mn-lt"/>
              <a:sym typeface="Franklin Gothic Book" panose="020B0503020102020204" pitchFamily="34" charset="0"/>
            </a:endParaRPr>
          </a:p>
        </p:txBody>
      </p:sp>
      <p:sp>
        <p:nvSpPr>
          <p:cNvPr id="89" name="Oval 88">
            <a:extLst>
              <a:ext uri="{FF2B5EF4-FFF2-40B4-BE49-F238E27FC236}">
                <a16:creationId xmlns:a16="http://schemas.microsoft.com/office/drawing/2014/main" id="{F6C45F95-4EDE-8C30-9AD5-7BA95BC634FA}"/>
              </a:ext>
            </a:extLst>
          </p:cNvPr>
          <p:cNvSpPr/>
          <p:nvPr>
            <p:custDataLst>
              <p:tags r:id="rId24"/>
            </p:custDataLst>
          </p:nvPr>
        </p:nvSpPr>
        <p:spPr bwMode="auto">
          <a:xfrm>
            <a:off x="8974139" y="1338264"/>
            <a:ext cx="614363" cy="34607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ctr">
              <a:spcBef>
                <a:spcPct val="0"/>
              </a:spcBef>
              <a:spcAft>
                <a:spcPct val="0"/>
              </a:spcAft>
            </a:pPr>
            <a:fld id="{C3379F4E-701F-4B9C-839B-19B8CE57E18B}" type="datetime'''-''''1''8''''''''''''''''''''''''''''''''''''''''''%'">
              <a:rPr lang="nb-NO" altLang="en-US" sz="1600" b="1" smtClean="0">
                <a:solidFill>
                  <a:schemeClr val="tx1"/>
                </a:solidFill>
                <a:effectLst/>
                <a:latin typeface="Franklin Gothic Book" panose="020B0503020102020204" pitchFamily="34" charset="0"/>
              </a:rPr>
              <a:pPr algn="ctr">
                <a:spcBef>
                  <a:spcPct val="0"/>
                </a:spcBef>
                <a:spcAft>
                  <a:spcPct val="0"/>
                </a:spcAft>
              </a:pPr>
              <a:t>-18%</a:t>
            </a:fld>
            <a:endParaRPr lang="nb-NO" sz="1600" b="1">
              <a:solidFill>
                <a:schemeClr val="tx1"/>
              </a:solidFill>
              <a:latin typeface="Franklin Gothic Book" panose="020B0503020102020204" pitchFamily="34" charset="0"/>
              <a:sym typeface="Franklin Gothic Book" panose="020B0503020102020204" pitchFamily="34" charset="0"/>
            </a:endParaRPr>
          </a:p>
        </p:txBody>
      </p:sp>
    </p:spTree>
    <p:extLst>
      <p:ext uri="{BB962C8B-B14F-4D97-AF65-F5344CB8AC3E}">
        <p14:creationId xmlns:p14="http://schemas.microsoft.com/office/powerpoint/2010/main" val="2127675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Chord 30">
            <a:extLst>
              <a:ext uri="{FF2B5EF4-FFF2-40B4-BE49-F238E27FC236}">
                <a16:creationId xmlns:a16="http://schemas.microsoft.com/office/drawing/2014/main" id="{9AD82D28-5796-34D6-39A3-59B3B8B329DE}"/>
              </a:ext>
            </a:extLst>
          </p:cNvPr>
          <p:cNvSpPr/>
          <p:nvPr/>
        </p:nvSpPr>
        <p:spPr>
          <a:xfrm>
            <a:off x="8553924" y="2258189"/>
            <a:ext cx="2837101" cy="2837101"/>
          </a:xfrm>
          <a:prstGeom prst="chord">
            <a:avLst>
              <a:gd name="adj1" fmla="val 15848117"/>
              <a:gd name="adj2" fmla="val 5756272"/>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 name="Group 24">
            <a:extLst>
              <a:ext uri="{FF2B5EF4-FFF2-40B4-BE49-F238E27FC236}">
                <a16:creationId xmlns:a16="http://schemas.microsoft.com/office/drawing/2014/main" id="{5E6DFF5E-C121-FB2A-A533-5442A54FBF99}"/>
              </a:ext>
            </a:extLst>
          </p:cNvPr>
          <p:cNvGrpSpPr/>
          <p:nvPr/>
        </p:nvGrpSpPr>
        <p:grpSpPr>
          <a:xfrm>
            <a:off x="5794597" y="1567212"/>
            <a:ext cx="3824074" cy="4188480"/>
            <a:chOff x="715920" y="1711714"/>
            <a:chExt cx="4303634" cy="4188480"/>
          </a:xfrm>
        </p:grpSpPr>
        <p:sp>
          <p:nvSpPr>
            <p:cNvPr id="26" name="Rectangle 25">
              <a:extLst>
                <a:ext uri="{FF2B5EF4-FFF2-40B4-BE49-F238E27FC236}">
                  <a16:creationId xmlns:a16="http://schemas.microsoft.com/office/drawing/2014/main" id="{AAEE8A0C-FDE4-238E-AB3C-C8660DBD6110}"/>
                </a:ext>
              </a:extLst>
            </p:cNvPr>
            <p:cNvSpPr/>
            <p:nvPr/>
          </p:nvSpPr>
          <p:spPr>
            <a:xfrm>
              <a:off x="731838" y="1711715"/>
              <a:ext cx="4286386" cy="4188479"/>
            </a:xfrm>
            <a:prstGeom prst="rect">
              <a:avLst/>
            </a:prstGeom>
            <a:solidFill>
              <a:schemeClr val="accent4">
                <a:lumMod val="20000"/>
                <a:lumOff val="80000"/>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cxnSp>
          <p:nvCxnSpPr>
            <p:cNvPr id="27" name="Straight Connector 26">
              <a:extLst>
                <a:ext uri="{FF2B5EF4-FFF2-40B4-BE49-F238E27FC236}">
                  <a16:creationId xmlns:a16="http://schemas.microsoft.com/office/drawing/2014/main" id="{A8F332D3-A7E9-D859-DC21-C4868AEC99E2}"/>
                </a:ext>
              </a:extLst>
            </p:cNvPr>
            <p:cNvCxnSpPr>
              <a:cxnSpLocks/>
            </p:cNvCxnSpPr>
            <p:nvPr/>
          </p:nvCxnSpPr>
          <p:spPr>
            <a:xfrm>
              <a:off x="715920" y="1711714"/>
              <a:ext cx="4303634" cy="0"/>
            </a:xfrm>
            <a:prstGeom prst="line">
              <a:avLst/>
            </a:prstGeom>
            <a:ln w="12700"/>
          </p:spPr>
          <p:style>
            <a:lnRef idx="1">
              <a:schemeClr val="accent2"/>
            </a:lnRef>
            <a:fillRef idx="0">
              <a:schemeClr val="accent2"/>
            </a:fillRef>
            <a:effectRef idx="0">
              <a:schemeClr val="accent2"/>
            </a:effectRef>
            <a:fontRef idx="minor">
              <a:schemeClr val="tx1"/>
            </a:fontRef>
          </p:style>
        </p:cxnSp>
      </p:grpSp>
      <p:sp>
        <p:nvSpPr>
          <p:cNvPr id="10" name="Text Placeholder 3">
            <a:extLst>
              <a:ext uri="{FF2B5EF4-FFF2-40B4-BE49-F238E27FC236}">
                <a16:creationId xmlns:a16="http://schemas.microsoft.com/office/drawing/2014/main" id="{CC3682A9-E61D-E7F8-94B6-61FA9F44CF1C}"/>
              </a:ext>
            </a:extLst>
          </p:cNvPr>
          <p:cNvSpPr txBox="1">
            <a:spLocks/>
          </p:cNvSpPr>
          <p:nvPr/>
        </p:nvSpPr>
        <p:spPr>
          <a:xfrm>
            <a:off x="648172" y="1105543"/>
            <a:ext cx="4793740" cy="459422"/>
          </a:xfrm>
          <a:prstGeom prst="rect">
            <a:avLst/>
          </a:prstGeom>
        </p:spPr>
        <p:txBody>
          <a:bodyPr anchor="b">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1E1E50"/>
                </a:solidFill>
                <a:effectLst/>
                <a:uLnTx/>
                <a:uFillTx/>
                <a:latin typeface="Helvetica" pitchFamily="2" charset="0"/>
                <a:ea typeface="+mn-ea"/>
                <a:cs typeface="+mn-cs"/>
              </a:rPr>
              <a:t>Revenue 2023 </a:t>
            </a:r>
            <a:r>
              <a:rPr kumimoji="0" lang="en-GB" sz="1600" u="none" strike="noStrike" kern="1200" cap="none" spc="0" normalizeH="0" baseline="0" noProof="0">
                <a:ln>
                  <a:noFill/>
                </a:ln>
                <a:solidFill>
                  <a:srgbClr val="1E1E50"/>
                </a:solidFill>
                <a:effectLst/>
                <a:uLnTx/>
                <a:uFillTx/>
                <a:latin typeface="Helvetica Light" panose="020B0403020202020204" pitchFamily="34" charset="0"/>
              </a:rPr>
              <a:t>MNOK</a:t>
            </a:r>
            <a:endParaRPr kumimoji="0" lang="en-US" sz="1600" u="none" strike="noStrike" kern="1200" cap="none" spc="0" normalizeH="0" baseline="0" noProof="0">
              <a:ln>
                <a:noFill/>
              </a:ln>
              <a:solidFill>
                <a:srgbClr val="1E1E50"/>
              </a:solidFill>
              <a:effectLst/>
              <a:uLnTx/>
              <a:uFillTx/>
              <a:latin typeface="Helvetica Light" panose="020B0403020202020204" pitchFamily="34" charset="0"/>
            </a:endParaRPr>
          </a:p>
        </p:txBody>
      </p:sp>
      <p:grpSp>
        <p:nvGrpSpPr>
          <p:cNvPr id="11" name="Group 10">
            <a:extLst>
              <a:ext uri="{FF2B5EF4-FFF2-40B4-BE49-F238E27FC236}">
                <a16:creationId xmlns:a16="http://schemas.microsoft.com/office/drawing/2014/main" id="{812AC327-F910-3CB5-14D8-5955D3897840}"/>
              </a:ext>
            </a:extLst>
          </p:cNvPr>
          <p:cNvGrpSpPr/>
          <p:nvPr/>
        </p:nvGrpSpPr>
        <p:grpSpPr>
          <a:xfrm>
            <a:off x="725702" y="1567212"/>
            <a:ext cx="4614748" cy="4188480"/>
            <a:chOff x="715920" y="1711714"/>
            <a:chExt cx="4303634" cy="4188480"/>
          </a:xfrm>
        </p:grpSpPr>
        <p:sp>
          <p:nvSpPr>
            <p:cNvPr id="13" name="Rectangle 12">
              <a:extLst>
                <a:ext uri="{FF2B5EF4-FFF2-40B4-BE49-F238E27FC236}">
                  <a16:creationId xmlns:a16="http://schemas.microsoft.com/office/drawing/2014/main" id="{8668BFE3-94B1-5F83-D0B1-FBE1D947C77A}"/>
                </a:ext>
              </a:extLst>
            </p:cNvPr>
            <p:cNvSpPr/>
            <p:nvPr/>
          </p:nvSpPr>
          <p:spPr>
            <a:xfrm>
              <a:off x="731838" y="1711715"/>
              <a:ext cx="4286386" cy="4188479"/>
            </a:xfrm>
            <a:prstGeom prst="rect">
              <a:avLst/>
            </a:prstGeom>
            <a:solidFill>
              <a:schemeClr val="accent4">
                <a:lumMod val="20000"/>
                <a:lumOff val="80000"/>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cxnSp>
          <p:nvCxnSpPr>
            <p:cNvPr id="15" name="Straight Connector 14">
              <a:extLst>
                <a:ext uri="{FF2B5EF4-FFF2-40B4-BE49-F238E27FC236}">
                  <a16:creationId xmlns:a16="http://schemas.microsoft.com/office/drawing/2014/main" id="{EBEB0762-10DD-4DAF-F1D8-0731362DE7F1}"/>
                </a:ext>
              </a:extLst>
            </p:cNvPr>
            <p:cNvCxnSpPr>
              <a:cxnSpLocks/>
            </p:cNvCxnSpPr>
            <p:nvPr/>
          </p:nvCxnSpPr>
          <p:spPr>
            <a:xfrm>
              <a:off x="715920" y="1711714"/>
              <a:ext cx="4303634" cy="0"/>
            </a:xfrm>
            <a:prstGeom prst="line">
              <a:avLst/>
            </a:prstGeom>
            <a:ln w="12700"/>
          </p:spPr>
          <p:style>
            <a:lnRef idx="1">
              <a:schemeClr val="accent2"/>
            </a:lnRef>
            <a:fillRef idx="0">
              <a:schemeClr val="accent2"/>
            </a:fillRef>
            <a:effectRef idx="0">
              <a:schemeClr val="accent2"/>
            </a:effectRef>
            <a:fontRef idx="minor">
              <a:schemeClr val="tx1"/>
            </a:fontRef>
          </p:style>
        </p:cxnSp>
      </p:grpSp>
      <p:graphicFrame>
        <p:nvGraphicFramePr>
          <p:cNvPr id="72" name="Objekt 71" hidden="1">
            <a:extLst>
              <a:ext uri="{FF2B5EF4-FFF2-40B4-BE49-F238E27FC236}">
                <a16:creationId xmlns:a16="http://schemas.microsoft.com/office/drawing/2014/main" id="{FEE61F58-21D0-1105-1390-5AA8E6EDA32D}"/>
              </a:ext>
            </a:extLst>
          </p:cNvPr>
          <p:cNvGraphicFramePr>
            <a:graphicFrameLocks noChangeAspect="1"/>
          </p:cNvGraphicFramePr>
          <p:nvPr>
            <p:custDataLst>
              <p:tags r:id="rId1"/>
            </p:custDataLst>
            <p:extLst>
              <p:ext uri="{D42A27DB-BD31-4B8C-83A1-F6EECF244321}">
                <p14:modId xmlns:p14="http://schemas.microsoft.com/office/powerpoint/2010/main" val="2164864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44" imgH="345" progId="TCLayout.ActiveDocument.1">
                  <p:embed/>
                </p:oleObj>
              </mc:Choice>
              <mc:Fallback>
                <p:oleObj name="think-cell Slide" r:id="rId19" imgW="344" imgH="345" progId="TCLayout.ActiveDocument.1">
                  <p:embed/>
                  <p:pic>
                    <p:nvPicPr>
                      <p:cNvPr id="72" name="Objekt 71" hidden="1">
                        <a:extLst>
                          <a:ext uri="{FF2B5EF4-FFF2-40B4-BE49-F238E27FC236}">
                            <a16:creationId xmlns:a16="http://schemas.microsoft.com/office/drawing/2014/main" id="{FEE61F58-21D0-1105-1390-5AA8E6EDA32D}"/>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3233D1D5-DDFB-8B77-E484-D47521D22FC4}"/>
              </a:ext>
            </a:extLst>
          </p:cNvPr>
          <p:cNvSpPr txBox="1">
            <a:spLocks/>
          </p:cNvSpPr>
          <p:nvPr/>
        </p:nvSpPr>
        <p:spPr>
          <a:xfrm>
            <a:off x="728947" y="475753"/>
            <a:ext cx="11354196" cy="657738"/>
          </a:xfrm>
          <a:prstGeom prst="rect">
            <a:avLst/>
          </a:prstGeom>
        </p:spPr>
        <p:txBody>
          <a:bodyPr anchor="t">
            <a:normAutofit/>
          </a:bodyPr>
          <a:lstStyle>
            <a:lvl1pPr algn="l" defTabSz="914400" rtl="0" eaLnBrk="1" latinLnBrk="0" hangingPunct="1">
              <a:lnSpc>
                <a:spcPct val="90000"/>
              </a:lnSpc>
              <a:spcBef>
                <a:spcPct val="0"/>
              </a:spcBef>
              <a:buNone/>
              <a:defRPr sz="4000" b="0" i="0" kern="1200">
                <a:solidFill>
                  <a:schemeClr val="accent1"/>
                </a:solidFill>
                <a:latin typeface="Helvetica Light" panose="020B0403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a:ln>
                  <a:noFill/>
                </a:ln>
                <a:solidFill>
                  <a:srgbClr val="2832DC"/>
                </a:solidFill>
                <a:effectLst/>
                <a:uLnTx/>
                <a:uFillTx/>
                <a:latin typeface="Helvetica Light" panose="020B0403020202020204" pitchFamily="34" charset="0"/>
                <a:ea typeface="+mj-ea"/>
                <a:cs typeface="+mj-cs"/>
              </a:rPr>
              <a:t>Business developed </a:t>
            </a:r>
            <a:r>
              <a:rPr kumimoji="0" lang="en-US" sz="4000" b="1" strike="noStrike" kern="1200" cap="none" spc="0" normalizeH="0" baseline="0" noProof="0">
                <a:ln>
                  <a:noFill/>
                </a:ln>
                <a:solidFill>
                  <a:srgbClr val="2832DC"/>
                </a:solidFill>
                <a:effectLst/>
                <a:uLnTx/>
                <a:uFillTx/>
                <a:latin typeface="Helvetica" pitchFamily="2" charset="0"/>
              </a:rPr>
              <a:t>far</a:t>
            </a:r>
            <a:r>
              <a:rPr kumimoji="0" lang="en-US" sz="4000" b="1" u="none" strike="noStrike" kern="1200" cap="none" spc="0" normalizeH="0" baseline="0" noProof="0">
                <a:ln>
                  <a:noFill/>
                </a:ln>
                <a:solidFill>
                  <a:srgbClr val="2832DC"/>
                </a:solidFill>
                <a:effectLst/>
                <a:uLnTx/>
                <a:uFillTx/>
                <a:latin typeface="Helvetica" pitchFamily="2" charset="0"/>
              </a:rPr>
              <a:t> weaker </a:t>
            </a:r>
            <a:r>
              <a:rPr kumimoji="0" lang="en-US" sz="4000" b="0" i="0" u="none" strike="noStrike" kern="1200" cap="none" spc="0" normalizeH="0" baseline="0" noProof="0">
                <a:ln>
                  <a:noFill/>
                </a:ln>
                <a:solidFill>
                  <a:srgbClr val="2832DC"/>
                </a:solidFill>
                <a:effectLst/>
                <a:uLnTx/>
                <a:uFillTx/>
                <a:latin typeface="Helvetica Light" panose="020B0403020202020204" pitchFamily="34" charset="0"/>
                <a:ea typeface="+mj-ea"/>
                <a:cs typeface="+mj-cs"/>
              </a:rPr>
              <a:t>than anticipated</a:t>
            </a:r>
          </a:p>
        </p:txBody>
      </p:sp>
      <p:graphicFrame>
        <p:nvGraphicFramePr>
          <p:cNvPr id="9" name="Chart 8">
            <a:extLst>
              <a:ext uri="{FF2B5EF4-FFF2-40B4-BE49-F238E27FC236}">
                <a16:creationId xmlns:a16="http://schemas.microsoft.com/office/drawing/2014/main" id="{A9C6A551-C1F6-9B8F-5723-E173E82FB58A}"/>
              </a:ext>
            </a:extLst>
          </p:cNvPr>
          <p:cNvGraphicFramePr/>
          <p:nvPr>
            <p:custDataLst>
              <p:tags r:id="rId2"/>
            </p:custDataLst>
          </p:nvPr>
        </p:nvGraphicFramePr>
        <p:xfrm>
          <a:off x="806111" y="1821009"/>
          <a:ext cx="3810000" cy="3532188"/>
        </p:xfrm>
        <a:graphic>
          <a:graphicData uri="http://schemas.openxmlformats.org/drawingml/2006/chart">
            <c:chart xmlns:c="http://schemas.openxmlformats.org/drawingml/2006/chart" xmlns:r="http://schemas.openxmlformats.org/officeDocument/2006/relationships" r:id="rId21"/>
          </a:graphicData>
        </a:graphic>
      </p:graphicFrame>
      <p:cxnSp>
        <p:nvCxnSpPr>
          <p:cNvPr id="45" name="Straight Connector 44">
            <a:extLst>
              <a:ext uri="{FF2B5EF4-FFF2-40B4-BE49-F238E27FC236}">
                <a16:creationId xmlns:a16="http://schemas.microsoft.com/office/drawing/2014/main" id="{3240739B-7D8E-04BD-4BD0-EEFD551C9678}"/>
              </a:ext>
            </a:extLst>
          </p:cNvPr>
          <p:cNvCxnSpPr/>
          <p:nvPr>
            <p:custDataLst>
              <p:tags r:id="rId3"/>
            </p:custDataLst>
          </p:nvPr>
        </p:nvCxnSpPr>
        <p:spPr bwMode="auto">
          <a:xfrm>
            <a:off x="3904911" y="2309959"/>
            <a:ext cx="67151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B6130CAD-3999-4B37-54A2-04E55FFA58D0}"/>
              </a:ext>
            </a:extLst>
          </p:cNvPr>
          <p:cNvCxnSpPr/>
          <p:nvPr>
            <p:custDataLst>
              <p:tags r:id="rId4"/>
            </p:custDataLst>
          </p:nvPr>
        </p:nvCxnSpPr>
        <p:spPr bwMode="auto">
          <a:xfrm>
            <a:off x="2307886" y="2309959"/>
            <a:ext cx="103187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8A804E58-22AE-B10E-7F04-4963F14B5957}"/>
              </a:ext>
            </a:extLst>
          </p:cNvPr>
          <p:cNvCxnSpPr/>
          <p:nvPr>
            <p:custDataLst>
              <p:tags r:id="rId5"/>
            </p:custDataLst>
          </p:nvPr>
        </p:nvCxnSpPr>
        <p:spPr bwMode="auto">
          <a:xfrm>
            <a:off x="4130336" y="2513159"/>
            <a:ext cx="44608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A18492AD-B3F2-716A-851D-D13D12258296}"/>
              </a:ext>
            </a:extLst>
          </p:cNvPr>
          <p:cNvCxnSpPr/>
          <p:nvPr>
            <p:custDataLst>
              <p:tags r:id="rId6"/>
            </p:custDataLst>
          </p:nvPr>
        </p:nvCxnSpPr>
        <p:spPr bwMode="auto">
          <a:xfrm>
            <a:off x="4533561" y="2306784"/>
            <a:ext cx="0" cy="2095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2" name="Rectangle 21">
            <a:extLst>
              <a:ext uri="{FF2B5EF4-FFF2-40B4-BE49-F238E27FC236}">
                <a16:creationId xmlns:a16="http://schemas.microsoft.com/office/drawing/2014/main" id="{7926469C-A065-FFDA-0C5A-AC359134B873}"/>
              </a:ext>
            </a:extLst>
          </p:cNvPr>
          <p:cNvSpPr/>
          <p:nvPr>
            <p:custDataLst>
              <p:tags r:id="rId7"/>
            </p:custDataLst>
          </p:nvPr>
        </p:nvSpPr>
        <p:spPr bwMode="auto">
          <a:xfrm>
            <a:off x="3080999" y="5073798"/>
            <a:ext cx="1084263" cy="2444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EF52547C-0011-4F8E-9E64-928920EE9755}" type="datetime'20''''23'''''''''''''' A''''''''c''''''''t''''u''al'">
              <a:rPr lang="nb-NO" altLang="en-US" sz="1600" smtClean="0">
                <a:solidFill>
                  <a:schemeClr val="tx1"/>
                </a:solidFill>
                <a:latin typeface="Helvetica Light" panose="020B0403020202020204" pitchFamily="34" charset="0"/>
              </a:rPr>
              <a:pPr algn="ctr">
                <a:spcBef>
                  <a:spcPct val="0"/>
                </a:spcBef>
                <a:spcAft>
                  <a:spcPct val="0"/>
                </a:spcAft>
              </a:pPr>
              <a:t>2023 Actual</a:t>
            </a:fld>
            <a:endParaRPr lang="nb-NO" sz="1600">
              <a:solidFill>
                <a:schemeClr val="tx1"/>
              </a:solidFill>
              <a:latin typeface="Helvetica Light" panose="020B0403020202020204" pitchFamily="34" charset="0"/>
            </a:endParaRPr>
          </a:p>
        </p:txBody>
      </p:sp>
      <p:sp>
        <p:nvSpPr>
          <p:cNvPr id="2" name="Rectangle 1">
            <a:extLst>
              <a:ext uri="{FF2B5EF4-FFF2-40B4-BE49-F238E27FC236}">
                <a16:creationId xmlns:a16="http://schemas.microsoft.com/office/drawing/2014/main" id="{9D56730E-1D27-1546-B3C9-6FF5F4CC3943}"/>
              </a:ext>
            </a:extLst>
          </p:cNvPr>
          <p:cNvSpPr/>
          <p:nvPr>
            <p:custDataLst>
              <p:tags r:id="rId8"/>
            </p:custDataLst>
          </p:nvPr>
        </p:nvSpPr>
        <p:spPr bwMode="auto">
          <a:xfrm>
            <a:off x="1144250" y="5073796"/>
            <a:ext cx="1311275" cy="4889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lstStyle/>
          <a:p>
            <a:pPr algn="ctr">
              <a:spcBef>
                <a:spcPct val="0"/>
              </a:spcBef>
              <a:spcAft>
                <a:spcPct val="0"/>
              </a:spcAft>
            </a:pPr>
            <a:r>
              <a:rPr lang="nb-NO" altLang="en-US" sz="1600">
                <a:solidFill>
                  <a:schemeClr val="tx1"/>
                </a:solidFill>
                <a:latin typeface="Helvetica Light" panose="020B0403020202020204" pitchFamily="34" charset="0"/>
              </a:rPr>
              <a:t>2023 </a:t>
            </a:r>
            <a:r>
              <a:rPr lang="nb-NO" altLang="en-US" sz="1600" err="1">
                <a:solidFill>
                  <a:schemeClr val="tx1"/>
                </a:solidFill>
                <a:latin typeface="Helvetica Light" panose="020B0403020202020204" pitchFamily="34" charset="0"/>
              </a:rPr>
              <a:t>Estimate</a:t>
            </a:r>
            <a:r>
              <a:rPr lang="nb-NO" altLang="en-US" sz="1600">
                <a:solidFill>
                  <a:schemeClr val="tx1"/>
                </a:solidFill>
                <a:latin typeface="Helvetica Light" panose="020B0403020202020204" pitchFamily="34" charset="0"/>
              </a:rPr>
              <a:t> as </a:t>
            </a:r>
            <a:r>
              <a:rPr lang="nb-NO" altLang="en-US" sz="1600" err="1">
                <a:solidFill>
                  <a:schemeClr val="tx1"/>
                </a:solidFill>
                <a:latin typeface="Helvetica Light" panose="020B0403020202020204" pitchFamily="34" charset="0"/>
              </a:rPr>
              <a:t>of</a:t>
            </a:r>
            <a:r>
              <a:rPr lang="nb-NO" altLang="en-US" sz="1600">
                <a:solidFill>
                  <a:schemeClr val="tx1"/>
                </a:solidFill>
                <a:latin typeface="Helvetica Light" panose="020B0403020202020204" pitchFamily="34" charset="0"/>
              </a:rPr>
              <a:t> Q3</a:t>
            </a:r>
            <a:endParaRPr lang="nb-NO" sz="1600">
              <a:solidFill>
                <a:schemeClr val="tx1"/>
              </a:solidFill>
              <a:latin typeface="Helvetica Light" panose="020B0403020202020204" pitchFamily="34" charset="0"/>
            </a:endParaRPr>
          </a:p>
        </p:txBody>
      </p:sp>
      <p:sp>
        <p:nvSpPr>
          <p:cNvPr id="42" name="Oval 41">
            <a:extLst>
              <a:ext uri="{FF2B5EF4-FFF2-40B4-BE49-F238E27FC236}">
                <a16:creationId xmlns:a16="http://schemas.microsoft.com/office/drawing/2014/main" id="{2976FD2A-F94C-2AA1-F443-D98C1B4AFBA3}"/>
              </a:ext>
            </a:extLst>
          </p:cNvPr>
          <p:cNvSpPr/>
          <p:nvPr>
            <p:custDataLst>
              <p:tags r:id="rId9"/>
            </p:custDataLst>
          </p:nvPr>
        </p:nvSpPr>
        <p:spPr bwMode="auto">
          <a:xfrm>
            <a:off x="4624049" y="2017066"/>
            <a:ext cx="986703" cy="579436"/>
          </a:xfrm>
          <a:prstGeom prst="ellipse">
            <a:avLst/>
          </a:prstGeom>
          <a:solidFill>
            <a:schemeClr val="tx2"/>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ctr">
              <a:spcBef>
                <a:spcPct val="0"/>
              </a:spcBef>
              <a:spcAft>
                <a:spcPct val="0"/>
              </a:spcAft>
            </a:pPr>
            <a:r>
              <a:rPr lang="nb-NO" altLang="en-US" sz="1600" b="1">
                <a:solidFill>
                  <a:schemeClr val="bg1"/>
                </a:solidFill>
                <a:effectLst/>
              </a:rPr>
              <a:t>-109</a:t>
            </a:r>
            <a:br>
              <a:rPr lang="nb-NO" altLang="en-US" sz="1600" b="1">
                <a:solidFill>
                  <a:schemeClr val="bg1"/>
                </a:solidFill>
                <a:effectLst/>
              </a:rPr>
            </a:br>
            <a:r>
              <a:rPr lang="nb-NO" altLang="en-US" sz="1600" b="1">
                <a:solidFill>
                  <a:schemeClr val="bg1"/>
                </a:solidFill>
                <a:effectLst/>
              </a:rPr>
              <a:t>MNOK</a:t>
            </a:r>
            <a:endParaRPr lang="nb-NO" sz="1600" b="1">
              <a:solidFill>
                <a:schemeClr val="bg1"/>
              </a:solidFill>
            </a:endParaRPr>
          </a:p>
        </p:txBody>
      </p:sp>
      <p:graphicFrame>
        <p:nvGraphicFramePr>
          <p:cNvPr id="16" name="Chart 15">
            <a:extLst>
              <a:ext uri="{FF2B5EF4-FFF2-40B4-BE49-F238E27FC236}">
                <a16:creationId xmlns:a16="http://schemas.microsoft.com/office/drawing/2014/main" id="{23E22FA3-5B64-4D83-4E50-0E571A902FEE}"/>
              </a:ext>
            </a:extLst>
          </p:cNvPr>
          <p:cNvGraphicFramePr/>
          <p:nvPr>
            <p:custDataLst>
              <p:tags r:id="rId10"/>
            </p:custDataLst>
            <p:extLst>
              <p:ext uri="{D42A27DB-BD31-4B8C-83A1-F6EECF244321}">
                <p14:modId xmlns:p14="http://schemas.microsoft.com/office/powerpoint/2010/main" val="3357790568"/>
              </p:ext>
            </p:extLst>
          </p:nvPr>
        </p:nvGraphicFramePr>
        <p:xfrm>
          <a:off x="5848824" y="2807708"/>
          <a:ext cx="3113088" cy="2566987"/>
        </p:xfrm>
        <a:graphic>
          <a:graphicData uri="http://schemas.openxmlformats.org/drawingml/2006/chart">
            <c:chart xmlns:c="http://schemas.openxmlformats.org/drawingml/2006/chart" xmlns:r="http://schemas.openxmlformats.org/officeDocument/2006/relationships" r:id="rId22"/>
          </a:graphicData>
        </a:graphic>
      </p:graphicFrame>
      <p:cxnSp>
        <p:nvCxnSpPr>
          <p:cNvPr id="19" name="Straight Connector 18">
            <a:extLst>
              <a:ext uri="{FF2B5EF4-FFF2-40B4-BE49-F238E27FC236}">
                <a16:creationId xmlns:a16="http://schemas.microsoft.com/office/drawing/2014/main" id="{02BF55F5-2E85-4854-22DF-7F366A0FFE5F}"/>
              </a:ext>
            </a:extLst>
          </p:cNvPr>
          <p:cNvCxnSpPr/>
          <p:nvPr>
            <p:custDataLst>
              <p:tags r:id="rId11"/>
            </p:custDataLst>
          </p:nvPr>
        </p:nvCxnSpPr>
        <p:spPr bwMode="auto">
          <a:xfrm>
            <a:off x="7080724" y="3296658"/>
            <a:ext cx="184150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1B6AC1BD-09AF-D7E3-FA8C-B877006EE9CA}"/>
              </a:ext>
            </a:extLst>
          </p:cNvPr>
          <p:cNvCxnSpPr/>
          <p:nvPr>
            <p:custDataLst>
              <p:tags r:id="rId12"/>
            </p:custDataLst>
          </p:nvPr>
        </p:nvCxnSpPr>
        <p:spPr bwMode="auto">
          <a:xfrm>
            <a:off x="8553924" y="4512683"/>
            <a:ext cx="36830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F7FDCF64-3A99-33CE-6B11-417B72EC5D47}"/>
              </a:ext>
            </a:extLst>
          </p:cNvPr>
          <p:cNvCxnSpPr/>
          <p:nvPr>
            <p:custDataLst>
              <p:tags r:id="rId13"/>
            </p:custDataLst>
          </p:nvPr>
        </p:nvCxnSpPr>
        <p:spPr bwMode="auto">
          <a:xfrm>
            <a:off x="8879362" y="3293483"/>
            <a:ext cx="0" cy="12223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 name="Rectangle 21">
            <a:extLst>
              <a:ext uri="{FF2B5EF4-FFF2-40B4-BE49-F238E27FC236}">
                <a16:creationId xmlns:a16="http://schemas.microsoft.com/office/drawing/2014/main" id="{0E7C6CA3-29B1-C7B1-5A62-0540917472C6}"/>
              </a:ext>
            </a:extLst>
          </p:cNvPr>
          <p:cNvSpPr/>
          <p:nvPr>
            <p:custDataLst>
              <p:tags r:id="rId14"/>
            </p:custDataLst>
          </p:nvPr>
        </p:nvSpPr>
        <p:spPr bwMode="auto">
          <a:xfrm>
            <a:off x="7601424" y="5095295"/>
            <a:ext cx="1084263" cy="2444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225B13EB-AED4-4979-802C-CCAB95FADBC7}" type="datetime'''''''2''0''23 ''''''''A''ct''''''''u''''''al'">
              <a:rPr lang="nb-NO" altLang="en-US" sz="1600" smtClean="0">
                <a:solidFill>
                  <a:schemeClr val="tx1"/>
                </a:solidFill>
                <a:latin typeface="Helvetica Light" panose="020B0403020202020204" pitchFamily="34" charset="0"/>
              </a:rPr>
              <a:pPr algn="ctr">
                <a:spcBef>
                  <a:spcPct val="0"/>
                </a:spcBef>
                <a:spcAft>
                  <a:spcPct val="0"/>
                </a:spcAft>
              </a:pPr>
              <a:t>2023 Actual</a:t>
            </a:fld>
            <a:endParaRPr lang="nb-NO" sz="1600">
              <a:solidFill>
                <a:schemeClr val="tx1"/>
              </a:solidFill>
              <a:latin typeface="Helvetica Light" panose="020B0403020202020204" pitchFamily="34" charset="0"/>
            </a:endParaRPr>
          </a:p>
        </p:txBody>
      </p:sp>
      <p:sp>
        <p:nvSpPr>
          <p:cNvPr id="24" name="Rectangle 1">
            <a:extLst>
              <a:ext uri="{FF2B5EF4-FFF2-40B4-BE49-F238E27FC236}">
                <a16:creationId xmlns:a16="http://schemas.microsoft.com/office/drawing/2014/main" id="{64D7FAAB-A67F-DCBD-589C-2E714DE082F8}"/>
              </a:ext>
            </a:extLst>
          </p:cNvPr>
          <p:cNvSpPr/>
          <p:nvPr>
            <p:custDataLst>
              <p:tags r:id="rId15"/>
            </p:custDataLst>
          </p:nvPr>
        </p:nvSpPr>
        <p:spPr bwMode="auto">
          <a:xfrm>
            <a:off x="6012337" y="5095294"/>
            <a:ext cx="1311275" cy="4889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lstStyle/>
          <a:p>
            <a:pPr algn="ctr">
              <a:spcBef>
                <a:spcPct val="0"/>
              </a:spcBef>
              <a:spcAft>
                <a:spcPct val="0"/>
              </a:spcAft>
            </a:pPr>
            <a:r>
              <a:rPr lang="nb-NO" sz="1600">
                <a:solidFill>
                  <a:schemeClr val="tx1"/>
                </a:solidFill>
                <a:latin typeface="Helvetica Light" panose="020B0403020202020204" pitchFamily="34" charset="0"/>
              </a:rPr>
              <a:t>2023 </a:t>
            </a:r>
            <a:r>
              <a:rPr lang="nb-NO" sz="1600" err="1">
                <a:solidFill>
                  <a:schemeClr val="tx1"/>
                </a:solidFill>
                <a:latin typeface="Helvetica Light" panose="020B0403020202020204" pitchFamily="34" charset="0"/>
              </a:rPr>
              <a:t>Estimate</a:t>
            </a:r>
            <a:r>
              <a:rPr lang="nb-NO" sz="1600">
                <a:solidFill>
                  <a:schemeClr val="tx1"/>
                </a:solidFill>
                <a:latin typeface="Helvetica Light" panose="020B0403020202020204" pitchFamily="34" charset="0"/>
              </a:rPr>
              <a:t> as </a:t>
            </a:r>
            <a:r>
              <a:rPr lang="nb-NO" sz="1600" err="1">
                <a:solidFill>
                  <a:schemeClr val="tx1"/>
                </a:solidFill>
                <a:latin typeface="Helvetica Light" panose="020B0403020202020204" pitchFamily="34" charset="0"/>
              </a:rPr>
              <a:t>of</a:t>
            </a:r>
            <a:r>
              <a:rPr lang="nb-NO" sz="1600">
                <a:solidFill>
                  <a:schemeClr val="tx1"/>
                </a:solidFill>
                <a:latin typeface="Helvetica Light" panose="020B0403020202020204" pitchFamily="34" charset="0"/>
              </a:rPr>
              <a:t> Q3</a:t>
            </a:r>
          </a:p>
        </p:txBody>
      </p:sp>
      <p:sp>
        <p:nvSpPr>
          <p:cNvPr id="17" name="Oval 16">
            <a:extLst>
              <a:ext uri="{FF2B5EF4-FFF2-40B4-BE49-F238E27FC236}">
                <a16:creationId xmlns:a16="http://schemas.microsoft.com/office/drawing/2014/main" id="{9128D7B3-074C-6A45-8324-503CA422EC3C}"/>
              </a:ext>
            </a:extLst>
          </p:cNvPr>
          <p:cNvSpPr/>
          <p:nvPr>
            <p:custDataLst>
              <p:tags r:id="rId16"/>
            </p:custDataLst>
          </p:nvPr>
        </p:nvSpPr>
        <p:spPr bwMode="auto">
          <a:xfrm>
            <a:off x="8335975" y="3595170"/>
            <a:ext cx="1084264" cy="505881"/>
          </a:xfrm>
          <a:prstGeom prst="ellipse">
            <a:avLst/>
          </a:prstGeom>
          <a:solidFill>
            <a:schemeClr val="tx2"/>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ctr">
              <a:spcBef>
                <a:spcPct val="0"/>
              </a:spcBef>
              <a:spcAft>
                <a:spcPct val="0"/>
              </a:spcAft>
            </a:pPr>
            <a:r>
              <a:rPr lang="nb-NO" altLang="en-US" sz="1600" b="1">
                <a:solidFill>
                  <a:schemeClr val="bg1"/>
                </a:solidFill>
                <a:effectLst/>
              </a:rPr>
              <a:t>-46</a:t>
            </a:r>
            <a:br>
              <a:rPr lang="nb-NO" altLang="en-US" sz="1600" b="1">
                <a:solidFill>
                  <a:schemeClr val="bg1"/>
                </a:solidFill>
                <a:effectLst/>
              </a:rPr>
            </a:br>
            <a:r>
              <a:rPr lang="nb-NO" altLang="en-US" sz="1600" b="1">
                <a:solidFill>
                  <a:schemeClr val="bg1"/>
                </a:solidFill>
                <a:effectLst/>
              </a:rPr>
              <a:t>MNOK</a:t>
            </a:r>
            <a:endParaRPr lang="nb-NO" sz="1600" b="1">
              <a:solidFill>
                <a:schemeClr val="bg1"/>
              </a:solidFill>
            </a:endParaRPr>
          </a:p>
        </p:txBody>
      </p:sp>
      <p:sp>
        <p:nvSpPr>
          <p:cNvPr id="14" name="TextBox 4">
            <a:extLst>
              <a:ext uri="{FF2B5EF4-FFF2-40B4-BE49-F238E27FC236}">
                <a16:creationId xmlns:a16="http://schemas.microsoft.com/office/drawing/2014/main" id="{43DDAD47-A4C2-836D-BE05-7B060EA4C032}"/>
              </a:ext>
            </a:extLst>
          </p:cNvPr>
          <p:cNvSpPr txBox="1"/>
          <p:nvPr/>
        </p:nvSpPr>
        <p:spPr>
          <a:xfrm>
            <a:off x="745019" y="6073706"/>
            <a:ext cx="5132373" cy="461665"/>
          </a:xfrm>
          <a:prstGeom prst="rect">
            <a:avLst/>
          </a:prstGeom>
          <a:noFill/>
        </p:spPr>
        <p:txBody>
          <a:bodyPr wrap="square" rtlCol="0">
            <a:spAutoFit/>
          </a:bodyPr>
          <a:lstStyle/>
          <a:p>
            <a:r>
              <a:rPr lang="en-GB" sz="1200">
                <a:latin typeface="Helvetica Light" panose="020B0403020202020204" pitchFamily="34" charset="0"/>
              </a:rPr>
              <a:t>* </a:t>
            </a:r>
            <a:r>
              <a:rPr lang="nb-NO" sz="1200">
                <a:latin typeface="Helvetica Light" panose="020B0403020202020204" pitchFamily="34" charset="0"/>
              </a:rPr>
              <a:t>EBITDA </a:t>
            </a:r>
            <a:r>
              <a:rPr lang="nb-NO" sz="1200" err="1">
                <a:latin typeface="Helvetica Light" panose="020B0403020202020204" pitchFamily="34" charset="0"/>
              </a:rPr>
              <a:t>shown</a:t>
            </a:r>
            <a:r>
              <a:rPr lang="nb-NO" sz="1200">
                <a:latin typeface="Helvetica Light" panose="020B0403020202020204" pitchFamily="34" charset="0"/>
              </a:rPr>
              <a:t> for 2023 is </a:t>
            </a:r>
            <a:r>
              <a:rPr lang="nb-NO" sz="1200" err="1">
                <a:latin typeface="Helvetica Light" panose="020B0403020202020204" pitchFamily="34" charset="0"/>
              </a:rPr>
              <a:t>excluding</a:t>
            </a:r>
            <a:r>
              <a:rPr lang="nb-NO" sz="1200">
                <a:latin typeface="Helvetica Light" panose="020B0403020202020204" pitchFamily="34" charset="0"/>
              </a:rPr>
              <a:t> 21 MNOK in non-</a:t>
            </a:r>
            <a:r>
              <a:rPr lang="nb-NO" sz="1200" err="1">
                <a:latin typeface="Helvetica Light" panose="020B0403020202020204" pitchFamily="34" charset="0"/>
              </a:rPr>
              <a:t>recurring</a:t>
            </a:r>
            <a:r>
              <a:rPr lang="nb-NO" sz="1200">
                <a:latin typeface="Helvetica Light" panose="020B0403020202020204" pitchFamily="34" charset="0"/>
              </a:rPr>
              <a:t> </a:t>
            </a:r>
            <a:r>
              <a:rPr lang="nb-NO" sz="1200" err="1">
                <a:latin typeface="Helvetica Light" panose="020B0403020202020204" pitchFamily="34" charset="0"/>
              </a:rPr>
              <a:t>items</a:t>
            </a:r>
            <a:endParaRPr lang="nb-NO" sz="1200">
              <a:latin typeface="Helvetica Light" panose="020B0403020202020204" pitchFamily="34" charset="0"/>
            </a:endParaRPr>
          </a:p>
          <a:p>
            <a:r>
              <a:rPr lang="en-GB" sz="1200"/>
              <a:t>. </a:t>
            </a:r>
          </a:p>
        </p:txBody>
      </p:sp>
      <p:sp>
        <p:nvSpPr>
          <p:cNvPr id="6" name="TekstSylinder 5">
            <a:extLst>
              <a:ext uri="{FF2B5EF4-FFF2-40B4-BE49-F238E27FC236}">
                <a16:creationId xmlns:a16="http://schemas.microsoft.com/office/drawing/2014/main" id="{5ED7B1B5-E975-C163-AD21-AD071EDF6F81}"/>
              </a:ext>
            </a:extLst>
          </p:cNvPr>
          <p:cNvSpPr txBox="1"/>
          <p:nvPr/>
        </p:nvSpPr>
        <p:spPr>
          <a:xfrm>
            <a:off x="9914412" y="2943023"/>
            <a:ext cx="1438278" cy="1569660"/>
          </a:xfrm>
          <a:prstGeom prst="rect">
            <a:avLst/>
          </a:prstGeom>
          <a:noFill/>
        </p:spPr>
        <p:txBody>
          <a:bodyPr wrap="square" rtlCol="0">
            <a:spAutoFit/>
          </a:bodyPr>
          <a:lstStyle/>
          <a:p>
            <a:r>
              <a:rPr lang="nb-NO" sz="1600">
                <a:latin typeface="Helvetica Light" panose="020B0403020202020204" pitchFamily="34" charset="0"/>
              </a:rPr>
              <a:t>All </a:t>
            </a:r>
            <a:r>
              <a:rPr lang="nb-NO" sz="1600" err="1">
                <a:latin typeface="Helvetica Light" panose="020B0403020202020204" pitchFamily="34" charset="0"/>
              </a:rPr>
              <a:t>markets</a:t>
            </a:r>
            <a:r>
              <a:rPr lang="nb-NO" sz="1600">
                <a:latin typeface="Helvetica Light" panose="020B0403020202020204" pitchFamily="34" charset="0"/>
              </a:rPr>
              <a:t> </a:t>
            </a:r>
            <a:r>
              <a:rPr lang="nb-NO" sz="1600" b="1" err="1">
                <a:latin typeface="Helvetica" pitchFamily="2" charset="0"/>
              </a:rPr>
              <a:t>significantly</a:t>
            </a:r>
            <a:r>
              <a:rPr lang="nb-NO" sz="1600">
                <a:latin typeface="Helvetica Light" panose="020B0403020202020204" pitchFamily="34" charset="0"/>
              </a:rPr>
              <a:t> </a:t>
            </a:r>
            <a:r>
              <a:rPr lang="nb-NO" sz="1600" err="1">
                <a:latin typeface="Helvetica Light" panose="020B0403020202020204" pitchFamily="34" charset="0"/>
              </a:rPr>
              <a:t>weaker</a:t>
            </a:r>
            <a:r>
              <a:rPr lang="nb-NO" sz="1600">
                <a:latin typeface="Helvetica Light" panose="020B0403020202020204" pitchFamily="34" charset="0"/>
              </a:rPr>
              <a:t> </a:t>
            </a:r>
            <a:r>
              <a:rPr lang="nb-NO" sz="1600" err="1">
                <a:latin typeface="Helvetica Light" panose="020B0403020202020204" pitchFamily="34" charset="0"/>
              </a:rPr>
              <a:t>than</a:t>
            </a:r>
            <a:r>
              <a:rPr lang="nb-NO" sz="1600">
                <a:latin typeface="Helvetica Light" panose="020B0403020202020204" pitchFamily="34" charset="0"/>
              </a:rPr>
              <a:t> </a:t>
            </a:r>
            <a:r>
              <a:rPr lang="nb-NO" sz="1600" err="1">
                <a:latin typeface="Helvetica Light" panose="020B0403020202020204" pitchFamily="34" charset="0"/>
              </a:rPr>
              <a:t>anticipated</a:t>
            </a:r>
            <a:r>
              <a:rPr lang="nb-NO" sz="1600">
                <a:latin typeface="Helvetica Light" panose="020B0403020202020204" pitchFamily="34" charset="0"/>
              </a:rPr>
              <a:t> in Q4 </a:t>
            </a:r>
            <a:r>
              <a:rPr lang="nb-NO" sz="1600" err="1">
                <a:latin typeface="Helvetica Light" panose="020B0403020202020204" pitchFamily="34" charset="0"/>
              </a:rPr>
              <a:t>except</a:t>
            </a:r>
            <a:br>
              <a:rPr lang="nb-NO" sz="1600">
                <a:latin typeface="Helvetica Light" panose="020B0403020202020204" pitchFamily="34" charset="0"/>
              </a:rPr>
            </a:br>
            <a:r>
              <a:rPr lang="nb-NO" sz="1600">
                <a:latin typeface="Helvetica Light" panose="020B0403020202020204" pitchFamily="34" charset="0"/>
              </a:rPr>
              <a:t>Baltics</a:t>
            </a:r>
          </a:p>
        </p:txBody>
      </p:sp>
      <p:sp>
        <p:nvSpPr>
          <p:cNvPr id="28" name="Text Placeholder 3">
            <a:extLst>
              <a:ext uri="{FF2B5EF4-FFF2-40B4-BE49-F238E27FC236}">
                <a16:creationId xmlns:a16="http://schemas.microsoft.com/office/drawing/2014/main" id="{4F070FC9-6461-6C81-12AD-2DD6CCAADC32}"/>
              </a:ext>
            </a:extLst>
          </p:cNvPr>
          <p:cNvSpPr txBox="1">
            <a:spLocks/>
          </p:cNvSpPr>
          <p:nvPr/>
        </p:nvSpPr>
        <p:spPr>
          <a:xfrm>
            <a:off x="5730921" y="1105543"/>
            <a:ext cx="4793740" cy="459422"/>
          </a:xfrm>
          <a:prstGeom prst="rect">
            <a:avLst/>
          </a:prstGeom>
        </p:spPr>
        <p:txBody>
          <a:bodyPr anchor="b">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1E1E50"/>
                </a:solidFill>
                <a:effectLst/>
                <a:uLnTx/>
                <a:uFillTx/>
                <a:latin typeface="Helvetica" pitchFamily="2" charset="0"/>
                <a:ea typeface="+mn-ea"/>
                <a:cs typeface="+mn-cs"/>
              </a:rPr>
              <a:t>EBITDA 2023 </a:t>
            </a:r>
            <a:r>
              <a:rPr kumimoji="0" lang="en-GB" sz="1600" u="none" strike="noStrike" kern="1200" cap="none" spc="0" normalizeH="0" baseline="0" noProof="0">
                <a:ln>
                  <a:noFill/>
                </a:ln>
                <a:solidFill>
                  <a:srgbClr val="1E1E50"/>
                </a:solidFill>
                <a:effectLst/>
                <a:uLnTx/>
                <a:uFillTx/>
                <a:latin typeface="Helvetica Light" panose="020B0403020202020204" pitchFamily="34" charset="0"/>
              </a:rPr>
              <a:t>MNOK</a:t>
            </a:r>
            <a:endParaRPr kumimoji="0" lang="en-US" sz="1600" u="none" strike="noStrike" kern="1200" cap="none" spc="0" normalizeH="0" baseline="0" noProof="0">
              <a:ln>
                <a:noFill/>
              </a:ln>
              <a:solidFill>
                <a:srgbClr val="1E1E50"/>
              </a:solidFill>
              <a:effectLst/>
              <a:uLnTx/>
              <a:uFillTx/>
              <a:latin typeface="Helvetica Light" panose="020B0403020202020204" pitchFamily="34" charset="0"/>
            </a:endParaRPr>
          </a:p>
        </p:txBody>
      </p:sp>
    </p:spTree>
    <p:extLst>
      <p:ext uri="{BB962C8B-B14F-4D97-AF65-F5344CB8AC3E}">
        <p14:creationId xmlns:p14="http://schemas.microsoft.com/office/powerpoint/2010/main" val="27190939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E8827E0-1DA4-039D-9058-31CCBA5BF21A}"/>
              </a:ext>
            </a:extLst>
          </p:cNvPr>
          <p:cNvGraphicFramePr>
            <a:graphicFrameLocks noChangeAspect="1"/>
          </p:cNvGraphicFramePr>
          <p:nvPr>
            <p:custDataLst>
              <p:tags r:id="rId1"/>
            </p:custDataLst>
            <p:extLst>
              <p:ext uri="{D42A27DB-BD31-4B8C-83A1-F6EECF244321}">
                <p14:modId xmlns:p14="http://schemas.microsoft.com/office/powerpoint/2010/main" val="22589182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E8827E0-1DA4-039D-9058-31CCBA5BF21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F7286A-09BA-4D59-58B8-EDAEACCC6B3E}"/>
              </a:ext>
            </a:extLst>
          </p:cNvPr>
          <p:cNvSpPr>
            <a:spLocks noGrp="1"/>
          </p:cNvSpPr>
          <p:nvPr>
            <p:ph type="title"/>
          </p:nvPr>
        </p:nvSpPr>
        <p:spPr>
          <a:xfrm>
            <a:off x="741777" y="365126"/>
            <a:ext cx="8521493" cy="4054474"/>
          </a:xfrm>
        </p:spPr>
        <p:txBody>
          <a:bodyPr vert="horz">
            <a:normAutofit/>
          </a:bodyPr>
          <a:lstStyle/>
          <a:p>
            <a:r>
              <a:rPr lang="en-GB"/>
              <a:t>Three </a:t>
            </a:r>
            <a:r>
              <a:rPr lang="en-GB" b="1">
                <a:latin typeface="Helvetica" pitchFamily="2" charset="0"/>
              </a:rPr>
              <a:t>major challenges </a:t>
            </a:r>
            <a:r>
              <a:rPr lang="en-GB"/>
              <a:t>in 2023 and continuing into 2024</a:t>
            </a:r>
          </a:p>
        </p:txBody>
      </p:sp>
      <p:sp>
        <p:nvSpPr>
          <p:cNvPr id="9" name="Rectangle 8">
            <a:extLst>
              <a:ext uri="{FF2B5EF4-FFF2-40B4-BE49-F238E27FC236}">
                <a16:creationId xmlns:a16="http://schemas.microsoft.com/office/drawing/2014/main" id="{A4249E00-83F0-BA39-B8B8-AC36BF2474F9}"/>
              </a:ext>
            </a:extLst>
          </p:cNvPr>
          <p:cNvSpPr/>
          <p:nvPr/>
        </p:nvSpPr>
        <p:spPr>
          <a:xfrm>
            <a:off x="4617884" y="2584773"/>
            <a:ext cx="2880000" cy="3289736"/>
          </a:xfrm>
          <a:prstGeom prst="rect">
            <a:avLst/>
          </a:prstGeom>
          <a:solidFill>
            <a:schemeClr val="accent4">
              <a:lumMod val="20000"/>
              <a:lumOff val="80000"/>
              <a:alpha val="69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7" name="TextBox 31">
            <a:extLst>
              <a:ext uri="{FF2B5EF4-FFF2-40B4-BE49-F238E27FC236}">
                <a16:creationId xmlns:a16="http://schemas.microsoft.com/office/drawing/2014/main" id="{F230E2A2-8BBB-33BE-1109-9969BF8F2918}"/>
              </a:ext>
            </a:extLst>
          </p:cNvPr>
          <p:cNvSpPr txBox="1"/>
          <p:nvPr/>
        </p:nvSpPr>
        <p:spPr>
          <a:xfrm>
            <a:off x="4747534" y="3940174"/>
            <a:ext cx="2696931" cy="1477328"/>
          </a:xfrm>
          <a:prstGeom prst="rect">
            <a:avLst/>
          </a:prstGeom>
          <a:noFill/>
        </p:spPr>
        <p:txBody>
          <a:bodyPr wrap="square">
            <a:spAutoFit/>
          </a:bodyPr>
          <a:lstStyle/>
          <a:p>
            <a:pPr algn="ctr">
              <a:defRPr/>
            </a:pPr>
            <a:r>
              <a:rPr kumimoji="0" lang="en-GB" sz="1800" b="1" u="none" strike="noStrike" kern="1200" cap="none" spc="0" normalizeH="0" baseline="0" noProof="0">
                <a:ln>
                  <a:noFill/>
                </a:ln>
                <a:solidFill>
                  <a:srgbClr val="141E50"/>
                </a:solidFill>
                <a:effectLst/>
                <a:uLnTx/>
                <a:uFillTx/>
                <a:latin typeface="Helvetica" pitchFamily="2" charset="0"/>
              </a:rPr>
              <a:t>Challenge 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Currency depreciation in Norway and Sweden against EUR and USD</a:t>
            </a:r>
          </a:p>
        </p:txBody>
      </p:sp>
      <p:sp>
        <p:nvSpPr>
          <p:cNvPr id="24" name="Oval 23">
            <a:extLst>
              <a:ext uri="{FF2B5EF4-FFF2-40B4-BE49-F238E27FC236}">
                <a16:creationId xmlns:a16="http://schemas.microsoft.com/office/drawing/2014/main" id="{42F34B56-460D-7C81-2886-260DA75950F4}"/>
              </a:ext>
            </a:extLst>
          </p:cNvPr>
          <p:cNvSpPr/>
          <p:nvPr/>
        </p:nvSpPr>
        <p:spPr>
          <a:xfrm>
            <a:off x="5140404" y="1785160"/>
            <a:ext cx="1834961" cy="183496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pSp>
        <p:nvGrpSpPr>
          <p:cNvPr id="32" name="Group 31">
            <a:extLst>
              <a:ext uri="{FF2B5EF4-FFF2-40B4-BE49-F238E27FC236}">
                <a16:creationId xmlns:a16="http://schemas.microsoft.com/office/drawing/2014/main" id="{B79F9C55-FC0A-5EE9-142B-FF3F54EBE9B0}"/>
              </a:ext>
            </a:extLst>
          </p:cNvPr>
          <p:cNvGrpSpPr/>
          <p:nvPr/>
        </p:nvGrpSpPr>
        <p:grpSpPr>
          <a:xfrm>
            <a:off x="5350978" y="2007969"/>
            <a:ext cx="1413812" cy="1413812"/>
            <a:chOff x="5350978" y="2007969"/>
            <a:chExt cx="1413812" cy="1413812"/>
          </a:xfrm>
        </p:grpSpPr>
        <p:sp>
          <p:nvSpPr>
            <p:cNvPr id="16" name="Oval 15">
              <a:extLst>
                <a:ext uri="{FF2B5EF4-FFF2-40B4-BE49-F238E27FC236}">
                  <a16:creationId xmlns:a16="http://schemas.microsoft.com/office/drawing/2014/main" id="{7B62CBE4-AB91-979E-432D-B1BFECC80B2E}"/>
                </a:ext>
              </a:extLst>
            </p:cNvPr>
            <p:cNvSpPr/>
            <p:nvPr/>
          </p:nvSpPr>
          <p:spPr>
            <a:xfrm>
              <a:off x="5350978" y="2007969"/>
              <a:ext cx="1413812" cy="1413812"/>
            </a:xfrm>
            <a:prstGeom prst="ellipse">
              <a:avLst/>
            </a:prstGeom>
            <a:solidFill>
              <a:schemeClr val="tx2"/>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12" name="Graphic 11">
              <a:extLst>
                <a:ext uri="{FF2B5EF4-FFF2-40B4-BE49-F238E27FC236}">
                  <a16:creationId xmlns:a16="http://schemas.microsoft.com/office/drawing/2014/main" id="{CFEFAC60-AC27-4865-877A-2011BF5F798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09994" y="2166985"/>
              <a:ext cx="1095780" cy="1095780"/>
            </a:xfrm>
            <a:prstGeom prst="rect">
              <a:avLst/>
            </a:prstGeom>
          </p:spPr>
        </p:pic>
      </p:grpSp>
      <p:sp>
        <p:nvSpPr>
          <p:cNvPr id="3" name="Rectangle 2">
            <a:extLst>
              <a:ext uri="{FF2B5EF4-FFF2-40B4-BE49-F238E27FC236}">
                <a16:creationId xmlns:a16="http://schemas.microsoft.com/office/drawing/2014/main" id="{2C0B4ACB-B3A0-8995-CDD4-D2EAE355193C}"/>
              </a:ext>
            </a:extLst>
          </p:cNvPr>
          <p:cNvSpPr/>
          <p:nvPr/>
        </p:nvSpPr>
        <p:spPr>
          <a:xfrm>
            <a:off x="1098800" y="2584773"/>
            <a:ext cx="2880000" cy="3289736"/>
          </a:xfrm>
          <a:prstGeom prst="rect">
            <a:avLst/>
          </a:prstGeom>
          <a:solidFill>
            <a:schemeClr val="accent4">
              <a:lumMod val="20000"/>
              <a:lumOff val="80000"/>
              <a:alpha val="69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5" name="TextBox 31">
            <a:extLst>
              <a:ext uri="{FF2B5EF4-FFF2-40B4-BE49-F238E27FC236}">
                <a16:creationId xmlns:a16="http://schemas.microsoft.com/office/drawing/2014/main" id="{7074EC5B-64A3-29FC-C0E4-321D0E01EB8B}"/>
              </a:ext>
            </a:extLst>
          </p:cNvPr>
          <p:cNvSpPr txBox="1"/>
          <p:nvPr/>
        </p:nvSpPr>
        <p:spPr>
          <a:xfrm>
            <a:off x="1352189" y="3911196"/>
            <a:ext cx="2357481" cy="147732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u="none" strike="noStrike" kern="1200" cap="none" spc="0" normalizeH="0" baseline="0" noProof="0">
                <a:ln>
                  <a:noFill/>
                </a:ln>
                <a:solidFill>
                  <a:srgbClr val="141E50"/>
                </a:solidFill>
                <a:effectLst/>
                <a:uLnTx/>
                <a:uFillTx/>
                <a:latin typeface="Helvetica" pitchFamily="2" charset="0"/>
              </a:rPr>
              <a:t>Challenge 1:</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a:solidFill>
                <a:srgbClr val="141E50"/>
              </a:solidFill>
              <a:latin typeface="Helvetica Light" panose="020B0403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Difficult market for grocery retail and retail technology</a:t>
            </a:r>
          </a:p>
        </p:txBody>
      </p:sp>
      <p:sp>
        <p:nvSpPr>
          <p:cNvPr id="23" name="Oval 22">
            <a:extLst>
              <a:ext uri="{FF2B5EF4-FFF2-40B4-BE49-F238E27FC236}">
                <a16:creationId xmlns:a16="http://schemas.microsoft.com/office/drawing/2014/main" id="{17CD9C2A-E9E5-2ACF-AF51-DB99FB7BE0A9}"/>
              </a:ext>
            </a:extLst>
          </p:cNvPr>
          <p:cNvSpPr/>
          <p:nvPr/>
        </p:nvSpPr>
        <p:spPr>
          <a:xfrm>
            <a:off x="1621320" y="1785160"/>
            <a:ext cx="1834961" cy="183496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pSp>
        <p:nvGrpSpPr>
          <p:cNvPr id="30" name="Group 29">
            <a:extLst>
              <a:ext uri="{FF2B5EF4-FFF2-40B4-BE49-F238E27FC236}">
                <a16:creationId xmlns:a16="http://schemas.microsoft.com/office/drawing/2014/main" id="{0E99167C-4FA1-F31B-6BA6-371BD8B9EA52}"/>
              </a:ext>
            </a:extLst>
          </p:cNvPr>
          <p:cNvGrpSpPr/>
          <p:nvPr/>
        </p:nvGrpSpPr>
        <p:grpSpPr>
          <a:xfrm>
            <a:off x="1831894" y="2007969"/>
            <a:ext cx="1413812" cy="1413812"/>
            <a:chOff x="1831894" y="2007969"/>
            <a:chExt cx="1413812" cy="1413812"/>
          </a:xfrm>
        </p:grpSpPr>
        <p:sp>
          <p:nvSpPr>
            <p:cNvPr id="15" name="Oval 14">
              <a:extLst>
                <a:ext uri="{FF2B5EF4-FFF2-40B4-BE49-F238E27FC236}">
                  <a16:creationId xmlns:a16="http://schemas.microsoft.com/office/drawing/2014/main" id="{09D7A6A5-2FD4-258D-5373-16471AD18D2C}"/>
                </a:ext>
              </a:extLst>
            </p:cNvPr>
            <p:cNvSpPr/>
            <p:nvPr/>
          </p:nvSpPr>
          <p:spPr>
            <a:xfrm>
              <a:off x="1831894" y="2007969"/>
              <a:ext cx="1413812" cy="1413812"/>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14" name="Graphic 13">
              <a:extLst>
                <a:ext uri="{FF2B5EF4-FFF2-40B4-BE49-F238E27FC236}">
                  <a16:creationId xmlns:a16="http://schemas.microsoft.com/office/drawing/2014/main" id="{F0A4F1C1-1EE8-3BA3-338D-05BAF9A178B4}"/>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041168" y="2217243"/>
              <a:ext cx="995264" cy="995264"/>
            </a:xfrm>
            <a:prstGeom prst="rect">
              <a:avLst/>
            </a:prstGeom>
          </p:spPr>
        </p:pic>
      </p:grpSp>
      <p:sp>
        <p:nvSpPr>
          <p:cNvPr id="11" name="Rectangle 10">
            <a:extLst>
              <a:ext uri="{FF2B5EF4-FFF2-40B4-BE49-F238E27FC236}">
                <a16:creationId xmlns:a16="http://schemas.microsoft.com/office/drawing/2014/main" id="{12D66FCB-07D1-81F4-77B3-CEF2E47BE087}"/>
              </a:ext>
            </a:extLst>
          </p:cNvPr>
          <p:cNvSpPr/>
          <p:nvPr/>
        </p:nvSpPr>
        <p:spPr>
          <a:xfrm>
            <a:off x="8152760" y="2584773"/>
            <a:ext cx="2880000" cy="3289736"/>
          </a:xfrm>
          <a:prstGeom prst="rect">
            <a:avLst/>
          </a:prstGeom>
          <a:solidFill>
            <a:schemeClr val="accent4">
              <a:lumMod val="20000"/>
              <a:lumOff val="80000"/>
              <a:alpha val="69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8" name="TextBox 31">
            <a:extLst>
              <a:ext uri="{FF2B5EF4-FFF2-40B4-BE49-F238E27FC236}">
                <a16:creationId xmlns:a16="http://schemas.microsoft.com/office/drawing/2014/main" id="{63942F08-AA44-74AD-70B0-119FBD06250C}"/>
              </a:ext>
            </a:extLst>
          </p:cNvPr>
          <p:cNvSpPr txBox="1"/>
          <p:nvPr/>
        </p:nvSpPr>
        <p:spPr>
          <a:xfrm>
            <a:off x="8441552" y="3930967"/>
            <a:ext cx="2357481" cy="1477328"/>
          </a:xfrm>
          <a:prstGeom prst="rect">
            <a:avLst/>
          </a:prstGeom>
          <a:noFill/>
        </p:spPr>
        <p:txBody>
          <a:bodyPr wrap="square">
            <a:spAutoFit/>
          </a:bodyPr>
          <a:lstStyle/>
          <a:p>
            <a:pPr algn="ctr">
              <a:defRPr/>
            </a:pPr>
            <a:r>
              <a:rPr kumimoji="0" lang="en-GB" sz="1800" b="1" u="none" strike="noStrike" kern="1200" cap="none" spc="0" normalizeH="0" baseline="0" noProof="0">
                <a:ln>
                  <a:noFill/>
                </a:ln>
                <a:solidFill>
                  <a:srgbClr val="141E50"/>
                </a:solidFill>
                <a:effectLst/>
                <a:uLnTx/>
                <a:uFillTx/>
                <a:latin typeface="Helvetica" pitchFamily="2" charset="0"/>
              </a:rPr>
              <a:t>Challenge </a:t>
            </a:r>
            <a:r>
              <a:rPr lang="en-GB" b="1">
                <a:solidFill>
                  <a:srgbClr val="141E50"/>
                </a:solidFill>
                <a:latin typeface="Helvetica" pitchFamily="2" charset="0"/>
              </a:rPr>
              <a:t>3</a:t>
            </a:r>
            <a:r>
              <a:rPr kumimoji="0" lang="en-GB" sz="1800" b="1" u="none" strike="noStrike" kern="1200" cap="none" spc="0" normalizeH="0" baseline="0" noProof="0">
                <a:ln>
                  <a:noFill/>
                </a:ln>
                <a:solidFill>
                  <a:srgbClr val="141E50"/>
                </a:solidFill>
                <a:effectLst/>
                <a:uLnTx/>
                <a:uFillTx/>
                <a:latin typeface="Helvetica" pitchFamily="2" charset="0"/>
              </a:rPr>
              <a:t>:</a:t>
            </a:r>
            <a:endParaRPr lang="en-GB">
              <a:solidFill>
                <a:srgbClr val="141E50"/>
              </a:solidFill>
              <a:latin typeface="Helvetica Light" panose="020B0403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a:solidFill>
                <a:srgbClr val="141E50"/>
              </a:solidFill>
              <a:latin typeface="Helvetica Light" panose="020B0403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a:solidFill>
                  <a:srgbClr val="141E50"/>
                </a:solidFill>
                <a:latin typeface="Helvetica Light" panose="020B0403020202020204" pitchFamily="34" charset="0"/>
              </a:rPr>
              <a:t>S</a:t>
            </a:r>
            <a:r>
              <a:rPr kumimoji="0" lang="en-GB" sz="1800" b="0" i="0" u="none" strike="noStrike" kern="1200" cap="none" spc="0" normalizeH="0" baseline="0" noProof="0" err="1">
                <a:ln>
                  <a:noFill/>
                </a:ln>
                <a:solidFill>
                  <a:srgbClr val="141E50"/>
                </a:solidFill>
                <a:effectLst/>
                <a:uLnTx/>
                <a:uFillTx/>
                <a:latin typeface="Helvetica Light" panose="020B0403020202020204" pitchFamily="34" charset="0"/>
                <a:ea typeface="+mn-ea"/>
                <a:cs typeface="+mn-cs"/>
              </a:rPr>
              <a:t>pecific</a:t>
            </a:r>
            <a:r>
              <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 challenges </a:t>
            </a:r>
            <a:r>
              <a:rPr lang="en-GB">
                <a:solidFill>
                  <a:srgbClr val="141E50"/>
                </a:solidFill>
                <a:latin typeface="Helvetica Light" panose="020B0403020202020204" pitchFamily="34" charset="0"/>
              </a:rPr>
              <a:t>in UK business unit </a:t>
            </a:r>
            <a:endPar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p:txBody>
      </p:sp>
      <p:sp>
        <p:nvSpPr>
          <p:cNvPr id="25" name="Oval 24">
            <a:extLst>
              <a:ext uri="{FF2B5EF4-FFF2-40B4-BE49-F238E27FC236}">
                <a16:creationId xmlns:a16="http://schemas.microsoft.com/office/drawing/2014/main" id="{65D8CEA9-4CA2-F15F-CF5D-CEE371A04D29}"/>
              </a:ext>
            </a:extLst>
          </p:cNvPr>
          <p:cNvSpPr/>
          <p:nvPr/>
        </p:nvSpPr>
        <p:spPr>
          <a:xfrm>
            <a:off x="8675280" y="1785160"/>
            <a:ext cx="1834961" cy="183496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pSp>
        <p:nvGrpSpPr>
          <p:cNvPr id="31" name="Group 30">
            <a:extLst>
              <a:ext uri="{FF2B5EF4-FFF2-40B4-BE49-F238E27FC236}">
                <a16:creationId xmlns:a16="http://schemas.microsoft.com/office/drawing/2014/main" id="{2AADB805-4F54-885B-6EC9-95A5C60C54E1}"/>
              </a:ext>
            </a:extLst>
          </p:cNvPr>
          <p:cNvGrpSpPr/>
          <p:nvPr/>
        </p:nvGrpSpPr>
        <p:grpSpPr>
          <a:xfrm>
            <a:off x="8885854" y="2007969"/>
            <a:ext cx="1413812" cy="1413812"/>
            <a:chOff x="8885854" y="2007969"/>
            <a:chExt cx="1413812" cy="1413812"/>
          </a:xfrm>
        </p:grpSpPr>
        <p:sp>
          <p:nvSpPr>
            <p:cNvPr id="17" name="Oval 16">
              <a:extLst>
                <a:ext uri="{FF2B5EF4-FFF2-40B4-BE49-F238E27FC236}">
                  <a16:creationId xmlns:a16="http://schemas.microsoft.com/office/drawing/2014/main" id="{3B7B28F6-A5D1-B720-7823-934C9236CDEB}"/>
                </a:ext>
              </a:extLst>
            </p:cNvPr>
            <p:cNvSpPr/>
            <p:nvPr/>
          </p:nvSpPr>
          <p:spPr>
            <a:xfrm>
              <a:off x="8885854" y="2007969"/>
              <a:ext cx="1413812" cy="1413812"/>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21" name="Graphic 20">
              <a:extLst>
                <a:ext uri="{FF2B5EF4-FFF2-40B4-BE49-F238E27FC236}">
                  <a16:creationId xmlns:a16="http://schemas.microsoft.com/office/drawing/2014/main" id="{A00F7AA5-214C-8661-7017-5182A2A1726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111176" y="2203192"/>
              <a:ext cx="990039" cy="990039"/>
            </a:xfrm>
            <a:prstGeom prst="rect">
              <a:avLst/>
            </a:prstGeom>
          </p:spPr>
        </p:pic>
      </p:grpSp>
    </p:spTree>
    <p:extLst>
      <p:ext uri="{BB962C8B-B14F-4D97-AF65-F5344CB8AC3E}">
        <p14:creationId xmlns:p14="http://schemas.microsoft.com/office/powerpoint/2010/main" val="23387175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close-up of a sign&#10;&#10;Description automatically generated">
            <a:extLst>
              <a:ext uri="{FF2B5EF4-FFF2-40B4-BE49-F238E27FC236}">
                <a16:creationId xmlns:a16="http://schemas.microsoft.com/office/drawing/2014/main" id="{4074D9CF-1AD0-9A71-4BFB-00861182E5F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73890" y="5629525"/>
            <a:ext cx="991603" cy="422388"/>
          </a:xfrm>
          <a:prstGeom prst="rect">
            <a:avLst/>
          </a:prstGeom>
        </p:spPr>
      </p:pic>
      <p:pic>
        <p:nvPicPr>
          <p:cNvPr id="20" name="Picture 19">
            <a:extLst>
              <a:ext uri="{FF2B5EF4-FFF2-40B4-BE49-F238E27FC236}">
                <a16:creationId xmlns:a16="http://schemas.microsoft.com/office/drawing/2014/main" id="{44FD639D-1A18-1774-4584-6387236FCB7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585343" y="5629525"/>
            <a:ext cx="934778" cy="422388"/>
          </a:xfrm>
          <a:prstGeom prst="rect">
            <a:avLst/>
          </a:prstGeom>
        </p:spPr>
      </p:pic>
      <p:grpSp>
        <p:nvGrpSpPr>
          <p:cNvPr id="45" name="Group 44">
            <a:extLst>
              <a:ext uri="{FF2B5EF4-FFF2-40B4-BE49-F238E27FC236}">
                <a16:creationId xmlns:a16="http://schemas.microsoft.com/office/drawing/2014/main" id="{77A16000-1898-9375-EC53-5CDF9949D923}"/>
              </a:ext>
            </a:extLst>
          </p:cNvPr>
          <p:cNvGrpSpPr/>
          <p:nvPr/>
        </p:nvGrpSpPr>
        <p:grpSpPr>
          <a:xfrm>
            <a:off x="4742664" y="1999527"/>
            <a:ext cx="3672998" cy="3562828"/>
            <a:chOff x="5986129" y="1991771"/>
            <a:chExt cx="5040459" cy="3562828"/>
          </a:xfrm>
        </p:grpSpPr>
        <p:sp>
          <p:nvSpPr>
            <p:cNvPr id="38" name="Rectangle 37">
              <a:extLst>
                <a:ext uri="{FF2B5EF4-FFF2-40B4-BE49-F238E27FC236}">
                  <a16:creationId xmlns:a16="http://schemas.microsoft.com/office/drawing/2014/main" id="{BBE42FF6-EF37-4FAB-A413-6E11AC95A182}"/>
                </a:ext>
              </a:extLst>
            </p:cNvPr>
            <p:cNvSpPr/>
            <p:nvPr/>
          </p:nvSpPr>
          <p:spPr>
            <a:xfrm>
              <a:off x="5986129" y="2005218"/>
              <a:ext cx="5040458" cy="3549381"/>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cxnSp>
          <p:nvCxnSpPr>
            <p:cNvPr id="41" name="Straight Connector 40">
              <a:extLst>
                <a:ext uri="{FF2B5EF4-FFF2-40B4-BE49-F238E27FC236}">
                  <a16:creationId xmlns:a16="http://schemas.microsoft.com/office/drawing/2014/main" id="{29AB03F3-9614-09F7-E18F-F93694C40FD0}"/>
                </a:ext>
              </a:extLst>
            </p:cNvPr>
            <p:cNvCxnSpPr>
              <a:cxnSpLocks/>
            </p:cNvCxnSpPr>
            <p:nvPr/>
          </p:nvCxnSpPr>
          <p:spPr>
            <a:xfrm flipH="1">
              <a:off x="5986130" y="1991771"/>
              <a:ext cx="5040458" cy="0"/>
            </a:xfrm>
            <a:prstGeom prst="line">
              <a:avLst/>
            </a:prstGeom>
            <a:ln w="12700"/>
          </p:spPr>
          <p:style>
            <a:lnRef idx="1">
              <a:schemeClr val="accent2"/>
            </a:lnRef>
            <a:fillRef idx="0">
              <a:schemeClr val="accent2"/>
            </a:fillRef>
            <a:effectRef idx="0">
              <a:schemeClr val="accent2"/>
            </a:effectRef>
            <a:fontRef idx="minor">
              <a:schemeClr val="tx1"/>
            </a:fontRef>
          </p:style>
        </p:cxnSp>
      </p:grpSp>
      <p:sp>
        <p:nvSpPr>
          <p:cNvPr id="31" name="Rectangle 30">
            <a:extLst>
              <a:ext uri="{FF2B5EF4-FFF2-40B4-BE49-F238E27FC236}">
                <a16:creationId xmlns:a16="http://schemas.microsoft.com/office/drawing/2014/main" id="{BEAAA060-7518-009F-FCB4-EED1C02B94C4}"/>
              </a:ext>
            </a:extLst>
          </p:cNvPr>
          <p:cNvSpPr/>
          <p:nvPr/>
        </p:nvSpPr>
        <p:spPr>
          <a:xfrm>
            <a:off x="414124" y="2005218"/>
            <a:ext cx="4092170" cy="3549381"/>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aphicFrame>
        <p:nvGraphicFramePr>
          <p:cNvPr id="6" name="think-cell data - do not delete" hidden="1">
            <a:extLst>
              <a:ext uri="{FF2B5EF4-FFF2-40B4-BE49-F238E27FC236}">
                <a16:creationId xmlns:a16="http://schemas.microsoft.com/office/drawing/2014/main" id="{6AFF14C1-1BD1-2F49-832C-D1F887C300C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6" name="think-cell data - do not delete" hidden="1">
                        <a:extLst>
                          <a:ext uri="{FF2B5EF4-FFF2-40B4-BE49-F238E27FC236}">
                            <a16:creationId xmlns:a16="http://schemas.microsoft.com/office/drawing/2014/main" id="{6AFF14C1-1BD1-2F49-832C-D1F887C300C4}"/>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E04CE48-B080-C1D1-9FC6-EC8627CDC463}"/>
              </a:ext>
            </a:extLst>
          </p:cNvPr>
          <p:cNvSpPr>
            <a:spLocks noGrp="1"/>
          </p:cNvSpPr>
          <p:nvPr>
            <p:ph type="title"/>
          </p:nvPr>
        </p:nvSpPr>
        <p:spPr>
          <a:xfrm>
            <a:off x="1274754" y="365126"/>
            <a:ext cx="6621549" cy="1036620"/>
          </a:xfrm>
        </p:spPr>
        <p:txBody>
          <a:bodyPr vert="horz">
            <a:noAutofit/>
          </a:bodyPr>
          <a:lstStyle/>
          <a:p>
            <a:r>
              <a:rPr lang="en-GB" sz="3200" b="1">
                <a:latin typeface="Helvetica" pitchFamily="2" charset="0"/>
              </a:rPr>
              <a:t>Challenge 1:</a:t>
            </a:r>
            <a:br>
              <a:rPr lang="en-GB" sz="3200"/>
            </a:br>
            <a:r>
              <a:rPr lang="en-GB" sz="3200"/>
              <a:t>A difficult time for grocery retail</a:t>
            </a:r>
          </a:p>
        </p:txBody>
      </p:sp>
      <p:pic>
        <p:nvPicPr>
          <p:cNvPr id="30" name="Graphic 29">
            <a:extLst>
              <a:ext uri="{FF2B5EF4-FFF2-40B4-BE49-F238E27FC236}">
                <a16:creationId xmlns:a16="http://schemas.microsoft.com/office/drawing/2014/main" id="{464C2213-8CD5-4EB1-9D4D-4C96C83DFA48}"/>
              </a:ext>
            </a:extLst>
          </p:cNvPr>
          <p:cNvPicPr>
            <a:picLocks noChangeAspect="1"/>
          </p:cNvPicPr>
          <p:nvPr/>
        </p:nvPicPr>
        <p:blipFill rotWithShape="1">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l="6032" t="47488" r="8522" b="10855"/>
          <a:stretch/>
        </p:blipFill>
        <p:spPr>
          <a:xfrm>
            <a:off x="4868359" y="2461830"/>
            <a:ext cx="3280773" cy="2412183"/>
          </a:xfrm>
          <a:prstGeom prst="rect">
            <a:avLst/>
          </a:prstGeom>
        </p:spPr>
      </p:pic>
      <p:cxnSp>
        <p:nvCxnSpPr>
          <p:cNvPr id="40" name="Straight Connector 39">
            <a:extLst>
              <a:ext uri="{FF2B5EF4-FFF2-40B4-BE49-F238E27FC236}">
                <a16:creationId xmlns:a16="http://schemas.microsoft.com/office/drawing/2014/main" id="{7AAB2A99-5B00-4075-3800-238A053A171F}"/>
              </a:ext>
            </a:extLst>
          </p:cNvPr>
          <p:cNvCxnSpPr>
            <a:cxnSpLocks/>
          </p:cNvCxnSpPr>
          <p:nvPr/>
        </p:nvCxnSpPr>
        <p:spPr>
          <a:xfrm flipH="1">
            <a:off x="414124" y="1991771"/>
            <a:ext cx="4092170"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43" name="TextBox 42">
            <a:extLst>
              <a:ext uri="{FF2B5EF4-FFF2-40B4-BE49-F238E27FC236}">
                <a16:creationId xmlns:a16="http://schemas.microsoft.com/office/drawing/2014/main" id="{DE659F42-A435-34A0-5F7F-06E6E1BA3488}"/>
              </a:ext>
            </a:extLst>
          </p:cNvPr>
          <p:cNvSpPr txBox="1"/>
          <p:nvPr/>
        </p:nvSpPr>
        <p:spPr>
          <a:xfrm>
            <a:off x="4742664" y="1722528"/>
            <a:ext cx="504045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CEOs about the grocery industry 2024*</a:t>
            </a:r>
          </a:p>
        </p:txBody>
      </p:sp>
      <p:grpSp>
        <p:nvGrpSpPr>
          <p:cNvPr id="4" name="Group 3">
            <a:extLst>
              <a:ext uri="{FF2B5EF4-FFF2-40B4-BE49-F238E27FC236}">
                <a16:creationId xmlns:a16="http://schemas.microsoft.com/office/drawing/2014/main" id="{3A0F9481-44CE-8627-1B03-87F32B806682}"/>
              </a:ext>
            </a:extLst>
          </p:cNvPr>
          <p:cNvGrpSpPr>
            <a:grpSpLocks noChangeAspect="1"/>
          </p:cNvGrpSpPr>
          <p:nvPr/>
        </p:nvGrpSpPr>
        <p:grpSpPr>
          <a:xfrm>
            <a:off x="291563" y="389366"/>
            <a:ext cx="828000" cy="828000"/>
            <a:chOff x="1831894" y="2007969"/>
            <a:chExt cx="1413812" cy="1413812"/>
          </a:xfrm>
        </p:grpSpPr>
        <p:sp>
          <p:nvSpPr>
            <p:cNvPr id="5" name="Oval 4">
              <a:extLst>
                <a:ext uri="{FF2B5EF4-FFF2-40B4-BE49-F238E27FC236}">
                  <a16:creationId xmlns:a16="http://schemas.microsoft.com/office/drawing/2014/main" id="{9BD82161-11EF-848A-7468-122F32BB556E}"/>
                </a:ext>
              </a:extLst>
            </p:cNvPr>
            <p:cNvSpPr/>
            <p:nvPr/>
          </p:nvSpPr>
          <p:spPr>
            <a:xfrm>
              <a:off x="1831894" y="2007969"/>
              <a:ext cx="1413812" cy="1413812"/>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7" name="Graphic 6">
              <a:extLst>
                <a:ext uri="{FF2B5EF4-FFF2-40B4-BE49-F238E27FC236}">
                  <a16:creationId xmlns:a16="http://schemas.microsoft.com/office/drawing/2014/main" id="{22D32E6C-64A5-8436-B398-88E6D43DF5C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041168" y="2217243"/>
              <a:ext cx="995264" cy="995264"/>
            </a:xfrm>
            <a:prstGeom prst="rect">
              <a:avLst/>
            </a:prstGeom>
          </p:spPr>
        </p:pic>
      </p:grpSp>
      <p:sp>
        <p:nvSpPr>
          <p:cNvPr id="8" name="TextBox 4">
            <a:extLst>
              <a:ext uri="{FF2B5EF4-FFF2-40B4-BE49-F238E27FC236}">
                <a16:creationId xmlns:a16="http://schemas.microsoft.com/office/drawing/2014/main" id="{8B11739C-6B4E-40EA-DC60-DC630B419577}"/>
              </a:ext>
            </a:extLst>
          </p:cNvPr>
          <p:cNvSpPr txBox="1"/>
          <p:nvPr/>
        </p:nvSpPr>
        <p:spPr>
          <a:xfrm>
            <a:off x="392121" y="6179111"/>
            <a:ext cx="4255007" cy="9079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rPr>
              <a:t>*</a:t>
            </a:r>
            <a:r>
              <a:rPr kumimoji="0" lang="nb-NO" sz="900" b="0" i="0" u="none" strike="noStrike" kern="1200" cap="none" spc="0" normalizeH="0" baseline="0" noProof="0" err="1">
                <a:ln>
                  <a:noFill/>
                </a:ln>
                <a:solidFill>
                  <a:prstClr val="black"/>
                </a:solidFill>
                <a:effectLst/>
                <a:uLnTx/>
                <a:uFillTx/>
                <a:latin typeface="Helvetica Light" panose="020B0403020202020204" pitchFamily="34" charset="0"/>
                <a:ea typeface="+mn-ea"/>
                <a:cs typeface="+mn-cs"/>
              </a:rPr>
              <a:t>McKinsey</a:t>
            </a:r>
            <a:r>
              <a:rPr kumimoji="0" lang="nb-NO" sz="9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rPr>
              <a:t> report, </a:t>
            </a:r>
            <a:r>
              <a:rPr kumimoji="0" lang="en-GB" sz="9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rPr>
              <a:t>The State of Grocery Retail Europe, published April 2024</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GB" sz="11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rPr>
            </a:br>
            <a:endParaRPr kumimoji="0" lang="en-GB" sz="11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Helvetica"/>
                <a:ea typeface="+mn-ea"/>
                <a:cs typeface="+mn-cs"/>
              </a:rPr>
              <a:t>. </a:t>
            </a:r>
          </a:p>
        </p:txBody>
      </p:sp>
      <p:sp>
        <p:nvSpPr>
          <p:cNvPr id="14" name="TextBox 31">
            <a:extLst>
              <a:ext uri="{FF2B5EF4-FFF2-40B4-BE49-F238E27FC236}">
                <a16:creationId xmlns:a16="http://schemas.microsoft.com/office/drawing/2014/main" id="{3927DF0F-7762-9B56-013A-14991651816D}"/>
              </a:ext>
            </a:extLst>
          </p:cNvPr>
          <p:cNvSpPr txBox="1"/>
          <p:nvPr/>
        </p:nvSpPr>
        <p:spPr>
          <a:xfrm>
            <a:off x="8496406" y="2112413"/>
            <a:ext cx="3260274" cy="329320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Disposable household income under press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leading to more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discounter growth…</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pushes supermarkets and high-end grocery retailers to </a:t>
            </a:r>
            <a:r>
              <a:rPr kumimoji="0" lang="en-GB" sz="1600" b="1" i="0" u="none" strike="noStrike" kern="1200" cap="none" spc="0" normalizeH="0" baseline="0" noProof="0">
                <a:ln>
                  <a:noFill/>
                </a:ln>
                <a:solidFill>
                  <a:srgbClr val="141E50"/>
                </a:solidFill>
                <a:effectLst/>
                <a:uLnTx/>
                <a:uFillTx/>
                <a:latin typeface="Helvetica" pitchFamily="2" charset="0"/>
                <a:ea typeface="+mn-ea"/>
                <a:cs typeface="+mn-cs"/>
              </a:rPr>
              <a:t>invest more in price than in technology </a:t>
            </a:r>
          </a:p>
        </p:txBody>
      </p:sp>
      <p:cxnSp>
        <p:nvCxnSpPr>
          <p:cNvPr id="15" name="Straight Connector 14">
            <a:extLst>
              <a:ext uri="{FF2B5EF4-FFF2-40B4-BE49-F238E27FC236}">
                <a16:creationId xmlns:a16="http://schemas.microsoft.com/office/drawing/2014/main" id="{954BD19A-A90F-902A-4F7A-A49F6C89818B}"/>
              </a:ext>
            </a:extLst>
          </p:cNvPr>
          <p:cNvCxnSpPr>
            <a:cxnSpLocks/>
          </p:cNvCxnSpPr>
          <p:nvPr/>
        </p:nvCxnSpPr>
        <p:spPr>
          <a:xfrm>
            <a:off x="8529005" y="1999519"/>
            <a:ext cx="3196340" cy="0"/>
          </a:xfrm>
          <a:prstGeom prst="line">
            <a:avLst/>
          </a:prstGeom>
          <a:ln w="12700">
            <a:solidFill>
              <a:srgbClr val="2832DC"/>
            </a:solidFill>
          </a:ln>
        </p:spPr>
        <p:style>
          <a:lnRef idx="1">
            <a:schemeClr val="accent1"/>
          </a:lnRef>
          <a:fillRef idx="0">
            <a:schemeClr val="accent1"/>
          </a:fillRef>
          <a:effectRef idx="0">
            <a:schemeClr val="accent1"/>
          </a:effectRef>
          <a:fontRef idx="minor">
            <a:schemeClr val="tx1"/>
          </a:fontRef>
        </p:style>
      </p:cxnSp>
      <p:pic>
        <p:nvPicPr>
          <p:cNvPr id="23" name="Graphic 22">
            <a:extLst>
              <a:ext uri="{FF2B5EF4-FFF2-40B4-BE49-F238E27FC236}">
                <a16:creationId xmlns:a16="http://schemas.microsoft.com/office/drawing/2014/main" id="{9AC81CF2-1E69-ADC0-9A1B-DE2A4F84372B}"/>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rot="16761813" flipH="1" flipV="1">
            <a:off x="9247830" y="2702818"/>
            <a:ext cx="540662" cy="614549"/>
          </a:xfrm>
          <a:prstGeom prst="rect">
            <a:avLst/>
          </a:prstGeom>
        </p:spPr>
      </p:pic>
      <p:pic>
        <p:nvPicPr>
          <p:cNvPr id="24" name="Graphic 23">
            <a:extLst>
              <a:ext uri="{FF2B5EF4-FFF2-40B4-BE49-F238E27FC236}">
                <a16:creationId xmlns:a16="http://schemas.microsoft.com/office/drawing/2014/main" id="{C06D26CC-B952-6BFD-EEB3-F4C787B5C63E}"/>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rot="4172150" flipV="1">
            <a:off x="10841179" y="3673630"/>
            <a:ext cx="540662" cy="614549"/>
          </a:xfrm>
          <a:prstGeom prst="rect">
            <a:avLst/>
          </a:prstGeom>
        </p:spPr>
      </p:pic>
      <p:sp>
        <p:nvSpPr>
          <p:cNvPr id="11" name="TextBox 10">
            <a:extLst>
              <a:ext uri="{FF2B5EF4-FFF2-40B4-BE49-F238E27FC236}">
                <a16:creationId xmlns:a16="http://schemas.microsoft.com/office/drawing/2014/main" id="{3068671D-0E70-FA90-577C-4677262AB129}"/>
              </a:ext>
            </a:extLst>
          </p:cNvPr>
          <p:cNvSpPr txBox="1"/>
          <p:nvPr/>
        </p:nvSpPr>
        <p:spPr>
          <a:xfrm>
            <a:off x="4544075" y="6169073"/>
            <a:ext cx="6626772"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rPr>
              <a:t>https://</a:t>
            </a:r>
            <a:r>
              <a:rPr kumimoji="0" lang="en-GB" sz="900" b="0" i="0" u="none" strike="noStrike" kern="1200" cap="none" spc="0" normalizeH="0" baseline="0" noProof="0" err="1">
                <a:ln>
                  <a:noFill/>
                </a:ln>
                <a:solidFill>
                  <a:prstClr val="black"/>
                </a:solidFill>
                <a:effectLst/>
                <a:uLnTx/>
                <a:uFillTx/>
                <a:latin typeface="Helvetica Light" panose="020B0403020202020204" pitchFamily="34" charset="0"/>
                <a:ea typeface="+mn-ea"/>
                <a:cs typeface="+mn-cs"/>
              </a:rPr>
              <a:t>www.mckinsey.com</a:t>
            </a:r>
            <a:r>
              <a:rPr kumimoji="0" lang="en-GB" sz="9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rPr>
              <a:t>/industries/retail/our-insights/state-of-grocery-europe-2024-signs-of-hope#</a:t>
            </a:r>
          </a:p>
        </p:txBody>
      </p:sp>
      <p:graphicFrame>
        <p:nvGraphicFramePr>
          <p:cNvPr id="3" name="Chart 2">
            <a:extLst>
              <a:ext uri="{FF2B5EF4-FFF2-40B4-BE49-F238E27FC236}">
                <a16:creationId xmlns:a16="http://schemas.microsoft.com/office/drawing/2014/main" id="{3EC69D7F-D2CA-FF2E-6B4C-289090063A1E}"/>
              </a:ext>
            </a:extLst>
          </p:cNvPr>
          <p:cNvGraphicFramePr/>
          <p:nvPr/>
        </p:nvGraphicFramePr>
        <p:xfrm>
          <a:off x="450813" y="2054894"/>
          <a:ext cx="3929786" cy="3342799"/>
        </p:xfrm>
        <a:graphic>
          <a:graphicData uri="http://schemas.openxmlformats.org/drawingml/2006/chart">
            <c:chart xmlns:c="http://schemas.openxmlformats.org/drawingml/2006/chart" xmlns:r="http://schemas.openxmlformats.org/officeDocument/2006/relationships" r:id="rId14"/>
          </a:graphicData>
        </a:graphic>
      </p:graphicFrame>
      <p:grpSp>
        <p:nvGrpSpPr>
          <p:cNvPr id="29" name="Group 28">
            <a:extLst>
              <a:ext uri="{FF2B5EF4-FFF2-40B4-BE49-F238E27FC236}">
                <a16:creationId xmlns:a16="http://schemas.microsoft.com/office/drawing/2014/main" id="{9E4961AD-E7BC-8F8B-682A-9AB1EDD78FFB}"/>
              </a:ext>
            </a:extLst>
          </p:cNvPr>
          <p:cNvGrpSpPr/>
          <p:nvPr/>
        </p:nvGrpSpPr>
        <p:grpSpPr>
          <a:xfrm>
            <a:off x="2663080" y="3212614"/>
            <a:ext cx="1804149" cy="1703157"/>
            <a:chOff x="2882765" y="3006682"/>
            <a:chExt cx="1804149" cy="1703157"/>
          </a:xfrm>
        </p:grpSpPr>
        <p:sp>
          <p:nvSpPr>
            <p:cNvPr id="21" name="Oval 20">
              <a:extLst>
                <a:ext uri="{FF2B5EF4-FFF2-40B4-BE49-F238E27FC236}">
                  <a16:creationId xmlns:a16="http://schemas.microsoft.com/office/drawing/2014/main" id="{299ED801-3312-425C-838B-6EA2883E7F4F}"/>
                </a:ext>
              </a:extLst>
            </p:cNvPr>
            <p:cNvSpPr/>
            <p:nvPr/>
          </p:nvSpPr>
          <p:spPr>
            <a:xfrm>
              <a:off x="2882765" y="3081608"/>
              <a:ext cx="1628231" cy="1628231"/>
            </a:xfrm>
            <a:prstGeom prst="ellipse">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7" name="TextBox 16">
              <a:extLst>
                <a:ext uri="{FF2B5EF4-FFF2-40B4-BE49-F238E27FC236}">
                  <a16:creationId xmlns:a16="http://schemas.microsoft.com/office/drawing/2014/main" id="{A2AA6006-D708-0695-935C-0A54CDE2F852}"/>
                </a:ext>
              </a:extLst>
            </p:cNvPr>
            <p:cNvSpPr txBox="1"/>
            <p:nvPr/>
          </p:nvSpPr>
          <p:spPr>
            <a:xfrm>
              <a:off x="3058683" y="3483934"/>
              <a:ext cx="1628231"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Helvetica Light" panose="020B0403020202020204" pitchFamily="34" charset="0"/>
                  <a:ea typeface="+mn-ea"/>
                  <a:cs typeface="+mn-cs"/>
                </a:rPr>
                <a:t>The profitability of</a:t>
              </a:r>
              <a:br>
                <a:rPr kumimoji="0" lang="en-GB" sz="1000" b="0" i="0" u="none" strike="noStrike" kern="1200" cap="none" spc="0" normalizeH="0" baseline="0" noProof="0">
                  <a:ln>
                    <a:noFill/>
                  </a:ln>
                  <a:solidFill>
                    <a:prstClr val="white"/>
                  </a:solidFill>
                  <a:effectLst/>
                  <a:uLnTx/>
                  <a:uFillTx/>
                  <a:latin typeface="Helvetica Light" panose="020B0403020202020204" pitchFamily="34" charset="0"/>
                  <a:ea typeface="+mn-ea"/>
                  <a:cs typeface="+mn-cs"/>
                </a:rPr>
              </a:br>
              <a:r>
                <a:rPr kumimoji="0" lang="en-GB" sz="1000" b="0" i="0" u="none" strike="noStrike" kern="1200" cap="none" spc="0" normalizeH="0" baseline="0" noProof="0">
                  <a:ln>
                    <a:noFill/>
                  </a:ln>
                  <a:solidFill>
                    <a:prstClr val="white"/>
                  </a:solidFill>
                  <a:effectLst/>
                  <a:uLnTx/>
                  <a:uFillTx/>
                  <a:latin typeface="Helvetica Light" panose="020B0403020202020204" pitchFamily="34" charset="0"/>
                  <a:ea typeface="+mn-ea"/>
                  <a:cs typeface="+mn-cs"/>
                </a:rPr>
                <a:t>grocers declined</a:t>
              </a:r>
              <a:br>
                <a:rPr kumimoji="0" lang="en-GB" sz="1000" b="0" i="0" u="none" strike="noStrike" kern="1200" cap="none" spc="0" normalizeH="0" baseline="0" noProof="0">
                  <a:ln>
                    <a:noFill/>
                  </a:ln>
                  <a:solidFill>
                    <a:prstClr val="white"/>
                  </a:solidFill>
                  <a:effectLst/>
                  <a:uLnTx/>
                  <a:uFillTx/>
                  <a:latin typeface="Helvetica Light" panose="020B0403020202020204" pitchFamily="34" charset="0"/>
                  <a:ea typeface="+mn-ea"/>
                  <a:cs typeface="+mn-cs"/>
                </a:rPr>
              </a:br>
              <a:r>
                <a:rPr kumimoji="0" lang="en-GB" sz="1000" b="0" i="0" u="none" strike="noStrike" kern="1200" cap="none" spc="0" normalizeH="0" baseline="0" noProof="0">
                  <a:ln>
                    <a:noFill/>
                  </a:ln>
                  <a:solidFill>
                    <a:prstClr val="white"/>
                  </a:solidFill>
                  <a:effectLst/>
                  <a:uLnTx/>
                  <a:uFillTx/>
                  <a:latin typeface="Helvetica Light" panose="020B0403020202020204" pitchFamily="34" charset="0"/>
                  <a:ea typeface="+mn-ea"/>
                  <a:cs typeface="+mn-cs"/>
                </a:rPr>
                <a:t>further in 2023, and</a:t>
              </a:r>
              <a:br>
                <a:rPr kumimoji="0" lang="en-GB" sz="1000" b="0" i="0" u="none" strike="noStrike" kern="1200" cap="none" spc="0" normalizeH="0" baseline="0" noProof="0">
                  <a:ln>
                    <a:noFill/>
                  </a:ln>
                  <a:solidFill>
                    <a:prstClr val="white"/>
                  </a:solidFill>
                  <a:effectLst/>
                  <a:uLnTx/>
                  <a:uFillTx/>
                  <a:latin typeface="Helvetica Light" panose="020B0403020202020204" pitchFamily="34" charset="0"/>
                  <a:ea typeface="+mn-ea"/>
                  <a:cs typeface="+mn-cs"/>
                </a:rPr>
              </a:br>
              <a:r>
                <a:rPr kumimoji="0" lang="en-GB" sz="1000" b="0" i="0" u="none" strike="noStrike" kern="1200" cap="none" spc="0" normalizeH="0" baseline="0" noProof="0">
                  <a:ln>
                    <a:noFill/>
                  </a:ln>
                  <a:solidFill>
                    <a:prstClr val="white"/>
                  </a:solidFill>
                  <a:effectLst/>
                  <a:uLnTx/>
                  <a:uFillTx/>
                  <a:latin typeface="Helvetica Light" panose="020B0403020202020204" pitchFamily="34" charset="0"/>
                  <a:ea typeface="+mn-ea"/>
                  <a:cs typeface="+mn-cs"/>
                </a:rPr>
                <a:t>the pressure will not</a:t>
              </a:r>
              <a:br>
                <a:rPr kumimoji="0" lang="en-GB" sz="1000" b="0" i="0" u="none" strike="noStrike" kern="1200" cap="none" spc="0" normalizeH="0" baseline="0" noProof="0">
                  <a:ln>
                    <a:noFill/>
                  </a:ln>
                  <a:solidFill>
                    <a:prstClr val="white"/>
                  </a:solidFill>
                  <a:effectLst/>
                  <a:uLnTx/>
                  <a:uFillTx/>
                  <a:latin typeface="Helvetica Light" panose="020B0403020202020204" pitchFamily="34" charset="0"/>
                  <a:ea typeface="+mn-ea"/>
                  <a:cs typeface="+mn-cs"/>
                </a:rPr>
              </a:br>
              <a:r>
                <a:rPr kumimoji="0" lang="en-GB" sz="1000" b="0" i="0" u="none" strike="noStrike" kern="1200" cap="none" spc="0" normalizeH="0" baseline="0" noProof="0">
                  <a:ln>
                    <a:noFill/>
                  </a:ln>
                  <a:solidFill>
                    <a:prstClr val="white"/>
                  </a:solidFill>
                  <a:effectLst/>
                  <a:uLnTx/>
                  <a:uFillTx/>
                  <a:latin typeface="Helvetica Light" panose="020B0403020202020204" pitchFamily="34" charset="0"/>
                  <a:ea typeface="+mn-ea"/>
                  <a:cs typeface="+mn-cs"/>
                </a:rPr>
                <a:t>go away in 2024.*</a:t>
              </a:r>
            </a:p>
          </p:txBody>
        </p:sp>
        <p:grpSp>
          <p:nvGrpSpPr>
            <p:cNvPr id="22" name="Group 21">
              <a:extLst>
                <a:ext uri="{FF2B5EF4-FFF2-40B4-BE49-F238E27FC236}">
                  <a16:creationId xmlns:a16="http://schemas.microsoft.com/office/drawing/2014/main" id="{112A4D57-02D8-09C9-238A-9CDAC9CE28E2}"/>
                </a:ext>
              </a:extLst>
            </p:cNvPr>
            <p:cNvGrpSpPr/>
            <p:nvPr/>
          </p:nvGrpSpPr>
          <p:grpSpPr>
            <a:xfrm>
              <a:off x="3026626" y="3006682"/>
              <a:ext cx="733348" cy="589627"/>
              <a:chOff x="3324212" y="3550857"/>
              <a:chExt cx="606551" cy="487679"/>
            </a:xfrm>
          </p:grpSpPr>
          <p:pic>
            <p:nvPicPr>
              <p:cNvPr id="25" name="object 32">
                <a:extLst>
                  <a:ext uri="{FF2B5EF4-FFF2-40B4-BE49-F238E27FC236}">
                    <a16:creationId xmlns:a16="http://schemas.microsoft.com/office/drawing/2014/main" id="{D102FEBD-5947-5F16-5ABD-B247E431EA2A}"/>
                  </a:ext>
                </a:extLst>
              </p:cNvPr>
              <p:cNvPicPr/>
              <p:nvPr/>
            </p:nvPicPr>
            <p:blipFill>
              <a:blip r:embed="rId15" cstate="screen">
                <a:extLst>
                  <a:ext uri="{28A0092B-C50C-407E-A947-70E740481C1C}">
                    <a14:useLocalDpi xmlns:a14="http://schemas.microsoft.com/office/drawing/2010/main"/>
                  </a:ext>
                </a:extLst>
              </a:blip>
              <a:stretch>
                <a:fillRect/>
              </a:stretch>
            </p:blipFill>
            <p:spPr>
              <a:xfrm>
                <a:off x="3324212" y="3550857"/>
                <a:ext cx="606551" cy="487679"/>
              </a:xfrm>
              <a:prstGeom prst="rect">
                <a:avLst/>
              </a:prstGeom>
            </p:spPr>
          </p:pic>
          <p:pic>
            <p:nvPicPr>
              <p:cNvPr id="26" name="object 33">
                <a:extLst>
                  <a:ext uri="{FF2B5EF4-FFF2-40B4-BE49-F238E27FC236}">
                    <a16:creationId xmlns:a16="http://schemas.microsoft.com/office/drawing/2014/main" id="{6FBE7CDD-F3F0-3D59-15F9-19EF82C45B8D}"/>
                  </a:ext>
                </a:extLst>
              </p:cNvPr>
              <p:cNvPicPr/>
              <p:nvPr/>
            </p:nvPicPr>
            <p:blipFill>
              <a:blip r:embed="rId16" cstate="screen">
                <a:extLst>
                  <a:ext uri="{28A0092B-C50C-407E-A947-70E740481C1C}">
                    <a14:useLocalDpi xmlns:a14="http://schemas.microsoft.com/office/drawing/2010/main"/>
                  </a:ext>
                </a:extLst>
              </a:blip>
              <a:stretch>
                <a:fillRect/>
              </a:stretch>
            </p:blipFill>
            <p:spPr>
              <a:xfrm>
                <a:off x="3402736" y="3634906"/>
                <a:ext cx="183769" cy="268439"/>
              </a:xfrm>
              <a:prstGeom prst="rect">
                <a:avLst/>
              </a:prstGeom>
            </p:spPr>
          </p:pic>
          <p:pic>
            <p:nvPicPr>
              <p:cNvPr id="27" name="object 34">
                <a:extLst>
                  <a:ext uri="{FF2B5EF4-FFF2-40B4-BE49-F238E27FC236}">
                    <a16:creationId xmlns:a16="http://schemas.microsoft.com/office/drawing/2014/main" id="{ED92E919-E7E2-8278-2EEE-09B7885C99E3}"/>
                  </a:ext>
                </a:extLst>
              </p:cNvPr>
              <p:cNvPicPr/>
              <p:nvPr/>
            </p:nvPicPr>
            <p:blipFill>
              <a:blip r:embed="rId17" cstate="screen">
                <a:extLst>
                  <a:ext uri="{28A0092B-C50C-407E-A947-70E740481C1C}">
                    <a14:useLocalDpi xmlns:a14="http://schemas.microsoft.com/office/drawing/2010/main"/>
                  </a:ext>
                </a:extLst>
              </a:blip>
              <a:stretch>
                <a:fillRect/>
              </a:stretch>
            </p:blipFill>
            <p:spPr>
              <a:xfrm>
                <a:off x="3608234" y="3634906"/>
                <a:ext cx="183769" cy="268439"/>
              </a:xfrm>
              <a:prstGeom prst="rect">
                <a:avLst/>
              </a:prstGeom>
            </p:spPr>
          </p:pic>
          <p:sp>
            <p:nvSpPr>
              <p:cNvPr id="28" name="object 35">
                <a:extLst>
                  <a:ext uri="{FF2B5EF4-FFF2-40B4-BE49-F238E27FC236}">
                    <a16:creationId xmlns:a16="http://schemas.microsoft.com/office/drawing/2014/main" id="{F1218ACF-D6FE-A219-E1E8-FA07530AA2B8}"/>
                  </a:ext>
                </a:extLst>
              </p:cNvPr>
              <p:cNvSpPr/>
              <p:nvPr/>
            </p:nvSpPr>
            <p:spPr>
              <a:xfrm>
                <a:off x="3401428" y="3625508"/>
                <a:ext cx="396875" cy="281940"/>
              </a:xfrm>
              <a:custGeom>
                <a:avLst/>
                <a:gdLst/>
                <a:ahLst/>
                <a:cxnLst/>
                <a:rect l="l" t="t" r="r" b="b"/>
                <a:pathLst>
                  <a:path w="396875" h="281939">
                    <a:moveTo>
                      <a:pt x="191020" y="186131"/>
                    </a:moveTo>
                    <a:lnTo>
                      <a:pt x="186791" y="158064"/>
                    </a:lnTo>
                    <a:lnTo>
                      <a:pt x="176161" y="135775"/>
                    </a:lnTo>
                    <a:lnTo>
                      <a:pt x="176161" y="186131"/>
                    </a:lnTo>
                    <a:lnTo>
                      <a:pt x="169837" y="217601"/>
                    </a:lnTo>
                    <a:lnTo>
                      <a:pt x="152590" y="243281"/>
                    </a:lnTo>
                    <a:lnTo>
                      <a:pt x="126974" y="260591"/>
                    </a:lnTo>
                    <a:lnTo>
                      <a:pt x="95465" y="266954"/>
                    </a:lnTo>
                    <a:lnTo>
                      <a:pt x="63995" y="260629"/>
                    </a:lnTo>
                    <a:lnTo>
                      <a:pt x="38341" y="243332"/>
                    </a:lnTo>
                    <a:lnTo>
                      <a:pt x="21043" y="217665"/>
                    </a:lnTo>
                    <a:lnTo>
                      <a:pt x="14719" y="186182"/>
                    </a:lnTo>
                    <a:lnTo>
                      <a:pt x="15951" y="172008"/>
                    </a:lnTo>
                    <a:lnTo>
                      <a:pt x="19532" y="158661"/>
                    </a:lnTo>
                    <a:lnTo>
                      <a:pt x="25222" y="146342"/>
                    </a:lnTo>
                    <a:lnTo>
                      <a:pt x="32816" y="135280"/>
                    </a:lnTo>
                    <a:lnTo>
                      <a:pt x="33426" y="134505"/>
                    </a:lnTo>
                    <a:lnTo>
                      <a:pt x="33629" y="134340"/>
                    </a:lnTo>
                    <a:lnTo>
                      <a:pt x="55575" y="107137"/>
                    </a:lnTo>
                    <a:lnTo>
                      <a:pt x="117817" y="30251"/>
                    </a:lnTo>
                    <a:lnTo>
                      <a:pt x="118846" y="93751"/>
                    </a:lnTo>
                    <a:lnTo>
                      <a:pt x="118872" y="107251"/>
                    </a:lnTo>
                    <a:lnTo>
                      <a:pt x="131419" y="113906"/>
                    </a:lnTo>
                    <a:lnTo>
                      <a:pt x="149606" y="126276"/>
                    </a:lnTo>
                    <a:lnTo>
                      <a:pt x="163741" y="143052"/>
                    </a:lnTo>
                    <a:lnTo>
                      <a:pt x="172897" y="163296"/>
                    </a:lnTo>
                    <a:lnTo>
                      <a:pt x="176161" y="186131"/>
                    </a:lnTo>
                    <a:lnTo>
                      <a:pt x="176161" y="135775"/>
                    </a:lnTo>
                    <a:lnTo>
                      <a:pt x="174980" y="133286"/>
                    </a:lnTo>
                    <a:lnTo>
                      <a:pt x="156845" y="113080"/>
                    </a:lnTo>
                    <a:lnTo>
                      <a:pt x="133654" y="98691"/>
                    </a:lnTo>
                    <a:lnTo>
                      <a:pt x="133591" y="93751"/>
                    </a:lnTo>
                    <a:lnTo>
                      <a:pt x="132562" y="30251"/>
                    </a:lnTo>
                    <a:lnTo>
                      <a:pt x="132245" y="9880"/>
                    </a:lnTo>
                    <a:lnTo>
                      <a:pt x="132156" y="2997"/>
                    </a:lnTo>
                    <a:lnTo>
                      <a:pt x="123558" y="0"/>
                    </a:lnTo>
                    <a:lnTo>
                      <a:pt x="22110" y="125234"/>
                    </a:lnTo>
                    <a:lnTo>
                      <a:pt x="21958" y="125450"/>
                    </a:lnTo>
                    <a:lnTo>
                      <a:pt x="21793" y="125615"/>
                    </a:lnTo>
                    <a:lnTo>
                      <a:pt x="21628" y="125844"/>
                    </a:lnTo>
                    <a:lnTo>
                      <a:pt x="21488" y="125958"/>
                    </a:lnTo>
                    <a:lnTo>
                      <a:pt x="21348" y="126123"/>
                    </a:lnTo>
                    <a:lnTo>
                      <a:pt x="21234" y="126339"/>
                    </a:lnTo>
                    <a:lnTo>
                      <a:pt x="21094" y="126504"/>
                    </a:lnTo>
                    <a:lnTo>
                      <a:pt x="12242" y="139573"/>
                    </a:lnTo>
                    <a:lnTo>
                      <a:pt x="5613" y="154012"/>
                    </a:lnTo>
                    <a:lnTo>
                      <a:pt x="1435" y="169608"/>
                    </a:lnTo>
                    <a:lnTo>
                      <a:pt x="0" y="186131"/>
                    </a:lnTo>
                    <a:lnTo>
                      <a:pt x="7518" y="223291"/>
                    </a:lnTo>
                    <a:lnTo>
                      <a:pt x="28016" y="253657"/>
                    </a:lnTo>
                    <a:lnTo>
                      <a:pt x="58394" y="274142"/>
                    </a:lnTo>
                    <a:lnTo>
                      <a:pt x="95529" y="281660"/>
                    </a:lnTo>
                    <a:lnTo>
                      <a:pt x="132727" y="274142"/>
                    </a:lnTo>
                    <a:lnTo>
                      <a:pt x="143357" y="266954"/>
                    </a:lnTo>
                    <a:lnTo>
                      <a:pt x="163055" y="253657"/>
                    </a:lnTo>
                    <a:lnTo>
                      <a:pt x="183515" y="223291"/>
                    </a:lnTo>
                    <a:lnTo>
                      <a:pt x="191020" y="186131"/>
                    </a:lnTo>
                    <a:close/>
                  </a:path>
                  <a:path w="396875" h="281939">
                    <a:moveTo>
                      <a:pt x="396684" y="186131"/>
                    </a:moveTo>
                    <a:lnTo>
                      <a:pt x="392455" y="158064"/>
                    </a:lnTo>
                    <a:lnTo>
                      <a:pt x="381800" y="135712"/>
                    </a:lnTo>
                    <a:lnTo>
                      <a:pt x="381800" y="186131"/>
                    </a:lnTo>
                    <a:lnTo>
                      <a:pt x="375475" y="217601"/>
                    </a:lnTo>
                    <a:lnTo>
                      <a:pt x="358228" y="243281"/>
                    </a:lnTo>
                    <a:lnTo>
                      <a:pt x="332613" y="260591"/>
                    </a:lnTo>
                    <a:lnTo>
                      <a:pt x="301117" y="266954"/>
                    </a:lnTo>
                    <a:lnTo>
                      <a:pt x="269621" y="260629"/>
                    </a:lnTo>
                    <a:lnTo>
                      <a:pt x="243954" y="243332"/>
                    </a:lnTo>
                    <a:lnTo>
                      <a:pt x="226656" y="217665"/>
                    </a:lnTo>
                    <a:lnTo>
                      <a:pt x="220332" y="186182"/>
                    </a:lnTo>
                    <a:lnTo>
                      <a:pt x="221564" y="172008"/>
                    </a:lnTo>
                    <a:lnTo>
                      <a:pt x="225145" y="158661"/>
                    </a:lnTo>
                    <a:lnTo>
                      <a:pt x="230835" y="146342"/>
                    </a:lnTo>
                    <a:lnTo>
                      <a:pt x="238442" y="135280"/>
                    </a:lnTo>
                    <a:lnTo>
                      <a:pt x="239039" y="134505"/>
                    </a:lnTo>
                    <a:lnTo>
                      <a:pt x="239268" y="134340"/>
                    </a:lnTo>
                    <a:lnTo>
                      <a:pt x="261213" y="107137"/>
                    </a:lnTo>
                    <a:lnTo>
                      <a:pt x="323456" y="30251"/>
                    </a:lnTo>
                    <a:lnTo>
                      <a:pt x="324485" y="93751"/>
                    </a:lnTo>
                    <a:lnTo>
                      <a:pt x="324510" y="107251"/>
                    </a:lnTo>
                    <a:lnTo>
                      <a:pt x="337058" y="113906"/>
                    </a:lnTo>
                    <a:lnTo>
                      <a:pt x="355244" y="126276"/>
                    </a:lnTo>
                    <a:lnTo>
                      <a:pt x="369379" y="143052"/>
                    </a:lnTo>
                    <a:lnTo>
                      <a:pt x="378536" y="163296"/>
                    </a:lnTo>
                    <a:lnTo>
                      <a:pt x="381800" y="186131"/>
                    </a:lnTo>
                    <a:lnTo>
                      <a:pt x="381800" y="135712"/>
                    </a:lnTo>
                    <a:lnTo>
                      <a:pt x="380644" y="133286"/>
                    </a:lnTo>
                    <a:lnTo>
                      <a:pt x="362508" y="113080"/>
                    </a:lnTo>
                    <a:lnTo>
                      <a:pt x="339318" y="98691"/>
                    </a:lnTo>
                    <a:lnTo>
                      <a:pt x="339255" y="93751"/>
                    </a:lnTo>
                    <a:lnTo>
                      <a:pt x="338226" y="30251"/>
                    </a:lnTo>
                    <a:lnTo>
                      <a:pt x="337908" y="9880"/>
                    </a:lnTo>
                    <a:lnTo>
                      <a:pt x="337820" y="2997"/>
                    </a:lnTo>
                    <a:lnTo>
                      <a:pt x="329222" y="0"/>
                    </a:lnTo>
                    <a:lnTo>
                      <a:pt x="227787" y="125234"/>
                    </a:lnTo>
                    <a:lnTo>
                      <a:pt x="227444" y="125615"/>
                    </a:lnTo>
                    <a:lnTo>
                      <a:pt x="227279" y="125844"/>
                    </a:lnTo>
                    <a:lnTo>
                      <a:pt x="227114" y="125958"/>
                    </a:lnTo>
                    <a:lnTo>
                      <a:pt x="226999" y="126123"/>
                    </a:lnTo>
                    <a:lnTo>
                      <a:pt x="226898" y="126339"/>
                    </a:lnTo>
                    <a:lnTo>
                      <a:pt x="226733" y="126504"/>
                    </a:lnTo>
                    <a:lnTo>
                      <a:pt x="217881" y="139573"/>
                    </a:lnTo>
                    <a:lnTo>
                      <a:pt x="211251" y="154012"/>
                    </a:lnTo>
                    <a:lnTo>
                      <a:pt x="207073" y="169608"/>
                    </a:lnTo>
                    <a:lnTo>
                      <a:pt x="205638" y="186131"/>
                    </a:lnTo>
                    <a:lnTo>
                      <a:pt x="213156" y="223291"/>
                    </a:lnTo>
                    <a:lnTo>
                      <a:pt x="233654" y="253657"/>
                    </a:lnTo>
                    <a:lnTo>
                      <a:pt x="264033" y="274142"/>
                    </a:lnTo>
                    <a:lnTo>
                      <a:pt x="301167" y="281660"/>
                    </a:lnTo>
                    <a:lnTo>
                      <a:pt x="338391" y="274142"/>
                    </a:lnTo>
                    <a:lnTo>
                      <a:pt x="349021" y="266954"/>
                    </a:lnTo>
                    <a:lnTo>
                      <a:pt x="368719" y="253657"/>
                    </a:lnTo>
                    <a:lnTo>
                      <a:pt x="389178" y="223291"/>
                    </a:lnTo>
                    <a:lnTo>
                      <a:pt x="396684" y="186131"/>
                    </a:lnTo>
                    <a:close/>
                  </a:path>
                </a:pathLst>
              </a:custGeom>
              <a:solidFill>
                <a:srgbClr val="5A75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elvetica"/>
                  <a:ea typeface="+mn-ea"/>
                  <a:cs typeface="+mn-cs"/>
                </a:endParaRPr>
              </a:p>
            </p:txBody>
          </p:sp>
        </p:grpSp>
      </p:grpSp>
      <p:sp>
        <p:nvSpPr>
          <p:cNvPr id="32" name="TextBox 31">
            <a:extLst>
              <a:ext uri="{FF2B5EF4-FFF2-40B4-BE49-F238E27FC236}">
                <a16:creationId xmlns:a16="http://schemas.microsoft.com/office/drawing/2014/main" id="{940F91CD-B9A0-218D-43F3-213637B2EBE4}"/>
              </a:ext>
            </a:extLst>
          </p:cNvPr>
          <p:cNvSpPr txBox="1"/>
          <p:nvPr/>
        </p:nvSpPr>
        <p:spPr>
          <a:xfrm>
            <a:off x="415829" y="1527347"/>
            <a:ext cx="269490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Top 15 trends mentioned by CEOs</a:t>
            </a:r>
            <a:br>
              <a:rPr kumimoji="0" lang="en-GB" sz="1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br>
            <a:r>
              <a:rPr kumimoji="0" lang="en-GB" sz="1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for the grocery industry 2024*</a:t>
            </a:r>
          </a:p>
        </p:txBody>
      </p:sp>
      <p:grpSp>
        <p:nvGrpSpPr>
          <p:cNvPr id="50" name="Group 49">
            <a:extLst>
              <a:ext uri="{FF2B5EF4-FFF2-40B4-BE49-F238E27FC236}">
                <a16:creationId xmlns:a16="http://schemas.microsoft.com/office/drawing/2014/main" id="{49D4688E-B158-126A-99BC-B62495BD3DB3}"/>
              </a:ext>
            </a:extLst>
          </p:cNvPr>
          <p:cNvGrpSpPr/>
          <p:nvPr/>
        </p:nvGrpSpPr>
        <p:grpSpPr>
          <a:xfrm>
            <a:off x="3124065" y="1737547"/>
            <a:ext cx="1440863" cy="214477"/>
            <a:chOff x="4534167" y="432955"/>
            <a:chExt cx="2031318" cy="302369"/>
          </a:xfrm>
        </p:grpSpPr>
        <p:sp>
          <p:nvSpPr>
            <p:cNvPr id="44" name="Rectangle 43">
              <a:extLst>
                <a:ext uri="{FF2B5EF4-FFF2-40B4-BE49-F238E27FC236}">
                  <a16:creationId xmlns:a16="http://schemas.microsoft.com/office/drawing/2014/main" id="{E3BE7A4D-6396-CF1B-0CBF-BF759F25D660}"/>
                </a:ext>
              </a:extLst>
            </p:cNvPr>
            <p:cNvSpPr/>
            <p:nvPr/>
          </p:nvSpPr>
          <p:spPr>
            <a:xfrm>
              <a:off x="4534167" y="432955"/>
              <a:ext cx="239241" cy="239241"/>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Helvetica"/>
                <a:ea typeface="+mn-ea"/>
                <a:cs typeface="+mn-cs"/>
              </a:endParaRPr>
            </a:p>
          </p:txBody>
        </p:sp>
        <p:sp>
          <p:nvSpPr>
            <p:cNvPr id="46" name="Rectangle 45">
              <a:extLst>
                <a:ext uri="{FF2B5EF4-FFF2-40B4-BE49-F238E27FC236}">
                  <a16:creationId xmlns:a16="http://schemas.microsoft.com/office/drawing/2014/main" id="{679372FF-0F0D-08AD-223D-B78193E1AF63}"/>
                </a:ext>
              </a:extLst>
            </p:cNvPr>
            <p:cNvSpPr/>
            <p:nvPr/>
          </p:nvSpPr>
          <p:spPr>
            <a:xfrm>
              <a:off x="5530693" y="432955"/>
              <a:ext cx="239241" cy="239241"/>
            </a:xfrm>
            <a:prstGeom prst="rect">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Helvetica"/>
                <a:ea typeface="+mn-ea"/>
                <a:cs typeface="+mn-cs"/>
              </a:endParaRPr>
            </a:p>
          </p:txBody>
        </p:sp>
        <p:sp>
          <p:nvSpPr>
            <p:cNvPr id="47" name="TextBox 46">
              <a:extLst>
                <a:ext uri="{FF2B5EF4-FFF2-40B4-BE49-F238E27FC236}">
                  <a16:creationId xmlns:a16="http://schemas.microsoft.com/office/drawing/2014/main" id="{8433616D-6554-7FF2-21FF-82860E8ED36C}"/>
                </a:ext>
              </a:extLst>
            </p:cNvPr>
            <p:cNvSpPr txBox="1"/>
            <p:nvPr/>
          </p:nvSpPr>
          <p:spPr>
            <a:xfrm>
              <a:off x="4735143" y="453287"/>
              <a:ext cx="833815" cy="28203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Top 1 - 3</a:t>
              </a:r>
            </a:p>
          </p:txBody>
        </p:sp>
        <p:sp>
          <p:nvSpPr>
            <p:cNvPr id="48" name="TextBox 47">
              <a:extLst>
                <a:ext uri="{FF2B5EF4-FFF2-40B4-BE49-F238E27FC236}">
                  <a16:creationId xmlns:a16="http://schemas.microsoft.com/office/drawing/2014/main" id="{A025D189-3FF8-B260-22F1-25CD775DAC35}"/>
                </a:ext>
              </a:extLst>
            </p:cNvPr>
            <p:cNvSpPr txBox="1"/>
            <p:nvPr/>
          </p:nvSpPr>
          <p:spPr>
            <a:xfrm>
              <a:off x="5731670" y="453287"/>
              <a:ext cx="833815" cy="28203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Top 4 - 7</a:t>
              </a:r>
            </a:p>
          </p:txBody>
        </p:sp>
      </p:grpSp>
      <p:sp>
        <p:nvSpPr>
          <p:cNvPr id="9" name="Rectangle 8">
            <a:extLst>
              <a:ext uri="{FF2B5EF4-FFF2-40B4-BE49-F238E27FC236}">
                <a16:creationId xmlns:a16="http://schemas.microsoft.com/office/drawing/2014/main" id="{C359D52F-494B-6007-89A7-D0747B90E47B}"/>
              </a:ext>
            </a:extLst>
          </p:cNvPr>
          <p:cNvSpPr/>
          <p:nvPr/>
        </p:nvSpPr>
        <p:spPr>
          <a:xfrm>
            <a:off x="450813" y="2183630"/>
            <a:ext cx="971587" cy="205819"/>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00">
              <a:latin typeface="Helvetica Light" panose="020B0403020202020204" pitchFamily="34" charset="0"/>
            </a:endParaRPr>
          </a:p>
        </p:txBody>
      </p:sp>
      <p:sp>
        <p:nvSpPr>
          <p:cNvPr id="12" name="TextBox 11">
            <a:extLst>
              <a:ext uri="{FF2B5EF4-FFF2-40B4-BE49-F238E27FC236}">
                <a16:creationId xmlns:a16="http://schemas.microsoft.com/office/drawing/2014/main" id="{32B86C30-7973-4BD2-0679-83F91CA9E270}"/>
              </a:ext>
            </a:extLst>
          </p:cNvPr>
          <p:cNvSpPr txBox="1"/>
          <p:nvPr/>
        </p:nvSpPr>
        <p:spPr>
          <a:xfrm>
            <a:off x="132033" y="2214821"/>
            <a:ext cx="1356409" cy="184666"/>
          </a:xfrm>
          <a:prstGeom prst="rect">
            <a:avLst/>
          </a:prstGeom>
          <a:noFill/>
        </p:spPr>
        <p:txBody>
          <a:bodyPr wrap="square">
            <a:spAutoFit/>
          </a:bodyPr>
          <a:lstStyle/>
          <a:p>
            <a:pPr algn="r"/>
            <a:r>
              <a:rPr lang="en-GB" sz="600" b="1">
                <a:latin typeface="Helvetica" pitchFamily="2" charset="0"/>
              </a:rPr>
              <a:t>Cost &amp; margin pressure</a:t>
            </a:r>
          </a:p>
        </p:txBody>
      </p:sp>
    </p:spTree>
    <p:extLst>
      <p:ext uri="{BB962C8B-B14F-4D97-AF65-F5344CB8AC3E}">
        <p14:creationId xmlns:p14="http://schemas.microsoft.com/office/powerpoint/2010/main" val="14095899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AFF14C1-1BD1-2F49-832C-D1F887C300C4}"/>
              </a:ext>
            </a:extLst>
          </p:cNvPr>
          <p:cNvGraphicFramePr>
            <a:graphicFrameLocks noChangeAspect="1"/>
          </p:cNvGraphicFramePr>
          <p:nvPr>
            <p:custDataLst>
              <p:tags r:id="rId1"/>
            </p:custDataLst>
            <p:extLst>
              <p:ext uri="{D42A27DB-BD31-4B8C-83A1-F6EECF244321}">
                <p14:modId xmlns:p14="http://schemas.microsoft.com/office/powerpoint/2010/main" val="26966990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2" imgW="7772400" imgH="10058400" progId="TCLayout.ActiveDocument.1">
                  <p:embed/>
                </p:oleObj>
              </mc:Choice>
              <mc:Fallback>
                <p:oleObj name="think-cell Slide" r:id="rId32" imgW="7772400" imgH="10058400" progId="TCLayout.ActiveDocument.1">
                  <p:embed/>
                  <p:pic>
                    <p:nvPicPr>
                      <p:cNvPr id="6" name="think-cell data - do not delete" hidden="1">
                        <a:extLst>
                          <a:ext uri="{FF2B5EF4-FFF2-40B4-BE49-F238E27FC236}">
                            <a16:creationId xmlns:a16="http://schemas.microsoft.com/office/drawing/2014/main" id="{6AFF14C1-1BD1-2F49-832C-D1F887C300C4}"/>
                          </a:ext>
                        </a:extLst>
                      </p:cNvPr>
                      <p:cNvPicPr/>
                      <p:nvPr/>
                    </p:nvPicPr>
                    <p:blipFill>
                      <a:blip r:embed="rId33"/>
                      <a:stretch>
                        <a:fillRect/>
                      </a:stretch>
                    </p:blipFill>
                    <p:spPr>
                      <a:xfrm>
                        <a:off x="1588" y="1588"/>
                        <a:ext cx="1227"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D2FB8C69-4850-315D-F044-04014D8B2E63}"/>
              </a:ext>
            </a:extLst>
          </p:cNvPr>
          <p:cNvGrpSpPr>
            <a:grpSpLocks noChangeAspect="1"/>
          </p:cNvGrpSpPr>
          <p:nvPr/>
        </p:nvGrpSpPr>
        <p:grpSpPr>
          <a:xfrm>
            <a:off x="327777" y="351040"/>
            <a:ext cx="828000" cy="828000"/>
            <a:chOff x="5350978" y="2007969"/>
            <a:chExt cx="1413812" cy="1413812"/>
          </a:xfrm>
        </p:grpSpPr>
        <p:sp>
          <p:nvSpPr>
            <p:cNvPr id="7" name="Oval 6">
              <a:extLst>
                <a:ext uri="{FF2B5EF4-FFF2-40B4-BE49-F238E27FC236}">
                  <a16:creationId xmlns:a16="http://schemas.microsoft.com/office/drawing/2014/main" id="{C93BAC5E-3C92-C419-9788-00348425783D}"/>
                </a:ext>
              </a:extLst>
            </p:cNvPr>
            <p:cNvSpPr/>
            <p:nvPr/>
          </p:nvSpPr>
          <p:spPr>
            <a:xfrm>
              <a:off x="5350978" y="2007969"/>
              <a:ext cx="1413812" cy="1413812"/>
            </a:xfrm>
            <a:prstGeom prst="ellipse">
              <a:avLst/>
            </a:prstGeom>
            <a:solidFill>
              <a:schemeClr val="tx2"/>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8" name="Graphic 7">
              <a:extLst>
                <a:ext uri="{FF2B5EF4-FFF2-40B4-BE49-F238E27FC236}">
                  <a16:creationId xmlns:a16="http://schemas.microsoft.com/office/drawing/2014/main" id="{5B8F08C8-F4B8-8C66-AAE0-3D65B48C3952}"/>
                </a:ext>
              </a:extLst>
            </p:cNvPr>
            <p:cNvPicPr>
              <a:picLocks noChangeAspect="1"/>
            </p:cNvPicPr>
            <p:nvPr/>
          </p:nvPicPr>
          <p:blipFill>
            <a:blip r:embed="rId34" cstate="screen">
              <a:extLst>
                <a:ext uri="{28A0092B-C50C-407E-A947-70E740481C1C}">
                  <a14:useLocalDpi xmlns:a14="http://schemas.microsoft.com/office/drawing/2010/main"/>
                </a:ext>
                <a:ext uri="{96DAC541-7B7A-43D3-8B79-37D633B846F1}">
                  <asvg:svgBlip xmlns:asvg="http://schemas.microsoft.com/office/drawing/2016/SVG/main" r:embed="rId35"/>
                </a:ext>
              </a:extLst>
            </a:blip>
            <a:stretch>
              <a:fillRect/>
            </a:stretch>
          </p:blipFill>
          <p:spPr>
            <a:xfrm>
              <a:off x="5509994" y="2166985"/>
              <a:ext cx="1095780" cy="1095780"/>
            </a:xfrm>
            <a:prstGeom prst="rect">
              <a:avLst/>
            </a:prstGeom>
          </p:spPr>
        </p:pic>
      </p:grpSp>
      <p:sp>
        <p:nvSpPr>
          <p:cNvPr id="10" name="Title 1">
            <a:extLst>
              <a:ext uri="{FF2B5EF4-FFF2-40B4-BE49-F238E27FC236}">
                <a16:creationId xmlns:a16="http://schemas.microsoft.com/office/drawing/2014/main" id="{854B7F4C-0679-C02D-4A77-00A19C680929}"/>
              </a:ext>
            </a:extLst>
          </p:cNvPr>
          <p:cNvSpPr txBox="1">
            <a:spLocks/>
          </p:cNvSpPr>
          <p:nvPr/>
        </p:nvSpPr>
        <p:spPr>
          <a:xfrm>
            <a:off x="1327223" y="308067"/>
            <a:ext cx="10671895" cy="2076852"/>
          </a:xfrm>
          <a:prstGeom prst="rect">
            <a:avLst/>
          </a:prstGeom>
        </p:spPr>
        <p:txBody>
          <a:bodyPr vert="horz" anchor="t">
            <a:noAutofit/>
          </a:bodyPr>
          <a:lstStyle>
            <a:lvl1pPr algn="l" defTabSz="914400" rtl="0" eaLnBrk="1" latinLnBrk="0" hangingPunct="1">
              <a:lnSpc>
                <a:spcPct val="90000"/>
              </a:lnSpc>
              <a:spcBef>
                <a:spcPct val="0"/>
              </a:spcBef>
              <a:buNone/>
              <a:defRPr sz="4000" b="0" i="0" kern="1200">
                <a:solidFill>
                  <a:schemeClr val="accent1"/>
                </a:solidFill>
                <a:latin typeface="Helvetica Light" panose="020B0403020202020204" pitchFamily="34" charset="0"/>
                <a:ea typeface="+mj-ea"/>
                <a:cs typeface="+mj-cs"/>
              </a:defRPr>
            </a:lvl1pPr>
          </a:lstStyle>
          <a:p>
            <a:r>
              <a:rPr lang="en-GB" sz="3200" b="1">
                <a:latin typeface="Helvetica" pitchFamily="2" charset="0"/>
              </a:rPr>
              <a:t>Challenge 2:</a:t>
            </a:r>
            <a:br>
              <a:rPr lang="en-GB" sz="3200"/>
            </a:br>
            <a:r>
              <a:rPr lang="en-GB" sz="3200"/>
              <a:t>NOK and SEK depreciating against EUR and USD</a:t>
            </a:r>
          </a:p>
          <a:p>
            <a:r>
              <a:rPr lang="en-GB" sz="1800"/>
              <a:t>Development of currency exchange rates indexed to average monthly rates December 2021</a:t>
            </a:r>
          </a:p>
          <a:p>
            <a:endParaRPr lang="en-GB" sz="3200"/>
          </a:p>
        </p:txBody>
      </p:sp>
      <p:graphicFrame>
        <p:nvGraphicFramePr>
          <p:cNvPr id="9" name="Chart 8">
            <a:extLst>
              <a:ext uri="{FF2B5EF4-FFF2-40B4-BE49-F238E27FC236}">
                <a16:creationId xmlns:a16="http://schemas.microsoft.com/office/drawing/2014/main" id="{44432D99-00DF-5644-87DE-CD5F14EBCF80}"/>
              </a:ext>
            </a:extLst>
          </p:cNvPr>
          <p:cNvGraphicFramePr/>
          <p:nvPr>
            <p:custDataLst>
              <p:tags r:id="rId2"/>
            </p:custDataLst>
            <p:extLst>
              <p:ext uri="{D42A27DB-BD31-4B8C-83A1-F6EECF244321}">
                <p14:modId xmlns:p14="http://schemas.microsoft.com/office/powerpoint/2010/main" val="2893425958"/>
              </p:ext>
            </p:extLst>
          </p:nvPr>
        </p:nvGraphicFramePr>
        <p:xfrm>
          <a:off x="1244600" y="1397000"/>
          <a:ext cx="9297988" cy="4514850"/>
        </p:xfrm>
        <a:graphic>
          <a:graphicData uri="http://schemas.openxmlformats.org/drawingml/2006/chart">
            <c:chart xmlns:c="http://schemas.openxmlformats.org/drawingml/2006/chart" xmlns:r="http://schemas.openxmlformats.org/officeDocument/2006/relationships" r:id="rId36"/>
          </a:graphicData>
        </a:graphic>
      </p:graphicFrame>
      <p:sp>
        <p:nvSpPr>
          <p:cNvPr id="4" name="Rectangle 3">
            <a:extLst>
              <a:ext uri="{FF2B5EF4-FFF2-40B4-BE49-F238E27FC236}">
                <a16:creationId xmlns:a16="http://schemas.microsoft.com/office/drawing/2014/main" id="{6C37FF81-B5A2-93CB-5A53-21C5C60EB488}"/>
              </a:ext>
            </a:extLst>
          </p:cNvPr>
          <p:cNvSpPr/>
          <p:nvPr>
            <p:custDataLst>
              <p:tags r:id="rId3"/>
            </p:custDataLst>
          </p:nvPr>
        </p:nvSpPr>
        <p:spPr bwMode="gray">
          <a:xfrm>
            <a:off x="1012825" y="5099050"/>
            <a:ext cx="196850" cy="3841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r>
              <a:rPr lang="en-GB" altLang="en-US" sz="1400">
                <a:solidFill>
                  <a:schemeClr val="tx1"/>
                </a:solidFill>
              </a:rPr>
              <a:t>80</a:t>
            </a:r>
            <a:endParaRPr lang="en-GB" altLang="en-US" sz="1400">
              <a:solidFill>
                <a:schemeClr val="tx1"/>
              </a:solidFill>
              <a:effectLst/>
            </a:endParaRPr>
          </a:p>
          <a:p>
            <a:pPr algn="r">
              <a:lnSpc>
                <a:spcPct val="90000"/>
              </a:lnSpc>
              <a:spcBef>
                <a:spcPct val="0"/>
              </a:spcBef>
              <a:spcAft>
                <a:spcPct val="0"/>
              </a:spcAft>
            </a:pPr>
            <a:endParaRPr lang="en-GB" sz="1400">
              <a:solidFill>
                <a:schemeClr val="tx1"/>
              </a:solidFill>
            </a:endParaRPr>
          </a:p>
        </p:txBody>
      </p:sp>
      <p:sp>
        <p:nvSpPr>
          <p:cNvPr id="29" name="Rectangle 28">
            <a:extLst>
              <a:ext uri="{FF2B5EF4-FFF2-40B4-BE49-F238E27FC236}">
                <a16:creationId xmlns:a16="http://schemas.microsoft.com/office/drawing/2014/main" id="{B3564395-9844-644C-1FC7-7BD66A0B489F}"/>
              </a:ext>
            </a:extLst>
          </p:cNvPr>
          <p:cNvSpPr/>
          <p:nvPr>
            <p:custDataLst>
              <p:tags r:id="rId4"/>
            </p:custDataLst>
          </p:nvPr>
        </p:nvSpPr>
        <p:spPr bwMode="gray">
          <a:xfrm>
            <a:off x="1012825" y="4651375"/>
            <a:ext cx="196850"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r>
              <a:rPr lang="en-GB" altLang="en-US" sz="1400">
                <a:solidFill>
                  <a:schemeClr val="tx1"/>
                </a:solidFill>
              </a:rPr>
              <a:t>85</a:t>
            </a:r>
            <a:endParaRPr lang="en-GB" sz="1400">
              <a:solidFill>
                <a:schemeClr val="tx1"/>
              </a:solidFill>
            </a:endParaRPr>
          </a:p>
        </p:txBody>
      </p:sp>
      <p:sp>
        <p:nvSpPr>
          <p:cNvPr id="14" name="Rectangle 13">
            <a:extLst>
              <a:ext uri="{FF2B5EF4-FFF2-40B4-BE49-F238E27FC236}">
                <a16:creationId xmlns:a16="http://schemas.microsoft.com/office/drawing/2014/main" id="{AE06A440-D685-1F29-8A38-A47355B52C1B}"/>
              </a:ext>
            </a:extLst>
          </p:cNvPr>
          <p:cNvSpPr/>
          <p:nvPr>
            <p:custDataLst>
              <p:tags r:id="rId5"/>
            </p:custDataLst>
          </p:nvPr>
        </p:nvSpPr>
        <p:spPr bwMode="gray">
          <a:xfrm>
            <a:off x="1012825" y="4108450"/>
            <a:ext cx="196850"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r>
              <a:rPr lang="en-GB" altLang="en-US" sz="1400">
                <a:solidFill>
                  <a:schemeClr val="tx1"/>
                </a:solidFill>
                <a:effectLst/>
              </a:rPr>
              <a:t>90</a:t>
            </a:r>
            <a:endParaRPr lang="en-GB" sz="1400">
              <a:solidFill>
                <a:schemeClr val="tx1"/>
              </a:solidFill>
            </a:endParaRPr>
          </a:p>
        </p:txBody>
      </p:sp>
      <p:sp>
        <p:nvSpPr>
          <p:cNvPr id="33" name="Rectangle 32">
            <a:extLst>
              <a:ext uri="{FF2B5EF4-FFF2-40B4-BE49-F238E27FC236}">
                <a16:creationId xmlns:a16="http://schemas.microsoft.com/office/drawing/2014/main" id="{CCF67C2E-FA87-6AA8-DC8A-C5285C5E1047}"/>
              </a:ext>
            </a:extLst>
          </p:cNvPr>
          <p:cNvSpPr/>
          <p:nvPr>
            <p:custDataLst>
              <p:tags r:id="rId6"/>
            </p:custDataLst>
          </p:nvPr>
        </p:nvSpPr>
        <p:spPr bwMode="gray">
          <a:xfrm>
            <a:off x="1012824" y="3563938"/>
            <a:ext cx="196850"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r>
              <a:rPr lang="en-GB" altLang="en-US" sz="1400">
                <a:solidFill>
                  <a:schemeClr val="tx1"/>
                </a:solidFill>
                <a:effectLst/>
              </a:rPr>
              <a:t>95</a:t>
            </a:r>
            <a:endParaRPr lang="en-GB" sz="1400">
              <a:solidFill>
                <a:schemeClr val="tx1"/>
              </a:solidFill>
            </a:endParaRPr>
          </a:p>
        </p:txBody>
      </p:sp>
      <p:sp>
        <p:nvSpPr>
          <p:cNvPr id="19" name="Rectangle 18">
            <a:extLst>
              <a:ext uri="{FF2B5EF4-FFF2-40B4-BE49-F238E27FC236}">
                <a16:creationId xmlns:a16="http://schemas.microsoft.com/office/drawing/2014/main" id="{8AC52D94-E87E-79C3-BCC6-011DECB78AB5}"/>
              </a:ext>
            </a:extLst>
          </p:cNvPr>
          <p:cNvSpPr/>
          <p:nvPr>
            <p:custDataLst>
              <p:tags r:id="rId7"/>
            </p:custDataLst>
          </p:nvPr>
        </p:nvSpPr>
        <p:spPr bwMode="gray">
          <a:xfrm>
            <a:off x="914400" y="3021013"/>
            <a:ext cx="29527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r>
              <a:rPr lang="en-GB" altLang="en-US" sz="1400">
                <a:solidFill>
                  <a:schemeClr val="tx1"/>
                </a:solidFill>
                <a:effectLst/>
              </a:rPr>
              <a:t>100</a:t>
            </a:r>
            <a:endParaRPr lang="en-GB" sz="1400">
              <a:solidFill>
                <a:schemeClr val="tx1"/>
              </a:solidFill>
            </a:endParaRPr>
          </a:p>
        </p:txBody>
      </p:sp>
      <p:sp>
        <p:nvSpPr>
          <p:cNvPr id="35" name="Rectangle 34">
            <a:extLst>
              <a:ext uri="{FF2B5EF4-FFF2-40B4-BE49-F238E27FC236}">
                <a16:creationId xmlns:a16="http://schemas.microsoft.com/office/drawing/2014/main" id="{A0E13E3A-5610-5F26-5EF3-B57873F73F08}"/>
              </a:ext>
            </a:extLst>
          </p:cNvPr>
          <p:cNvSpPr/>
          <p:nvPr>
            <p:custDataLst>
              <p:tags r:id="rId8"/>
            </p:custDataLst>
          </p:nvPr>
        </p:nvSpPr>
        <p:spPr bwMode="gray">
          <a:xfrm>
            <a:off x="914400" y="2476500"/>
            <a:ext cx="29527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r>
              <a:rPr lang="en-GB" sz="1400">
                <a:solidFill>
                  <a:schemeClr val="tx1"/>
                </a:solidFill>
              </a:rPr>
              <a:t>105</a:t>
            </a:r>
          </a:p>
        </p:txBody>
      </p:sp>
      <p:sp>
        <p:nvSpPr>
          <p:cNvPr id="24" name="Rectangle 23">
            <a:extLst>
              <a:ext uri="{FF2B5EF4-FFF2-40B4-BE49-F238E27FC236}">
                <a16:creationId xmlns:a16="http://schemas.microsoft.com/office/drawing/2014/main" id="{7213593A-F2B3-B2E3-AC42-3D0E281D6751}"/>
              </a:ext>
            </a:extLst>
          </p:cNvPr>
          <p:cNvSpPr/>
          <p:nvPr>
            <p:custDataLst>
              <p:tags r:id="rId9"/>
            </p:custDataLst>
          </p:nvPr>
        </p:nvSpPr>
        <p:spPr bwMode="gray">
          <a:xfrm>
            <a:off x="927101" y="1933575"/>
            <a:ext cx="28257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r>
              <a:rPr lang="en-GB" altLang="en-US" sz="1400">
                <a:solidFill>
                  <a:schemeClr val="tx1"/>
                </a:solidFill>
                <a:effectLst/>
              </a:rPr>
              <a:t>110</a:t>
            </a:r>
            <a:endParaRPr lang="en-GB" sz="1400">
              <a:solidFill>
                <a:schemeClr val="tx1"/>
              </a:solidFill>
            </a:endParaRPr>
          </a:p>
        </p:txBody>
      </p:sp>
      <p:sp>
        <p:nvSpPr>
          <p:cNvPr id="36" name="Rectangle 35">
            <a:extLst>
              <a:ext uri="{FF2B5EF4-FFF2-40B4-BE49-F238E27FC236}">
                <a16:creationId xmlns:a16="http://schemas.microsoft.com/office/drawing/2014/main" id="{C4E525CE-B4D8-9063-D9B3-AE9EE260B53E}"/>
              </a:ext>
            </a:extLst>
          </p:cNvPr>
          <p:cNvSpPr/>
          <p:nvPr>
            <p:custDataLst>
              <p:tags r:id="rId10"/>
            </p:custDataLst>
          </p:nvPr>
        </p:nvSpPr>
        <p:spPr bwMode="gray">
          <a:xfrm>
            <a:off x="927100" y="1389063"/>
            <a:ext cx="28257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r>
              <a:rPr lang="en-GB" altLang="en-US" sz="1400">
                <a:solidFill>
                  <a:schemeClr val="tx1"/>
                </a:solidFill>
                <a:effectLst/>
              </a:rPr>
              <a:t>115</a:t>
            </a:r>
            <a:endParaRPr lang="en-GB" sz="1400">
              <a:solidFill>
                <a:schemeClr val="tx1"/>
              </a:solidFill>
            </a:endParaRPr>
          </a:p>
        </p:txBody>
      </p:sp>
      <p:sp>
        <p:nvSpPr>
          <p:cNvPr id="28" name="Rectangle 27">
            <a:extLst>
              <a:ext uri="{FF2B5EF4-FFF2-40B4-BE49-F238E27FC236}">
                <a16:creationId xmlns:a16="http://schemas.microsoft.com/office/drawing/2014/main" id="{1AE5CB70-6FF1-A162-309B-E38C2D6629EC}"/>
              </a:ext>
            </a:extLst>
          </p:cNvPr>
          <p:cNvSpPr/>
          <p:nvPr>
            <p:custDataLst>
              <p:tags r:id="rId11"/>
            </p:custDataLst>
          </p:nvPr>
        </p:nvSpPr>
        <p:spPr bwMode="gray">
          <a:xfrm>
            <a:off x="1012825" y="5641975"/>
            <a:ext cx="196850" cy="3841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r>
              <a:rPr lang="en-GB" altLang="en-US" sz="1400">
                <a:solidFill>
                  <a:schemeClr val="tx1"/>
                </a:solidFill>
                <a:effectLst/>
              </a:rPr>
              <a:t>75</a:t>
            </a:r>
          </a:p>
          <a:p>
            <a:pPr algn="r">
              <a:lnSpc>
                <a:spcPct val="90000"/>
              </a:lnSpc>
              <a:spcBef>
                <a:spcPct val="0"/>
              </a:spcBef>
              <a:spcAft>
                <a:spcPct val="0"/>
              </a:spcAft>
            </a:pPr>
            <a:endParaRPr lang="en-GB" sz="1400">
              <a:solidFill>
                <a:schemeClr val="tx1"/>
              </a:solidFill>
            </a:endParaRPr>
          </a:p>
        </p:txBody>
      </p:sp>
      <p:sp>
        <p:nvSpPr>
          <p:cNvPr id="146" name="Rectangle 145">
            <a:extLst>
              <a:ext uri="{FF2B5EF4-FFF2-40B4-BE49-F238E27FC236}">
                <a16:creationId xmlns:a16="http://schemas.microsoft.com/office/drawing/2014/main" id="{ED29CE46-2465-C999-9DAD-51E3CF6BBF56}"/>
              </a:ext>
            </a:extLst>
          </p:cNvPr>
          <p:cNvSpPr/>
          <p:nvPr>
            <p:custDataLst>
              <p:tags r:id="rId12"/>
            </p:custDataLst>
          </p:nvPr>
        </p:nvSpPr>
        <p:spPr bwMode="auto">
          <a:xfrm>
            <a:off x="2182813" y="5888038"/>
            <a:ext cx="3175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8F9BEA50-C708-47D3-8E04-9AED884AD496}" type="datetime'''''M''''''''''''''''''''''''a''''''r'''''''''''''''''''''">
              <a:rPr lang="en-GB" altLang="en-US" sz="1400" smtClean="0">
                <a:solidFill>
                  <a:schemeClr val="tx1"/>
                </a:solidFill>
              </a:rPr>
              <a:pPr algn="ctr">
                <a:spcBef>
                  <a:spcPct val="0"/>
                </a:spcBef>
                <a:spcAft>
                  <a:spcPct val="0"/>
                </a:spcAft>
              </a:pPr>
              <a:t>Mar</a:t>
            </a:fld>
            <a:endParaRPr lang="en-GB" sz="1400">
              <a:solidFill>
                <a:schemeClr val="tx1"/>
              </a:solidFill>
            </a:endParaRPr>
          </a:p>
        </p:txBody>
      </p:sp>
      <p:sp>
        <p:nvSpPr>
          <p:cNvPr id="148" name="Rectangle 147">
            <a:extLst>
              <a:ext uri="{FF2B5EF4-FFF2-40B4-BE49-F238E27FC236}">
                <a16:creationId xmlns:a16="http://schemas.microsoft.com/office/drawing/2014/main" id="{648C5436-8DC8-153B-9A03-EF141F9AE83F}"/>
              </a:ext>
            </a:extLst>
          </p:cNvPr>
          <p:cNvSpPr/>
          <p:nvPr>
            <p:custDataLst>
              <p:tags r:id="rId13"/>
            </p:custDataLst>
          </p:nvPr>
        </p:nvSpPr>
        <p:spPr bwMode="auto">
          <a:xfrm>
            <a:off x="2844800" y="5888038"/>
            <a:ext cx="347663"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132A764E-FC7E-4F3C-909B-9A452E96D582}" type="datetime'Ma''''''''''''''''''''''''''''''y'''''''''''''''''''">
              <a:rPr lang="en-GB" altLang="en-US" sz="1400" smtClean="0">
                <a:solidFill>
                  <a:schemeClr val="tx1"/>
                </a:solidFill>
              </a:rPr>
              <a:pPr algn="ctr">
                <a:spcBef>
                  <a:spcPct val="0"/>
                </a:spcBef>
                <a:spcAft>
                  <a:spcPct val="0"/>
                </a:spcAft>
              </a:pPr>
              <a:t>May</a:t>
            </a:fld>
            <a:endParaRPr lang="en-GB" sz="1400">
              <a:solidFill>
                <a:schemeClr val="tx1"/>
              </a:solidFill>
            </a:endParaRPr>
          </a:p>
        </p:txBody>
      </p:sp>
      <p:sp>
        <p:nvSpPr>
          <p:cNvPr id="150" name="Rectangle 149">
            <a:extLst>
              <a:ext uri="{FF2B5EF4-FFF2-40B4-BE49-F238E27FC236}">
                <a16:creationId xmlns:a16="http://schemas.microsoft.com/office/drawing/2014/main" id="{FD217789-9DB2-6F40-D47E-BF5D4CEEE5A5}"/>
              </a:ext>
            </a:extLst>
          </p:cNvPr>
          <p:cNvSpPr/>
          <p:nvPr>
            <p:custDataLst>
              <p:tags r:id="rId14"/>
            </p:custDataLst>
          </p:nvPr>
        </p:nvSpPr>
        <p:spPr bwMode="auto">
          <a:xfrm>
            <a:off x="3576638" y="5888038"/>
            <a:ext cx="239713"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89BD0ACC-D355-4FAD-9BC7-A18115EC43DE}" type="datetime'''''''J''''''u''''''l'''''''''">
              <a:rPr lang="en-GB" altLang="en-US" sz="1400" smtClean="0">
                <a:solidFill>
                  <a:schemeClr val="tx1"/>
                </a:solidFill>
              </a:rPr>
              <a:pPr algn="ctr">
                <a:spcBef>
                  <a:spcPct val="0"/>
                </a:spcBef>
                <a:spcAft>
                  <a:spcPct val="0"/>
                </a:spcAft>
              </a:pPr>
              <a:t>Jul</a:t>
            </a:fld>
            <a:endParaRPr lang="en-GB" sz="1400">
              <a:solidFill>
                <a:schemeClr val="tx1"/>
              </a:solidFill>
            </a:endParaRPr>
          </a:p>
        </p:txBody>
      </p:sp>
      <p:sp>
        <p:nvSpPr>
          <p:cNvPr id="152" name="Rectangle 151">
            <a:extLst>
              <a:ext uri="{FF2B5EF4-FFF2-40B4-BE49-F238E27FC236}">
                <a16:creationId xmlns:a16="http://schemas.microsoft.com/office/drawing/2014/main" id="{E6EF0522-E144-A5E1-E5AE-304C7663A62F}"/>
              </a:ext>
            </a:extLst>
          </p:cNvPr>
          <p:cNvSpPr/>
          <p:nvPr>
            <p:custDataLst>
              <p:tags r:id="rId15"/>
            </p:custDataLst>
          </p:nvPr>
        </p:nvSpPr>
        <p:spPr bwMode="auto">
          <a:xfrm>
            <a:off x="4208463" y="5888038"/>
            <a:ext cx="328613"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10CE2759-D1F6-4119-817B-1ACBE54DC26B}" type="datetime'''''''''''''''S''''''''ep'''''''">
              <a:rPr lang="en-GB" altLang="en-US" sz="1400" smtClean="0">
                <a:solidFill>
                  <a:schemeClr val="tx1"/>
                </a:solidFill>
              </a:rPr>
              <a:pPr algn="ctr">
                <a:spcBef>
                  <a:spcPct val="0"/>
                </a:spcBef>
                <a:spcAft>
                  <a:spcPct val="0"/>
                </a:spcAft>
              </a:pPr>
              <a:t>Sep</a:t>
            </a:fld>
            <a:endParaRPr lang="en-GB" sz="1400">
              <a:solidFill>
                <a:schemeClr val="tx1"/>
              </a:solidFill>
            </a:endParaRPr>
          </a:p>
        </p:txBody>
      </p:sp>
      <p:sp>
        <p:nvSpPr>
          <p:cNvPr id="144" name="Rectangle 143">
            <a:extLst>
              <a:ext uri="{FF2B5EF4-FFF2-40B4-BE49-F238E27FC236}">
                <a16:creationId xmlns:a16="http://schemas.microsoft.com/office/drawing/2014/main" id="{9A4B68D2-D54D-6AB6-09DD-B4A8E241D5D0}"/>
              </a:ext>
            </a:extLst>
          </p:cNvPr>
          <p:cNvSpPr/>
          <p:nvPr>
            <p:custDataLst>
              <p:tags r:id="rId16"/>
            </p:custDataLst>
          </p:nvPr>
        </p:nvSpPr>
        <p:spPr bwMode="auto">
          <a:xfrm>
            <a:off x="1516063" y="5888038"/>
            <a:ext cx="29845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D115683F-BE2B-4486-9B33-B64023AB170F}" type="datetime'''''''''''''''''''''''''''J''''''a''''''''''''''''''n'''">
              <a:rPr lang="en-GB" altLang="en-US" sz="1400" smtClean="0">
                <a:solidFill>
                  <a:schemeClr val="tx1"/>
                </a:solidFill>
              </a:rPr>
              <a:pPr algn="ctr">
                <a:spcBef>
                  <a:spcPct val="0"/>
                </a:spcBef>
                <a:spcAft>
                  <a:spcPct val="0"/>
                </a:spcAft>
              </a:pPr>
              <a:t>Jan</a:t>
            </a:fld>
            <a:endParaRPr lang="en-GB" sz="1400">
              <a:solidFill>
                <a:schemeClr val="tx1"/>
              </a:solidFill>
            </a:endParaRPr>
          </a:p>
        </p:txBody>
      </p:sp>
      <p:sp>
        <p:nvSpPr>
          <p:cNvPr id="156" name="Rectangle 155">
            <a:extLst>
              <a:ext uri="{FF2B5EF4-FFF2-40B4-BE49-F238E27FC236}">
                <a16:creationId xmlns:a16="http://schemas.microsoft.com/office/drawing/2014/main" id="{D716888A-525F-0D71-F5FE-B0D93D248A89}"/>
              </a:ext>
            </a:extLst>
          </p:cNvPr>
          <p:cNvSpPr/>
          <p:nvPr>
            <p:custDataLst>
              <p:tags r:id="rId17"/>
            </p:custDataLst>
          </p:nvPr>
        </p:nvSpPr>
        <p:spPr bwMode="auto">
          <a:xfrm>
            <a:off x="5575300" y="5888038"/>
            <a:ext cx="29845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6DADFFAA-6D21-4E8B-852E-5BBD0CDD9027}" type="datetime'J''''''''''''''a''''n'''''''''''''''''''''''''">
              <a:rPr lang="en-GB" altLang="en-US" sz="1400" smtClean="0">
                <a:solidFill>
                  <a:schemeClr val="tx1"/>
                </a:solidFill>
              </a:rPr>
              <a:pPr algn="ctr">
                <a:spcBef>
                  <a:spcPct val="0"/>
                </a:spcBef>
                <a:spcAft>
                  <a:spcPct val="0"/>
                </a:spcAft>
              </a:pPr>
              <a:t>Jan</a:t>
            </a:fld>
            <a:endParaRPr lang="en-GB" sz="1400">
              <a:solidFill>
                <a:schemeClr val="tx1"/>
              </a:solidFill>
            </a:endParaRPr>
          </a:p>
        </p:txBody>
      </p:sp>
      <p:sp>
        <p:nvSpPr>
          <p:cNvPr id="158" name="Rectangle 157">
            <a:extLst>
              <a:ext uri="{FF2B5EF4-FFF2-40B4-BE49-F238E27FC236}">
                <a16:creationId xmlns:a16="http://schemas.microsoft.com/office/drawing/2014/main" id="{B403B2B6-B034-A073-DC6A-35BFF30CB583}"/>
              </a:ext>
            </a:extLst>
          </p:cNvPr>
          <p:cNvSpPr/>
          <p:nvPr>
            <p:custDataLst>
              <p:tags r:id="rId18"/>
            </p:custDataLst>
          </p:nvPr>
        </p:nvSpPr>
        <p:spPr bwMode="auto">
          <a:xfrm>
            <a:off x="6242050" y="5888038"/>
            <a:ext cx="3175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F5F261FE-EF7D-4AFD-828E-77C080DDA159}" type="datetime'''''''''''''''''''''''''M''''''''''''''a''''''''r'">
              <a:rPr lang="en-GB" altLang="en-US" sz="1400" smtClean="0">
                <a:solidFill>
                  <a:schemeClr val="tx1"/>
                </a:solidFill>
              </a:rPr>
              <a:pPr algn="ctr">
                <a:spcBef>
                  <a:spcPct val="0"/>
                </a:spcBef>
                <a:spcAft>
                  <a:spcPct val="0"/>
                </a:spcAft>
              </a:pPr>
              <a:t>Mar</a:t>
            </a:fld>
            <a:endParaRPr lang="en-GB" sz="1400">
              <a:solidFill>
                <a:schemeClr val="tx1"/>
              </a:solidFill>
            </a:endParaRPr>
          </a:p>
        </p:txBody>
      </p:sp>
      <p:sp>
        <p:nvSpPr>
          <p:cNvPr id="160" name="Rectangle 159">
            <a:extLst>
              <a:ext uri="{FF2B5EF4-FFF2-40B4-BE49-F238E27FC236}">
                <a16:creationId xmlns:a16="http://schemas.microsoft.com/office/drawing/2014/main" id="{1A9A89D6-E9CD-6BD6-1C9E-0DAD1F20E7C0}"/>
              </a:ext>
            </a:extLst>
          </p:cNvPr>
          <p:cNvSpPr/>
          <p:nvPr>
            <p:custDataLst>
              <p:tags r:id="rId19"/>
            </p:custDataLst>
          </p:nvPr>
        </p:nvSpPr>
        <p:spPr bwMode="auto">
          <a:xfrm>
            <a:off x="6904038" y="5888038"/>
            <a:ext cx="347663"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77D19379-94C4-4796-860C-8BDE77AB7951}" type="datetime'''''''''''''''''''''''''''''''M''''''''''a''''''''''''''y'">
              <a:rPr lang="en-GB" altLang="en-US" sz="1400" smtClean="0">
                <a:solidFill>
                  <a:schemeClr val="tx1"/>
                </a:solidFill>
              </a:rPr>
              <a:pPr algn="ctr">
                <a:spcBef>
                  <a:spcPct val="0"/>
                </a:spcBef>
                <a:spcAft>
                  <a:spcPct val="0"/>
                </a:spcAft>
              </a:pPr>
              <a:t>May</a:t>
            </a:fld>
            <a:endParaRPr lang="en-GB" sz="1400">
              <a:solidFill>
                <a:schemeClr val="tx1"/>
              </a:solidFill>
            </a:endParaRPr>
          </a:p>
        </p:txBody>
      </p:sp>
      <p:sp>
        <p:nvSpPr>
          <p:cNvPr id="162" name="Rectangle 161">
            <a:extLst>
              <a:ext uri="{FF2B5EF4-FFF2-40B4-BE49-F238E27FC236}">
                <a16:creationId xmlns:a16="http://schemas.microsoft.com/office/drawing/2014/main" id="{E369CD85-E244-FA52-ED97-0BEA30EDCE6F}"/>
              </a:ext>
            </a:extLst>
          </p:cNvPr>
          <p:cNvSpPr/>
          <p:nvPr>
            <p:custDataLst>
              <p:tags r:id="rId20"/>
            </p:custDataLst>
          </p:nvPr>
        </p:nvSpPr>
        <p:spPr bwMode="auto">
          <a:xfrm>
            <a:off x="7634288" y="5888038"/>
            <a:ext cx="239713"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978C51B7-4CFD-47D1-A4F8-7DAD077B0FAC}" type="datetime'''''''''''''J''''''''''''''''''''u''''l'''">
              <a:rPr lang="en-GB" altLang="en-US" sz="1400" smtClean="0">
                <a:solidFill>
                  <a:schemeClr val="tx1"/>
                </a:solidFill>
              </a:rPr>
              <a:pPr algn="ctr">
                <a:spcBef>
                  <a:spcPct val="0"/>
                </a:spcBef>
                <a:spcAft>
                  <a:spcPct val="0"/>
                </a:spcAft>
              </a:pPr>
              <a:t>Jul</a:t>
            </a:fld>
            <a:endParaRPr lang="en-GB" sz="1400">
              <a:solidFill>
                <a:schemeClr val="tx1"/>
              </a:solidFill>
            </a:endParaRPr>
          </a:p>
        </p:txBody>
      </p:sp>
      <p:sp>
        <p:nvSpPr>
          <p:cNvPr id="164" name="Rectangle 163">
            <a:extLst>
              <a:ext uri="{FF2B5EF4-FFF2-40B4-BE49-F238E27FC236}">
                <a16:creationId xmlns:a16="http://schemas.microsoft.com/office/drawing/2014/main" id="{6E9EAD27-96EF-1675-6DAC-7720F3DB43E5}"/>
              </a:ext>
            </a:extLst>
          </p:cNvPr>
          <p:cNvSpPr/>
          <p:nvPr>
            <p:custDataLst>
              <p:tags r:id="rId21"/>
            </p:custDataLst>
          </p:nvPr>
        </p:nvSpPr>
        <p:spPr bwMode="auto">
          <a:xfrm>
            <a:off x="8267700" y="5888038"/>
            <a:ext cx="328613"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F144284C-5485-4F82-9101-0C37CA2BC221}" type="datetime'''''''''Sep'''''''">
              <a:rPr lang="en-GB" altLang="en-US" sz="1400" smtClean="0">
                <a:solidFill>
                  <a:schemeClr val="tx1"/>
                </a:solidFill>
              </a:rPr>
              <a:pPr algn="ctr">
                <a:spcBef>
                  <a:spcPct val="0"/>
                </a:spcBef>
                <a:spcAft>
                  <a:spcPct val="0"/>
                </a:spcAft>
              </a:pPr>
              <a:t>Sep</a:t>
            </a:fld>
            <a:endParaRPr lang="en-GB" sz="1400">
              <a:solidFill>
                <a:schemeClr val="tx1"/>
              </a:solidFill>
            </a:endParaRPr>
          </a:p>
        </p:txBody>
      </p:sp>
      <p:sp>
        <p:nvSpPr>
          <p:cNvPr id="166" name="Rectangle 165">
            <a:extLst>
              <a:ext uri="{FF2B5EF4-FFF2-40B4-BE49-F238E27FC236}">
                <a16:creationId xmlns:a16="http://schemas.microsoft.com/office/drawing/2014/main" id="{711EC4F0-B1A5-7CA4-AA68-82B27E4E61DE}"/>
              </a:ext>
            </a:extLst>
          </p:cNvPr>
          <p:cNvSpPr/>
          <p:nvPr>
            <p:custDataLst>
              <p:tags r:id="rId22"/>
            </p:custDataLst>
          </p:nvPr>
        </p:nvSpPr>
        <p:spPr bwMode="auto">
          <a:xfrm>
            <a:off x="8943975" y="5888038"/>
            <a:ext cx="328613"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4F835A65-E47A-4598-8430-814354BEFBB7}" type="datetime'''''''''''N''''''''''''''''o''''''''''''''v'''''">
              <a:rPr lang="en-GB" altLang="en-US" sz="1400" smtClean="0">
                <a:solidFill>
                  <a:schemeClr val="tx1"/>
                </a:solidFill>
              </a:rPr>
              <a:pPr algn="ctr">
                <a:spcBef>
                  <a:spcPct val="0"/>
                </a:spcBef>
                <a:spcAft>
                  <a:spcPct val="0"/>
                </a:spcAft>
              </a:pPr>
              <a:t>Nov</a:t>
            </a:fld>
            <a:endParaRPr lang="en-GB" sz="1400">
              <a:solidFill>
                <a:schemeClr val="tx1"/>
              </a:solidFill>
            </a:endParaRPr>
          </a:p>
        </p:txBody>
      </p:sp>
      <p:sp>
        <p:nvSpPr>
          <p:cNvPr id="168" name="Rectangle 167">
            <a:extLst>
              <a:ext uri="{FF2B5EF4-FFF2-40B4-BE49-F238E27FC236}">
                <a16:creationId xmlns:a16="http://schemas.microsoft.com/office/drawing/2014/main" id="{A15BEA62-C18D-A4BB-375A-E0EDF840E045}"/>
              </a:ext>
            </a:extLst>
          </p:cNvPr>
          <p:cNvSpPr/>
          <p:nvPr>
            <p:custDataLst>
              <p:tags r:id="rId23"/>
            </p:custDataLst>
          </p:nvPr>
        </p:nvSpPr>
        <p:spPr bwMode="auto">
          <a:xfrm>
            <a:off x="9634538" y="5888038"/>
            <a:ext cx="29845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C66A83A1-1149-47D9-93B8-972213F6529C}" type="datetime'''J''''''''''''''''''''''''''''a''''''''''n'''''''">
              <a:rPr lang="en-GB" altLang="en-US" sz="1400" smtClean="0">
                <a:solidFill>
                  <a:schemeClr val="tx1"/>
                </a:solidFill>
              </a:rPr>
              <a:pPr algn="ctr">
                <a:spcBef>
                  <a:spcPct val="0"/>
                </a:spcBef>
                <a:spcAft>
                  <a:spcPct val="0"/>
                </a:spcAft>
              </a:pPr>
              <a:t>Jan</a:t>
            </a:fld>
            <a:endParaRPr lang="en-GB" sz="1400">
              <a:solidFill>
                <a:schemeClr val="tx1"/>
              </a:solidFill>
            </a:endParaRPr>
          </a:p>
        </p:txBody>
      </p:sp>
      <p:sp>
        <p:nvSpPr>
          <p:cNvPr id="170" name="Rectangle 169">
            <a:extLst>
              <a:ext uri="{FF2B5EF4-FFF2-40B4-BE49-F238E27FC236}">
                <a16:creationId xmlns:a16="http://schemas.microsoft.com/office/drawing/2014/main" id="{71529ACA-9E9C-FFDA-1F48-441F7263E7B3}"/>
              </a:ext>
            </a:extLst>
          </p:cNvPr>
          <p:cNvSpPr/>
          <p:nvPr>
            <p:custDataLst>
              <p:tags r:id="rId24"/>
            </p:custDataLst>
          </p:nvPr>
        </p:nvSpPr>
        <p:spPr bwMode="auto">
          <a:xfrm>
            <a:off x="10301288" y="5888038"/>
            <a:ext cx="3175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41D1FA71-DB4B-4BBE-94AF-66F60CB35515}" type="datetime'''''M''''''''''''''''''''''''a''r'''''">
              <a:rPr lang="en-GB" altLang="en-US" sz="1400" smtClean="0">
                <a:solidFill>
                  <a:schemeClr val="tx1"/>
                </a:solidFill>
              </a:rPr>
              <a:pPr algn="ctr">
                <a:spcBef>
                  <a:spcPct val="0"/>
                </a:spcBef>
                <a:spcAft>
                  <a:spcPct val="0"/>
                </a:spcAft>
              </a:pPr>
              <a:t>Mar</a:t>
            </a:fld>
            <a:endParaRPr lang="en-GB" sz="1400">
              <a:solidFill>
                <a:schemeClr val="tx1"/>
              </a:solidFill>
            </a:endParaRPr>
          </a:p>
        </p:txBody>
      </p:sp>
      <p:sp>
        <p:nvSpPr>
          <p:cNvPr id="111" name="Rectangle 110">
            <a:extLst>
              <a:ext uri="{FF2B5EF4-FFF2-40B4-BE49-F238E27FC236}">
                <a16:creationId xmlns:a16="http://schemas.microsoft.com/office/drawing/2014/main" id="{38EF436F-8A24-C594-1B62-C3875E0755CD}"/>
              </a:ext>
            </a:extLst>
          </p:cNvPr>
          <p:cNvSpPr/>
          <p:nvPr>
            <p:custDataLst>
              <p:tags r:id="rId25"/>
            </p:custDataLst>
          </p:nvPr>
        </p:nvSpPr>
        <p:spPr bwMode="auto">
          <a:xfrm>
            <a:off x="10602913" y="4241800"/>
            <a:ext cx="811213"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E0353B3B-FBD5-443A-8F48-836DE4140423}" type="datetime'''N''''''''''O''''''''K/''''''''''''''''''''''''EU''R'''''">
              <a:rPr lang="en-GB" altLang="en-US" sz="1400" smtClean="0">
                <a:solidFill>
                  <a:schemeClr val="tx1"/>
                </a:solidFill>
              </a:rPr>
              <a:pPr>
                <a:spcBef>
                  <a:spcPct val="0"/>
                </a:spcBef>
                <a:spcAft>
                  <a:spcPct val="0"/>
                </a:spcAft>
              </a:pPr>
              <a:t>NOK/EUR</a:t>
            </a:fld>
            <a:endParaRPr lang="en-GB" sz="1400">
              <a:solidFill>
                <a:schemeClr val="tx1"/>
              </a:solidFill>
            </a:endParaRPr>
          </a:p>
        </p:txBody>
      </p:sp>
      <p:sp>
        <p:nvSpPr>
          <p:cNvPr id="112" name="Rectangle 111">
            <a:extLst>
              <a:ext uri="{FF2B5EF4-FFF2-40B4-BE49-F238E27FC236}">
                <a16:creationId xmlns:a16="http://schemas.microsoft.com/office/drawing/2014/main" id="{20B5F888-9184-AE52-D41F-F56F961E29EE}"/>
              </a:ext>
            </a:extLst>
          </p:cNvPr>
          <p:cNvSpPr/>
          <p:nvPr>
            <p:custDataLst>
              <p:tags r:id="rId26"/>
            </p:custDataLst>
          </p:nvPr>
        </p:nvSpPr>
        <p:spPr bwMode="auto">
          <a:xfrm>
            <a:off x="10602913" y="4768850"/>
            <a:ext cx="811213"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75F04249-F690-49D9-BE8D-0C47B339AD7F}" type="datetime'''N''''''''''''''''''''''''''''O''''K/''''''USD'">
              <a:rPr lang="en-GB" altLang="en-US" sz="1400" smtClean="0">
                <a:solidFill>
                  <a:schemeClr val="tx1"/>
                </a:solidFill>
              </a:rPr>
              <a:pPr>
                <a:spcBef>
                  <a:spcPct val="0"/>
                </a:spcBef>
                <a:spcAft>
                  <a:spcPct val="0"/>
                </a:spcAft>
              </a:pPr>
              <a:t>NOK/USD</a:t>
            </a:fld>
            <a:endParaRPr lang="en-GB" sz="1400">
              <a:solidFill>
                <a:schemeClr val="tx1"/>
              </a:solidFill>
            </a:endParaRPr>
          </a:p>
        </p:txBody>
      </p:sp>
      <p:sp>
        <p:nvSpPr>
          <p:cNvPr id="126" name="Rectangle 125">
            <a:extLst>
              <a:ext uri="{FF2B5EF4-FFF2-40B4-BE49-F238E27FC236}">
                <a16:creationId xmlns:a16="http://schemas.microsoft.com/office/drawing/2014/main" id="{A4F4696A-0BC6-B5C9-8520-2610A0AC25CE}"/>
              </a:ext>
            </a:extLst>
          </p:cNvPr>
          <p:cNvSpPr/>
          <p:nvPr>
            <p:custDataLst>
              <p:tags r:id="rId27"/>
            </p:custDataLst>
          </p:nvPr>
        </p:nvSpPr>
        <p:spPr bwMode="auto">
          <a:xfrm>
            <a:off x="10602913" y="4505325"/>
            <a:ext cx="782638"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5192DE9D-791E-4766-AB2C-2D29CA7C7A07}" type="datetime'''''''''''''''''''''''SE''K''/''E''''''''''''''''UR'''''''''">
              <a:rPr lang="en-GB" altLang="en-US" sz="1400" smtClean="0">
                <a:solidFill>
                  <a:schemeClr val="tx1"/>
                </a:solidFill>
              </a:rPr>
              <a:pPr>
                <a:spcBef>
                  <a:spcPct val="0"/>
                </a:spcBef>
                <a:spcAft>
                  <a:spcPct val="0"/>
                </a:spcAft>
              </a:pPr>
              <a:t>SEK/EUR</a:t>
            </a:fld>
            <a:endParaRPr lang="en-GB" sz="1400">
              <a:solidFill>
                <a:schemeClr val="tx1"/>
              </a:solidFill>
            </a:endParaRPr>
          </a:p>
        </p:txBody>
      </p:sp>
      <p:sp>
        <p:nvSpPr>
          <p:cNvPr id="127" name="Rectangle 126">
            <a:extLst>
              <a:ext uri="{FF2B5EF4-FFF2-40B4-BE49-F238E27FC236}">
                <a16:creationId xmlns:a16="http://schemas.microsoft.com/office/drawing/2014/main" id="{FA25B405-2DFC-4BFD-CB8F-2458973774C8}"/>
              </a:ext>
            </a:extLst>
          </p:cNvPr>
          <p:cNvSpPr/>
          <p:nvPr>
            <p:custDataLst>
              <p:tags r:id="rId28"/>
            </p:custDataLst>
          </p:nvPr>
        </p:nvSpPr>
        <p:spPr bwMode="auto">
          <a:xfrm>
            <a:off x="10602913" y="5032375"/>
            <a:ext cx="782638"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BF767DA2-D8C9-45BC-9304-BB860AF617CB}" type="datetime'''''''S''''''E''''''''''''''''K''''''''''''''''''/''U''S''D'''">
              <a:rPr lang="en-GB" altLang="en-US" sz="1400" smtClean="0">
                <a:solidFill>
                  <a:schemeClr val="tx1"/>
                </a:solidFill>
              </a:rPr>
              <a:pPr>
                <a:spcBef>
                  <a:spcPct val="0"/>
                </a:spcBef>
                <a:spcAft>
                  <a:spcPct val="0"/>
                </a:spcAft>
              </a:pPr>
              <a:t>SEK/USD</a:t>
            </a:fld>
            <a:endParaRPr lang="en-GB" sz="1400">
              <a:solidFill>
                <a:schemeClr val="tx1"/>
              </a:solidFill>
            </a:endParaRPr>
          </a:p>
        </p:txBody>
      </p:sp>
      <p:sp>
        <p:nvSpPr>
          <p:cNvPr id="154" name="Rectangle 153">
            <a:extLst>
              <a:ext uri="{FF2B5EF4-FFF2-40B4-BE49-F238E27FC236}">
                <a16:creationId xmlns:a16="http://schemas.microsoft.com/office/drawing/2014/main" id="{9F6617D5-AAB8-12D4-78DC-FA6DEC068689}"/>
              </a:ext>
            </a:extLst>
          </p:cNvPr>
          <p:cNvSpPr/>
          <p:nvPr>
            <p:custDataLst>
              <p:tags r:id="rId29"/>
            </p:custDataLst>
          </p:nvPr>
        </p:nvSpPr>
        <p:spPr bwMode="auto">
          <a:xfrm>
            <a:off x="4884738" y="5888038"/>
            <a:ext cx="328613"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AEB9EE5A-FFF4-4DED-968E-E7119D8CEF0B}" type="datetime'''''''''''''''''''''''''''N''''''''o''''''''''''''''''''''v'">
              <a:rPr lang="en-GB" altLang="en-US" sz="1400" smtClean="0">
                <a:solidFill>
                  <a:schemeClr val="tx1"/>
                </a:solidFill>
              </a:rPr>
              <a:pPr algn="ctr">
                <a:spcBef>
                  <a:spcPct val="0"/>
                </a:spcBef>
                <a:spcAft>
                  <a:spcPct val="0"/>
                </a:spcAft>
              </a:pPr>
              <a:t>Nov</a:t>
            </a:fld>
            <a:endParaRPr lang="en-GB" sz="1400">
              <a:solidFill>
                <a:schemeClr val="tx1"/>
              </a:solidFill>
            </a:endParaRPr>
          </a:p>
        </p:txBody>
      </p:sp>
      <p:sp>
        <p:nvSpPr>
          <p:cNvPr id="237" name="Oval 236">
            <a:extLst>
              <a:ext uri="{FF2B5EF4-FFF2-40B4-BE49-F238E27FC236}">
                <a16:creationId xmlns:a16="http://schemas.microsoft.com/office/drawing/2014/main" id="{35AA2FE5-9088-D213-D27B-191670CEBA5C}"/>
              </a:ext>
            </a:extLst>
          </p:cNvPr>
          <p:cNvSpPr/>
          <p:nvPr/>
        </p:nvSpPr>
        <p:spPr>
          <a:xfrm>
            <a:off x="9411494" y="1978103"/>
            <a:ext cx="1916953" cy="1916953"/>
          </a:xfrm>
          <a:prstGeom prst="ellipse">
            <a:avLst/>
          </a:prstGeom>
          <a:solidFill>
            <a:srgbClr val="C00000"/>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238" name="TextBox 237">
            <a:extLst>
              <a:ext uri="{FF2B5EF4-FFF2-40B4-BE49-F238E27FC236}">
                <a16:creationId xmlns:a16="http://schemas.microsoft.com/office/drawing/2014/main" id="{C30E06D2-10A9-0680-E477-228EF8065C2D}"/>
              </a:ext>
            </a:extLst>
          </p:cNvPr>
          <p:cNvSpPr txBox="1"/>
          <p:nvPr/>
        </p:nvSpPr>
        <p:spPr>
          <a:xfrm>
            <a:off x="9352359" y="2424256"/>
            <a:ext cx="2057306" cy="707886"/>
          </a:xfrm>
          <a:prstGeom prst="rect">
            <a:avLst/>
          </a:prstGeom>
          <a:noFill/>
        </p:spPr>
        <p:txBody>
          <a:bodyPr wrap="square">
            <a:spAutoFit/>
          </a:bodyPr>
          <a:lstStyle/>
          <a:p>
            <a:pPr algn="ctr"/>
            <a:r>
              <a:rPr lang="en-GB" sz="4000">
                <a:solidFill>
                  <a:schemeClr val="bg1"/>
                </a:solidFill>
                <a:latin typeface="Helvetica Light" panose="020B0403020202020204" pitchFamily="34" charset="0"/>
              </a:rPr>
              <a:t>12-18%</a:t>
            </a:r>
            <a:endParaRPr lang="en-US" sz="4000">
              <a:solidFill>
                <a:schemeClr val="bg1"/>
              </a:solidFill>
              <a:latin typeface="Helvetica Light" panose="020B0403020202020204" pitchFamily="34" charset="0"/>
            </a:endParaRPr>
          </a:p>
        </p:txBody>
      </p:sp>
      <p:sp>
        <p:nvSpPr>
          <p:cNvPr id="239" name="TextBox 238">
            <a:extLst>
              <a:ext uri="{FF2B5EF4-FFF2-40B4-BE49-F238E27FC236}">
                <a16:creationId xmlns:a16="http://schemas.microsoft.com/office/drawing/2014/main" id="{FCDDD973-A753-39D6-FCA1-D1346487727F}"/>
              </a:ext>
            </a:extLst>
          </p:cNvPr>
          <p:cNvSpPr txBox="1"/>
          <p:nvPr/>
        </p:nvSpPr>
        <p:spPr>
          <a:xfrm>
            <a:off x="9579032" y="2962116"/>
            <a:ext cx="1603961" cy="738664"/>
          </a:xfrm>
          <a:prstGeom prst="rect">
            <a:avLst/>
          </a:prstGeom>
          <a:noFill/>
        </p:spPr>
        <p:txBody>
          <a:bodyPr wrap="square">
            <a:spAutoFit/>
          </a:bodyPr>
          <a:lstStyle/>
          <a:p>
            <a:pPr algn="ctr"/>
            <a:r>
              <a:rPr lang="en-GB" sz="1400" b="1">
                <a:solidFill>
                  <a:schemeClr val="bg1"/>
                </a:solidFill>
                <a:latin typeface="Helvetica" pitchFamily="2" charset="0"/>
              </a:rPr>
              <a:t>depreciation</a:t>
            </a:r>
            <a:r>
              <a:rPr lang="en-GB" sz="1400">
                <a:solidFill>
                  <a:schemeClr val="bg1"/>
                </a:solidFill>
                <a:latin typeface="Helvetica Light" panose="020B0403020202020204" pitchFamily="34" charset="0"/>
              </a:rPr>
              <a:t> since start of 2022</a:t>
            </a:r>
            <a:endParaRPr lang="en-US" sz="1400">
              <a:solidFill>
                <a:schemeClr val="bg1"/>
              </a:solidFill>
              <a:latin typeface="Helvetica Light" panose="020B0403020202020204" pitchFamily="34" charset="0"/>
            </a:endParaRPr>
          </a:p>
        </p:txBody>
      </p:sp>
      <p:sp>
        <p:nvSpPr>
          <p:cNvPr id="278" name="TextBox 277">
            <a:extLst>
              <a:ext uri="{FF2B5EF4-FFF2-40B4-BE49-F238E27FC236}">
                <a16:creationId xmlns:a16="http://schemas.microsoft.com/office/drawing/2014/main" id="{DC58BE6D-2CF3-CE52-D173-C308A307F209}"/>
              </a:ext>
            </a:extLst>
          </p:cNvPr>
          <p:cNvSpPr txBox="1"/>
          <p:nvPr/>
        </p:nvSpPr>
        <p:spPr>
          <a:xfrm>
            <a:off x="1383460" y="6076950"/>
            <a:ext cx="1778840" cy="307777"/>
          </a:xfrm>
          <a:prstGeom prst="rect">
            <a:avLst/>
          </a:prstGeom>
          <a:noFill/>
        </p:spPr>
        <p:txBody>
          <a:bodyPr wrap="square" rtlCol="0">
            <a:spAutoFit/>
          </a:bodyPr>
          <a:lstStyle/>
          <a:p>
            <a:r>
              <a:rPr lang="en-GB" sz="1400" b="1">
                <a:latin typeface="Helvetica Light" panose="020B0403020202020204" pitchFamily="34" charset="0"/>
              </a:rPr>
              <a:t>2022</a:t>
            </a:r>
            <a:endParaRPr lang="en-GB" sz="1400" b="1">
              <a:latin typeface="HELVETICA LIGHT" panose="020B0403020202020204" pitchFamily="34" charset="0"/>
            </a:endParaRPr>
          </a:p>
        </p:txBody>
      </p:sp>
      <p:sp>
        <p:nvSpPr>
          <p:cNvPr id="279" name="TextBox 278">
            <a:extLst>
              <a:ext uri="{FF2B5EF4-FFF2-40B4-BE49-F238E27FC236}">
                <a16:creationId xmlns:a16="http://schemas.microsoft.com/office/drawing/2014/main" id="{5F03E789-CFCD-9684-6C08-3E6C194D451F}"/>
              </a:ext>
            </a:extLst>
          </p:cNvPr>
          <p:cNvSpPr txBox="1"/>
          <p:nvPr/>
        </p:nvSpPr>
        <p:spPr>
          <a:xfrm>
            <a:off x="5462822" y="6081800"/>
            <a:ext cx="1778840" cy="307777"/>
          </a:xfrm>
          <a:prstGeom prst="rect">
            <a:avLst/>
          </a:prstGeom>
          <a:noFill/>
        </p:spPr>
        <p:txBody>
          <a:bodyPr wrap="square" rtlCol="0">
            <a:spAutoFit/>
          </a:bodyPr>
          <a:lstStyle/>
          <a:p>
            <a:r>
              <a:rPr lang="en-GB" sz="1400" b="1">
                <a:latin typeface="Helvetica Light" panose="020B0403020202020204" pitchFamily="34" charset="0"/>
              </a:rPr>
              <a:t>2023</a:t>
            </a:r>
            <a:endParaRPr lang="en-GB" sz="1400" b="1">
              <a:latin typeface="HELVETICA LIGHT" panose="020B0403020202020204" pitchFamily="34" charset="0"/>
            </a:endParaRPr>
          </a:p>
        </p:txBody>
      </p:sp>
      <p:sp>
        <p:nvSpPr>
          <p:cNvPr id="280" name="TextBox 279">
            <a:extLst>
              <a:ext uri="{FF2B5EF4-FFF2-40B4-BE49-F238E27FC236}">
                <a16:creationId xmlns:a16="http://schemas.microsoft.com/office/drawing/2014/main" id="{E912C5FE-1E20-1FB1-3F3D-DD7B97648223}"/>
              </a:ext>
            </a:extLst>
          </p:cNvPr>
          <p:cNvSpPr txBox="1"/>
          <p:nvPr/>
        </p:nvSpPr>
        <p:spPr>
          <a:xfrm>
            <a:off x="9511133" y="6088265"/>
            <a:ext cx="1778840" cy="307777"/>
          </a:xfrm>
          <a:prstGeom prst="rect">
            <a:avLst/>
          </a:prstGeom>
          <a:noFill/>
        </p:spPr>
        <p:txBody>
          <a:bodyPr wrap="square" rtlCol="0">
            <a:spAutoFit/>
          </a:bodyPr>
          <a:lstStyle/>
          <a:p>
            <a:r>
              <a:rPr lang="en-GB" sz="1400" b="1">
                <a:latin typeface="Helvetica Light" panose="020B0403020202020204" pitchFamily="34" charset="0"/>
              </a:rPr>
              <a:t>2024</a:t>
            </a:r>
            <a:endParaRPr lang="en-GB" sz="1400" b="1">
              <a:latin typeface="HELVETICA LIGHT" panose="020B0403020202020204" pitchFamily="34" charset="0"/>
            </a:endParaRPr>
          </a:p>
        </p:txBody>
      </p:sp>
    </p:spTree>
    <p:extLst>
      <p:ext uri="{BB962C8B-B14F-4D97-AF65-F5344CB8AC3E}">
        <p14:creationId xmlns:p14="http://schemas.microsoft.com/office/powerpoint/2010/main" val="38027984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3CEC6F8B-8D0B-AC2B-13A7-DA1EE530F9C0}"/>
              </a:ext>
            </a:extLst>
          </p:cNvPr>
          <p:cNvSpPr/>
          <p:nvPr/>
        </p:nvSpPr>
        <p:spPr>
          <a:xfrm>
            <a:off x="8242684" y="2446185"/>
            <a:ext cx="3019710" cy="3168425"/>
          </a:xfrm>
          <a:prstGeom prst="rect">
            <a:avLst/>
          </a:prstGeom>
          <a:solidFill>
            <a:schemeClr val="accent4">
              <a:lumMod val="20000"/>
              <a:lumOff val="80000"/>
              <a:alpha val="4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34" name="Rectangle 33">
            <a:extLst>
              <a:ext uri="{FF2B5EF4-FFF2-40B4-BE49-F238E27FC236}">
                <a16:creationId xmlns:a16="http://schemas.microsoft.com/office/drawing/2014/main" id="{8B7147AE-38CE-9234-7611-B8440662B69F}"/>
              </a:ext>
            </a:extLst>
          </p:cNvPr>
          <p:cNvSpPr/>
          <p:nvPr/>
        </p:nvSpPr>
        <p:spPr>
          <a:xfrm>
            <a:off x="4569844" y="2446185"/>
            <a:ext cx="3019710" cy="3168425"/>
          </a:xfrm>
          <a:prstGeom prst="rect">
            <a:avLst/>
          </a:prstGeom>
          <a:solidFill>
            <a:schemeClr val="accent4">
              <a:lumMod val="20000"/>
              <a:lumOff val="80000"/>
              <a:alpha val="4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aphicFrame>
        <p:nvGraphicFramePr>
          <p:cNvPr id="4" name="think-cell data - do not delete" hidden="1">
            <a:extLst>
              <a:ext uri="{FF2B5EF4-FFF2-40B4-BE49-F238E27FC236}">
                <a16:creationId xmlns:a16="http://schemas.microsoft.com/office/drawing/2014/main" id="{6E8827E0-1DA4-039D-9058-31CCBA5BF21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6E8827E0-1DA4-039D-9058-31CCBA5BF21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A5A646B2-592D-437C-FB5B-414B8038F3E5}"/>
              </a:ext>
            </a:extLst>
          </p:cNvPr>
          <p:cNvSpPr>
            <a:spLocks noGrp="1"/>
          </p:cNvSpPr>
          <p:nvPr>
            <p:ph type="title"/>
          </p:nvPr>
        </p:nvSpPr>
        <p:spPr>
          <a:xfrm>
            <a:off x="1337918" y="365126"/>
            <a:ext cx="10671895" cy="1036620"/>
          </a:xfrm>
        </p:spPr>
        <p:txBody>
          <a:bodyPr vert="horz">
            <a:normAutofit fontScale="90000"/>
          </a:bodyPr>
          <a:lstStyle/>
          <a:p>
            <a:r>
              <a:rPr lang="en-GB" b="1">
                <a:latin typeface="Helvetica" pitchFamily="2" charset="0"/>
              </a:rPr>
              <a:t>Challenge 3:</a:t>
            </a:r>
            <a:br>
              <a:rPr lang="en-GB" b="1">
                <a:latin typeface="Helvetica" pitchFamily="2" charset="0"/>
              </a:rPr>
            </a:br>
            <a:r>
              <a:rPr lang="en-GB"/>
              <a:t>UK business specific challenges</a:t>
            </a:r>
          </a:p>
        </p:txBody>
      </p:sp>
      <p:grpSp>
        <p:nvGrpSpPr>
          <p:cNvPr id="3" name="Group 2">
            <a:extLst>
              <a:ext uri="{FF2B5EF4-FFF2-40B4-BE49-F238E27FC236}">
                <a16:creationId xmlns:a16="http://schemas.microsoft.com/office/drawing/2014/main" id="{4E9C289A-15AE-2B04-BC18-9985C1EC504C}"/>
              </a:ext>
            </a:extLst>
          </p:cNvPr>
          <p:cNvGrpSpPr>
            <a:grpSpLocks noChangeAspect="1"/>
          </p:cNvGrpSpPr>
          <p:nvPr/>
        </p:nvGrpSpPr>
        <p:grpSpPr>
          <a:xfrm>
            <a:off x="377958" y="475753"/>
            <a:ext cx="828000" cy="828000"/>
            <a:chOff x="8885854" y="2007969"/>
            <a:chExt cx="1413812" cy="1413812"/>
          </a:xfrm>
        </p:grpSpPr>
        <p:sp>
          <p:nvSpPr>
            <p:cNvPr id="6" name="Oval 5">
              <a:extLst>
                <a:ext uri="{FF2B5EF4-FFF2-40B4-BE49-F238E27FC236}">
                  <a16:creationId xmlns:a16="http://schemas.microsoft.com/office/drawing/2014/main" id="{9A107E27-B673-1C14-FA92-8F4ADC5FAF0A}"/>
                </a:ext>
              </a:extLst>
            </p:cNvPr>
            <p:cNvSpPr/>
            <p:nvPr/>
          </p:nvSpPr>
          <p:spPr>
            <a:xfrm>
              <a:off x="8885854" y="2007969"/>
              <a:ext cx="1413812" cy="1413812"/>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8" name="Graphic 7">
              <a:extLst>
                <a:ext uri="{FF2B5EF4-FFF2-40B4-BE49-F238E27FC236}">
                  <a16:creationId xmlns:a16="http://schemas.microsoft.com/office/drawing/2014/main" id="{E56C5F69-7580-0F2B-559B-14D0861644A1}"/>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111176" y="2203192"/>
              <a:ext cx="990039" cy="990039"/>
            </a:xfrm>
            <a:prstGeom prst="rect">
              <a:avLst/>
            </a:prstGeom>
          </p:spPr>
        </p:pic>
      </p:grpSp>
      <p:grpSp>
        <p:nvGrpSpPr>
          <p:cNvPr id="31" name="Group 30">
            <a:extLst>
              <a:ext uri="{FF2B5EF4-FFF2-40B4-BE49-F238E27FC236}">
                <a16:creationId xmlns:a16="http://schemas.microsoft.com/office/drawing/2014/main" id="{91D9F43B-DA7E-A6EB-53CC-4E9C38BD67E0}"/>
              </a:ext>
            </a:extLst>
          </p:cNvPr>
          <p:cNvGrpSpPr/>
          <p:nvPr/>
        </p:nvGrpSpPr>
        <p:grpSpPr>
          <a:xfrm>
            <a:off x="4414520" y="2360548"/>
            <a:ext cx="3365819" cy="561040"/>
            <a:chOff x="4200417" y="2451474"/>
            <a:chExt cx="3365819" cy="561040"/>
          </a:xfrm>
        </p:grpSpPr>
        <p:sp>
          <p:nvSpPr>
            <p:cNvPr id="14" name="Rounded Rectangle 13">
              <a:extLst>
                <a:ext uri="{FF2B5EF4-FFF2-40B4-BE49-F238E27FC236}">
                  <a16:creationId xmlns:a16="http://schemas.microsoft.com/office/drawing/2014/main" id="{45C76E26-ED3A-041E-704B-00B5A5863258}"/>
                </a:ext>
              </a:extLst>
            </p:cNvPr>
            <p:cNvSpPr/>
            <p:nvPr/>
          </p:nvSpPr>
          <p:spPr>
            <a:xfrm>
              <a:off x="4200417" y="2451474"/>
              <a:ext cx="3365819" cy="56104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5" name="TextBox 31">
              <a:extLst>
                <a:ext uri="{FF2B5EF4-FFF2-40B4-BE49-F238E27FC236}">
                  <a16:creationId xmlns:a16="http://schemas.microsoft.com/office/drawing/2014/main" id="{6CAFD725-CA27-75B1-140B-DE32B373479C}"/>
                </a:ext>
              </a:extLst>
            </p:cNvPr>
            <p:cNvSpPr txBox="1"/>
            <p:nvPr/>
          </p:nvSpPr>
          <p:spPr>
            <a:xfrm>
              <a:off x="4888131" y="2477853"/>
              <a:ext cx="1990391" cy="425950"/>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Helvetica Light" panose="020B0403020202020204" pitchFamily="34" charset="0"/>
                  <a:ea typeface="+mn-ea"/>
                  <a:cs typeface="+mn-cs"/>
                </a:rPr>
                <a:t>H2 2023</a:t>
              </a:r>
            </a:p>
          </p:txBody>
        </p:sp>
      </p:grpSp>
      <p:grpSp>
        <p:nvGrpSpPr>
          <p:cNvPr id="30" name="Group 29">
            <a:extLst>
              <a:ext uri="{FF2B5EF4-FFF2-40B4-BE49-F238E27FC236}">
                <a16:creationId xmlns:a16="http://schemas.microsoft.com/office/drawing/2014/main" id="{66EDD228-A96C-341A-B014-043D6CE21215}"/>
              </a:ext>
            </a:extLst>
          </p:cNvPr>
          <p:cNvGrpSpPr/>
          <p:nvPr/>
        </p:nvGrpSpPr>
        <p:grpSpPr>
          <a:xfrm>
            <a:off x="8099501" y="2360548"/>
            <a:ext cx="3365819" cy="561040"/>
            <a:chOff x="7840065" y="2451474"/>
            <a:chExt cx="3365819" cy="561040"/>
          </a:xfrm>
        </p:grpSpPr>
        <p:sp>
          <p:nvSpPr>
            <p:cNvPr id="16" name="Rounded Rectangle 15">
              <a:extLst>
                <a:ext uri="{FF2B5EF4-FFF2-40B4-BE49-F238E27FC236}">
                  <a16:creationId xmlns:a16="http://schemas.microsoft.com/office/drawing/2014/main" id="{B123DD92-4873-C780-4215-D64526E75EB7}"/>
                </a:ext>
              </a:extLst>
            </p:cNvPr>
            <p:cNvSpPr/>
            <p:nvPr/>
          </p:nvSpPr>
          <p:spPr>
            <a:xfrm>
              <a:off x="7840065" y="2451474"/>
              <a:ext cx="3365819" cy="56104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7" name="TextBox 31">
              <a:extLst>
                <a:ext uri="{FF2B5EF4-FFF2-40B4-BE49-F238E27FC236}">
                  <a16:creationId xmlns:a16="http://schemas.microsoft.com/office/drawing/2014/main" id="{98580EB3-B9DA-BD3B-F4D4-CEEE3B428067}"/>
                </a:ext>
              </a:extLst>
            </p:cNvPr>
            <p:cNvSpPr txBox="1"/>
            <p:nvPr/>
          </p:nvSpPr>
          <p:spPr>
            <a:xfrm>
              <a:off x="8527779" y="2477853"/>
              <a:ext cx="1990391" cy="425950"/>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Helvetica Light" panose="020B0403020202020204" pitchFamily="34" charset="0"/>
                  <a:ea typeface="+mn-ea"/>
                  <a:cs typeface="+mn-cs"/>
                </a:rPr>
                <a:t>Q1 -  2024</a:t>
              </a:r>
            </a:p>
          </p:txBody>
        </p:sp>
      </p:grpSp>
      <p:sp>
        <p:nvSpPr>
          <p:cNvPr id="19" name="TextBox 18">
            <a:extLst>
              <a:ext uri="{FF2B5EF4-FFF2-40B4-BE49-F238E27FC236}">
                <a16:creationId xmlns:a16="http://schemas.microsoft.com/office/drawing/2014/main" id="{9ABC63EB-638D-722A-712E-102C480407A6}"/>
              </a:ext>
            </a:extLst>
          </p:cNvPr>
          <p:cNvSpPr txBox="1"/>
          <p:nvPr/>
        </p:nvSpPr>
        <p:spPr>
          <a:xfrm>
            <a:off x="1216328" y="2631447"/>
            <a:ext cx="2789442" cy="280076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M&amp;A is part of long-term strateg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ALS business: great team and </a:t>
            </a:r>
            <a:r>
              <a:rPr kumimoji="0" lang="en-GB" sz="1600" b="1" i="0" u="none" strike="noStrike" kern="1200" cap="none" spc="0" normalizeH="0" baseline="0" noProof="0">
                <a:ln>
                  <a:noFill/>
                </a:ln>
                <a:solidFill>
                  <a:srgbClr val="141E50"/>
                </a:solidFill>
                <a:effectLst/>
                <a:uLnTx/>
                <a:uFillTx/>
                <a:latin typeface="Helvetica" pitchFamily="2" charset="0"/>
                <a:ea typeface="+mn-ea"/>
                <a:cs typeface="+mn-cs"/>
              </a:rPr>
              <a:t>outstanding customer service reput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Important </a:t>
            </a:r>
            <a:r>
              <a:rPr kumimoji="0" lang="en-GB" sz="1600" b="1" i="0" u="none" strike="noStrike" kern="1200" cap="none" spc="0" normalizeH="0" baseline="0" noProof="0">
                <a:ln>
                  <a:noFill/>
                </a:ln>
                <a:solidFill>
                  <a:srgbClr val="141E50"/>
                </a:solidFill>
                <a:effectLst/>
                <a:uLnTx/>
                <a:uFillTx/>
                <a:latin typeface="Helvetica" pitchFamily="2" charset="0"/>
                <a:ea typeface="+mn-ea"/>
                <a:cs typeface="+mn-cs"/>
              </a:rPr>
              <a:t>contributor in winning Sainsbury’s </a:t>
            </a:r>
            <a:endParaRPr kumimoji="0" lang="en-US" sz="1600" b="1" i="0" u="none" strike="noStrike" kern="1200" cap="none" spc="0" normalizeH="0" baseline="0" noProof="0">
              <a:ln>
                <a:noFill/>
              </a:ln>
              <a:solidFill>
                <a:srgbClr val="141E50"/>
              </a:solidFill>
              <a:effectLst/>
              <a:uLnTx/>
              <a:uFillTx/>
              <a:latin typeface="Helvetica" pitchFamily="2" charset="0"/>
              <a:ea typeface="+mn-ea"/>
              <a:cs typeface="+mn-cs"/>
            </a:endParaRPr>
          </a:p>
        </p:txBody>
      </p:sp>
      <p:sp>
        <p:nvSpPr>
          <p:cNvPr id="22" name="TextBox 21">
            <a:extLst>
              <a:ext uri="{FF2B5EF4-FFF2-40B4-BE49-F238E27FC236}">
                <a16:creationId xmlns:a16="http://schemas.microsoft.com/office/drawing/2014/main" id="{AAB530C5-8706-05BE-4EFD-041CA3FDA49E}"/>
              </a:ext>
            </a:extLst>
          </p:cNvPr>
          <p:cNvSpPr txBox="1"/>
          <p:nvPr/>
        </p:nvSpPr>
        <p:spPr>
          <a:xfrm>
            <a:off x="4773422" y="3214901"/>
            <a:ext cx="2617082" cy="255454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Replacement of UK executive management initia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New MD and SVP with significant grocery retail and technology experience appoint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endParaRPr>
          </a:p>
        </p:txBody>
      </p:sp>
      <p:sp>
        <p:nvSpPr>
          <p:cNvPr id="23" name="TextBox 22">
            <a:extLst>
              <a:ext uri="{FF2B5EF4-FFF2-40B4-BE49-F238E27FC236}">
                <a16:creationId xmlns:a16="http://schemas.microsoft.com/office/drawing/2014/main" id="{F5A26AF2-DB54-8D27-655F-E995459F4F94}"/>
              </a:ext>
            </a:extLst>
          </p:cNvPr>
          <p:cNvSpPr txBox="1"/>
          <p:nvPr/>
        </p:nvSpPr>
        <p:spPr>
          <a:xfrm>
            <a:off x="8341204" y="3214901"/>
            <a:ext cx="2619774" cy="156966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As result of changes, are experiencing short-term negative repercussions in shopfitting busin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p:txBody>
      </p:sp>
      <p:sp>
        <p:nvSpPr>
          <p:cNvPr id="37" name="Text Placeholder 3">
            <a:extLst>
              <a:ext uri="{FF2B5EF4-FFF2-40B4-BE49-F238E27FC236}">
                <a16:creationId xmlns:a16="http://schemas.microsoft.com/office/drawing/2014/main" id="{30A6F5A0-012D-18E4-2E79-9F0A9A3477AD}"/>
              </a:ext>
            </a:extLst>
          </p:cNvPr>
          <p:cNvSpPr txBox="1">
            <a:spLocks/>
          </p:cNvSpPr>
          <p:nvPr/>
        </p:nvSpPr>
        <p:spPr>
          <a:xfrm>
            <a:off x="7656699" y="2233910"/>
            <a:ext cx="450918" cy="861613"/>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gt;</a:t>
            </a:r>
            <a:endParaRPr kumimoji="0" lang="en-US" sz="11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pic>
        <p:nvPicPr>
          <p:cNvPr id="10" name="Graphic 9">
            <a:extLst>
              <a:ext uri="{FF2B5EF4-FFF2-40B4-BE49-F238E27FC236}">
                <a16:creationId xmlns:a16="http://schemas.microsoft.com/office/drawing/2014/main" id="{ED2E6873-B9B9-F350-5AE5-1E8BF6765CC6}"/>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61681" y="2655229"/>
            <a:ext cx="508349" cy="508349"/>
          </a:xfrm>
          <a:prstGeom prst="rect">
            <a:avLst/>
          </a:prstGeom>
        </p:spPr>
      </p:pic>
      <p:pic>
        <p:nvPicPr>
          <p:cNvPr id="11" name="Graphic 10">
            <a:extLst>
              <a:ext uri="{FF2B5EF4-FFF2-40B4-BE49-F238E27FC236}">
                <a16:creationId xmlns:a16="http://schemas.microsoft.com/office/drawing/2014/main" id="{C66B743C-CDC7-BBFE-48C9-814D5DE912E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61681" y="3601123"/>
            <a:ext cx="508349" cy="508349"/>
          </a:xfrm>
          <a:prstGeom prst="rect">
            <a:avLst/>
          </a:prstGeom>
        </p:spPr>
      </p:pic>
      <p:pic>
        <p:nvPicPr>
          <p:cNvPr id="12" name="Graphic 11">
            <a:extLst>
              <a:ext uri="{FF2B5EF4-FFF2-40B4-BE49-F238E27FC236}">
                <a16:creationId xmlns:a16="http://schemas.microsoft.com/office/drawing/2014/main" id="{BCED9257-18AA-0123-78A5-5F8ED53FB124}"/>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61681" y="4828914"/>
            <a:ext cx="508349" cy="508349"/>
          </a:xfrm>
          <a:prstGeom prst="rect">
            <a:avLst/>
          </a:prstGeom>
        </p:spPr>
      </p:pic>
      <p:grpSp>
        <p:nvGrpSpPr>
          <p:cNvPr id="21" name="Group 20">
            <a:extLst>
              <a:ext uri="{FF2B5EF4-FFF2-40B4-BE49-F238E27FC236}">
                <a16:creationId xmlns:a16="http://schemas.microsoft.com/office/drawing/2014/main" id="{F17FFE1C-ACAD-10C0-15D2-A27498050959}"/>
              </a:ext>
            </a:extLst>
          </p:cNvPr>
          <p:cNvGrpSpPr/>
          <p:nvPr/>
        </p:nvGrpSpPr>
        <p:grpSpPr>
          <a:xfrm>
            <a:off x="731839" y="2374534"/>
            <a:ext cx="3273932" cy="3240076"/>
            <a:chOff x="731838" y="2374534"/>
            <a:chExt cx="3022581" cy="3240076"/>
          </a:xfrm>
        </p:grpSpPr>
        <p:cxnSp>
          <p:nvCxnSpPr>
            <p:cNvPr id="13" name="Straight Connector 12">
              <a:extLst>
                <a:ext uri="{FF2B5EF4-FFF2-40B4-BE49-F238E27FC236}">
                  <a16:creationId xmlns:a16="http://schemas.microsoft.com/office/drawing/2014/main" id="{F87833AE-3706-DF46-1642-D6A39BD8669F}"/>
                </a:ext>
              </a:extLst>
            </p:cNvPr>
            <p:cNvCxnSpPr>
              <a:cxnSpLocks/>
            </p:cNvCxnSpPr>
            <p:nvPr/>
          </p:nvCxnSpPr>
          <p:spPr>
            <a:xfrm>
              <a:off x="731838" y="5614610"/>
              <a:ext cx="3022581"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60CC0D3-2E75-2C1C-6410-520306C1F43E}"/>
                </a:ext>
              </a:extLst>
            </p:cNvPr>
            <p:cNvCxnSpPr>
              <a:cxnSpLocks/>
            </p:cNvCxnSpPr>
            <p:nvPr/>
          </p:nvCxnSpPr>
          <p:spPr>
            <a:xfrm>
              <a:off x="731838" y="2374534"/>
              <a:ext cx="3022581"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4" name="TextBox 31">
            <a:extLst>
              <a:ext uri="{FF2B5EF4-FFF2-40B4-BE49-F238E27FC236}">
                <a16:creationId xmlns:a16="http://schemas.microsoft.com/office/drawing/2014/main" id="{9A04C40B-636D-2B94-C571-C2AAFEBA271E}"/>
              </a:ext>
            </a:extLst>
          </p:cNvPr>
          <p:cNvSpPr txBox="1"/>
          <p:nvPr/>
        </p:nvSpPr>
        <p:spPr>
          <a:xfrm>
            <a:off x="620658" y="1957825"/>
            <a:ext cx="1990391" cy="425950"/>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Overview</a:t>
            </a:r>
          </a:p>
        </p:txBody>
      </p:sp>
    </p:spTree>
    <p:extLst>
      <p:ext uri="{BB962C8B-B14F-4D97-AF65-F5344CB8AC3E}">
        <p14:creationId xmlns:p14="http://schemas.microsoft.com/office/powerpoint/2010/main" val="18466619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E8827E0-1DA4-039D-9058-31CCBA5BF21A}"/>
              </a:ext>
            </a:extLst>
          </p:cNvPr>
          <p:cNvGraphicFramePr>
            <a:graphicFrameLocks noChangeAspect="1"/>
          </p:cNvGraphicFramePr>
          <p:nvPr>
            <p:custDataLst>
              <p:tags r:id="rId1"/>
            </p:custDataLst>
            <p:extLst>
              <p:ext uri="{D42A27DB-BD31-4B8C-83A1-F6EECF244321}">
                <p14:modId xmlns:p14="http://schemas.microsoft.com/office/powerpoint/2010/main" val="2007664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E8827E0-1DA4-039D-9058-31CCBA5BF21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F7286A-09BA-4D59-58B8-EDAEACCC6B3E}"/>
              </a:ext>
            </a:extLst>
          </p:cNvPr>
          <p:cNvSpPr>
            <a:spLocks noGrp="1"/>
          </p:cNvSpPr>
          <p:nvPr>
            <p:ph type="title"/>
          </p:nvPr>
        </p:nvSpPr>
        <p:spPr>
          <a:xfrm>
            <a:off x="741777" y="365126"/>
            <a:ext cx="11450223" cy="4054474"/>
          </a:xfrm>
        </p:spPr>
        <p:txBody>
          <a:bodyPr vert="horz">
            <a:normAutofit/>
          </a:bodyPr>
          <a:lstStyle/>
          <a:p>
            <a:r>
              <a:rPr lang="en-GB" b="1">
                <a:latin typeface="Helvetica" panose="020B0604020202020204" pitchFamily="34" charset="0"/>
                <a:cs typeface="Helvetica" panose="020B0604020202020204" pitchFamily="34" charset="0"/>
              </a:rPr>
              <a:t>Challenges</a:t>
            </a:r>
            <a:r>
              <a:rPr lang="en-GB"/>
              <a:t> summarized – now, what actions?</a:t>
            </a:r>
          </a:p>
        </p:txBody>
      </p:sp>
      <p:sp>
        <p:nvSpPr>
          <p:cNvPr id="9" name="Rectangle 8">
            <a:extLst>
              <a:ext uri="{FF2B5EF4-FFF2-40B4-BE49-F238E27FC236}">
                <a16:creationId xmlns:a16="http://schemas.microsoft.com/office/drawing/2014/main" id="{A4249E00-83F0-BA39-B8B8-AC36BF2474F9}"/>
              </a:ext>
            </a:extLst>
          </p:cNvPr>
          <p:cNvSpPr/>
          <p:nvPr/>
        </p:nvSpPr>
        <p:spPr>
          <a:xfrm>
            <a:off x="4617884" y="2584773"/>
            <a:ext cx="2880000" cy="3289736"/>
          </a:xfrm>
          <a:prstGeom prst="rect">
            <a:avLst/>
          </a:prstGeom>
          <a:solidFill>
            <a:schemeClr val="accent4">
              <a:lumMod val="20000"/>
              <a:lumOff val="80000"/>
              <a:alpha val="69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7" name="TextBox 31">
            <a:extLst>
              <a:ext uri="{FF2B5EF4-FFF2-40B4-BE49-F238E27FC236}">
                <a16:creationId xmlns:a16="http://schemas.microsoft.com/office/drawing/2014/main" id="{F230E2A2-8BBB-33BE-1109-9969BF8F2918}"/>
              </a:ext>
            </a:extLst>
          </p:cNvPr>
          <p:cNvSpPr txBox="1"/>
          <p:nvPr/>
        </p:nvSpPr>
        <p:spPr>
          <a:xfrm>
            <a:off x="4747534" y="3940174"/>
            <a:ext cx="2696931" cy="1477328"/>
          </a:xfrm>
          <a:prstGeom prst="rect">
            <a:avLst/>
          </a:prstGeom>
          <a:noFill/>
        </p:spPr>
        <p:txBody>
          <a:bodyPr wrap="square">
            <a:spAutoFit/>
          </a:bodyPr>
          <a:lstStyle/>
          <a:p>
            <a:pPr algn="ctr">
              <a:defRPr/>
            </a:pPr>
            <a:r>
              <a:rPr kumimoji="0" lang="en-GB" sz="1800" b="1" u="none" strike="noStrike" kern="1200" cap="none" spc="0" normalizeH="0" baseline="0" noProof="0">
                <a:ln>
                  <a:noFill/>
                </a:ln>
                <a:solidFill>
                  <a:srgbClr val="141E50"/>
                </a:solidFill>
                <a:effectLst/>
                <a:uLnTx/>
                <a:uFillTx/>
                <a:latin typeface="Helvetica" pitchFamily="2" charset="0"/>
              </a:rPr>
              <a:t>Challenge 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Currency depreciation in Norway and Sweden against EUR and USD</a:t>
            </a:r>
          </a:p>
        </p:txBody>
      </p:sp>
      <p:sp>
        <p:nvSpPr>
          <p:cNvPr id="24" name="Oval 23">
            <a:extLst>
              <a:ext uri="{FF2B5EF4-FFF2-40B4-BE49-F238E27FC236}">
                <a16:creationId xmlns:a16="http://schemas.microsoft.com/office/drawing/2014/main" id="{42F34B56-460D-7C81-2886-260DA75950F4}"/>
              </a:ext>
            </a:extLst>
          </p:cNvPr>
          <p:cNvSpPr/>
          <p:nvPr/>
        </p:nvSpPr>
        <p:spPr>
          <a:xfrm>
            <a:off x="5140404" y="1785160"/>
            <a:ext cx="1834961" cy="183496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pSp>
        <p:nvGrpSpPr>
          <p:cNvPr id="32" name="Group 31">
            <a:extLst>
              <a:ext uri="{FF2B5EF4-FFF2-40B4-BE49-F238E27FC236}">
                <a16:creationId xmlns:a16="http://schemas.microsoft.com/office/drawing/2014/main" id="{B79F9C55-FC0A-5EE9-142B-FF3F54EBE9B0}"/>
              </a:ext>
            </a:extLst>
          </p:cNvPr>
          <p:cNvGrpSpPr/>
          <p:nvPr/>
        </p:nvGrpSpPr>
        <p:grpSpPr>
          <a:xfrm>
            <a:off x="5350978" y="2007969"/>
            <a:ext cx="1413812" cy="1413812"/>
            <a:chOff x="5350978" y="2007969"/>
            <a:chExt cx="1413812" cy="1413812"/>
          </a:xfrm>
        </p:grpSpPr>
        <p:sp>
          <p:nvSpPr>
            <p:cNvPr id="16" name="Oval 15">
              <a:extLst>
                <a:ext uri="{FF2B5EF4-FFF2-40B4-BE49-F238E27FC236}">
                  <a16:creationId xmlns:a16="http://schemas.microsoft.com/office/drawing/2014/main" id="{7B62CBE4-AB91-979E-432D-B1BFECC80B2E}"/>
                </a:ext>
              </a:extLst>
            </p:cNvPr>
            <p:cNvSpPr/>
            <p:nvPr/>
          </p:nvSpPr>
          <p:spPr>
            <a:xfrm>
              <a:off x="5350978" y="2007969"/>
              <a:ext cx="1413812" cy="1413812"/>
            </a:xfrm>
            <a:prstGeom prst="ellipse">
              <a:avLst/>
            </a:prstGeom>
            <a:solidFill>
              <a:schemeClr val="tx2"/>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12" name="Graphic 11">
              <a:extLst>
                <a:ext uri="{FF2B5EF4-FFF2-40B4-BE49-F238E27FC236}">
                  <a16:creationId xmlns:a16="http://schemas.microsoft.com/office/drawing/2014/main" id="{CFEFAC60-AC27-4865-877A-2011BF5F798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09994" y="2166985"/>
              <a:ext cx="1095780" cy="1095780"/>
            </a:xfrm>
            <a:prstGeom prst="rect">
              <a:avLst/>
            </a:prstGeom>
          </p:spPr>
        </p:pic>
      </p:grpSp>
      <p:sp>
        <p:nvSpPr>
          <p:cNvPr id="3" name="Rectangle 2">
            <a:extLst>
              <a:ext uri="{FF2B5EF4-FFF2-40B4-BE49-F238E27FC236}">
                <a16:creationId xmlns:a16="http://schemas.microsoft.com/office/drawing/2014/main" id="{2C0B4ACB-B3A0-8995-CDD4-D2EAE355193C}"/>
              </a:ext>
            </a:extLst>
          </p:cNvPr>
          <p:cNvSpPr/>
          <p:nvPr/>
        </p:nvSpPr>
        <p:spPr>
          <a:xfrm>
            <a:off x="1098800" y="2584773"/>
            <a:ext cx="2880000" cy="3289736"/>
          </a:xfrm>
          <a:prstGeom prst="rect">
            <a:avLst/>
          </a:prstGeom>
          <a:solidFill>
            <a:schemeClr val="accent4">
              <a:lumMod val="20000"/>
              <a:lumOff val="80000"/>
              <a:alpha val="69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5" name="TextBox 31">
            <a:extLst>
              <a:ext uri="{FF2B5EF4-FFF2-40B4-BE49-F238E27FC236}">
                <a16:creationId xmlns:a16="http://schemas.microsoft.com/office/drawing/2014/main" id="{7074EC5B-64A3-29FC-C0E4-321D0E01EB8B}"/>
              </a:ext>
            </a:extLst>
          </p:cNvPr>
          <p:cNvSpPr txBox="1"/>
          <p:nvPr/>
        </p:nvSpPr>
        <p:spPr>
          <a:xfrm>
            <a:off x="1352189" y="3911196"/>
            <a:ext cx="2357481" cy="147732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u="none" strike="noStrike" kern="1200" cap="none" spc="0" normalizeH="0" baseline="0" noProof="0">
                <a:ln>
                  <a:noFill/>
                </a:ln>
                <a:solidFill>
                  <a:srgbClr val="141E50"/>
                </a:solidFill>
                <a:effectLst/>
                <a:uLnTx/>
                <a:uFillTx/>
                <a:latin typeface="Helvetica" pitchFamily="2" charset="0"/>
              </a:rPr>
              <a:t>Challenge 1:</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a:solidFill>
                <a:srgbClr val="141E50"/>
              </a:solidFill>
              <a:latin typeface="Helvetica Light" panose="020B0403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Difficult market for grocery retail and retail technology</a:t>
            </a:r>
          </a:p>
        </p:txBody>
      </p:sp>
      <p:sp>
        <p:nvSpPr>
          <p:cNvPr id="23" name="Oval 22">
            <a:extLst>
              <a:ext uri="{FF2B5EF4-FFF2-40B4-BE49-F238E27FC236}">
                <a16:creationId xmlns:a16="http://schemas.microsoft.com/office/drawing/2014/main" id="{17CD9C2A-E9E5-2ACF-AF51-DB99FB7BE0A9}"/>
              </a:ext>
            </a:extLst>
          </p:cNvPr>
          <p:cNvSpPr/>
          <p:nvPr/>
        </p:nvSpPr>
        <p:spPr>
          <a:xfrm>
            <a:off x="1621320" y="1785160"/>
            <a:ext cx="1834961" cy="183496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pSp>
        <p:nvGrpSpPr>
          <p:cNvPr id="30" name="Group 29">
            <a:extLst>
              <a:ext uri="{FF2B5EF4-FFF2-40B4-BE49-F238E27FC236}">
                <a16:creationId xmlns:a16="http://schemas.microsoft.com/office/drawing/2014/main" id="{0E99167C-4FA1-F31B-6BA6-371BD8B9EA52}"/>
              </a:ext>
            </a:extLst>
          </p:cNvPr>
          <p:cNvGrpSpPr/>
          <p:nvPr/>
        </p:nvGrpSpPr>
        <p:grpSpPr>
          <a:xfrm>
            <a:off x="1831894" y="2007969"/>
            <a:ext cx="1413812" cy="1413812"/>
            <a:chOff x="1831894" y="2007969"/>
            <a:chExt cx="1413812" cy="1413812"/>
          </a:xfrm>
        </p:grpSpPr>
        <p:sp>
          <p:nvSpPr>
            <p:cNvPr id="15" name="Oval 14">
              <a:extLst>
                <a:ext uri="{FF2B5EF4-FFF2-40B4-BE49-F238E27FC236}">
                  <a16:creationId xmlns:a16="http://schemas.microsoft.com/office/drawing/2014/main" id="{09D7A6A5-2FD4-258D-5373-16471AD18D2C}"/>
                </a:ext>
              </a:extLst>
            </p:cNvPr>
            <p:cNvSpPr/>
            <p:nvPr/>
          </p:nvSpPr>
          <p:spPr>
            <a:xfrm>
              <a:off x="1831894" y="2007969"/>
              <a:ext cx="1413812" cy="1413812"/>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14" name="Graphic 13">
              <a:extLst>
                <a:ext uri="{FF2B5EF4-FFF2-40B4-BE49-F238E27FC236}">
                  <a16:creationId xmlns:a16="http://schemas.microsoft.com/office/drawing/2014/main" id="{F0A4F1C1-1EE8-3BA3-338D-05BAF9A178B4}"/>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041168" y="2217243"/>
              <a:ext cx="995264" cy="995264"/>
            </a:xfrm>
            <a:prstGeom prst="rect">
              <a:avLst/>
            </a:prstGeom>
          </p:spPr>
        </p:pic>
      </p:grpSp>
      <p:sp>
        <p:nvSpPr>
          <p:cNvPr id="11" name="Rectangle 10">
            <a:extLst>
              <a:ext uri="{FF2B5EF4-FFF2-40B4-BE49-F238E27FC236}">
                <a16:creationId xmlns:a16="http://schemas.microsoft.com/office/drawing/2014/main" id="{12D66FCB-07D1-81F4-77B3-CEF2E47BE087}"/>
              </a:ext>
            </a:extLst>
          </p:cNvPr>
          <p:cNvSpPr/>
          <p:nvPr/>
        </p:nvSpPr>
        <p:spPr>
          <a:xfrm>
            <a:off x="8152760" y="2584773"/>
            <a:ext cx="2880000" cy="3289736"/>
          </a:xfrm>
          <a:prstGeom prst="rect">
            <a:avLst/>
          </a:prstGeom>
          <a:solidFill>
            <a:schemeClr val="accent4">
              <a:lumMod val="20000"/>
              <a:lumOff val="80000"/>
              <a:alpha val="69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8" name="TextBox 31">
            <a:extLst>
              <a:ext uri="{FF2B5EF4-FFF2-40B4-BE49-F238E27FC236}">
                <a16:creationId xmlns:a16="http://schemas.microsoft.com/office/drawing/2014/main" id="{63942F08-AA44-74AD-70B0-119FBD06250C}"/>
              </a:ext>
            </a:extLst>
          </p:cNvPr>
          <p:cNvSpPr txBox="1"/>
          <p:nvPr/>
        </p:nvSpPr>
        <p:spPr>
          <a:xfrm>
            <a:off x="8441552" y="3930967"/>
            <a:ext cx="2357481" cy="1477328"/>
          </a:xfrm>
          <a:prstGeom prst="rect">
            <a:avLst/>
          </a:prstGeom>
          <a:noFill/>
        </p:spPr>
        <p:txBody>
          <a:bodyPr wrap="square">
            <a:spAutoFit/>
          </a:bodyPr>
          <a:lstStyle/>
          <a:p>
            <a:pPr algn="ctr">
              <a:defRPr/>
            </a:pPr>
            <a:r>
              <a:rPr kumimoji="0" lang="en-GB" sz="1800" b="1" u="none" strike="noStrike" kern="1200" cap="none" spc="0" normalizeH="0" baseline="0" noProof="0">
                <a:ln>
                  <a:noFill/>
                </a:ln>
                <a:solidFill>
                  <a:srgbClr val="141E50"/>
                </a:solidFill>
                <a:effectLst/>
                <a:uLnTx/>
                <a:uFillTx/>
                <a:latin typeface="Helvetica" pitchFamily="2" charset="0"/>
              </a:rPr>
              <a:t>Challenge </a:t>
            </a:r>
            <a:r>
              <a:rPr lang="en-GB" b="1">
                <a:solidFill>
                  <a:srgbClr val="141E50"/>
                </a:solidFill>
                <a:latin typeface="Helvetica" pitchFamily="2" charset="0"/>
              </a:rPr>
              <a:t>3</a:t>
            </a:r>
            <a:r>
              <a:rPr kumimoji="0" lang="en-GB" sz="1800" b="1" u="none" strike="noStrike" kern="1200" cap="none" spc="0" normalizeH="0" baseline="0" noProof="0">
                <a:ln>
                  <a:noFill/>
                </a:ln>
                <a:solidFill>
                  <a:srgbClr val="141E50"/>
                </a:solidFill>
                <a:effectLst/>
                <a:uLnTx/>
                <a:uFillTx/>
                <a:latin typeface="Helvetica" pitchFamily="2" charset="0"/>
              </a:rPr>
              <a:t>:</a:t>
            </a:r>
            <a:endParaRPr lang="en-GB">
              <a:solidFill>
                <a:srgbClr val="141E50"/>
              </a:solidFill>
              <a:latin typeface="Helvetica Light" panose="020B0403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a:solidFill>
                <a:srgbClr val="141E50"/>
              </a:solidFill>
              <a:latin typeface="Helvetica Light" panose="020B0403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a:solidFill>
                  <a:srgbClr val="141E50"/>
                </a:solidFill>
                <a:latin typeface="Helvetica Light" panose="020B0403020202020204" pitchFamily="34" charset="0"/>
              </a:rPr>
              <a:t>S</a:t>
            </a:r>
            <a:r>
              <a:rPr kumimoji="0" lang="en-GB" sz="1800" b="0" i="0" u="none" strike="noStrike" kern="1200" cap="none" spc="0" normalizeH="0" baseline="0" noProof="0" err="1">
                <a:ln>
                  <a:noFill/>
                </a:ln>
                <a:solidFill>
                  <a:srgbClr val="141E50"/>
                </a:solidFill>
                <a:effectLst/>
                <a:uLnTx/>
                <a:uFillTx/>
                <a:latin typeface="Helvetica Light" panose="020B0403020202020204" pitchFamily="34" charset="0"/>
                <a:ea typeface="+mn-ea"/>
                <a:cs typeface="+mn-cs"/>
              </a:rPr>
              <a:t>pecific</a:t>
            </a:r>
            <a:r>
              <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 challenges </a:t>
            </a:r>
            <a:r>
              <a:rPr lang="en-GB">
                <a:solidFill>
                  <a:srgbClr val="141E50"/>
                </a:solidFill>
                <a:latin typeface="Helvetica Light" panose="020B0403020202020204" pitchFamily="34" charset="0"/>
              </a:rPr>
              <a:t>in UK business unit </a:t>
            </a:r>
            <a:endPar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p:txBody>
      </p:sp>
      <p:sp>
        <p:nvSpPr>
          <p:cNvPr id="25" name="Oval 24">
            <a:extLst>
              <a:ext uri="{FF2B5EF4-FFF2-40B4-BE49-F238E27FC236}">
                <a16:creationId xmlns:a16="http://schemas.microsoft.com/office/drawing/2014/main" id="{65D8CEA9-4CA2-F15F-CF5D-CEE371A04D29}"/>
              </a:ext>
            </a:extLst>
          </p:cNvPr>
          <p:cNvSpPr/>
          <p:nvPr/>
        </p:nvSpPr>
        <p:spPr>
          <a:xfrm>
            <a:off x="8675280" y="1785160"/>
            <a:ext cx="1834961" cy="183496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pSp>
        <p:nvGrpSpPr>
          <p:cNvPr id="31" name="Group 30">
            <a:extLst>
              <a:ext uri="{FF2B5EF4-FFF2-40B4-BE49-F238E27FC236}">
                <a16:creationId xmlns:a16="http://schemas.microsoft.com/office/drawing/2014/main" id="{2AADB805-4F54-885B-6EC9-95A5C60C54E1}"/>
              </a:ext>
            </a:extLst>
          </p:cNvPr>
          <p:cNvGrpSpPr/>
          <p:nvPr/>
        </p:nvGrpSpPr>
        <p:grpSpPr>
          <a:xfrm>
            <a:off x="8885854" y="2007969"/>
            <a:ext cx="1413812" cy="1413812"/>
            <a:chOff x="8885854" y="2007969"/>
            <a:chExt cx="1413812" cy="1413812"/>
          </a:xfrm>
        </p:grpSpPr>
        <p:sp>
          <p:nvSpPr>
            <p:cNvPr id="17" name="Oval 16">
              <a:extLst>
                <a:ext uri="{FF2B5EF4-FFF2-40B4-BE49-F238E27FC236}">
                  <a16:creationId xmlns:a16="http://schemas.microsoft.com/office/drawing/2014/main" id="{3B7B28F6-A5D1-B720-7823-934C9236CDEB}"/>
                </a:ext>
              </a:extLst>
            </p:cNvPr>
            <p:cNvSpPr/>
            <p:nvPr/>
          </p:nvSpPr>
          <p:spPr>
            <a:xfrm>
              <a:off x="8885854" y="2007969"/>
              <a:ext cx="1413812" cy="1413812"/>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21" name="Graphic 20">
              <a:extLst>
                <a:ext uri="{FF2B5EF4-FFF2-40B4-BE49-F238E27FC236}">
                  <a16:creationId xmlns:a16="http://schemas.microsoft.com/office/drawing/2014/main" id="{A00F7AA5-214C-8661-7017-5182A2A1726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111176" y="2203192"/>
              <a:ext cx="990039" cy="990039"/>
            </a:xfrm>
            <a:prstGeom prst="rect">
              <a:avLst/>
            </a:prstGeom>
          </p:spPr>
        </p:pic>
      </p:grpSp>
    </p:spTree>
    <p:extLst>
      <p:ext uri="{BB962C8B-B14F-4D97-AF65-F5344CB8AC3E}">
        <p14:creationId xmlns:p14="http://schemas.microsoft.com/office/powerpoint/2010/main" val="15778011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1329DC4F-05E4-5CEF-AC4D-A3B3D518BD6F}"/>
              </a:ext>
            </a:extLst>
          </p:cNvPr>
          <p:cNvGraphicFramePr>
            <a:graphicFrameLocks noChangeAspect="1"/>
          </p:cNvGraphicFramePr>
          <p:nvPr>
            <p:custDataLst>
              <p:tags r:id="rId1"/>
            </p:custDataLst>
            <p:extLst>
              <p:ext uri="{D42A27DB-BD31-4B8C-83A1-F6EECF244321}">
                <p14:modId xmlns:p14="http://schemas.microsoft.com/office/powerpoint/2010/main" val="1576516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14" name="Objekt 13" hidden="1">
                        <a:extLst>
                          <a:ext uri="{FF2B5EF4-FFF2-40B4-BE49-F238E27FC236}">
                            <a16:creationId xmlns:a16="http://schemas.microsoft.com/office/drawing/2014/main" id="{1329DC4F-05E4-5CEF-AC4D-A3B3D518B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9" name="Freeform 118">
            <a:extLst>
              <a:ext uri="{FF2B5EF4-FFF2-40B4-BE49-F238E27FC236}">
                <a16:creationId xmlns:a16="http://schemas.microsoft.com/office/drawing/2014/main" id="{9E9FE2ED-82B0-D66D-9FA9-60099C394EB7}"/>
              </a:ext>
            </a:extLst>
          </p:cNvPr>
          <p:cNvSpPr/>
          <p:nvPr/>
        </p:nvSpPr>
        <p:spPr>
          <a:xfrm>
            <a:off x="23110951" y="13112566"/>
            <a:ext cx="123623" cy="47758"/>
          </a:xfrm>
          <a:custGeom>
            <a:avLst/>
            <a:gdLst>
              <a:gd name="connsiteX0" fmla="*/ 461 w 26467"/>
              <a:gd name="connsiteY0" fmla="*/ 7107 h 10225"/>
              <a:gd name="connsiteX1" fmla="*/ 26292 w 26467"/>
              <a:gd name="connsiteY1" fmla="*/ 3392 h 10225"/>
              <a:gd name="connsiteX2" fmla="*/ 461 w 26467"/>
              <a:gd name="connsiteY2" fmla="*/ 7107 h 10225"/>
            </a:gdLst>
            <a:ahLst/>
            <a:cxnLst>
              <a:cxn ang="0">
                <a:pos x="connsiteX0" y="connsiteY0"/>
              </a:cxn>
              <a:cxn ang="0">
                <a:pos x="connsiteX1" y="connsiteY1"/>
              </a:cxn>
              <a:cxn ang="0">
                <a:pos x="connsiteX2" y="connsiteY2"/>
              </a:cxn>
            </a:cxnLst>
            <a:rect l="l" t="t" r="r" b="b"/>
            <a:pathLst>
              <a:path w="26467" h="10225">
                <a:moveTo>
                  <a:pt x="461" y="7107"/>
                </a:moveTo>
                <a:cubicBezTo>
                  <a:pt x="5710" y="12400"/>
                  <a:pt x="23411" y="10821"/>
                  <a:pt x="26292" y="3392"/>
                </a:cubicBezTo>
                <a:cubicBezTo>
                  <a:pt x="29172" y="-4038"/>
                  <a:pt x="-4278" y="2370"/>
                  <a:pt x="461" y="7107"/>
                </a:cubicBezTo>
                <a:close/>
              </a:path>
            </a:pathLst>
          </a:custGeom>
          <a:solidFill>
            <a:schemeClr val="accent4">
              <a:lumMod val="20000"/>
              <a:lumOff val="80000"/>
              <a:alpha val="43000"/>
            </a:schemeClr>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1" name="Freeform 130">
            <a:extLst>
              <a:ext uri="{FF2B5EF4-FFF2-40B4-BE49-F238E27FC236}">
                <a16:creationId xmlns:a16="http://schemas.microsoft.com/office/drawing/2014/main" id="{B639CF13-D322-C443-B7B9-1E6C2C8DEE32}"/>
              </a:ext>
            </a:extLst>
          </p:cNvPr>
          <p:cNvSpPr/>
          <p:nvPr/>
        </p:nvSpPr>
        <p:spPr>
          <a:xfrm>
            <a:off x="25938559" y="11249063"/>
            <a:ext cx="294629" cy="231309"/>
          </a:xfrm>
          <a:custGeom>
            <a:avLst/>
            <a:gdLst>
              <a:gd name="connsiteX0" fmla="*/ 18 w 63078"/>
              <a:gd name="connsiteY0" fmla="*/ 1019 h 49522"/>
              <a:gd name="connsiteX1" fmla="*/ 62503 w 63078"/>
              <a:gd name="connsiteY1" fmla="*/ 49033 h 49522"/>
              <a:gd name="connsiteX2" fmla="*/ 18 w 63078"/>
              <a:gd name="connsiteY2" fmla="*/ 1019 h 49522"/>
            </a:gdLst>
            <a:ahLst/>
            <a:cxnLst>
              <a:cxn ang="0">
                <a:pos x="connsiteX0" y="connsiteY0"/>
              </a:cxn>
              <a:cxn ang="0">
                <a:pos x="connsiteX1" y="connsiteY1"/>
              </a:cxn>
              <a:cxn ang="0">
                <a:pos x="connsiteX2" y="connsiteY2"/>
              </a:cxn>
            </a:cxnLst>
            <a:rect l="l" t="t" r="r" b="b"/>
            <a:pathLst>
              <a:path w="63078" h="49522">
                <a:moveTo>
                  <a:pt x="18" y="1019"/>
                </a:moveTo>
                <a:cubicBezTo>
                  <a:pt x="-1283" y="-7804"/>
                  <a:pt x="70169" y="43414"/>
                  <a:pt x="62503" y="49033"/>
                </a:cubicBezTo>
                <a:cubicBezTo>
                  <a:pt x="54837" y="54697"/>
                  <a:pt x="1271" y="9517"/>
                  <a:pt x="18" y="1019"/>
                </a:cubicBezTo>
                <a:close/>
              </a:path>
            </a:pathLst>
          </a:custGeom>
          <a:solidFill>
            <a:schemeClr val="accent4">
              <a:lumMod val="20000"/>
              <a:lumOff val="80000"/>
              <a:alpha val="43000"/>
            </a:schemeClr>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0" name="Tittel 9">
            <a:extLst>
              <a:ext uri="{FF2B5EF4-FFF2-40B4-BE49-F238E27FC236}">
                <a16:creationId xmlns:a16="http://schemas.microsoft.com/office/drawing/2014/main" id="{94CED9D4-7CE9-72C1-9001-0EFE602D31FD}"/>
              </a:ext>
            </a:extLst>
          </p:cNvPr>
          <p:cNvSpPr>
            <a:spLocks noGrp="1"/>
          </p:cNvSpPr>
          <p:nvPr>
            <p:ph type="title"/>
          </p:nvPr>
        </p:nvSpPr>
        <p:spPr>
          <a:xfrm>
            <a:off x="758045" y="422238"/>
            <a:ext cx="10397772" cy="1232458"/>
          </a:xfrm>
        </p:spPr>
        <p:txBody>
          <a:bodyPr vert="horz">
            <a:normAutofit/>
          </a:bodyPr>
          <a:lstStyle/>
          <a:p>
            <a:r>
              <a:rPr lang="en-GB" sz="3600"/>
              <a:t>Actions taken in </a:t>
            </a:r>
            <a:r>
              <a:rPr lang="en-GB" sz="3600" b="1">
                <a:latin typeface="Helvetica" pitchFamily="2" charset="0"/>
              </a:rPr>
              <a:t>Scandinavia and Baltics</a:t>
            </a:r>
            <a:endParaRPr lang="en-GB" sz="3600"/>
          </a:p>
        </p:txBody>
      </p:sp>
      <p:sp>
        <p:nvSpPr>
          <p:cNvPr id="11" name="Plassholder for tekst 11">
            <a:extLst>
              <a:ext uri="{FF2B5EF4-FFF2-40B4-BE49-F238E27FC236}">
                <a16:creationId xmlns:a16="http://schemas.microsoft.com/office/drawing/2014/main" id="{36A82F83-E787-1002-7B82-B2030E1101E4}"/>
              </a:ext>
            </a:extLst>
          </p:cNvPr>
          <p:cNvSpPr txBox="1">
            <a:spLocks/>
          </p:cNvSpPr>
          <p:nvPr/>
        </p:nvSpPr>
        <p:spPr>
          <a:xfrm>
            <a:off x="4569400" y="2001618"/>
            <a:ext cx="5349411" cy="4203065"/>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a:ln>
                <a:noFill/>
              </a:ln>
              <a:solidFill>
                <a:prstClr val="black"/>
              </a:solidFill>
              <a:effectLst/>
              <a:uLnTx/>
              <a:uFillTx/>
              <a:latin typeface="Helvetica"/>
              <a:ea typeface="+mn-ea"/>
              <a:cs typeface="+mn-cs"/>
            </a:endParaRPr>
          </a:p>
        </p:txBody>
      </p:sp>
      <p:sp>
        <p:nvSpPr>
          <p:cNvPr id="228" name="Rektangel 2">
            <a:extLst>
              <a:ext uri="{FF2B5EF4-FFF2-40B4-BE49-F238E27FC236}">
                <a16:creationId xmlns:a16="http://schemas.microsoft.com/office/drawing/2014/main" id="{34977C40-96DE-5776-40B1-B6565CA67132}"/>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Helvetica" pitchFamily="2" charset="0"/>
              <a:ea typeface="+mn-ea"/>
              <a:cs typeface="+mn-cs"/>
            </a:endParaRPr>
          </a:p>
        </p:txBody>
      </p:sp>
      <p:pic>
        <p:nvPicPr>
          <p:cNvPr id="229" name="Bilde 3">
            <a:extLst>
              <a:ext uri="{FF2B5EF4-FFF2-40B4-BE49-F238E27FC236}">
                <a16:creationId xmlns:a16="http://schemas.microsoft.com/office/drawing/2014/main" id="{94DEF1C7-BC18-A478-B366-ED93379BE56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775159" y="6548217"/>
            <a:ext cx="1129876" cy="197539"/>
          </a:xfrm>
          <a:prstGeom prst="rect">
            <a:avLst/>
          </a:prstGeom>
        </p:spPr>
      </p:pic>
      <p:sp>
        <p:nvSpPr>
          <p:cNvPr id="12" name="Text Placeholder 6">
            <a:extLst>
              <a:ext uri="{FF2B5EF4-FFF2-40B4-BE49-F238E27FC236}">
                <a16:creationId xmlns:a16="http://schemas.microsoft.com/office/drawing/2014/main" id="{D13DD6C9-81E5-9783-65E5-F22EEDD7A39A}"/>
              </a:ext>
            </a:extLst>
          </p:cNvPr>
          <p:cNvSpPr txBox="1">
            <a:spLocks/>
          </p:cNvSpPr>
          <p:nvPr/>
        </p:nvSpPr>
        <p:spPr>
          <a:xfrm>
            <a:off x="5045384" y="2374806"/>
            <a:ext cx="7146616" cy="4211437"/>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90000"/>
              </a:lnSpc>
              <a:spcBef>
                <a:spcPts val="1000"/>
              </a:spcBef>
              <a:spcAft>
                <a:spcPts val="600"/>
              </a:spcAft>
              <a:buClrTx/>
              <a:buSzTx/>
              <a:tabLst/>
              <a:defRPr/>
            </a:pPr>
            <a:endParaRPr lang="en-GB" sz="2000">
              <a:solidFill>
                <a:srgbClr val="1E1E50"/>
              </a:solidFill>
              <a:latin typeface="Helvetica Light" panose="020B0403020202020204" pitchFamily="34" charset="0"/>
              <a:sym typeface="Wingdings" pitchFamily="2" charset="2"/>
            </a:endParaRPr>
          </a:p>
        </p:txBody>
      </p:sp>
      <p:grpSp>
        <p:nvGrpSpPr>
          <p:cNvPr id="113" name="Group 112">
            <a:extLst>
              <a:ext uri="{FF2B5EF4-FFF2-40B4-BE49-F238E27FC236}">
                <a16:creationId xmlns:a16="http://schemas.microsoft.com/office/drawing/2014/main" id="{DC4686D0-9C78-3631-48BC-B448C9ACD427}"/>
              </a:ext>
            </a:extLst>
          </p:cNvPr>
          <p:cNvGrpSpPr/>
          <p:nvPr/>
        </p:nvGrpSpPr>
        <p:grpSpPr>
          <a:xfrm>
            <a:off x="5258671" y="1532043"/>
            <a:ext cx="6006597" cy="4412600"/>
            <a:chOff x="5040808" y="1329376"/>
            <a:chExt cx="6006597" cy="4412600"/>
          </a:xfrm>
        </p:grpSpPr>
        <p:sp>
          <p:nvSpPr>
            <p:cNvPr id="106" name="Rectangle 105">
              <a:extLst>
                <a:ext uri="{FF2B5EF4-FFF2-40B4-BE49-F238E27FC236}">
                  <a16:creationId xmlns:a16="http://schemas.microsoft.com/office/drawing/2014/main" id="{F2888F1B-4886-41FD-338F-01CE6869664D}"/>
                </a:ext>
              </a:extLst>
            </p:cNvPr>
            <p:cNvSpPr/>
            <p:nvPr/>
          </p:nvSpPr>
          <p:spPr>
            <a:xfrm>
              <a:off x="5040808" y="1329376"/>
              <a:ext cx="6006597" cy="3956444"/>
            </a:xfrm>
            <a:prstGeom prst="rect">
              <a:avLst/>
            </a:prstGeom>
            <a:solidFill>
              <a:schemeClr val="accent4">
                <a:lumMod val="20000"/>
                <a:lumOff val="80000"/>
                <a:alpha val="4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02E9D3F0-058A-BD6C-39AE-A790EC6442EB}"/>
                </a:ext>
              </a:extLst>
            </p:cNvPr>
            <p:cNvSpPr txBox="1">
              <a:spLocks/>
            </p:cNvSpPr>
            <p:nvPr/>
          </p:nvSpPr>
          <p:spPr>
            <a:xfrm>
              <a:off x="5192820" y="1452915"/>
              <a:ext cx="5702572" cy="4289061"/>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90000"/>
                </a:lnSpc>
                <a:spcBef>
                  <a:spcPts val="0"/>
                </a:spcBef>
                <a:spcAft>
                  <a:spcPts val="1200"/>
                </a:spcAft>
                <a:buClrTx/>
                <a:buSzTx/>
                <a:tabLst/>
                <a:defRPr/>
              </a:pPr>
              <a:r>
                <a:rPr lang="en-GB" sz="1800">
                  <a:latin typeface="Helvetica Light" panose="020B0403020202020204" pitchFamily="34" charset="0"/>
                </a:rPr>
                <a:t>Transformational actions in our traditional markets:</a:t>
              </a:r>
            </a:p>
            <a:p>
              <a:pPr marR="0" lvl="0" algn="l" defTabSz="914400" rtl="0" eaLnBrk="1" fontAlgn="auto" latinLnBrk="0" hangingPunct="1">
                <a:lnSpc>
                  <a:spcPct val="90000"/>
                </a:lnSpc>
                <a:spcBef>
                  <a:spcPts val="0"/>
                </a:spcBef>
                <a:spcAft>
                  <a:spcPts val="1200"/>
                </a:spcAft>
                <a:buClrTx/>
                <a:buSzTx/>
                <a:tabLst/>
                <a:defRPr/>
              </a:pPr>
              <a:r>
                <a:rPr lang="en-US" sz="1800">
                  <a:solidFill>
                    <a:srgbClr val="1E1E50"/>
                  </a:solidFill>
                  <a:latin typeface="Helvetica Light" panose="020B0403020202020204" pitchFamily="34" charset="0"/>
                </a:rPr>
                <a:t>Immediate cost reduction, </a:t>
              </a:r>
              <a:r>
                <a:rPr lang="en-US" sz="1800" err="1">
                  <a:solidFill>
                    <a:srgbClr val="1E1E50"/>
                  </a:solidFill>
                  <a:latin typeface="Helvetica Light" panose="020B0403020202020204" pitchFamily="34" charset="0"/>
                </a:rPr>
                <a:t>reorganisation</a:t>
              </a:r>
              <a:r>
                <a:rPr lang="en-US" sz="1800">
                  <a:solidFill>
                    <a:srgbClr val="1E1E50"/>
                  </a:solidFill>
                  <a:latin typeface="Helvetica Light" panose="020B0403020202020204" pitchFamily="34" charset="0"/>
                </a:rPr>
                <a:t> and commercial actions taken following signs of challenges:</a:t>
              </a:r>
            </a:p>
            <a:p>
              <a:pPr marL="285750" marR="0" lvl="0" indent="-285750" algn="l" defTabSz="914400" eaLnBrk="1" fontAlgn="auto" latinLnBrk="0" hangingPunct="1">
                <a:lnSpc>
                  <a:spcPct val="90000"/>
                </a:lnSpc>
                <a:spcBef>
                  <a:spcPts val="1000"/>
                </a:spcBef>
                <a:spcAft>
                  <a:spcPts val="600"/>
                </a:spcAft>
                <a:buClrTx/>
                <a:buSzTx/>
                <a:buFont typeface="Arial" panose="020B0604020202020204" pitchFamily="34" charset="0"/>
                <a:buChar char="•"/>
                <a:tabLst/>
                <a:defRPr/>
              </a:pPr>
              <a:r>
                <a:rPr lang="en-US" sz="1800">
                  <a:solidFill>
                    <a:srgbClr val="1E1E50"/>
                  </a:solidFill>
                  <a:latin typeface="Helvetica Light" panose="020B0403020202020204" pitchFamily="34" charset="0"/>
                </a:rPr>
                <a:t>25 MNOK gross cost reduction announced in Q4 2023 with full effect from January 1, 2024</a:t>
              </a:r>
            </a:p>
            <a:p>
              <a:pPr marL="285750" marR="0" lvl="0" indent="-285750" algn="l" defTabSz="914400" eaLnBrk="1" fontAlgn="auto" latinLnBrk="0" hangingPunct="1">
                <a:lnSpc>
                  <a:spcPct val="90000"/>
                </a:lnSpc>
                <a:spcBef>
                  <a:spcPts val="1000"/>
                </a:spcBef>
                <a:spcAft>
                  <a:spcPts val="600"/>
                </a:spcAft>
                <a:buClrTx/>
                <a:buSzTx/>
                <a:buFont typeface="Arial" panose="020B0604020202020204" pitchFamily="34" charset="0"/>
                <a:buChar char="•"/>
                <a:tabLst/>
                <a:defRPr/>
              </a:pPr>
              <a:r>
                <a:rPr lang="en-US" sz="1800">
                  <a:solidFill>
                    <a:srgbClr val="1E1E50"/>
                  </a:solidFill>
                  <a:latin typeface="Helvetica Light" panose="020B0403020202020204" pitchFamily="34" charset="0"/>
                </a:rPr>
                <a:t>Additionally, 20 MNOK gross cost reduction following Q1 2024 with full effect from July 1, 2024</a:t>
              </a:r>
            </a:p>
            <a:p>
              <a:pPr marL="285750" marR="0" lvl="0" indent="-285750" algn="l" defTabSz="914400" eaLnBrk="1" fontAlgn="auto" latinLnBrk="0" hangingPunct="1">
                <a:lnSpc>
                  <a:spcPct val="90000"/>
                </a:lnSpc>
                <a:spcBef>
                  <a:spcPts val="1000"/>
                </a:spcBef>
                <a:spcAft>
                  <a:spcPts val="600"/>
                </a:spcAft>
                <a:buClrTx/>
                <a:buSzTx/>
                <a:buFont typeface="Arial" panose="020B0604020202020204" pitchFamily="34" charset="0"/>
                <a:buChar char="•"/>
                <a:tabLst/>
                <a:defRPr/>
              </a:pPr>
              <a:r>
                <a:rPr lang="en-US" sz="1800">
                  <a:solidFill>
                    <a:srgbClr val="1E1E50"/>
                  </a:solidFill>
                  <a:latin typeface="Helvetica Light" panose="020B0403020202020204" pitchFamily="34" charset="0"/>
                </a:rPr>
                <a:t>Reorganization of Norway and Sweden with teams under one MD &amp; SVP, Magnus </a:t>
              </a:r>
              <a:r>
                <a:rPr lang="en-US" sz="1800" err="1">
                  <a:solidFill>
                    <a:srgbClr val="1E1E50"/>
                  </a:solidFill>
                  <a:latin typeface="Helvetica Light" panose="020B0403020202020204" pitchFamily="34" charset="0"/>
                </a:rPr>
                <a:t>Rosén</a:t>
              </a:r>
              <a:endParaRPr lang="en-US" sz="1800">
                <a:solidFill>
                  <a:srgbClr val="1E1E50"/>
                </a:solidFill>
                <a:latin typeface="Helvetica Light" panose="020B0403020202020204" pitchFamily="34" charset="0"/>
                <a:sym typeface="Wingdings" pitchFamily="2" charset="2"/>
              </a:endParaRPr>
            </a:p>
          </p:txBody>
        </p:sp>
      </p:grpSp>
      <p:grpSp>
        <p:nvGrpSpPr>
          <p:cNvPr id="57" name="Group 56">
            <a:extLst>
              <a:ext uri="{FF2B5EF4-FFF2-40B4-BE49-F238E27FC236}">
                <a16:creationId xmlns:a16="http://schemas.microsoft.com/office/drawing/2014/main" id="{1DE8446B-CD6A-A920-ACA8-D2A183317BD7}"/>
              </a:ext>
            </a:extLst>
          </p:cNvPr>
          <p:cNvGrpSpPr/>
          <p:nvPr/>
        </p:nvGrpSpPr>
        <p:grpSpPr>
          <a:xfrm>
            <a:off x="709232" y="1407884"/>
            <a:ext cx="3626920" cy="4204762"/>
            <a:chOff x="2026002" y="1329376"/>
            <a:chExt cx="2121913" cy="2459977"/>
          </a:xfrm>
        </p:grpSpPr>
        <p:sp>
          <p:nvSpPr>
            <p:cNvPr id="58" name="Freeform 62">
              <a:extLst>
                <a:ext uri="{FF2B5EF4-FFF2-40B4-BE49-F238E27FC236}">
                  <a16:creationId xmlns:a16="http://schemas.microsoft.com/office/drawing/2014/main" id="{E19AA2D0-FCD7-8638-20A8-7F1A4D91E7F7}"/>
                </a:ext>
              </a:extLst>
            </p:cNvPr>
            <p:cNvSpPr/>
            <p:nvPr/>
          </p:nvSpPr>
          <p:spPr>
            <a:xfrm>
              <a:off x="3288666" y="3263469"/>
              <a:ext cx="590416" cy="312541"/>
            </a:xfrm>
            <a:custGeom>
              <a:avLst/>
              <a:gdLst>
                <a:gd name="connsiteX0" fmla="*/ 51345 w 156619"/>
                <a:gd name="connsiteY0" fmla="*/ 57834 h 82908"/>
                <a:gd name="connsiteX1" fmla="*/ 78663 w 156619"/>
                <a:gd name="connsiteY1" fmla="*/ 57834 h 82908"/>
                <a:gd name="connsiteX2" fmla="*/ 91346 w 156619"/>
                <a:gd name="connsiteY2" fmla="*/ 63220 h 82908"/>
                <a:gd name="connsiteX3" fmla="*/ 111834 w 156619"/>
                <a:gd name="connsiteY3" fmla="*/ 75107 h 82908"/>
                <a:gd name="connsiteX4" fmla="*/ 122751 w 156619"/>
                <a:gd name="connsiteY4" fmla="*/ 82908 h 82908"/>
                <a:gd name="connsiteX5" fmla="*/ 126932 w 156619"/>
                <a:gd name="connsiteY5" fmla="*/ 77754 h 82908"/>
                <a:gd name="connsiteX6" fmla="*/ 141613 w 156619"/>
                <a:gd name="connsiteY6" fmla="*/ 75618 h 82908"/>
                <a:gd name="connsiteX7" fmla="*/ 149929 w 156619"/>
                <a:gd name="connsiteY7" fmla="*/ 67121 h 82908"/>
                <a:gd name="connsiteX8" fmla="*/ 156619 w 156619"/>
                <a:gd name="connsiteY8" fmla="*/ 64149 h 82908"/>
                <a:gd name="connsiteX9" fmla="*/ 151973 w 156619"/>
                <a:gd name="connsiteY9" fmla="*/ 49475 h 82908"/>
                <a:gd name="connsiteX10" fmla="*/ 145283 w 156619"/>
                <a:gd name="connsiteY10" fmla="*/ 35684 h 82908"/>
                <a:gd name="connsiteX11" fmla="*/ 142867 w 156619"/>
                <a:gd name="connsiteY11" fmla="*/ 22450 h 82908"/>
                <a:gd name="connsiteX12" fmla="*/ 139244 w 156619"/>
                <a:gd name="connsiteY12" fmla="*/ 16368 h 82908"/>
                <a:gd name="connsiteX13" fmla="*/ 118663 w 156619"/>
                <a:gd name="connsiteY13" fmla="*/ 14882 h 82908"/>
                <a:gd name="connsiteX14" fmla="*/ 96967 w 156619"/>
                <a:gd name="connsiteY14" fmla="*/ 765 h 82908"/>
                <a:gd name="connsiteX15" fmla="*/ 73738 w 156619"/>
                <a:gd name="connsiteY15" fmla="*/ 1137 h 82908"/>
                <a:gd name="connsiteX16" fmla="*/ 71787 w 156619"/>
                <a:gd name="connsiteY16" fmla="*/ 24772 h 82908"/>
                <a:gd name="connsiteX17" fmla="*/ 54272 w 156619"/>
                <a:gd name="connsiteY17" fmla="*/ 33966 h 82908"/>
                <a:gd name="connsiteX18" fmla="*/ 35132 w 156619"/>
                <a:gd name="connsiteY18" fmla="*/ 9217 h 82908"/>
                <a:gd name="connsiteX19" fmla="*/ 14365 w 156619"/>
                <a:gd name="connsiteY19" fmla="*/ 19804 h 82908"/>
                <a:gd name="connsiteX20" fmla="*/ 5770 w 156619"/>
                <a:gd name="connsiteY20" fmla="*/ 38888 h 82908"/>
                <a:gd name="connsiteX21" fmla="*/ 2565 w 156619"/>
                <a:gd name="connsiteY21" fmla="*/ 61502 h 82908"/>
                <a:gd name="connsiteX22" fmla="*/ 3122 w 156619"/>
                <a:gd name="connsiteY22" fmla="*/ 62756 h 82908"/>
                <a:gd name="connsiteX23" fmla="*/ 20219 w 156619"/>
                <a:gd name="connsiteY23" fmla="*/ 57834 h 82908"/>
                <a:gd name="connsiteX24" fmla="*/ 51392 w 156619"/>
                <a:gd name="connsiteY24" fmla="*/ 57834 h 8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6619" h="82908">
                  <a:moveTo>
                    <a:pt x="51345" y="57834"/>
                  </a:moveTo>
                  <a:cubicBezTo>
                    <a:pt x="57199" y="57834"/>
                    <a:pt x="70858" y="61084"/>
                    <a:pt x="78663" y="57834"/>
                  </a:cubicBezTo>
                  <a:cubicBezTo>
                    <a:pt x="86468" y="54583"/>
                    <a:pt x="86468" y="64335"/>
                    <a:pt x="91346" y="63220"/>
                  </a:cubicBezTo>
                  <a:cubicBezTo>
                    <a:pt x="96224" y="62152"/>
                    <a:pt x="105980" y="69721"/>
                    <a:pt x="111834" y="75107"/>
                  </a:cubicBezTo>
                  <a:cubicBezTo>
                    <a:pt x="114946" y="77986"/>
                    <a:pt x="118663" y="80262"/>
                    <a:pt x="122751" y="82908"/>
                  </a:cubicBezTo>
                  <a:cubicBezTo>
                    <a:pt x="123680" y="81144"/>
                    <a:pt x="124935" y="79426"/>
                    <a:pt x="126932" y="77754"/>
                  </a:cubicBezTo>
                  <a:cubicBezTo>
                    <a:pt x="132043" y="73529"/>
                    <a:pt x="137153" y="75618"/>
                    <a:pt x="141613" y="75618"/>
                  </a:cubicBezTo>
                  <a:cubicBezTo>
                    <a:pt x="146073" y="75618"/>
                    <a:pt x="146724" y="69953"/>
                    <a:pt x="149929" y="67121"/>
                  </a:cubicBezTo>
                  <a:cubicBezTo>
                    <a:pt x="151741" y="65542"/>
                    <a:pt x="154528" y="64613"/>
                    <a:pt x="156619" y="64149"/>
                  </a:cubicBezTo>
                  <a:cubicBezTo>
                    <a:pt x="154900" y="60248"/>
                    <a:pt x="154807" y="52633"/>
                    <a:pt x="151973" y="49475"/>
                  </a:cubicBezTo>
                  <a:cubicBezTo>
                    <a:pt x="148628" y="45761"/>
                    <a:pt x="143843" y="39399"/>
                    <a:pt x="145283" y="35684"/>
                  </a:cubicBezTo>
                  <a:cubicBezTo>
                    <a:pt x="146724" y="31970"/>
                    <a:pt x="146724" y="26676"/>
                    <a:pt x="142867" y="22450"/>
                  </a:cubicBezTo>
                  <a:cubicBezTo>
                    <a:pt x="141195" y="20593"/>
                    <a:pt x="139894" y="18411"/>
                    <a:pt x="139244" y="16368"/>
                  </a:cubicBezTo>
                  <a:cubicBezTo>
                    <a:pt x="131485" y="15253"/>
                    <a:pt x="120986" y="13999"/>
                    <a:pt x="118663" y="14882"/>
                  </a:cubicBezTo>
                  <a:cubicBezTo>
                    <a:pt x="114854" y="16321"/>
                    <a:pt x="99522" y="2855"/>
                    <a:pt x="96967" y="765"/>
                  </a:cubicBezTo>
                  <a:cubicBezTo>
                    <a:pt x="95295" y="-628"/>
                    <a:pt x="83959" y="115"/>
                    <a:pt x="73738" y="1137"/>
                  </a:cubicBezTo>
                  <a:cubicBezTo>
                    <a:pt x="67838" y="8334"/>
                    <a:pt x="72112" y="13674"/>
                    <a:pt x="71787" y="24772"/>
                  </a:cubicBezTo>
                  <a:cubicBezTo>
                    <a:pt x="71462" y="36102"/>
                    <a:pt x="60312" y="33966"/>
                    <a:pt x="54272" y="33966"/>
                  </a:cubicBezTo>
                  <a:cubicBezTo>
                    <a:pt x="48233" y="33966"/>
                    <a:pt x="38337" y="13814"/>
                    <a:pt x="35132" y="9217"/>
                  </a:cubicBezTo>
                  <a:cubicBezTo>
                    <a:pt x="31926" y="4620"/>
                    <a:pt x="21705" y="14882"/>
                    <a:pt x="14365" y="19804"/>
                  </a:cubicBezTo>
                  <a:cubicBezTo>
                    <a:pt x="7025" y="24772"/>
                    <a:pt x="10834" y="34291"/>
                    <a:pt x="5770" y="38888"/>
                  </a:cubicBezTo>
                  <a:cubicBezTo>
                    <a:pt x="660" y="43485"/>
                    <a:pt x="-2499" y="51240"/>
                    <a:pt x="2565" y="61502"/>
                  </a:cubicBezTo>
                  <a:cubicBezTo>
                    <a:pt x="2751" y="61920"/>
                    <a:pt x="2890" y="62338"/>
                    <a:pt x="3122" y="62756"/>
                  </a:cubicBezTo>
                  <a:cubicBezTo>
                    <a:pt x="9487" y="62199"/>
                    <a:pt x="16270" y="60898"/>
                    <a:pt x="20219" y="57834"/>
                  </a:cubicBezTo>
                  <a:cubicBezTo>
                    <a:pt x="27048" y="52447"/>
                    <a:pt x="45585" y="57834"/>
                    <a:pt x="51392" y="57834"/>
                  </a:cubicBezTo>
                  <a:close/>
                </a:path>
              </a:pathLst>
            </a:custGeom>
            <a:solidFill>
              <a:schemeClr val="accent1">
                <a:lumMod val="75000"/>
              </a:schemeClr>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59" name="Freeform 63">
              <a:extLst>
                <a:ext uri="{FF2B5EF4-FFF2-40B4-BE49-F238E27FC236}">
                  <a16:creationId xmlns:a16="http://schemas.microsoft.com/office/drawing/2014/main" id="{D67B7720-9769-2C11-2904-91F6DB2AF308}"/>
                </a:ext>
              </a:extLst>
            </p:cNvPr>
            <p:cNvSpPr/>
            <p:nvPr/>
          </p:nvSpPr>
          <p:spPr>
            <a:xfrm>
              <a:off x="3285035" y="3472464"/>
              <a:ext cx="466194" cy="316889"/>
            </a:xfrm>
            <a:custGeom>
              <a:avLst/>
              <a:gdLst>
                <a:gd name="connsiteX0" fmla="*/ 16071 w 123667"/>
                <a:gd name="connsiteY0" fmla="*/ 41213 h 84061"/>
                <a:gd name="connsiteX1" fmla="*/ 28987 w 123667"/>
                <a:gd name="connsiteY1" fmla="*/ 46507 h 84061"/>
                <a:gd name="connsiteX2" fmla="*/ 40926 w 123667"/>
                <a:gd name="connsiteY2" fmla="*/ 54447 h 84061"/>
                <a:gd name="connsiteX3" fmla="*/ 40926 w 123667"/>
                <a:gd name="connsiteY3" fmla="*/ 71396 h 84061"/>
                <a:gd name="connsiteX4" fmla="*/ 57837 w 123667"/>
                <a:gd name="connsiteY4" fmla="*/ 82494 h 84061"/>
                <a:gd name="connsiteX5" fmla="*/ 73633 w 123667"/>
                <a:gd name="connsiteY5" fmla="*/ 83748 h 84061"/>
                <a:gd name="connsiteX6" fmla="*/ 84457 w 123667"/>
                <a:gd name="connsiteY6" fmla="*/ 78083 h 84061"/>
                <a:gd name="connsiteX7" fmla="*/ 98487 w 123667"/>
                <a:gd name="connsiteY7" fmla="*/ 73160 h 84061"/>
                <a:gd name="connsiteX8" fmla="*/ 101693 w 123667"/>
                <a:gd name="connsiteY8" fmla="*/ 61830 h 84061"/>
                <a:gd name="connsiteX9" fmla="*/ 112564 w 123667"/>
                <a:gd name="connsiteY9" fmla="*/ 50547 h 84061"/>
                <a:gd name="connsiteX10" fmla="*/ 119579 w 123667"/>
                <a:gd name="connsiteY10" fmla="*/ 44185 h 84061"/>
                <a:gd name="connsiteX11" fmla="*/ 122135 w 123667"/>
                <a:gd name="connsiteY11" fmla="*/ 34991 h 84061"/>
                <a:gd name="connsiteX12" fmla="*/ 123668 w 123667"/>
                <a:gd name="connsiteY12" fmla="*/ 27469 h 84061"/>
                <a:gd name="connsiteX13" fmla="*/ 112750 w 123667"/>
                <a:gd name="connsiteY13" fmla="*/ 19668 h 84061"/>
                <a:gd name="connsiteX14" fmla="*/ 92262 w 123667"/>
                <a:gd name="connsiteY14" fmla="*/ 7780 h 84061"/>
                <a:gd name="connsiteX15" fmla="*/ 79579 w 123667"/>
                <a:gd name="connsiteY15" fmla="*/ 2394 h 84061"/>
                <a:gd name="connsiteX16" fmla="*/ 52262 w 123667"/>
                <a:gd name="connsiteY16" fmla="*/ 2394 h 84061"/>
                <a:gd name="connsiteX17" fmla="*/ 21089 w 123667"/>
                <a:gd name="connsiteY17" fmla="*/ 2394 h 84061"/>
                <a:gd name="connsiteX18" fmla="*/ 3992 w 123667"/>
                <a:gd name="connsiteY18" fmla="*/ 7316 h 84061"/>
                <a:gd name="connsiteX19" fmla="*/ 1855 w 123667"/>
                <a:gd name="connsiteY19" fmla="*/ 33273 h 84061"/>
                <a:gd name="connsiteX20" fmla="*/ 2924 w 123667"/>
                <a:gd name="connsiteY20" fmla="*/ 39913 h 84061"/>
                <a:gd name="connsiteX21" fmla="*/ 16025 w 123667"/>
                <a:gd name="connsiteY21" fmla="*/ 41213 h 8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3667" h="84061">
                  <a:moveTo>
                    <a:pt x="16071" y="41213"/>
                  </a:moveTo>
                  <a:cubicBezTo>
                    <a:pt x="18441" y="44928"/>
                    <a:pt x="26106" y="48086"/>
                    <a:pt x="28987" y="46507"/>
                  </a:cubicBezTo>
                  <a:cubicBezTo>
                    <a:pt x="31867" y="44928"/>
                    <a:pt x="40926" y="50222"/>
                    <a:pt x="40926" y="54447"/>
                  </a:cubicBezTo>
                  <a:cubicBezTo>
                    <a:pt x="40926" y="58673"/>
                    <a:pt x="38557" y="71396"/>
                    <a:pt x="40926" y="71396"/>
                  </a:cubicBezTo>
                  <a:cubicBezTo>
                    <a:pt x="43110" y="71396"/>
                    <a:pt x="56861" y="76132"/>
                    <a:pt x="57837" y="82494"/>
                  </a:cubicBezTo>
                  <a:cubicBezTo>
                    <a:pt x="64016" y="82633"/>
                    <a:pt x="71031" y="83005"/>
                    <a:pt x="73633" y="83748"/>
                  </a:cubicBezTo>
                  <a:cubicBezTo>
                    <a:pt x="78743" y="85141"/>
                    <a:pt x="81902" y="81658"/>
                    <a:pt x="84457" y="78083"/>
                  </a:cubicBezTo>
                  <a:cubicBezTo>
                    <a:pt x="87012" y="74553"/>
                    <a:pt x="95932" y="73160"/>
                    <a:pt x="98487" y="73160"/>
                  </a:cubicBezTo>
                  <a:cubicBezTo>
                    <a:pt x="101043" y="73160"/>
                    <a:pt x="101043" y="65406"/>
                    <a:pt x="101693" y="61830"/>
                  </a:cubicBezTo>
                  <a:cubicBezTo>
                    <a:pt x="102343" y="58301"/>
                    <a:pt x="108708" y="51940"/>
                    <a:pt x="112564" y="50547"/>
                  </a:cubicBezTo>
                  <a:cubicBezTo>
                    <a:pt x="116420" y="49107"/>
                    <a:pt x="115770" y="44185"/>
                    <a:pt x="119579" y="44185"/>
                  </a:cubicBezTo>
                  <a:cubicBezTo>
                    <a:pt x="123389" y="44185"/>
                    <a:pt x="122785" y="38520"/>
                    <a:pt x="122135" y="34991"/>
                  </a:cubicBezTo>
                  <a:cubicBezTo>
                    <a:pt x="121763" y="32855"/>
                    <a:pt x="122228" y="30162"/>
                    <a:pt x="123668" y="27469"/>
                  </a:cubicBezTo>
                  <a:cubicBezTo>
                    <a:pt x="119579" y="24822"/>
                    <a:pt x="115863" y="22547"/>
                    <a:pt x="112750" y="19668"/>
                  </a:cubicBezTo>
                  <a:cubicBezTo>
                    <a:pt x="106896" y="14281"/>
                    <a:pt x="97140" y="6712"/>
                    <a:pt x="92262" y="7780"/>
                  </a:cubicBezTo>
                  <a:cubicBezTo>
                    <a:pt x="87384" y="8895"/>
                    <a:pt x="87384" y="-857"/>
                    <a:pt x="79579" y="2394"/>
                  </a:cubicBezTo>
                  <a:cubicBezTo>
                    <a:pt x="71774" y="5644"/>
                    <a:pt x="58116" y="2394"/>
                    <a:pt x="52262" y="2394"/>
                  </a:cubicBezTo>
                  <a:cubicBezTo>
                    <a:pt x="46408" y="2394"/>
                    <a:pt x="27872" y="-2992"/>
                    <a:pt x="21089" y="2394"/>
                  </a:cubicBezTo>
                  <a:cubicBezTo>
                    <a:pt x="17186" y="5459"/>
                    <a:pt x="10403" y="6759"/>
                    <a:pt x="3992" y="7316"/>
                  </a:cubicBezTo>
                  <a:cubicBezTo>
                    <a:pt x="8359" y="17160"/>
                    <a:pt x="6780" y="27144"/>
                    <a:pt x="1855" y="33273"/>
                  </a:cubicBezTo>
                  <a:cubicBezTo>
                    <a:pt x="-1629" y="37638"/>
                    <a:pt x="415" y="38195"/>
                    <a:pt x="2924" y="39913"/>
                  </a:cubicBezTo>
                  <a:cubicBezTo>
                    <a:pt x="8173" y="39356"/>
                    <a:pt x="14120" y="38242"/>
                    <a:pt x="16025" y="41213"/>
                  </a:cubicBezTo>
                  <a:close/>
                </a:path>
              </a:pathLst>
            </a:custGeom>
            <a:solidFill>
              <a:schemeClr val="accent1">
                <a:lumMod val="75000"/>
              </a:schemeClr>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0" name="Freeform 69">
              <a:extLst>
                <a:ext uri="{FF2B5EF4-FFF2-40B4-BE49-F238E27FC236}">
                  <a16:creationId xmlns:a16="http://schemas.microsoft.com/office/drawing/2014/main" id="{D6C709C5-AB35-FCCF-9FD5-BB39B65C03EF}"/>
                </a:ext>
              </a:extLst>
            </p:cNvPr>
            <p:cNvSpPr/>
            <p:nvPr/>
          </p:nvSpPr>
          <p:spPr>
            <a:xfrm>
              <a:off x="3296581" y="1505788"/>
              <a:ext cx="851334" cy="1494127"/>
            </a:xfrm>
            <a:custGeom>
              <a:avLst/>
              <a:gdLst>
                <a:gd name="connsiteX0" fmla="*/ 218538 w 225833"/>
                <a:gd name="connsiteY0" fmla="*/ 279847 h 396346"/>
                <a:gd name="connsiteX1" fmla="*/ 191128 w 225833"/>
                <a:gd name="connsiteY1" fmla="*/ 256537 h 396346"/>
                <a:gd name="connsiteX2" fmla="*/ 204508 w 225833"/>
                <a:gd name="connsiteY2" fmla="*/ 243117 h 396346"/>
                <a:gd name="connsiteX3" fmla="*/ 193032 w 225833"/>
                <a:gd name="connsiteY3" fmla="*/ 230394 h 396346"/>
                <a:gd name="connsiteX4" fmla="*/ 196238 w 225833"/>
                <a:gd name="connsiteY4" fmla="*/ 218367 h 396346"/>
                <a:gd name="connsiteX5" fmla="*/ 185413 w 225833"/>
                <a:gd name="connsiteY5" fmla="*/ 210566 h 396346"/>
                <a:gd name="connsiteX6" fmla="*/ 190524 w 225833"/>
                <a:gd name="connsiteY6" fmla="*/ 203508 h 396346"/>
                <a:gd name="connsiteX7" fmla="*/ 187365 w 225833"/>
                <a:gd name="connsiteY7" fmla="*/ 185120 h 396346"/>
                <a:gd name="connsiteX8" fmla="*/ 194380 w 225833"/>
                <a:gd name="connsiteY8" fmla="*/ 171004 h 396346"/>
                <a:gd name="connsiteX9" fmla="*/ 173985 w 225833"/>
                <a:gd name="connsiteY9" fmla="*/ 134970 h 396346"/>
                <a:gd name="connsiteX10" fmla="*/ 180396 w 225833"/>
                <a:gd name="connsiteY10" fmla="*/ 120854 h 396346"/>
                <a:gd name="connsiteX11" fmla="*/ 193776 w 225833"/>
                <a:gd name="connsiteY11" fmla="*/ 103163 h 396346"/>
                <a:gd name="connsiteX12" fmla="*/ 178491 w 225833"/>
                <a:gd name="connsiteY12" fmla="*/ 85517 h 396346"/>
                <a:gd name="connsiteX13" fmla="*/ 165111 w 225833"/>
                <a:gd name="connsiteY13" fmla="*/ 77020 h 396346"/>
                <a:gd name="connsiteX14" fmla="*/ 161906 w 225833"/>
                <a:gd name="connsiteY14" fmla="*/ 63600 h 396346"/>
                <a:gd name="connsiteX15" fmla="*/ 165111 w 225833"/>
                <a:gd name="connsiteY15" fmla="*/ 50877 h 396346"/>
                <a:gd name="connsiteX16" fmla="*/ 173381 w 225833"/>
                <a:gd name="connsiteY16" fmla="*/ 43819 h 396346"/>
                <a:gd name="connsiteX17" fmla="*/ 178166 w 225833"/>
                <a:gd name="connsiteY17" fmla="*/ 35136 h 396346"/>
                <a:gd name="connsiteX18" fmla="*/ 178166 w 225833"/>
                <a:gd name="connsiteY18" fmla="*/ 21809 h 396346"/>
                <a:gd name="connsiteX19" fmla="*/ 155634 w 225833"/>
                <a:gd name="connsiteY19" fmla="*/ 4767 h 396346"/>
                <a:gd name="connsiteX20" fmla="*/ 138212 w 225833"/>
                <a:gd name="connsiteY20" fmla="*/ 4767 h 396346"/>
                <a:gd name="connsiteX21" fmla="*/ 116702 w 225833"/>
                <a:gd name="connsiteY21" fmla="*/ 10432 h 396346"/>
                <a:gd name="connsiteX22" fmla="*/ 103415 w 225833"/>
                <a:gd name="connsiteY22" fmla="*/ 26313 h 396346"/>
                <a:gd name="connsiteX23" fmla="*/ 99327 w 225833"/>
                <a:gd name="connsiteY23" fmla="*/ 46744 h 396346"/>
                <a:gd name="connsiteX24" fmla="*/ 90128 w 225833"/>
                <a:gd name="connsiteY24" fmla="*/ 60350 h 396346"/>
                <a:gd name="connsiteX25" fmla="*/ 77817 w 225833"/>
                <a:gd name="connsiteY25" fmla="*/ 56960 h 396346"/>
                <a:gd name="connsiteX26" fmla="*/ 61417 w 225833"/>
                <a:gd name="connsiteY26" fmla="*/ 55846 h 396346"/>
                <a:gd name="connsiteX27" fmla="*/ 37863 w 225833"/>
                <a:gd name="connsiteY27" fmla="*/ 54731 h 396346"/>
                <a:gd name="connsiteX28" fmla="*/ 14309 w 225833"/>
                <a:gd name="connsiteY28" fmla="*/ 35461 h 396346"/>
                <a:gd name="connsiteX29" fmla="*/ 0 w 225833"/>
                <a:gd name="connsiteY29" fmla="*/ 47116 h 396346"/>
                <a:gd name="connsiteX30" fmla="*/ 23508 w 225833"/>
                <a:gd name="connsiteY30" fmla="*/ 66108 h 396346"/>
                <a:gd name="connsiteX31" fmla="*/ 54263 w 225833"/>
                <a:gd name="connsiteY31" fmla="*/ 86539 h 396346"/>
                <a:gd name="connsiteX32" fmla="*/ 55285 w 225833"/>
                <a:gd name="connsiteY32" fmla="*/ 109246 h 396346"/>
                <a:gd name="connsiteX33" fmla="*/ 60395 w 225833"/>
                <a:gd name="connsiteY33" fmla="*/ 130791 h 396346"/>
                <a:gd name="connsiteX34" fmla="*/ 59373 w 225833"/>
                <a:gd name="connsiteY34" fmla="*/ 151223 h 396346"/>
                <a:gd name="connsiteX35" fmla="*/ 63508 w 225833"/>
                <a:gd name="connsiteY35" fmla="*/ 163667 h 396346"/>
                <a:gd name="connsiteX36" fmla="*/ 66528 w 225833"/>
                <a:gd name="connsiteY36" fmla="*/ 175461 h 396346"/>
                <a:gd name="connsiteX37" fmla="*/ 83903 w 225833"/>
                <a:gd name="connsiteY37" fmla="*/ 183355 h 396346"/>
                <a:gd name="connsiteX38" fmla="*/ 91569 w 225833"/>
                <a:gd name="connsiteY38" fmla="*/ 201697 h 396346"/>
                <a:gd name="connsiteX39" fmla="*/ 87759 w 225833"/>
                <a:gd name="connsiteY39" fmla="*/ 210148 h 396346"/>
                <a:gd name="connsiteX40" fmla="*/ 75958 w 225833"/>
                <a:gd name="connsiteY40" fmla="*/ 220735 h 396346"/>
                <a:gd name="connsiteX41" fmla="*/ 53938 w 225833"/>
                <a:gd name="connsiteY41" fmla="*/ 244742 h 396346"/>
                <a:gd name="connsiteX42" fmla="*/ 41162 w 225833"/>
                <a:gd name="connsiteY42" fmla="*/ 255701 h 396346"/>
                <a:gd name="connsiteX43" fmla="*/ 31870 w 225833"/>
                <a:gd name="connsiteY43" fmla="*/ 261505 h 396346"/>
                <a:gd name="connsiteX44" fmla="*/ 29965 w 225833"/>
                <a:gd name="connsiteY44" fmla="*/ 265823 h 396346"/>
                <a:gd name="connsiteX45" fmla="*/ 29733 w 225833"/>
                <a:gd name="connsiteY45" fmla="*/ 268749 h 396346"/>
                <a:gd name="connsiteX46" fmla="*/ 15563 w 225833"/>
                <a:gd name="connsiteY46" fmla="*/ 276875 h 396346"/>
                <a:gd name="connsiteX47" fmla="*/ 12729 w 225833"/>
                <a:gd name="connsiteY47" fmla="*/ 277479 h 396346"/>
                <a:gd name="connsiteX48" fmla="*/ 5203 w 225833"/>
                <a:gd name="connsiteY48" fmla="*/ 292059 h 396346"/>
                <a:gd name="connsiteX49" fmla="*/ 5854 w 225833"/>
                <a:gd name="connsiteY49" fmla="*/ 305850 h 396346"/>
                <a:gd name="connsiteX50" fmla="*/ 8084 w 225833"/>
                <a:gd name="connsiteY50" fmla="*/ 322474 h 396346"/>
                <a:gd name="connsiteX51" fmla="*/ 11940 w 225833"/>
                <a:gd name="connsiteY51" fmla="*/ 349313 h 396346"/>
                <a:gd name="connsiteX52" fmla="*/ 6179 w 225833"/>
                <a:gd name="connsiteY52" fmla="*/ 374063 h 396346"/>
                <a:gd name="connsiteX53" fmla="*/ 26295 w 225833"/>
                <a:gd name="connsiteY53" fmla="*/ 382885 h 396346"/>
                <a:gd name="connsiteX54" fmla="*/ 39350 w 225833"/>
                <a:gd name="connsiteY54" fmla="*/ 390640 h 396346"/>
                <a:gd name="connsiteX55" fmla="*/ 62950 w 225833"/>
                <a:gd name="connsiteY55" fmla="*/ 396305 h 396346"/>
                <a:gd name="connsiteX56" fmla="*/ 129896 w 225833"/>
                <a:gd name="connsiteY56" fmla="*/ 379356 h 396346"/>
                <a:gd name="connsiteX57" fmla="*/ 149223 w 225833"/>
                <a:gd name="connsiteY57" fmla="*/ 376942 h 396346"/>
                <a:gd name="connsiteX58" fmla="*/ 159536 w 225833"/>
                <a:gd name="connsiteY58" fmla="*/ 362408 h 396346"/>
                <a:gd name="connsiteX59" fmla="*/ 192707 w 225833"/>
                <a:gd name="connsiteY59" fmla="*/ 332736 h 396346"/>
                <a:gd name="connsiteX60" fmla="*/ 224624 w 225833"/>
                <a:gd name="connsiteY60" fmla="*/ 298839 h 396346"/>
                <a:gd name="connsiteX61" fmla="*/ 218863 w 225833"/>
                <a:gd name="connsiteY61" fmla="*/ 279754 h 39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25833" h="396346">
                  <a:moveTo>
                    <a:pt x="218538" y="279847"/>
                  </a:moveTo>
                  <a:cubicBezTo>
                    <a:pt x="210222" y="269260"/>
                    <a:pt x="191778" y="262202"/>
                    <a:pt x="191128" y="256537"/>
                  </a:cubicBezTo>
                  <a:cubicBezTo>
                    <a:pt x="190477" y="250871"/>
                    <a:pt x="205158" y="250175"/>
                    <a:pt x="204508" y="243117"/>
                  </a:cubicBezTo>
                  <a:cubicBezTo>
                    <a:pt x="203857" y="236059"/>
                    <a:pt x="196238" y="236059"/>
                    <a:pt x="193032" y="230394"/>
                  </a:cubicBezTo>
                  <a:cubicBezTo>
                    <a:pt x="189827" y="224729"/>
                    <a:pt x="196888" y="221200"/>
                    <a:pt x="196238" y="218367"/>
                  </a:cubicBezTo>
                  <a:cubicBezTo>
                    <a:pt x="195587" y="215535"/>
                    <a:pt x="186017" y="214142"/>
                    <a:pt x="185413" y="210566"/>
                  </a:cubicBezTo>
                  <a:cubicBezTo>
                    <a:pt x="184763" y="207037"/>
                    <a:pt x="191824" y="207780"/>
                    <a:pt x="190524" y="203508"/>
                  </a:cubicBezTo>
                  <a:cubicBezTo>
                    <a:pt x="189269" y="199282"/>
                    <a:pt x="182905" y="191481"/>
                    <a:pt x="187365" y="185120"/>
                  </a:cubicBezTo>
                  <a:cubicBezTo>
                    <a:pt x="191824" y="178758"/>
                    <a:pt x="201395" y="185120"/>
                    <a:pt x="194380" y="171004"/>
                  </a:cubicBezTo>
                  <a:cubicBezTo>
                    <a:pt x="187365" y="156888"/>
                    <a:pt x="176540" y="139242"/>
                    <a:pt x="173985" y="134970"/>
                  </a:cubicBezTo>
                  <a:cubicBezTo>
                    <a:pt x="171430" y="130745"/>
                    <a:pt x="176540" y="123640"/>
                    <a:pt x="180396" y="120854"/>
                  </a:cubicBezTo>
                  <a:cubicBezTo>
                    <a:pt x="184206" y="118022"/>
                    <a:pt x="193776" y="107435"/>
                    <a:pt x="193776" y="103163"/>
                  </a:cubicBezTo>
                  <a:cubicBezTo>
                    <a:pt x="193776" y="98891"/>
                    <a:pt x="181650" y="87607"/>
                    <a:pt x="178491" y="85517"/>
                  </a:cubicBezTo>
                  <a:cubicBezTo>
                    <a:pt x="175285" y="83381"/>
                    <a:pt x="168270" y="84124"/>
                    <a:pt x="165111" y="77020"/>
                  </a:cubicBezTo>
                  <a:cubicBezTo>
                    <a:pt x="161906" y="69962"/>
                    <a:pt x="158746" y="67872"/>
                    <a:pt x="161906" y="63600"/>
                  </a:cubicBezTo>
                  <a:cubicBezTo>
                    <a:pt x="165111" y="59375"/>
                    <a:pt x="165111" y="55149"/>
                    <a:pt x="165111" y="50877"/>
                  </a:cubicBezTo>
                  <a:cubicBezTo>
                    <a:pt x="165111" y="46605"/>
                    <a:pt x="172126" y="50181"/>
                    <a:pt x="173381" y="43819"/>
                  </a:cubicBezTo>
                  <a:cubicBezTo>
                    <a:pt x="173985" y="40940"/>
                    <a:pt x="175797" y="37736"/>
                    <a:pt x="178166" y="35136"/>
                  </a:cubicBezTo>
                  <a:cubicBezTo>
                    <a:pt x="178166" y="30306"/>
                    <a:pt x="178677" y="25106"/>
                    <a:pt x="178166" y="21809"/>
                  </a:cubicBezTo>
                  <a:cubicBezTo>
                    <a:pt x="177144" y="14983"/>
                    <a:pt x="159722" y="12708"/>
                    <a:pt x="155634" y="4767"/>
                  </a:cubicBezTo>
                  <a:cubicBezTo>
                    <a:pt x="151499" y="-3173"/>
                    <a:pt x="141278" y="217"/>
                    <a:pt x="138212" y="4767"/>
                  </a:cubicBezTo>
                  <a:cubicBezTo>
                    <a:pt x="135146" y="9318"/>
                    <a:pt x="116702" y="3653"/>
                    <a:pt x="116702" y="10432"/>
                  </a:cubicBezTo>
                  <a:cubicBezTo>
                    <a:pt x="116702" y="17212"/>
                    <a:pt x="103415" y="18373"/>
                    <a:pt x="103415" y="26313"/>
                  </a:cubicBezTo>
                  <a:cubicBezTo>
                    <a:pt x="103415" y="34253"/>
                    <a:pt x="109548" y="47859"/>
                    <a:pt x="99327" y="46744"/>
                  </a:cubicBezTo>
                  <a:cubicBezTo>
                    <a:pt x="89060" y="45630"/>
                    <a:pt x="96261" y="51295"/>
                    <a:pt x="90128" y="60350"/>
                  </a:cubicBezTo>
                  <a:cubicBezTo>
                    <a:pt x="83949" y="69451"/>
                    <a:pt x="83949" y="54685"/>
                    <a:pt x="77817" y="56960"/>
                  </a:cubicBezTo>
                  <a:cubicBezTo>
                    <a:pt x="71684" y="59235"/>
                    <a:pt x="64484" y="50134"/>
                    <a:pt x="61417" y="55846"/>
                  </a:cubicBezTo>
                  <a:cubicBezTo>
                    <a:pt x="58351" y="61511"/>
                    <a:pt x="48084" y="56960"/>
                    <a:pt x="37863" y="54731"/>
                  </a:cubicBezTo>
                  <a:cubicBezTo>
                    <a:pt x="27596" y="52456"/>
                    <a:pt x="22486" y="36575"/>
                    <a:pt x="14309" y="35461"/>
                  </a:cubicBezTo>
                  <a:cubicBezTo>
                    <a:pt x="8873" y="34718"/>
                    <a:pt x="3066" y="39501"/>
                    <a:pt x="0" y="47116"/>
                  </a:cubicBezTo>
                  <a:cubicBezTo>
                    <a:pt x="7944" y="52781"/>
                    <a:pt x="13148" y="60861"/>
                    <a:pt x="23508" y="66108"/>
                  </a:cubicBezTo>
                  <a:cubicBezTo>
                    <a:pt x="34797" y="71773"/>
                    <a:pt x="55285" y="78599"/>
                    <a:pt x="54263" y="86539"/>
                  </a:cubicBezTo>
                  <a:cubicBezTo>
                    <a:pt x="53241" y="94479"/>
                    <a:pt x="50128" y="105809"/>
                    <a:pt x="55285" y="109246"/>
                  </a:cubicBezTo>
                  <a:cubicBezTo>
                    <a:pt x="60395" y="112635"/>
                    <a:pt x="54263" y="127402"/>
                    <a:pt x="60395" y="130791"/>
                  </a:cubicBezTo>
                  <a:cubicBezTo>
                    <a:pt x="66528" y="134181"/>
                    <a:pt x="64484" y="151223"/>
                    <a:pt x="59373" y="151223"/>
                  </a:cubicBezTo>
                  <a:cubicBezTo>
                    <a:pt x="54263" y="151223"/>
                    <a:pt x="60395" y="160277"/>
                    <a:pt x="63508" y="163667"/>
                  </a:cubicBezTo>
                  <a:cubicBezTo>
                    <a:pt x="64901" y="165246"/>
                    <a:pt x="66017" y="169843"/>
                    <a:pt x="66528" y="175461"/>
                  </a:cubicBezTo>
                  <a:cubicBezTo>
                    <a:pt x="72846" y="177133"/>
                    <a:pt x="78421" y="180662"/>
                    <a:pt x="83903" y="183355"/>
                  </a:cubicBezTo>
                  <a:cubicBezTo>
                    <a:pt x="92497" y="187581"/>
                    <a:pt x="91243" y="194314"/>
                    <a:pt x="91569" y="201697"/>
                  </a:cubicBezTo>
                  <a:cubicBezTo>
                    <a:pt x="91894" y="209127"/>
                    <a:pt x="92219" y="213352"/>
                    <a:pt x="87759" y="210148"/>
                  </a:cubicBezTo>
                  <a:cubicBezTo>
                    <a:pt x="83299" y="206991"/>
                    <a:pt x="78514" y="210148"/>
                    <a:pt x="75958" y="220735"/>
                  </a:cubicBezTo>
                  <a:cubicBezTo>
                    <a:pt x="73403" y="231322"/>
                    <a:pt x="61278" y="244046"/>
                    <a:pt x="53938" y="244742"/>
                  </a:cubicBezTo>
                  <a:cubicBezTo>
                    <a:pt x="46597" y="245439"/>
                    <a:pt x="47248" y="253936"/>
                    <a:pt x="41162" y="255701"/>
                  </a:cubicBezTo>
                  <a:cubicBezTo>
                    <a:pt x="37538" y="256769"/>
                    <a:pt x="34007" y="258626"/>
                    <a:pt x="31870" y="261505"/>
                  </a:cubicBezTo>
                  <a:cubicBezTo>
                    <a:pt x="31359" y="262991"/>
                    <a:pt x="30709" y="264430"/>
                    <a:pt x="29965" y="265823"/>
                  </a:cubicBezTo>
                  <a:cubicBezTo>
                    <a:pt x="29779" y="266752"/>
                    <a:pt x="29687" y="267681"/>
                    <a:pt x="29733" y="268749"/>
                  </a:cubicBezTo>
                  <a:cubicBezTo>
                    <a:pt x="30012" y="275853"/>
                    <a:pt x="21603" y="276782"/>
                    <a:pt x="15563" y="276875"/>
                  </a:cubicBezTo>
                  <a:cubicBezTo>
                    <a:pt x="14634" y="277154"/>
                    <a:pt x="13659" y="277339"/>
                    <a:pt x="12729" y="277479"/>
                  </a:cubicBezTo>
                  <a:cubicBezTo>
                    <a:pt x="8966" y="279893"/>
                    <a:pt x="9338" y="289319"/>
                    <a:pt x="5203" y="292059"/>
                  </a:cubicBezTo>
                  <a:cubicBezTo>
                    <a:pt x="418" y="295263"/>
                    <a:pt x="1347" y="299489"/>
                    <a:pt x="5854" y="305850"/>
                  </a:cubicBezTo>
                  <a:cubicBezTo>
                    <a:pt x="10314" y="312212"/>
                    <a:pt x="6504" y="317877"/>
                    <a:pt x="8084" y="322474"/>
                  </a:cubicBezTo>
                  <a:cubicBezTo>
                    <a:pt x="9710" y="327071"/>
                    <a:pt x="16725" y="337658"/>
                    <a:pt x="11940" y="349313"/>
                  </a:cubicBezTo>
                  <a:cubicBezTo>
                    <a:pt x="7154" y="360968"/>
                    <a:pt x="2044" y="375456"/>
                    <a:pt x="6179" y="374063"/>
                  </a:cubicBezTo>
                  <a:cubicBezTo>
                    <a:pt x="10314" y="372670"/>
                    <a:pt x="19884" y="383582"/>
                    <a:pt x="26295" y="382885"/>
                  </a:cubicBezTo>
                  <a:cubicBezTo>
                    <a:pt x="32660" y="382189"/>
                    <a:pt x="33310" y="392776"/>
                    <a:pt x="39350" y="390640"/>
                  </a:cubicBezTo>
                  <a:cubicBezTo>
                    <a:pt x="45389" y="388550"/>
                    <a:pt x="45389" y="397002"/>
                    <a:pt x="62950" y="396305"/>
                  </a:cubicBezTo>
                  <a:cubicBezTo>
                    <a:pt x="80465" y="395609"/>
                    <a:pt x="115866" y="379356"/>
                    <a:pt x="129896" y="379356"/>
                  </a:cubicBezTo>
                  <a:cubicBezTo>
                    <a:pt x="137840" y="379356"/>
                    <a:pt x="144205" y="378288"/>
                    <a:pt x="149223" y="376942"/>
                  </a:cubicBezTo>
                  <a:cubicBezTo>
                    <a:pt x="152243" y="371927"/>
                    <a:pt x="155866" y="366494"/>
                    <a:pt x="159536" y="362408"/>
                  </a:cubicBezTo>
                  <a:cubicBezTo>
                    <a:pt x="168456" y="352517"/>
                    <a:pt x="187597" y="345459"/>
                    <a:pt x="192707" y="332736"/>
                  </a:cubicBezTo>
                  <a:cubicBezTo>
                    <a:pt x="197818" y="320013"/>
                    <a:pt x="220768" y="310215"/>
                    <a:pt x="224624" y="298839"/>
                  </a:cubicBezTo>
                  <a:cubicBezTo>
                    <a:pt x="226529" y="293174"/>
                    <a:pt x="227179" y="290341"/>
                    <a:pt x="218863" y="279754"/>
                  </a:cubicBezTo>
                  <a:close/>
                </a:path>
              </a:pathLst>
            </a:custGeom>
            <a:solidFill>
              <a:schemeClr val="accent1">
                <a:lumMod val="75000"/>
              </a:schemeClr>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1" name="Freeform 80">
              <a:extLst>
                <a:ext uri="{FF2B5EF4-FFF2-40B4-BE49-F238E27FC236}">
                  <a16:creationId xmlns:a16="http://schemas.microsoft.com/office/drawing/2014/main" id="{29D58635-2C30-15E1-2D93-D64D7B3F0068}"/>
                </a:ext>
              </a:extLst>
            </p:cNvPr>
            <p:cNvSpPr/>
            <p:nvPr/>
          </p:nvSpPr>
          <p:spPr>
            <a:xfrm>
              <a:off x="2532207" y="1673569"/>
              <a:ext cx="1013770" cy="1943034"/>
            </a:xfrm>
            <a:custGeom>
              <a:avLst/>
              <a:gdLst>
                <a:gd name="connsiteX0" fmla="*/ 266042 w 268922"/>
                <a:gd name="connsiteY0" fmla="*/ 119253 h 515427"/>
                <a:gd name="connsiteX1" fmla="*/ 261908 w 268922"/>
                <a:gd name="connsiteY1" fmla="*/ 106808 h 515427"/>
                <a:gd name="connsiteX2" fmla="*/ 262930 w 268922"/>
                <a:gd name="connsiteY2" fmla="*/ 86377 h 515427"/>
                <a:gd name="connsiteX3" fmla="*/ 257819 w 268922"/>
                <a:gd name="connsiteY3" fmla="*/ 64831 h 515427"/>
                <a:gd name="connsiteX4" fmla="*/ 256797 w 268922"/>
                <a:gd name="connsiteY4" fmla="*/ 42124 h 515427"/>
                <a:gd name="connsiteX5" fmla="*/ 226042 w 268922"/>
                <a:gd name="connsiteY5" fmla="*/ 21693 h 515427"/>
                <a:gd name="connsiteX6" fmla="*/ 200444 w 268922"/>
                <a:gd name="connsiteY6" fmla="*/ 1262 h 515427"/>
                <a:gd name="connsiteX7" fmla="*/ 188132 w 268922"/>
                <a:gd name="connsiteY7" fmla="*/ 19418 h 515427"/>
                <a:gd name="connsiteX8" fmla="*/ 173777 w 268922"/>
                <a:gd name="connsiteY8" fmla="*/ 23968 h 515427"/>
                <a:gd name="connsiteX9" fmla="*/ 151245 w 268922"/>
                <a:gd name="connsiteY9" fmla="*/ 19418 h 515427"/>
                <a:gd name="connsiteX10" fmla="*/ 146135 w 268922"/>
                <a:gd name="connsiteY10" fmla="*/ 36413 h 515427"/>
                <a:gd name="connsiteX11" fmla="*/ 129735 w 268922"/>
                <a:gd name="connsiteY11" fmla="*/ 43192 h 515427"/>
                <a:gd name="connsiteX12" fmla="*/ 113335 w 268922"/>
                <a:gd name="connsiteY12" fmla="*/ 56798 h 515427"/>
                <a:gd name="connsiteX13" fmla="*/ 107203 w 268922"/>
                <a:gd name="connsiteY13" fmla="*/ 73839 h 515427"/>
                <a:gd name="connsiteX14" fmla="*/ 102093 w 268922"/>
                <a:gd name="connsiteY14" fmla="*/ 86330 h 515427"/>
                <a:gd name="connsiteX15" fmla="*/ 90803 w 268922"/>
                <a:gd name="connsiteY15" fmla="*/ 104486 h 515427"/>
                <a:gd name="connsiteX16" fmla="*/ 86715 w 268922"/>
                <a:gd name="connsiteY16" fmla="*/ 118092 h 515427"/>
                <a:gd name="connsiteX17" fmla="*/ 70315 w 268922"/>
                <a:gd name="connsiteY17" fmla="*/ 122596 h 515427"/>
                <a:gd name="connsiteX18" fmla="*/ 69293 w 268922"/>
                <a:gd name="connsiteY18" fmla="*/ 144188 h 515427"/>
                <a:gd name="connsiteX19" fmla="*/ 54938 w 268922"/>
                <a:gd name="connsiteY19" fmla="*/ 174788 h 515427"/>
                <a:gd name="connsiteX20" fmla="*/ 60048 w 268922"/>
                <a:gd name="connsiteY20" fmla="*/ 187279 h 515427"/>
                <a:gd name="connsiteX21" fmla="*/ 60048 w 268922"/>
                <a:gd name="connsiteY21" fmla="*/ 200885 h 515427"/>
                <a:gd name="connsiteX22" fmla="*/ 45693 w 268922"/>
                <a:gd name="connsiteY22" fmla="*/ 202046 h 515427"/>
                <a:gd name="connsiteX23" fmla="*/ 24183 w 268922"/>
                <a:gd name="connsiteY23" fmla="*/ 217926 h 515427"/>
                <a:gd name="connsiteX24" fmla="*/ 22139 w 268922"/>
                <a:gd name="connsiteY24" fmla="*/ 241747 h 515427"/>
                <a:gd name="connsiteX25" fmla="*/ 22139 w 268922"/>
                <a:gd name="connsiteY25" fmla="*/ 265568 h 515427"/>
                <a:gd name="connsiteX26" fmla="*/ 21117 w 268922"/>
                <a:gd name="connsiteY26" fmla="*/ 288275 h 515427"/>
                <a:gd name="connsiteX27" fmla="*/ 35472 w 268922"/>
                <a:gd name="connsiteY27" fmla="*/ 305270 h 515427"/>
                <a:gd name="connsiteX28" fmla="*/ 27249 w 268922"/>
                <a:gd name="connsiteY28" fmla="*/ 317761 h 515427"/>
                <a:gd name="connsiteX29" fmla="*/ 28271 w 268922"/>
                <a:gd name="connsiteY29" fmla="*/ 329091 h 515427"/>
                <a:gd name="connsiteX30" fmla="*/ 29293 w 268922"/>
                <a:gd name="connsiteY30" fmla="*/ 351798 h 515427"/>
                <a:gd name="connsiteX31" fmla="*/ 14938 w 268922"/>
                <a:gd name="connsiteY31" fmla="*/ 357463 h 515427"/>
                <a:gd name="connsiteX32" fmla="*/ 11871 w 268922"/>
                <a:gd name="connsiteY32" fmla="*/ 376780 h 515427"/>
                <a:gd name="connsiteX33" fmla="*/ 6761 w 268922"/>
                <a:gd name="connsiteY33" fmla="*/ 392660 h 515427"/>
                <a:gd name="connsiteX34" fmla="*/ 25 w 268922"/>
                <a:gd name="connsiteY34" fmla="*/ 391592 h 515427"/>
                <a:gd name="connsiteX35" fmla="*/ 25 w 268922"/>
                <a:gd name="connsiteY35" fmla="*/ 393821 h 515427"/>
                <a:gd name="connsiteX36" fmla="*/ 9595 w 268922"/>
                <a:gd name="connsiteY36" fmla="*/ 417828 h 515427"/>
                <a:gd name="connsiteX37" fmla="*/ 17261 w 268922"/>
                <a:gd name="connsiteY37" fmla="*/ 442578 h 515427"/>
                <a:gd name="connsiteX38" fmla="*/ 28085 w 268922"/>
                <a:gd name="connsiteY38" fmla="*/ 464123 h 515427"/>
                <a:gd name="connsiteX39" fmla="*/ 32545 w 268922"/>
                <a:gd name="connsiteY39" fmla="*/ 482140 h 515427"/>
                <a:gd name="connsiteX40" fmla="*/ 38585 w 268922"/>
                <a:gd name="connsiteY40" fmla="*/ 493099 h 515427"/>
                <a:gd name="connsiteX41" fmla="*/ 38910 w 268922"/>
                <a:gd name="connsiteY41" fmla="*/ 513251 h 515427"/>
                <a:gd name="connsiteX42" fmla="*/ 55821 w 268922"/>
                <a:gd name="connsiteY42" fmla="*/ 512926 h 515427"/>
                <a:gd name="connsiteX43" fmla="*/ 63765 w 268922"/>
                <a:gd name="connsiteY43" fmla="*/ 498810 h 515427"/>
                <a:gd name="connsiteX44" fmla="*/ 70455 w 268922"/>
                <a:gd name="connsiteY44" fmla="*/ 491055 h 515427"/>
                <a:gd name="connsiteX45" fmla="*/ 88295 w 268922"/>
                <a:gd name="connsiteY45" fmla="*/ 489244 h 515427"/>
                <a:gd name="connsiteX46" fmla="*/ 100745 w 268922"/>
                <a:gd name="connsiteY46" fmla="*/ 478286 h 515427"/>
                <a:gd name="connsiteX47" fmla="*/ 108411 w 268922"/>
                <a:gd name="connsiteY47" fmla="*/ 481815 h 515427"/>
                <a:gd name="connsiteX48" fmla="*/ 120536 w 268922"/>
                <a:gd name="connsiteY48" fmla="*/ 459248 h 515427"/>
                <a:gd name="connsiteX49" fmla="*/ 112871 w 268922"/>
                <a:gd name="connsiteY49" fmla="*/ 460641 h 515427"/>
                <a:gd name="connsiteX50" fmla="*/ 112546 w 268922"/>
                <a:gd name="connsiteY50" fmla="*/ 444064 h 515427"/>
                <a:gd name="connsiteX51" fmla="*/ 116030 w 268922"/>
                <a:gd name="connsiteY51" fmla="*/ 410166 h 515427"/>
                <a:gd name="connsiteX52" fmla="*/ 128155 w 268922"/>
                <a:gd name="connsiteY52" fmla="*/ 395679 h 515427"/>
                <a:gd name="connsiteX53" fmla="*/ 147621 w 268922"/>
                <a:gd name="connsiteY53" fmla="*/ 375572 h 515427"/>
                <a:gd name="connsiteX54" fmla="*/ 160351 w 268922"/>
                <a:gd name="connsiteY54" fmla="*/ 356163 h 515427"/>
                <a:gd name="connsiteX55" fmla="*/ 139956 w 268922"/>
                <a:gd name="connsiteY55" fmla="*/ 331088 h 515427"/>
                <a:gd name="connsiteX56" fmla="*/ 124671 w 268922"/>
                <a:gd name="connsiteY56" fmla="*/ 326491 h 515427"/>
                <a:gd name="connsiteX57" fmla="*/ 122116 w 268922"/>
                <a:gd name="connsiteY57" fmla="*/ 299651 h 515427"/>
                <a:gd name="connsiteX58" fmla="*/ 129503 w 268922"/>
                <a:gd name="connsiteY58" fmla="*/ 279685 h 515427"/>
                <a:gd name="connsiteX59" fmla="*/ 130385 w 268922"/>
                <a:gd name="connsiteY59" fmla="*/ 258092 h 515427"/>
                <a:gd name="connsiteX60" fmla="*/ 148969 w 268922"/>
                <a:gd name="connsiteY60" fmla="*/ 236361 h 515427"/>
                <a:gd name="connsiteX61" fmla="*/ 157656 w 268922"/>
                <a:gd name="connsiteY61" fmla="*/ 230789 h 515427"/>
                <a:gd name="connsiteX62" fmla="*/ 161001 w 268922"/>
                <a:gd name="connsiteY62" fmla="*/ 228281 h 515427"/>
                <a:gd name="connsiteX63" fmla="*/ 167134 w 268922"/>
                <a:gd name="connsiteY63" fmla="*/ 224799 h 515427"/>
                <a:gd name="connsiteX64" fmla="*/ 174009 w 268922"/>
                <a:gd name="connsiteY64" fmla="*/ 208500 h 515427"/>
                <a:gd name="connsiteX65" fmla="*/ 177122 w 268922"/>
                <a:gd name="connsiteY65" fmla="*/ 205389 h 515427"/>
                <a:gd name="connsiteX66" fmla="*/ 190455 w 268922"/>
                <a:gd name="connsiteY66" fmla="*/ 198981 h 515427"/>
                <a:gd name="connsiteX67" fmla="*/ 194358 w 268922"/>
                <a:gd name="connsiteY67" fmla="*/ 193780 h 515427"/>
                <a:gd name="connsiteX68" fmla="*/ 203185 w 268922"/>
                <a:gd name="connsiteY68" fmla="*/ 188440 h 515427"/>
                <a:gd name="connsiteX69" fmla="*/ 209410 w 268922"/>
                <a:gd name="connsiteY69" fmla="*/ 172049 h 515427"/>
                <a:gd name="connsiteX70" fmla="*/ 212337 w 268922"/>
                <a:gd name="connsiteY70" fmla="*/ 164666 h 515427"/>
                <a:gd name="connsiteX71" fmla="*/ 220607 w 268922"/>
                <a:gd name="connsiteY71" fmla="*/ 145256 h 515427"/>
                <a:gd name="connsiteX72" fmla="*/ 234637 w 268922"/>
                <a:gd name="connsiteY72" fmla="*/ 132904 h 515427"/>
                <a:gd name="connsiteX73" fmla="*/ 257262 w 268922"/>
                <a:gd name="connsiteY73" fmla="*/ 130443 h 515427"/>
                <a:gd name="connsiteX74" fmla="*/ 268923 w 268922"/>
                <a:gd name="connsiteY74" fmla="*/ 131001 h 515427"/>
                <a:gd name="connsiteX75" fmla="*/ 265903 w 268922"/>
                <a:gd name="connsiteY75" fmla="*/ 119206 h 51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68922" h="515427">
                  <a:moveTo>
                    <a:pt x="266042" y="119253"/>
                  </a:moveTo>
                  <a:cubicBezTo>
                    <a:pt x="262976" y="115863"/>
                    <a:pt x="256844" y="106808"/>
                    <a:pt x="261908" y="106808"/>
                  </a:cubicBezTo>
                  <a:cubicBezTo>
                    <a:pt x="266972" y="106808"/>
                    <a:pt x="269062" y="89813"/>
                    <a:pt x="262930" y="86377"/>
                  </a:cubicBezTo>
                  <a:cubicBezTo>
                    <a:pt x="256797" y="82987"/>
                    <a:pt x="262930" y="68221"/>
                    <a:pt x="257819" y="64831"/>
                  </a:cubicBezTo>
                  <a:cubicBezTo>
                    <a:pt x="252709" y="61441"/>
                    <a:pt x="255775" y="50065"/>
                    <a:pt x="256797" y="42124"/>
                  </a:cubicBezTo>
                  <a:cubicBezTo>
                    <a:pt x="257819" y="34184"/>
                    <a:pt x="237331" y="27358"/>
                    <a:pt x="226042" y="21693"/>
                  </a:cubicBezTo>
                  <a:cubicBezTo>
                    <a:pt x="214800" y="16028"/>
                    <a:pt x="209642" y="6927"/>
                    <a:pt x="200444" y="1262"/>
                  </a:cubicBezTo>
                  <a:cubicBezTo>
                    <a:pt x="191245" y="-4403"/>
                    <a:pt x="188132" y="10317"/>
                    <a:pt x="188132" y="19418"/>
                  </a:cubicBezTo>
                  <a:cubicBezTo>
                    <a:pt x="188132" y="28519"/>
                    <a:pt x="179956" y="29634"/>
                    <a:pt x="173777" y="23968"/>
                  </a:cubicBezTo>
                  <a:cubicBezTo>
                    <a:pt x="167645" y="18303"/>
                    <a:pt x="160444" y="23968"/>
                    <a:pt x="151245" y="19418"/>
                  </a:cubicBezTo>
                  <a:cubicBezTo>
                    <a:pt x="142046" y="14867"/>
                    <a:pt x="146135" y="29634"/>
                    <a:pt x="146135" y="36413"/>
                  </a:cubicBezTo>
                  <a:cubicBezTo>
                    <a:pt x="146135" y="43192"/>
                    <a:pt x="135867" y="43192"/>
                    <a:pt x="129735" y="43192"/>
                  </a:cubicBezTo>
                  <a:cubicBezTo>
                    <a:pt x="123603" y="43192"/>
                    <a:pt x="113335" y="48857"/>
                    <a:pt x="113335" y="56798"/>
                  </a:cubicBezTo>
                  <a:cubicBezTo>
                    <a:pt x="113335" y="64738"/>
                    <a:pt x="104137" y="69289"/>
                    <a:pt x="107203" y="73839"/>
                  </a:cubicBezTo>
                  <a:cubicBezTo>
                    <a:pt x="110269" y="78344"/>
                    <a:pt x="106181" y="82894"/>
                    <a:pt x="102093" y="86330"/>
                  </a:cubicBezTo>
                  <a:cubicBezTo>
                    <a:pt x="98004" y="89720"/>
                    <a:pt x="93916" y="101050"/>
                    <a:pt x="90803" y="104486"/>
                  </a:cubicBezTo>
                  <a:cubicBezTo>
                    <a:pt x="87737" y="107876"/>
                    <a:pt x="92848" y="113541"/>
                    <a:pt x="86715" y="118092"/>
                  </a:cubicBezTo>
                  <a:cubicBezTo>
                    <a:pt x="80583" y="122596"/>
                    <a:pt x="73382" y="119206"/>
                    <a:pt x="70315" y="122596"/>
                  </a:cubicBezTo>
                  <a:cubicBezTo>
                    <a:pt x="67249" y="125986"/>
                    <a:pt x="70315" y="133972"/>
                    <a:pt x="69293" y="144188"/>
                  </a:cubicBezTo>
                  <a:cubicBezTo>
                    <a:pt x="68271" y="154357"/>
                    <a:pt x="61070" y="165734"/>
                    <a:pt x="54938" y="174788"/>
                  </a:cubicBezTo>
                  <a:cubicBezTo>
                    <a:pt x="48805" y="183890"/>
                    <a:pt x="56982" y="186165"/>
                    <a:pt x="60048" y="187279"/>
                  </a:cubicBezTo>
                  <a:cubicBezTo>
                    <a:pt x="63114" y="188440"/>
                    <a:pt x="63114" y="194105"/>
                    <a:pt x="60048" y="200885"/>
                  </a:cubicBezTo>
                  <a:cubicBezTo>
                    <a:pt x="56982" y="207711"/>
                    <a:pt x="49781" y="203160"/>
                    <a:pt x="45693" y="202046"/>
                  </a:cubicBezTo>
                  <a:cubicBezTo>
                    <a:pt x="41604" y="200885"/>
                    <a:pt x="30315" y="206550"/>
                    <a:pt x="24183" y="217926"/>
                  </a:cubicBezTo>
                  <a:cubicBezTo>
                    <a:pt x="18050" y="229256"/>
                    <a:pt x="20094" y="236082"/>
                    <a:pt x="22139" y="241747"/>
                  </a:cubicBezTo>
                  <a:cubicBezTo>
                    <a:pt x="24183" y="247412"/>
                    <a:pt x="17028" y="254238"/>
                    <a:pt x="22139" y="265568"/>
                  </a:cubicBezTo>
                  <a:cubicBezTo>
                    <a:pt x="27249" y="276898"/>
                    <a:pt x="20094" y="279174"/>
                    <a:pt x="21117" y="288275"/>
                  </a:cubicBezTo>
                  <a:cubicBezTo>
                    <a:pt x="22139" y="297330"/>
                    <a:pt x="34450" y="296215"/>
                    <a:pt x="35472" y="305270"/>
                  </a:cubicBezTo>
                  <a:cubicBezTo>
                    <a:pt x="36494" y="314325"/>
                    <a:pt x="31384" y="317761"/>
                    <a:pt x="27249" y="317761"/>
                  </a:cubicBezTo>
                  <a:cubicBezTo>
                    <a:pt x="23114" y="317761"/>
                    <a:pt x="24183" y="326816"/>
                    <a:pt x="28271" y="329091"/>
                  </a:cubicBezTo>
                  <a:cubicBezTo>
                    <a:pt x="32359" y="331366"/>
                    <a:pt x="31337" y="347247"/>
                    <a:pt x="29293" y="351798"/>
                  </a:cubicBezTo>
                  <a:cubicBezTo>
                    <a:pt x="27249" y="356348"/>
                    <a:pt x="13915" y="351798"/>
                    <a:pt x="14938" y="357463"/>
                  </a:cubicBezTo>
                  <a:cubicBezTo>
                    <a:pt x="15960" y="363128"/>
                    <a:pt x="11871" y="372229"/>
                    <a:pt x="11871" y="376780"/>
                  </a:cubicBezTo>
                  <a:cubicBezTo>
                    <a:pt x="11871" y="381330"/>
                    <a:pt x="10849" y="396050"/>
                    <a:pt x="6761" y="392660"/>
                  </a:cubicBezTo>
                  <a:cubicBezTo>
                    <a:pt x="5135" y="391314"/>
                    <a:pt x="2580" y="391221"/>
                    <a:pt x="25" y="391592"/>
                  </a:cubicBezTo>
                  <a:cubicBezTo>
                    <a:pt x="25" y="392289"/>
                    <a:pt x="25" y="392985"/>
                    <a:pt x="25" y="393821"/>
                  </a:cubicBezTo>
                  <a:cubicBezTo>
                    <a:pt x="-301" y="402644"/>
                    <a:pt x="2580" y="411466"/>
                    <a:pt x="9595" y="417828"/>
                  </a:cubicBezTo>
                  <a:cubicBezTo>
                    <a:pt x="16610" y="424189"/>
                    <a:pt x="11175" y="433709"/>
                    <a:pt x="17261" y="442578"/>
                  </a:cubicBezTo>
                  <a:cubicBezTo>
                    <a:pt x="23300" y="451400"/>
                    <a:pt x="21395" y="457762"/>
                    <a:pt x="28085" y="464123"/>
                  </a:cubicBezTo>
                  <a:cubicBezTo>
                    <a:pt x="34775" y="470485"/>
                    <a:pt x="35425" y="474014"/>
                    <a:pt x="32545" y="482140"/>
                  </a:cubicBezTo>
                  <a:cubicBezTo>
                    <a:pt x="29665" y="490266"/>
                    <a:pt x="38306" y="488130"/>
                    <a:pt x="38585" y="493099"/>
                  </a:cubicBezTo>
                  <a:cubicBezTo>
                    <a:pt x="38910" y="498067"/>
                    <a:pt x="36680" y="508283"/>
                    <a:pt x="38910" y="513251"/>
                  </a:cubicBezTo>
                  <a:cubicBezTo>
                    <a:pt x="41140" y="518173"/>
                    <a:pt x="45600" y="513251"/>
                    <a:pt x="55821" y="512926"/>
                  </a:cubicBezTo>
                  <a:cubicBezTo>
                    <a:pt x="65995" y="512555"/>
                    <a:pt x="63486" y="505497"/>
                    <a:pt x="63765" y="498810"/>
                  </a:cubicBezTo>
                  <a:cubicBezTo>
                    <a:pt x="64090" y="492123"/>
                    <a:pt x="69200" y="495281"/>
                    <a:pt x="70455" y="491055"/>
                  </a:cubicBezTo>
                  <a:cubicBezTo>
                    <a:pt x="71709" y="486830"/>
                    <a:pt x="81001" y="485762"/>
                    <a:pt x="88295" y="489244"/>
                  </a:cubicBezTo>
                  <a:cubicBezTo>
                    <a:pt x="95635" y="492774"/>
                    <a:pt x="99445" y="486783"/>
                    <a:pt x="100745" y="478286"/>
                  </a:cubicBezTo>
                  <a:cubicBezTo>
                    <a:pt x="102000" y="469835"/>
                    <a:pt x="106135" y="480050"/>
                    <a:pt x="108411" y="481815"/>
                  </a:cubicBezTo>
                  <a:cubicBezTo>
                    <a:pt x="110641" y="483579"/>
                    <a:pt x="117331" y="468767"/>
                    <a:pt x="120536" y="459248"/>
                  </a:cubicBezTo>
                  <a:cubicBezTo>
                    <a:pt x="123742" y="449729"/>
                    <a:pt x="120211" y="451493"/>
                    <a:pt x="112871" y="460641"/>
                  </a:cubicBezTo>
                  <a:cubicBezTo>
                    <a:pt x="105531" y="469835"/>
                    <a:pt x="109665" y="451493"/>
                    <a:pt x="112546" y="444064"/>
                  </a:cubicBezTo>
                  <a:cubicBezTo>
                    <a:pt x="115426" y="436634"/>
                    <a:pt x="115101" y="415088"/>
                    <a:pt x="116030" y="410166"/>
                  </a:cubicBezTo>
                  <a:cubicBezTo>
                    <a:pt x="117005" y="405244"/>
                    <a:pt x="118910" y="397814"/>
                    <a:pt x="128155" y="395679"/>
                  </a:cubicBezTo>
                  <a:cubicBezTo>
                    <a:pt x="137401" y="393542"/>
                    <a:pt x="149526" y="380866"/>
                    <a:pt x="147621" y="375572"/>
                  </a:cubicBezTo>
                  <a:cubicBezTo>
                    <a:pt x="145716" y="370279"/>
                    <a:pt x="160351" y="361456"/>
                    <a:pt x="160351" y="356163"/>
                  </a:cubicBezTo>
                  <a:cubicBezTo>
                    <a:pt x="160351" y="350869"/>
                    <a:pt x="145020" y="334617"/>
                    <a:pt x="139956" y="331088"/>
                  </a:cubicBezTo>
                  <a:cubicBezTo>
                    <a:pt x="134845" y="327559"/>
                    <a:pt x="123695" y="330391"/>
                    <a:pt x="124671" y="326491"/>
                  </a:cubicBezTo>
                  <a:cubicBezTo>
                    <a:pt x="125600" y="322590"/>
                    <a:pt x="123370" y="307406"/>
                    <a:pt x="122116" y="299651"/>
                  </a:cubicBezTo>
                  <a:cubicBezTo>
                    <a:pt x="121047" y="293011"/>
                    <a:pt x="127505" y="286185"/>
                    <a:pt x="129503" y="279685"/>
                  </a:cubicBezTo>
                  <a:cubicBezTo>
                    <a:pt x="126344" y="272812"/>
                    <a:pt x="126297" y="264408"/>
                    <a:pt x="130385" y="258092"/>
                  </a:cubicBezTo>
                  <a:cubicBezTo>
                    <a:pt x="135682" y="250013"/>
                    <a:pt x="142557" y="243512"/>
                    <a:pt x="148969" y="236361"/>
                  </a:cubicBezTo>
                  <a:cubicBezTo>
                    <a:pt x="151431" y="233621"/>
                    <a:pt x="154404" y="231810"/>
                    <a:pt x="157656" y="230789"/>
                  </a:cubicBezTo>
                  <a:cubicBezTo>
                    <a:pt x="158585" y="229814"/>
                    <a:pt x="159654" y="228885"/>
                    <a:pt x="161001" y="228281"/>
                  </a:cubicBezTo>
                  <a:cubicBezTo>
                    <a:pt x="163649" y="227120"/>
                    <a:pt x="165461" y="225960"/>
                    <a:pt x="167134" y="224799"/>
                  </a:cubicBezTo>
                  <a:cubicBezTo>
                    <a:pt x="167134" y="218901"/>
                    <a:pt x="169782" y="212679"/>
                    <a:pt x="174009" y="208500"/>
                  </a:cubicBezTo>
                  <a:lnTo>
                    <a:pt x="177122" y="205389"/>
                  </a:lnTo>
                  <a:cubicBezTo>
                    <a:pt x="180839" y="201721"/>
                    <a:pt x="185485" y="199770"/>
                    <a:pt x="190455" y="198981"/>
                  </a:cubicBezTo>
                  <a:cubicBezTo>
                    <a:pt x="191571" y="197031"/>
                    <a:pt x="192871" y="195220"/>
                    <a:pt x="194358" y="193780"/>
                  </a:cubicBezTo>
                  <a:cubicBezTo>
                    <a:pt x="196774" y="191412"/>
                    <a:pt x="199886" y="189601"/>
                    <a:pt x="203185" y="188440"/>
                  </a:cubicBezTo>
                  <a:cubicBezTo>
                    <a:pt x="203185" y="182404"/>
                    <a:pt x="205275" y="176414"/>
                    <a:pt x="209410" y="172049"/>
                  </a:cubicBezTo>
                  <a:cubicBezTo>
                    <a:pt x="208853" y="169588"/>
                    <a:pt x="209410" y="167127"/>
                    <a:pt x="212337" y="164666"/>
                  </a:cubicBezTo>
                  <a:cubicBezTo>
                    <a:pt x="221582" y="156911"/>
                    <a:pt x="213917" y="148042"/>
                    <a:pt x="220607" y="145256"/>
                  </a:cubicBezTo>
                  <a:cubicBezTo>
                    <a:pt x="227297" y="142423"/>
                    <a:pt x="229852" y="138569"/>
                    <a:pt x="234637" y="132904"/>
                  </a:cubicBezTo>
                  <a:cubicBezTo>
                    <a:pt x="239422" y="127239"/>
                    <a:pt x="245787" y="132533"/>
                    <a:pt x="257262" y="130443"/>
                  </a:cubicBezTo>
                  <a:cubicBezTo>
                    <a:pt x="261443" y="129654"/>
                    <a:pt x="265299" y="130072"/>
                    <a:pt x="268923" y="131001"/>
                  </a:cubicBezTo>
                  <a:cubicBezTo>
                    <a:pt x="268412" y="125382"/>
                    <a:pt x="267297" y="120785"/>
                    <a:pt x="265903" y="119206"/>
                  </a:cubicBezTo>
                  <a:close/>
                </a:path>
              </a:pathLst>
            </a:custGeom>
            <a:solidFill>
              <a:schemeClr val="accent1">
                <a:lumMod val="75000"/>
              </a:schemeClr>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2" name="Freeform 81">
              <a:extLst>
                <a:ext uri="{FF2B5EF4-FFF2-40B4-BE49-F238E27FC236}">
                  <a16:creationId xmlns:a16="http://schemas.microsoft.com/office/drawing/2014/main" id="{6AE9CB7F-A72B-8E95-7D6C-D20AD0EFF8E2}"/>
                </a:ext>
              </a:extLst>
            </p:cNvPr>
            <p:cNvSpPr/>
            <p:nvPr/>
          </p:nvSpPr>
          <p:spPr>
            <a:xfrm>
              <a:off x="3374786" y="3055851"/>
              <a:ext cx="490467" cy="269317"/>
            </a:xfrm>
            <a:custGeom>
              <a:avLst/>
              <a:gdLst>
                <a:gd name="connsiteX0" fmla="*/ 123833 w 130106"/>
                <a:gd name="connsiteY0" fmla="*/ 18228 h 71442"/>
                <a:gd name="connsiteX1" fmla="*/ 128246 w 130106"/>
                <a:gd name="connsiteY1" fmla="*/ 2533 h 71442"/>
                <a:gd name="connsiteX2" fmla="*/ 123554 w 130106"/>
                <a:gd name="connsiteY2" fmla="*/ 4994 h 71442"/>
                <a:gd name="connsiteX3" fmla="*/ 82718 w 130106"/>
                <a:gd name="connsiteY3" fmla="*/ 397 h 71442"/>
                <a:gd name="connsiteX4" fmla="*/ 42531 w 130106"/>
                <a:gd name="connsiteY4" fmla="*/ 9220 h 71442"/>
                <a:gd name="connsiteX5" fmla="*/ 29477 w 130106"/>
                <a:gd name="connsiteY5" fmla="*/ 23011 h 71442"/>
                <a:gd name="connsiteX6" fmla="*/ 33937 w 130106"/>
                <a:gd name="connsiteY6" fmla="*/ 38195 h 71442"/>
                <a:gd name="connsiteX7" fmla="*/ 46713 w 130106"/>
                <a:gd name="connsiteY7" fmla="*/ 46321 h 71442"/>
                <a:gd name="connsiteX8" fmla="*/ 51172 w 130106"/>
                <a:gd name="connsiteY8" fmla="*/ 55840 h 71442"/>
                <a:gd name="connsiteX9" fmla="*/ 50894 w 130106"/>
                <a:gd name="connsiteY9" fmla="*/ 56212 h 71442"/>
                <a:gd name="connsiteX10" fmla="*/ 74123 w 130106"/>
                <a:gd name="connsiteY10" fmla="*/ 55840 h 71442"/>
                <a:gd name="connsiteX11" fmla="*/ 95819 w 130106"/>
                <a:gd name="connsiteY11" fmla="*/ 69957 h 71442"/>
                <a:gd name="connsiteX12" fmla="*/ 116399 w 130106"/>
                <a:gd name="connsiteY12" fmla="*/ 71442 h 71442"/>
                <a:gd name="connsiteX13" fmla="*/ 117189 w 130106"/>
                <a:gd name="connsiteY13" fmla="*/ 64849 h 71442"/>
                <a:gd name="connsiteX14" fmla="*/ 122950 w 130106"/>
                <a:gd name="connsiteY14" fmla="*/ 56908 h 71442"/>
                <a:gd name="connsiteX15" fmla="*/ 118165 w 130106"/>
                <a:gd name="connsiteY15" fmla="*/ 44185 h 71442"/>
                <a:gd name="connsiteX16" fmla="*/ 116725 w 130106"/>
                <a:gd name="connsiteY16" fmla="*/ 30394 h 71442"/>
                <a:gd name="connsiteX17" fmla="*/ 123879 w 130106"/>
                <a:gd name="connsiteY17" fmla="*/ 18228 h 71442"/>
                <a:gd name="connsiteX18" fmla="*/ 10940 w 130106"/>
                <a:gd name="connsiteY18" fmla="*/ 35363 h 71442"/>
                <a:gd name="connsiteX19" fmla="*/ 2345 w 130106"/>
                <a:gd name="connsiteY19" fmla="*/ 56212 h 71442"/>
                <a:gd name="connsiteX20" fmla="*/ 24692 w 130106"/>
                <a:gd name="connsiteY20" fmla="*/ 39960 h 71442"/>
                <a:gd name="connsiteX21" fmla="*/ 10987 w 130106"/>
                <a:gd name="connsiteY21" fmla="*/ 35363 h 71442"/>
                <a:gd name="connsiteX22" fmla="*/ 20510 w 130106"/>
                <a:gd name="connsiteY22" fmla="*/ 25101 h 71442"/>
                <a:gd name="connsiteX23" fmla="*/ 6805 w 130106"/>
                <a:gd name="connsiteY23" fmla="*/ 26865 h 71442"/>
                <a:gd name="connsiteX24" fmla="*/ 20510 w 130106"/>
                <a:gd name="connsiteY24" fmla="*/ 25101 h 7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0106" h="71442">
                  <a:moveTo>
                    <a:pt x="123833" y="18228"/>
                  </a:moveTo>
                  <a:cubicBezTo>
                    <a:pt x="126481" y="11913"/>
                    <a:pt x="133403" y="10845"/>
                    <a:pt x="128246" y="2533"/>
                  </a:cubicBezTo>
                  <a:cubicBezTo>
                    <a:pt x="127270" y="3416"/>
                    <a:pt x="125877" y="4251"/>
                    <a:pt x="123554" y="4994"/>
                  </a:cubicBezTo>
                  <a:cubicBezTo>
                    <a:pt x="114309" y="7827"/>
                    <a:pt x="94192" y="-2064"/>
                    <a:pt x="82718" y="397"/>
                  </a:cubicBezTo>
                  <a:cubicBezTo>
                    <a:pt x="71242" y="2858"/>
                    <a:pt x="47967" y="2858"/>
                    <a:pt x="42531" y="9220"/>
                  </a:cubicBezTo>
                  <a:cubicBezTo>
                    <a:pt x="37096" y="15582"/>
                    <a:pt x="23391" y="17346"/>
                    <a:pt x="29477" y="23011"/>
                  </a:cubicBezTo>
                  <a:cubicBezTo>
                    <a:pt x="35563" y="28676"/>
                    <a:pt x="29477" y="31509"/>
                    <a:pt x="33937" y="38195"/>
                  </a:cubicBezTo>
                  <a:cubicBezTo>
                    <a:pt x="38397" y="44882"/>
                    <a:pt x="40627" y="47714"/>
                    <a:pt x="46713" y="46321"/>
                  </a:cubicBezTo>
                  <a:cubicBezTo>
                    <a:pt x="52799" y="44928"/>
                    <a:pt x="57537" y="48411"/>
                    <a:pt x="51172" y="55840"/>
                  </a:cubicBezTo>
                  <a:cubicBezTo>
                    <a:pt x="51080" y="55980"/>
                    <a:pt x="51033" y="56119"/>
                    <a:pt x="50894" y="56212"/>
                  </a:cubicBezTo>
                  <a:cubicBezTo>
                    <a:pt x="61115" y="55144"/>
                    <a:pt x="72450" y="54447"/>
                    <a:pt x="74123" y="55840"/>
                  </a:cubicBezTo>
                  <a:cubicBezTo>
                    <a:pt x="76678" y="57976"/>
                    <a:pt x="91963" y="71396"/>
                    <a:pt x="95819" y="69957"/>
                  </a:cubicBezTo>
                  <a:cubicBezTo>
                    <a:pt x="98188" y="69074"/>
                    <a:pt x="108641" y="70328"/>
                    <a:pt x="116399" y="71442"/>
                  </a:cubicBezTo>
                  <a:cubicBezTo>
                    <a:pt x="115517" y="68796"/>
                    <a:pt x="115563" y="66335"/>
                    <a:pt x="117189" y="64849"/>
                  </a:cubicBezTo>
                  <a:cubicBezTo>
                    <a:pt x="120070" y="62202"/>
                    <a:pt x="126295" y="62202"/>
                    <a:pt x="122950" y="56908"/>
                  </a:cubicBezTo>
                  <a:cubicBezTo>
                    <a:pt x="119605" y="51615"/>
                    <a:pt x="118629" y="50547"/>
                    <a:pt x="118165" y="44185"/>
                  </a:cubicBezTo>
                  <a:cubicBezTo>
                    <a:pt x="117700" y="37824"/>
                    <a:pt x="116260" y="34666"/>
                    <a:pt x="116725" y="30394"/>
                  </a:cubicBezTo>
                  <a:cubicBezTo>
                    <a:pt x="117189" y="26169"/>
                    <a:pt x="121045" y="25101"/>
                    <a:pt x="123879" y="18228"/>
                  </a:cubicBezTo>
                  <a:close/>
                  <a:moveTo>
                    <a:pt x="10940" y="35363"/>
                  </a:moveTo>
                  <a:cubicBezTo>
                    <a:pt x="-535" y="38892"/>
                    <a:pt x="-2208" y="56490"/>
                    <a:pt x="2345" y="56212"/>
                  </a:cubicBezTo>
                  <a:cubicBezTo>
                    <a:pt x="8060" y="55840"/>
                    <a:pt x="21161" y="43814"/>
                    <a:pt x="24692" y="39960"/>
                  </a:cubicBezTo>
                  <a:cubicBezTo>
                    <a:pt x="28176" y="36106"/>
                    <a:pt x="22462" y="31834"/>
                    <a:pt x="10987" y="35363"/>
                  </a:cubicBezTo>
                  <a:close/>
                  <a:moveTo>
                    <a:pt x="20510" y="25101"/>
                  </a:moveTo>
                  <a:cubicBezTo>
                    <a:pt x="23066" y="19807"/>
                    <a:pt x="2113" y="22129"/>
                    <a:pt x="6805" y="26865"/>
                  </a:cubicBezTo>
                  <a:cubicBezTo>
                    <a:pt x="10336" y="30394"/>
                    <a:pt x="17955" y="30394"/>
                    <a:pt x="20510" y="25101"/>
                  </a:cubicBezTo>
                  <a:close/>
                </a:path>
              </a:pathLst>
            </a:custGeom>
            <a:solidFill>
              <a:schemeClr val="accent1">
                <a:lumMod val="75000"/>
              </a:schemeClr>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3" name="Freeform 62">
              <a:extLst>
                <a:ext uri="{FF2B5EF4-FFF2-40B4-BE49-F238E27FC236}">
                  <a16:creationId xmlns:a16="http://schemas.microsoft.com/office/drawing/2014/main" id="{7A1401A0-3E5E-91B2-2818-8BA2B474CE88}"/>
                </a:ext>
              </a:extLst>
            </p:cNvPr>
            <p:cNvSpPr/>
            <p:nvPr/>
          </p:nvSpPr>
          <p:spPr>
            <a:xfrm>
              <a:off x="2026002" y="1329376"/>
              <a:ext cx="2088885" cy="1934082"/>
            </a:xfrm>
            <a:custGeom>
              <a:avLst/>
              <a:gdLst>
                <a:gd name="connsiteX0" fmla="*/ 537745 w 554117"/>
                <a:gd name="connsiteY0" fmla="*/ 59643 h 513052"/>
                <a:gd name="connsiteX1" fmla="*/ 528175 w 554117"/>
                <a:gd name="connsiteY1" fmla="*/ 58575 h 513052"/>
                <a:gd name="connsiteX2" fmla="*/ 514145 w 554117"/>
                <a:gd name="connsiteY2" fmla="*/ 46549 h 513052"/>
                <a:gd name="connsiteX3" fmla="*/ 525016 w 554117"/>
                <a:gd name="connsiteY3" fmla="*/ 47617 h 513052"/>
                <a:gd name="connsiteX4" fmla="*/ 539371 w 554117"/>
                <a:gd name="connsiteY4" fmla="*/ 42694 h 513052"/>
                <a:gd name="connsiteX5" fmla="*/ 554052 w 554117"/>
                <a:gd name="connsiteY5" fmla="*/ 36333 h 513052"/>
                <a:gd name="connsiteX6" fmla="*/ 542902 w 554117"/>
                <a:gd name="connsiteY6" fmla="*/ 24306 h 513052"/>
                <a:gd name="connsiteX7" fmla="*/ 526642 w 554117"/>
                <a:gd name="connsiteY7" fmla="*/ 18316 h 513052"/>
                <a:gd name="connsiteX8" fmla="*/ 515167 w 554117"/>
                <a:gd name="connsiteY8" fmla="*/ 12326 h 513052"/>
                <a:gd name="connsiteX9" fmla="*/ 510800 w 554117"/>
                <a:gd name="connsiteY9" fmla="*/ 11119 h 513052"/>
                <a:gd name="connsiteX10" fmla="*/ 503738 w 554117"/>
                <a:gd name="connsiteY10" fmla="*/ 14416 h 513052"/>
                <a:gd name="connsiteX11" fmla="*/ 498256 w 554117"/>
                <a:gd name="connsiteY11" fmla="*/ 25003 h 513052"/>
                <a:gd name="connsiteX12" fmla="*/ 493146 w 554117"/>
                <a:gd name="connsiteY12" fmla="*/ 27139 h 513052"/>
                <a:gd name="connsiteX13" fmla="*/ 493750 w 554117"/>
                <a:gd name="connsiteY13" fmla="*/ 14741 h 513052"/>
                <a:gd name="connsiteX14" fmla="*/ 491752 w 554117"/>
                <a:gd name="connsiteY14" fmla="*/ 14091 h 513052"/>
                <a:gd name="connsiteX15" fmla="*/ 483994 w 554117"/>
                <a:gd name="connsiteY15" fmla="*/ 11583 h 513052"/>
                <a:gd name="connsiteX16" fmla="*/ 482879 w 554117"/>
                <a:gd name="connsiteY16" fmla="*/ 11305 h 513052"/>
                <a:gd name="connsiteX17" fmla="*/ 480834 w 554117"/>
                <a:gd name="connsiteY17" fmla="*/ 11165 h 513052"/>
                <a:gd name="connsiteX18" fmla="*/ 472611 w 554117"/>
                <a:gd name="connsiteY18" fmla="*/ 11258 h 513052"/>
                <a:gd name="connsiteX19" fmla="*/ 473448 w 554117"/>
                <a:gd name="connsiteY19" fmla="*/ 13673 h 513052"/>
                <a:gd name="connsiteX20" fmla="*/ 460672 w 554117"/>
                <a:gd name="connsiteY20" fmla="*/ 32386 h 513052"/>
                <a:gd name="connsiteX21" fmla="*/ 460997 w 554117"/>
                <a:gd name="connsiteY21" fmla="*/ 12280 h 513052"/>
                <a:gd name="connsiteX22" fmla="*/ 460997 w 554117"/>
                <a:gd name="connsiteY22" fmla="*/ 12094 h 513052"/>
                <a:gd name="connsiteX23" fmla="*/ 455422 w 554117"/>
                <a:gd name="connsiteY23" fmla="*/ 11072 h 513052"/>
                <a:gd name="connsiteX24" fmla="*/ 447292 w 554117"/>
                <a:gd name="connsiteY24" fmla="*/ 20406 h 513052"/>
                <a:gd name="connsiteX25" fmla="*/ 426572 w 554117"/>
                <a:gd name="connsiteY25" fmla="*/ 43019 h 513052"/>
                <a:gd name="connsiteX26" fmla="*/ 430381 w 554117"/>
                <a:gd name="connsiteY26" fmla="*/ 27835 h 513052"/>
                <a:gd name="connsiteX27" fmla="*/ 444411 w 554117"/>
                <a:gd name="connsiteY27" fmla="*/ 9447 h 513052"/>
                <a:gd name="connsiteX28" fmla="*/ 448035 w 554117"/>
                <a:gd name="connsiteY28" fmla="*/ 7172 h 513052"/>
                <a:gd name="connsiteX29" fmla="*/ 442274 w 554117"/>
                <a:gd name="connsiteY29" fmla="*/ 439 h 513052"/>
                <a:gd name="connsiteX30" fmla="*/ 441856 w 554117"/>
                <a:gd name="connsiteY30" fmla="*/ 300 h 513052"/>
                <a:gd name="connsiteX31" fmla="*/ 430056 w 554117"/>
                <a:gd name="connsiteY31" fmla="*/ 10887 h 513052"/>
                <a:gd name="connsiteX32" fmla="*/ 420393 w 554117"/>
                <a:gd name="connsiteY32" fmla="*/ 9494 h 513052"/>
                <a:gd name="connsiteX33" fmla="*/ 411752 w 554117"/>
                <a:gd name="connsiteY33" fmla="*/ 12465 h 513052"/>
                <a:gd name="connsiteX34" fmla="*/ 410962 w 554117"/>
                <a:gd name="connsiteY34" fmla="*/ 17945 h 513052"/>
                <a:gd name="connsiteX35" fmla="*/ 406177 w 554117"/>
                <a:gd name="connsiteY35" fmla="*/ 21474 h 513052"/>
                <a:gd name="connsiteX36" fmla="*/ 391217 w 554117"/>
                <a:gd name="connsiteY36" fmla="*/ 27139 h 513052"/>
                <a:gd name="connsiteX37" fmla="*/ 386107 w 554117"/>
                <a:gd name="connsiteY37" fmla="*/ 36333 h 513052"/>
                <a:gd name="connsiteX38" fmla="*/ 383877 w 554117"/>
                <a:gd name="connsiteY38" fmla="*/ 50124 h 513052"/>
                <a:gd name="connsiteX39" fmla="*/ 375886 w 554117"/>
                <a:gd name="connsiteY39" fmla="*/ 34568 h 513052"/>
                <a:gd name="connsiteX40" fmla="*/ 380346 w 554117"/>
                <a:gd name="connsiteY40" fmla="*/ 25374 h 513052"/>
                <a:gd name="connsiteX41" fmla="*/ 391078 w 554117"/>
                <a:gd name="connsiteY41" fmla="*/ 16087 h 513052"/>
                <a:gd name="connsiteX42" fmla="*/ 376118 w 554117"/>
                <a:gd name="connsiteY42" fmla="*/ 21056 h 513052"/>
                <a:gd name="connsiteX43" fmla="*/ 362274 w 554117"/>
                <a:gd name="connsiteY43" fmla="*/ 20499 h 513052"/>
                <a:gd name="connsiteX44" fmla="*/ 367895 w 554117"/>
                <a:gd name="connsiteY44" fmla="*/ 34893 h 513052"/>
                <a:gd name="connsiteX45" fmla="*/ 361809 w 554117"/>
                <a:gd name="connsiteY45" fmla="*/ 39862 h 513052"/>
                <a:gd name="connsiteX46" fmla="*/ 345549 w 554117"/>
                <a:gd name="connsiteY46" fmla="*/ 40187 h 513052"/>
                <a:gd name="connsiteX47" fmla="*/ 357675 w 554117"/>
                <a:gd name="connsiteY47" fmla="*/ 52214 h 513052"/>
                <a:gd name="connsiteX48" fmla="*/ 347454 w 554117"/>
                <a:gd name="connsiteY48" fmla="*/ 50774 h 513052"/>
                <a:gd name="connsiteX49" fmla="*/ 335979 w 554117"/>
                <a:gd name="connsiteY49" fmla="*/ 43019 h 513052"/>
                <a:gd name="connsiteX50" fmla="*/ 328964 w 554117"/>
                <a:gd name="connsiteY50" fmla="*/ 47617 h 513052"/>
                <a:gd name="connsiteX51" fmla="*/ 334074 w 554117"/>
                <a:gd name="connsiteY51" fmla="*/ 63172 h 513052"/>
                <a:gd name="connsiteX52" fmla="*/ 326734 w 554117"/>
                <a:gd name="connsiteY52" fmla="*/ 58250 h 513052"/>
                <a:gd name="connsiteX53" fmla="*/ 314608 w 554117"/>
                <a:gd name="connsiteY53" fmla="*/ 57182 h 513052"/>
                <a:gd name="connsiteX54" fmla="*/ 313029 w 554117"/>
                <a:gd name="connsiteY54" fmla="*/ 43391 h 513052"/>
                <a:gd name="connsiteX55" fmla="*/ 298023 w 554117"/>
                <a:gd name="connsiteY55" fmla="*/ 44830 h 513052"/>
                <a:gd name="connsiteX56" fmla="*/ 291983 w 554117"/>
                <a:gd name="connsiteY56" fmla="*/ 51517 h 513052"/>
                <a:gd name="connsiteX57" fmla="*/ 290032 w 554117"/>
                <a:gd name="connsiteY57" fmla="*/ 62476 h 513052"/>
                <a:gd name="connsiteX58" fmla="*/ 283017 w 554117"/>
                <a:gd name="connsiteY58" fmla="*/ 68141 h 513052"/>
                <a:gd name="connsiteX59" fmla="*/ 275351 w 554117"/>
                <a:gd name="connsiteY59" fmla="*/ 69209 h 513052"/>
                <a:gd name="connsiteX60" fmla="*/ 260671 w 554117"/>
                <a:gd name="connsiteY60" fmla="*/ 71345 h 513052"/>
                <a:gd name="connsiteX61" fmla="*/ 249521 w 554117"/>
                <a:gd name="connsiteY61" fmla="*/ 87597 h 513052"/>
                <a:gd name="connsiteX62" fmla="*/ 263226 w 554117"/>
                <a:gd name="connsiteY62" fmla="*/ 86529 h 513052"/>
                <a:gd name="connsiteX63" fmla="*/ 266106 w 554117"/>
                <a:gd name="connsiteY63" fmla="*/ 94980 h 513052"/>
                <a:gd name="connsiteX64" fmla="*/ 264201 w 554117"/>
                <a:gd name="connsiteY64" fmla="*/ 101342 h 513052"/>
                <a:gd name="connsiteX65" fmla="*/ 253051 w 554117"/>
                <a:gd name="connsiteY65" fmla="*/ 102735 h 513052"/>
                <a:gd name="connsiteX66" fmla="*/ 243481 w 554117"/>
                <a:gd name="connsiteY66" fmla="*/ 96373 h 513052"/>
                <a:gd name="connsiteX67" fmla="*/ 231681 w 554117"/>
                <a:gd name="connsiteY67" fmla="*/ 102735 h 513052"/>
                <a:gd name="connsiteX68" fmla="*/ 236791 w 554117"/>
                <a:gd name="connsiteY68" fmla="*/ 82953 h 513052"/>
                <a:gd name="connsiteX69" fmla="*/ 224062 w 554117"/>
                <a:gd name="connsiteY69" fmla="*/ 94237 h 513052"/>
                <a:gd name="connsiteX70" fmla="*/ 210357 w 554117"/>
                <a:gd name="connsiteY70" fmla="*/ 105892 h 513052"/>
                <a:gd name="connsiteX71" fmla="*/ 201112 w 554117"/>
                <a:gd name="connsiteY71" fmla="*/ 118615 h 513052"/>
                <a:gd name="connsiteX72" fmla="*/ 174631 w 554117"/>
                <a:gd name="connsiteY72" fmla="*/ 134867 h 513052"/>
                <a:gd name="connsiteX73" fmla="*/ 181971 w 554117"/>
                <a:gd name="connsiteY73" fmla="*/ 135564 h 513052"/>
                <a:gd name="connsiteX74" fmla="*/ 197906 w 554117"/>
                <a:gd name="connsiteY74" fmla="*/ 126741 h 513052"/>
                <a:gd name="connsiteX75" fmla="*/ 218951 w 554117"/>
                <a:gd name="connsiteY75" fmla="*/ 118244 h 513052"/>
                <a:gd name="connsiteX76" fmla="*/ 231681 w 554117"/>
                <a:gd name="connsiteY76" fmla="*/ 116154 h 513052"/>
                <a:gd name="connsiteX77" fmla="*/ 245061 w 554117"/>
                <a:gd name="connsiteY77" fmla="*/ 115086 h 513052"/>
                <a:gd name="connsiteX78" fmla="*/ 243156 w 554117"/>
                <a:gd name="connsiteY78" fmla="*/ 127809 h 513052"/>
                <a:gd name="connsiteX79" fmla="*/ 237116 w 554117"/>
                <a:gd name="connsiteY79" fmla="*/ 131663 h 513052"/>
                <a:gd name="connsiteX80" fmla="*/ 228475 w 554117"/>
                <a:gd name="connsiteY80" fmla="*/ 127066 h 513052"/>
                <a:gd name="connsiteX81" fmla="*/ 218301 w 554117"/>
                <a:gd name="connsiteY81" fmla="*/ 136957 h 513052"/>
                <a:gd name="connsiteX82" fmla="*/ 209706 w 554117"/>
                <a:gd name="connsiteY82" fmla="*/ 154277 h 513052"/>
                <a:gd name="connsiteX83" fmla="*/ 201762 w 554117"/>
                <a:gd name="connsiteY83" fmla="*/ 161707 h 513052"/>
                <a:gd name="connsiteX84" fmla="*/ 181971 w 554117"/>
                <a:gd name="connsiteY84" fmla="*/ 191704 h 513052"/>
                <a:gd name="connsiteX85" fmla="*/ 178440 w 554117"/>
                <a:gd name="connsiteY85" fmla="*/ 209395 h 513052"/>
                <a:gd name="connsiteX86" fmla="*/ 161529 w 554117"/>
                <a:gd name="connsiteY86" fmla="*/ 212553 h 513052"/>
                <a:gd name="connsiteX87" fmla="*/ 158649 w 554117"/>
                <a:gd name="connsiteY87" fmla="*/ 234470 h 513052"/>
                <a:gd name="connsiteX88" fmla="*/ 158649 w 554117"/>
                <a:gd name="connsiteY88" fmla="*/ 250722 h 513052"/>
                <a:gd name="connsiteX89" fmla="*/ 145269 w 554117"/>
                <a:gd name="connsiteY89" fmla="*/ 252812 h 513052"/>
                <a:gd name="connsiteX90" fmla="*/ 130263 w 554117"/>
                <a:gd name="connsiteY90" fmla="*/ 258105 h 513052"/>
                <a:gd name="connsiteX91" fmla="*/ 142389 w 554117"/>
                <a:gd name="connsiteY91" fmla="*/ 272918 h 513052"/>
                <a:gd name="connsiteX92" fmla="*/ 135699 w 554117"/>
                <a:gd name="connsiteY92" fmla="*/ 276075 h 513052"/>
                <a:gd name="connsiteX93" fmla="*/ 127662 w 554117"/>
                <a:gd name="connsiteY93" fmla="*/ 277468 h 513052"/>
                <a:gd name="connsiteX94" fmla="*/ 126686 w 554117"/>
                <a:gd name="connsiteY94" fmla="*/ 284434 h 513052"/>
                <a:gd name="connsiteX95" fmla="*/ 78230 w 554117"/>
                <a:gd name="connsiteY95" fmla="*/ 330776 h 513052"/>
                <a:gd name="connsiteX96" fmla="*/ 61924 w 554117"/>
                <a:gd name="connsiteY96" fmla="*/ 332261 h 513052"/>
                <a:gd name="connsiteX97" fmla="*/ 54909 w 554117"/>
                <a:gd name="connsiteY97" fmla="*/ 333794 h 513052"/>
                <a:gd name="connsiteX98" fmla="*/ 49009 w 554117"/>
                <a:gd name="connsiteY98" fmla="*/ 340805 h 513052"/>
                <a:gd name="connsiteX99" fmla="*/ 49334 w 554117"/>
                <a:gd name="connsiteY99" fmla="*/ 342616 h 513052"/>
                <a:gd name="connsiteX100" fmla="*/ 57232 w 554117"/>
                <a:gd name="connsiteY100" fmla="*/ 347028 h 513052"/>
                <a:gd name="connsiteX101" fmla="*/ 49520 w 554117"/>
                <a:gd name="connsiteY101" fmla="*/ 349303 h 513052"/>
                <a:gd name="connsiteX102" fmla="*/ 43016 w 554117"/>
                <a:gd name="connsiteY102" fmla="*/ 361933 h 513052"/>
                <a:gd name="connsiteX103" fmla="*/ 15373 w 554117"/>
                <a:gd name="connsiteY103" fmla="*/ 376978 h 513052"/>
                <a:gd name="connsiteX104" fmla="*/ 18486 w 554117"/>
                <a:gd name="connsiteY104" fmla="*/ 395784 h 513052"/>
                <a:gd name="connsiteX105" fmla="*/ 9055 w 554117"/>
                <a:gd name="connsiteY105" fmla="*/ 419884 h 513052"/>
                <a:gd name="connsiteX106" fmla="*/ 1900 w 554117"/>
                <a:gd name="connsiteY106" fmla="*/ 426849 h 513052"/>
                <a:gd name="connsiteX107" fmla="*/ 1436 w 554117"/>
                <a:gd name="connsiteY107" fmla="*/ 435347 h 513052"/>
                <a:gd name="connsiteX108" fmla="*/ 12585 w 554117"/>
                <a:gd name="connsiteY108" fmla="*/ 439201 h 513052"/>
                <a:gd name="connsiteX109" fmla="*/ 27870 w 554117"/>
                <a:gd name="connsiteY109" fmla="*/ 432839 h 513052"/>
                <a:gd name="connsiteX110" fmla="*/ 31680 w 554117"/>
                <a:gd name="connsiteY110" fmla="*/ 440269 h 513052"/>
                <a:gd name="connsiteX111" fmla="*/ 20530 w 554117"/>
                <a:gd name="connsiteY111" fmla="*/ 450159 h 513052"/>
                <a:gd name="connsiteX112" fmla="*/ 11935 w 554117"/>
                <a:gd name="connsiteY112" fmla="*/ 447698 h 513052"/>
                <a:gd name="connsiteX113" fmla="*/ 4595 w 554117"/>
                <a:gd name="connsiteY113" fmla="*/ 454756 h 513052"/>
                <a:gd name="connsiteX114" fmla="*/ 3015 w 554117"/>
                <a:gd name="connsiteY114" fmla="*/ 468872 h 513052"/>
                <a:gd name="connsiteX115" fmla="*/ 15141 w 554117"/>
                <a:gd name="connsiteY115" fmla="*/ 467108 h 513052"/>
                <a:gd name="connsiteX116" fmla="*/ 26616 w 554117"/>
                <a:gd name="connsiteY116" fmla="*/ 468547 h 513052"/>
                <a:gd name="connsiteX117" fmla="*/ 21227 w 554117"/>
                <a:gd name="connsiteY117" fmla="*/ 478067 h 513052"/>
                <a:gd name="connsiteX118" fmla="*/ 13840 w 554117"/>
                <a:gd name="connsiteY118" fmla="*/ 483685 h 513052"/>
                <a:gd name="connsiteX119" fmla="*/ 19275 w 554117"/>
                <a:gd name="connsiteY119" fmla="*/ 489257 h 513052"/>
                <a:gd name="connsiteX120" fmla="*/ 19415 w 554117"/>
                <a:gd name="connsiteY120" fmla="*/ 489257 h 513052"/>
                <a:gd name="connsiteX121" fmla="*/ 20019 w 554117"/>
                <a:gd name="connsiteY121" fmla="*/ 489629 h 513052"/>
                <a:gd name="connsiteX122" fmla="*/ 25361 w 554117"/>
                <a:gd name="connsiteY122" fmla="*/ 492693 h 513052"/>
                <a:gd name="connsiteX123" fmla="*/ 40693 w 554117"/>
                <a:gd name="connsiteY123" fmla="*/ 503745 h 513052"/>
                <a:gd name="connsiteX124" fmla="*/ 45245 w 554117"/>
                <a:gd name="connsiteY124" fmla="*/ 510478 h 513052"/>
                <a:gd name="connsiteX125" fmla="*/ 60112 w 554117"/>
                <a:gd name="connsiteY125" fmla="*/ 512707 h 513052"/>
                <a:gd name="connsiteX126" fmla="*/ 100298 w 554117"/>
                <a:gd name="connsiteY126" fmla="*/ 479877 h 513052"/>
                <a:gd name="connsiteX127" fmla="*/ 115304 w 554117"/>
                <a:gd name="connsiteY127" fmla="*/ 476348 h 513052"/>
                <a:gd name="connsiteX128" fmla="*/ 120739 w 554117"/>
                <a:gd name="connsiteY128" fmla="*/ 459075 h 513052"/>
                <a:gd name="connsiteX129" fmla="*/ 129334 w 554117"/>
                <a:gd name="connsiteY129" fmla="*/ 472123 h 513052"/>
                <a:gd name="connsiteX130" fmla="*/ 134445 w 554117"/>
                <a:gd name="connsiteY130" fmla="*/ 482942 h 513052"/>
                <a:gd name="connsiteX131" fmla="*/ 141181 w 554117"/>
                <a:gd name="connsiteY131" fmla="*/ 484010 h 513052"/>
                <a:gd name="connsiteX132" fmla="*/ 146291 w 554117"/>
                <a:gd name="connsiteY132" fmla="*/ 468129 h 513052"/>
                <a:gd name="connsiteX133" fmla="*/ 149357 w 554117"/>
                <a:gd name="connsiteY133" fmla="*/ 448813 h 513052"/>
                <a:gd name="connsiteX134" fmla="*/ 163713 w 554117"/>
                <a:gd name="connsiteY134" fmla="*/ 443148 h 513052"/>
                <a:gd name="connsiteX135" fmla="*/ 162691 w 554117"/>
                <a:gd name="connsiteY135" fmla="*/ 420441 h 513052"/>
                <a:gd name="connsiteX136" fmla="*/ 161669 w 554117"/>
                <a:gd name="connsiteY136" fmla="*/ 409111 h 513052"/>
                <a:gd name="connsiteX137" fmla="*/ 169892 w 554117"/>
                <a:gd name="connsiteY137" fmla="*/ 396620 h 513052"/>
                <a:gd name="connsiteX138" fmla="*/ 155536 w 554117"/>
                <a:gd name="connsiteY138" fmla="*/ 379625 h 513052"/>
                <a:gd name="connsiteX139" fmla="*/ 156559 w 554117"/>
                <a:gd name="connsiteY139" fmla="*/ 356918 h 513052"/>
                <a:gd name="connsiteX140" fmla="*/ 156559 w 554117"/>
                <a:gd name="connsiteY140" fmla="*/ 333097 h 513052"/>
                <a:gd name="connsiteX141" fmla="*/ 158603 w 554117"/>
                <a:gd name="connsiteY141" fmla="*/ 309276 h 513052"/>
                <a:gd name="connsiteX142" fmla="*/ 180112 w 554117"/>
                <a:gd name="connsiteY142" fmla="*/ 293396 h 513052"/>
                <a:gd name="connsiteX143" fmla="*/ 194468 w 554117"/>
                <a:gd name="connsiteY143" fmla="*/ 292235 h 513052"/>
                <a:gd name="connsiteX144" fmla="*/ 194468 w 554117"/>
                <a:gd name="connsiteY144" fmla="*/ 278629 h 513052"/>
                <a:gd name="connsiteX145" fmla="*/ 189358 w 554117"/>
                <a:gd name="connsiteY145" fmla="*/ 266138 h 513052"/>
                <a:gd name="connsiteX146" fmla="*/ 203713 w 554117"/>
                <a:gd name="connsiteY146" fmla="*/ 235538 h 513052"/>
                <a:gd name="connsiteX147" fmla="*/ 204735 w 554117"/>
                <a:gd name="connsiteY147" fmla="*/ 213946 h 513052"/>
                <a:gd name="connsiteX148" fmla="*/ 221135 w 554117"/>
                <a:gd name="connsiteY148" fmla="*/ 209442 h 513052"/>
                <a:gd name="connsiteX149" fmla="*/ 225223 w 554117"/>
                <a:gd name="connsiteY149" fmla="*/ 195836 h 513052"/>
                <a:gd name="connsiteX150" fmla="*/ 236512 w 554117"/>
                <a:gd name="connsiteY150" fmla="*/ 177680 h 513052"/>
                <a:gd name="connsiteX151" fmla="*/ 241623 w 554117"/>
                <a:gd name="connsiteY151" fmla="*/ 165189 h 513052"/>
                <a:gd name="connsiteX152" fmla="*/ 247755 w 554117"/>
                <a:gd name="connsiteY152" fmla="*/ 148148 h 513052"/>
                <a:gd name="connsiteX153" fmla="*/ 264155 w 554117"/>
                <a:gd name="connsiteY153" fmla="*/ 134542 h 513052"/>
                <a:gd name="connsiteX154" fmla="*/ 280555 w 554117"/>
                <a:gd name="connsiteY154" fmla="*/ 127763 h 513052"/>
                <a:gd name="connsiteX155" fmla="*/ 285665 w 554117"/>
                <a:gd name="connsiteY155" fmla="*/ 110768 h 513052"/>
                <a:gd name="connsiteX156" fmla="*/ 308197 w 554117"/>
                <a:gd name="connsiteY156" fmla="*/ 115318 h 513052"/>
                <a:gd name="connsiteX157" fmla="*/ 322552 w 554117"/>
                <a:gd name="connsiteY157" fmla="*/ 110768 h 513052"/>
                <a:gd name="connsiteX158" fmla="*/ 334864 w 554117"/>
                <a:gd name="connsiteY158" fmla="*/ 92612 h 513052"/>
                <a:gd name="connsiteX159" fmla="*/ 336954 w 554117"/>
                <a:gd name="connsiteY159" fmla="*/ 94051 h 513052"/>
                <a:gd name="connsiteX160" fmla="*/ 351263 w 554117"/>
                <a:gd name="connsiteY160" fmla="*/ 82396 h 513052"/>
                <a:gd name="connsiteX161" fmla="*/ 374818 w 554117"/>
                <a:gd name="connsiteY161" fmla="*/ 101667 h 513052"/>
                <a:gd name="connsiteX162" fmla="*/ 398372 w 554117"/>
                <a:gd name="connsiteY162" fmla="*/ 102781 h 513052"/>
                <a:gd name="connsiteX163" fmla="*/ 414771 w 554117"/>
                <a:gd name="connsiteY163" fmla="*/ 103895 h 513052"/>
                <a:gd name="connsiteX164" fmla="*/ 427083 w 554117"/>
                <a:gd name="connsiteY164" fmla="*/ 107285 h 513052"/>
                <a:gd name="connsiteX165" fmla="*/ 436281 w 554117"/>
                <a:gd name="connsiteY165" fmla="*/ 93680 h 513052"/>
                <a:gd name="connsiteX166" fmla="*/ 440370 w 554117"/>
                <a:gd name="connsiteY166" fmla="*/ 73248 h 513052"/>
                <a:gd name="connsiteX167" fmla="*/ 453656 w 554117"/>
                <a:gd name="connsiteY167" fmla="*/ 57368 h 513052"/>
                <a:gd name="connsiteX168" fmla="*/ 475166 w 554117"/>
                <a:gd name="connsiteY168" fmla="*/ 51703 h 513052"/>
                <a:gd name="connsiteX169" fmla="*/ 492588 w 554117"/>
                <a:gd name="connsiteY169" fmla="*/ 51703 h 513052"/>
                <a:gd name="connsiteX170" fmla="*/ 515120 w 554117"/>
                <a:gd name="connsiteY170" fmla="*/ 68744 h 513052"/>
                <a:gd name="connsiteX171" fmla="*/ 515120 w 554117"/>
                <a:gd name="connsiteY171" fmla="*/ 82071 h 513052"/>
                <a:gd name="connsiteX172" fmla="*/ 525016 w 554117"/>
                <a:gd name="connsiteY172" fmla="*/ 76638 h 513052"/>
                <a:gd name="connsiteX173" fmla="*/ 542856 w 554117"/>
                <a:gd name="connsiteY173" fmla="*/ 67444 h 513052"/>
                <a:gd name="connsiteX174" fmla="*/ 553820 w 554117"/>
                <a:gd name="connsiteY174" fmla="*/ 58900 h 513052"/>
                <a:gd name="connsiteX175" fmla="*/ 537745 w 554117"/>
                <a:gd name="connsiteY175" fmla="*/ 59690 h 513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554117" h="513052">
                  <a:moveTo>
                    <a:pt x="537745" y="59643"/>
                  </a:moveTo>
                  <a:cubicBezTo>
                    <a:pt x="536444" y="64937"/>
                    <a:pt x="527850" y="63869"/>
                    <a:pt x="528175" y="58575"/>
                  </a:cubicBezTo>
                  <a:cubicBezTo>
                    <a:pt x="528500" y="53282"/>
                    <a:pt x="514795" y="49056"/>
                    <a:pt x="514145" y="46549"/>
                  </a:cubicBezTo>
                  <a:cubicBezTo>
                    <a:pt x="513494" y="44087"/>
                    <a:pt x="519905" y="44413"/>
                    <a:pt x="525016" y="47617"/>
                  </a:cubicBezTo>
                  <a:cubicBezTo>
                    <a:pt x="530126" y="50820"/>
                    <a:pt x="533611" y="48685"/>
                    <a:pt x="539371" y="42694"/>
                  </a:cubicBezTo>
                  <a:cubicBezTo>
                    <a:pt x="545132" y="36704"/>
                    <a:pt x="553076" y="41626"/>
                    <a:pt x="554052" y="36333"/>
                  </a:cubicBezTo>
                  <a:cubicBezTo>
                    <a:pt x="555028" y="31039"/>
                    <a:pt x="544807" y="27510"/>
                    <a:pt x="542902" y="24306"/>
                  </a:cubicBezTo>
                  <a:cubicBezTo>
                    <a:pt x="540997" y="21102"/>
                    <a:pt x="533657" y="16877"/>
                    <a:pt x="526642" y="18316"/>
                  </a:cubicBezTo>
                  <a:cubicBezTo>
                    <a:pt x="519627" y="19709"/>
                    <a:pt x="519301" y="16552"/>
                    <a:pt x="515167" y="12326"/>
                  </a:cubicBezTo>
                  <a:cubicBezTo>
                    <a:pt x="514145" y="11258"/>
                    <a:pt x="512565" y="10933"/>
                    <a:pt x="510800" y="11119"/>
                  </a:cubicBezTo>
                  <a:cubicBezTo>
                    <a:pt x="508616" y="12558"/>
                    <a:pt x="506247" y="13719"/>
                    <a:pt x="503738" y="14416"/>
                  </a:cubicBezTo>
                  <a:cubicBezTo>
                    <a:pt x="500672" y="16970"/>
                    <a:pt x="498256" y="20731"/>
                    <a:pt x="498256" y="25003"/>
                  </a:cubicBezTo>
                  <a:cubicBezTo>
                    <a:pt x="498256" y="34893"/>
                    <a:pt x="490265" y="32432"/>
                    <a:pt x="493146" y="27139"/>
                  </a:cubicBezTo>
                  <a:cubicBezTo>
                    <a:pt x="495608" y="22588"/>
                    <a:pt x="491055" y="17295"/>
                    <a:pt x="493750" y="14741"/>
                  </a:cubicBezTo>
                  <a:cubicBezTo>
                    <a:pt x="493099" y="14555"/>
                    <a:pt x="492402" y="14369"/>
                    <a:pt x="491752" y="14091"/>
                  </a:cubicBezTo>
                  <a:cubicBezTo>
                    <a:pt x="489197" y="13069"/>
                    <a:pt x="486688" y="12280"/>
                    <a:pt x="483994" y="11583"/>
                  </a:cubicBezTo>
                  <a:cubicBezTo>
                    <a:pt x="483204" y="11444"/>
                    <a:pt x="482832" y="11351"/>
                    <a:pt x="482879" y="11305"/>
                  </a:cubicBezTo>
                  <a:cubicBezTo>
                    <a:pt x="482182" y="11258"/>
                    <a:pt x="481485" y="11165"/>
                    <a:pt x="480834" y="11165"/>
                  </a:cubicBezTo>
                  <a:cubicBezTo>
                    <a:pt x="478093" y="11026"/>
                    <a:pt x="475352" y="11165"/>
                    <a:pt x="472611" y="11258"/>
                  </a:cubicBezTo>
                  <a:cubicBezTo>
                    <a:pt x="472658" y="12233"/>
                    <a:pt x="472937" y="13069"/>
                    <a:pt x="473448" y="13673"/>
                  </a:cubicBezTo>
                  <a:cubicBezTo>
                    <a:pt x="476328" y="17202"/>
                    <a:pt x="465457" y="32386"/>
                    <a:pt x="460672" y="32386"/>
                  </a:cubicBezTo>
                  <a:cubicBezTo>
                    <a:pt x="455887" y="32386"/>
                    <a:pt x="461322" y="19338"/>
                    <a:pt x="460997" y="12280"/>
                  </a:cubicBezTo>
                  <a:cubicBezTo>
                    <a:pt x="460997" y="12187"/>
                    <a:pt x="460997" y="12187"/>
                    <a:pt x="460997" y="12094"/>
                  </a:cubicBezTo>
                  <a:cubicBezTo>
                    <a:pt x="459046" y="11908"/>
                    <a:pt x="457187" y="11630"/>
                    <a:pt x="455422" y="11072"/>
                  </a:cubicBezTo>
                  <a:cubicBezTo>
                    <a:pt x="453331" y="13023"/>
                    <a:pt x="450637" y="16180"/>
                    <a:pt x="447292" y="20406"/>
                  </a:cubicBezTo>
                  <a:cubicBezTo>
                    <a:pt x="438372" y="31689"/>
                    <a:pt x="431682" y="41952"/>
                    <a:pt x="426572" y="43019"/>
                  </a:cubicBezTo>
                  <a:cubicBezTo>
                    <a:pt x="421461" y="44087"/>
                    <a:pt x="422112" y="32757"/>
                    <a:pt x="430381" y="27835"/>
                  </a:cubicBezTo>
                  <a:cubicBezTo>
                    <a:pt x="438651" y="22867"/>
                    <a:pt x="438976" y="9447"/>
                    <a:pt x="444411" y="9447"/>
                  </a:cubicBezTo>
                  <a:cubicBezTo>
                    <a:pt x="446409" y="9447"/>
                    <a:pt x="447617" y="8472"/>
                    <a:pt x="448035" y="7172"/>
                  </a:cubicBezTo>
                  <a:cubicBezTo>
                    <a:pt x="445759" y="5361"/>
                    <a:pt x="443807" y="3132"/>
                    <a:pt x="442274" y="439"/>
                  </a:cubicBezTo>
                  <a:cubicBezTo>
                    <a:pt x="442135" y="439"/>
                    <a:pt x="441996" y="300"/>
                    <a:pt x="441856" y="300"/>
                  </a:cubicBezTo>
                  <a:cubicBezTo>
                    <a:pt x="433866" y="-1836"/>
                    <a:pt x="432611" y="8054"/>
                    <a:pt x="430056" y="10887"/>
                  </a:cubicBezTo>
                  <a:cubicBezTo>
                    <a:pt x="428662" y="12419"/>
                    <a:pt x="424156" y="10794"/>
                    <a:pt x="420393" y="9494"/>
                  </a:cubicBezTo>
                  <a:cubicBezTo>
                    <a:pt x="417745" y="11072"/>
                    <a:pt x="414771" y="12140"/>
                    <a:pt x="411752" y="12465"/>
                  </a:cubicBezTo>
                  <a:cubicBezTo>
                    <a:pt x="410358" y="13719"/>
                    <a:pt x="409382" y="15298"/>
                    <a:pt x="410962" y="17945"/>
                  </a:cubicBezTo>
                  <a:cubicBezTo>
                    <a:pt x="414167" y="23238"/>
                    <a:pt x="409382" y="27835"/>
                    <a:pt x="406177" y="21474"/>
                  </a:cubicBezTo>
                  <a:cubicBezTo>
                    <a:pt x="402971" y="15112"/>
                    <a:pt x="395027" y="20034"/>
                    <a:pt x="391217" y="27139"/>
                  </a:cubicBezTo>
                  <a:cubicBezTo>
                    <a:pt x="387361" y="34197"/>
                    <a:pt x="382297" y="33825"/>
                    <a:pt x="386107" y="36333"/>
                  </a:cubicBezTo>
                  <a:cubicBezTo>
                    <a:pt x="389916" y="38794"/>
                    <a:pt x="389638" y="48359"/>
                    <a:pt x="383877" y="50124"/>
                  </a:cubicBezTo>
                  <a:cubicBezTo>
                    <a:pt x="378116" y="51889"/>
                    <a:pt x="380346" y="32804"/>
                    <a:pt x="375886" y="34568"/>
                  </a:cubicBezTo>
                  <a:cubicBezTo>
                    <a:pt x="371426" y="36333"/>
                    <a:pt x="374307" y="25374"/>
                    <a:pt x="380346" y="25374"/>
                  </a:cubicBezTo>
                  <a:cubicBezTo>
                    <a:pt x="384852" y="25374"/>
                    <a:pt x="389359" y="19895"/>
                    <a:pt x="391078" y="16087"/>
                  </a:cubicBezTo>
                  <a:cubicBezTo>
                    <a:pt x="386107" y="17852"/>
                    <a:pt x="381229" y="19709"/>
                    <a:pt x="376118" y="21056"/>
                  </a:cubicBezTo>
                  <a:cubicBezTo>
                    <a:pt x="371426" y="22310"/>
                    <a:pt x="366641" y="21985"/>
                    <a:pt x="362274" y="20499"/>
                  </a:cubicBezTo>
                  <a:cubicBezTo>
                    <a:pt x="359347" y="23563"/>
                    <a:pt x="361159" y="30621"/>
                    <a:pt x="367895" y="34893"/>
                  </a:cubicBezTo>
                  <a:cubicBezTo>
                    <a:pt x="376815" y="40558"/>
                    <a:pt x="366316" y="44087"/>
                    <a:pt x="361809" y="39862"/>
                  </a:cubicBezTo>
                  <a:cubicBezTo>
                    <a:pt x="357349" y="35636"/>
                    <a:pt x="350334" y="37726"/>
                    <a:pt x="345549" y="40187"/>
                  </a:cubicBezTo>
                  <a:cubicBezTo>
                    <a:pt x="340764" y="42648"/>
                    <a:pt x="357024" y="49010"/>
                    <a:pt x="357675" y="52214"/>
                  </a:cubicBezTo>
                  <a:cubicBezTo>
                    <a:pt x="358325" y="55371"/>
                    <a:pt x="349359" y="48313"/>
                    <a:pt x="347454" y="50774"/>
                  </a:cubicBezTo>
                  <a:cubicBezTo>
                    <a:pt x="345549" y="53282"/>
                    <a:pt x="336629" y="49010"/>
                    <a:pt x="335979" y="43019"/>
                  </a:cubicBezTo>
                  <a:cubicBezTo>
                    <a:pt x="335328" y="37029"/>
                    <a:pt x="320973" y="45481"/>
                    <a:pt x="328964" y="47617"/>
                  </a:cubicBezTo>
                  <a:cubicBezTo>
                    <a:pt x="336954" y="49753"/>
                    <a:pt x="334074" y="55418"/>
                    <a:pt x="334074" y="63172"/>
                  </a:cubicBezTo>
                  <a:cubicBezTo>
                    <a:pt x="334074" y="70927"/>
                    <a:pt x="324829" y="64937"/>
                    <a:pt x="326734" y="58250"/>
                  </a:cubicBezTo>
                  <a:cubicBezTo>
                    <a:pt x="328638" y="51563"/>
                    <a:pt x="320973" y="52957"/>
                    <a:pt x="314608" y="57182"/>
                  </a:cubicBezTo>
                  <a:cubicBezTo>
                    <a:pt x="308243" y="61408"/>
                    <a:pt x="315584" y="49428"/>
                    <a:pt x="313029" y="43391"/>
                  </a:cubicBezTo>
                  <a:cubicBezTo>
                    <a:pt x="310474" y="37401"/>
                    <a:pt x="304713" y="43391"/>
                    <a:pt x="298023" y="44830"/>
                  </a:cubicBezTo>
                  <a:cubicBezTo>
                    <a:pt x="291333" y="46223"/>
                    <a:pt x="287848" y="46595"/>
                    <a:pt x="291983" y="51517"/>
                  </a:cubicBezTo>
                  <a:cubicBezTo>
                    <a:pt x="296118" y="56439"/>
                    <a:pt x="295514" y="63497"/>
                    <a:pt x="290032" y="62476"/>
                  </a:cubicBezTo>
                  <a:cubicBezTo>
                    <a:pt x="284596" y="61408"/>
                    <a:pt x="282413" y="62476"/>
                    <a:pt x="283017" y="68141"/>
                  </a:cubicBezTo>
                  <a:cubicBezTo>
                    <a:pt x="283667" y="73759"/>
                    <a:pt x="276002" y="74131"/>
                    <a:pt x="275351" y="69209"/>
                  </a:cubicBezTo>
                  <a:cubicBezTo>
                    <a:pt x="274701" y="64287"/>
                    <a:pt x="263876" y="65680"/>
                    <a:pt x="260671" y="71345"/>
                  </a:cubicBezTo>
                  <a:cubicBezTo>
                    <a:pt x="257465" y="76963"/>
                    <a:pt x="248545" y="81235"/>
                    <a:pt x="249521" y="87597"/>
                  </a:cubicBezTo>
                  <a:cubicBezTo>
                    <a:pt x="250450" y="93958"/>
                    <a:pt x="257511" y="84393"/>
                    <a:pt x="263226" y="86529"/>
                  </a:cubicBezTo>
                  <a:cubicBezTo>
                    <a:pt x="268986" y="88665"/>
                    <a:pt x="262900" y="91822"/>
                    <a:pt x="266106" y="94980"/>
                  </a:cubicBezTo>
                  <a:cubicBezTo>
                    <a:pt x="269265" y="98184"/>
                    <a:pt x="268661" y="105939"/>
                    <a:pt x="264201" y="101342"/>
                  </a:cubicBezTo>
                  <a:cubicBezTo>
                    <a:pt x="259741" y="96744"/>
                    <a:pt x="253981" y="95305"/>
                    <a:pt x="253051" y="102735"/>
                  </a:cubicBezTo>
                  <a:cubicBezTo>
                    <a:pt x="252076" y="110164"/>
                    <a:pt x="247337" y="101667"/>
                    <a:pt x="243481" y="96373"/>
                  </a:cubicBezTo>
                  <a:cubicBezTo>
                    <a:pt x="239672" y="91079"/>
                    <a:pt x="235816" y="106264"/>
                    <a:pt x="231681" y="102735"/>
                  </a:cubicBezTo>
                  <a:cubicBezTo>
                    <a:pt x="227546" y="99205"/>
                    <a:pt x="239950" y="88247"/>
                    <a:pt x="236791" y="82953"/>
                  </a:cubicBezTo>
                  <a:cubicBezTo>
                    <a:pt x="233586" y="77660"/>
                    <a:pt x="231356" y="86111"/>
                    <a:pt x="224062" y="94237"/>
                  </a:cubicBezTo>
                  <a:cubicBezTo>
                    <a:pt x="216721" y="102363"/>
                    <a:pt x="206872" y="101992"/>
                    <a:pt x="210357" y="105892"/>
                  </a:cubicBezTo>
                  <a:cubicBezTo>
                    <a:pt x="213841" y="109793"/>
                    <a:pt x="203016" y="111882"/>
                    <a:pt x="201112" y="118615"/>
                  </a:cubicBezTo>
                  <a:cubicBezTo>
                    <a:pt x="199207" y="125348"/>
                    <a:pt x="184201" y="127809"/>
                    <a:pt x="174631" y="134867"/>
                  </a:cubicBezTo>
                  <a:cubicBezTo>
                    <a:pt x="165060" y="141925"/>
                    <a:pt x="176535" y="142297"/>
                    <a:pt x="181971" y="135564"/>
                  </a:cubicBezTo>
                  <a:cubicBezTo>
                    <a:pt x="187406" y="128831"/>
                    <a:pt x="189311" y="132731"/>
                    <a:pt x="197906" y="126741"/>
                  </a:cubicBezTo>
                  <a:cubicBezTo>
                    <a:pt x="206547" y="120751"/>
                    <a:pt x="215746" y="115783"/>
                    <a:pt x="218951" y="118244"/>
                  </a:cubicBezTo>
                  <a:cubicBezTo>
                    <a:pt x="222111" y="120705"/>
                    <a:pt x="227546" y="122516"/>
                    <a:pt x="231681" y="116154"/>
                  </a:cubicBezTo>
                  <a:cubicBezTo>
                    <a:pt x="235816" y="109793"/>
                    <a:pt x="240926" y="111186"/>
                    <a:pt x="245061" y="115086"/>
                  </a:cubicBezTo>
                  <a:cubicBezTo>
                    <a:pt x="249196" y="118987"/>
                    <a:pt x="238046" y="122144"/>
                    <a:pt x="243156" y="127809"/>
                  </a:cubicBezTo>
                  <a:cubicBezTo>
                    <a:pt x="248266" y="133474"/>
                    <a:pt x="237116" y="136632"/>
                    <a:pt x="237116" y="131663"/>
                  </a:cubicBezTo>
                  <a:cubicBezTo>
                    <a:pt x="237116" y="126695"/>
                    <a:pt x="230752" y="122469"/>
                    <a:pt x="228475" y="127066"/>
                  </a:cubicBezTo>
                  <a:cubicBezTo>
                    <a:pt x="226245" y="131663"/>
                    <a:pt x="222436" y="136585"/>
                    <a:pt x="218301" y="136957"/>
                  </a:cubicBezTo>
                  <a:cubicBezTo>
                    <a:pt x="214166" y="137328"/>
                    <a:pt x="209706" y="145780"/>
                    <a:pt x="209706" y="154277"/>
                  </a:cubicBezTo>
                  <a:cubicBezTo>
                    <a:pt x="209706" y="162775"/>
                    <a:pt x="202366" y="154277"/>
                    <a:pt x="201762" y="161707"/>
                  </a:cubicBezTo>
                  <a:cubicBezTo>
                    <a:pt x="201112" y="169136"/>
                    <a:pt x="190891" y="182184"/>
                    <a:pt x="181971" y="191704"/>
                  </a:cubicBezTo>
                  <a:cubicBezTo>
                    <a:pt x="173051" y="201223"/>
                    <a:pt x="181320" y="203359"/>
                    <a:pt x="178440" y="209395"/>
                  </a:cubicBezTo>
                  <a:cubicBezTo>
                    <a:pt x="175560" y="215385"/>
                    <a:pt x="165060" y="210092"/>
                    <a:pt x="161529" y="212553"/>
                  </a:cubicBezTo>
                  <a:cubicBezTo>
                    <a:pt x="157999" y="215060"/>
                    <a:pt x="163434" y="229873"/>
                    <a:pt x="158649" y="234470"/>
                  </a:cubicBezTo>
                  <a:cubicBezTo>
                    <a:pt x="153864" y="239067"/>
                    <a:pt x="158649" y="245428"/>
                    <a:pt x="158649" y="250722"/>
                  </a:cubicBezTo>
                  <a:cubicBezTo>
                    <a:pt x="158649" y="256016"/>
                    <a:pt x="146198" y="247518"/>
                    <a:pt x="145269" y="252812"/>
                  </a:cubicBezTo>
                  <a:cubicBezTo>
                    <a:pt x="144294" y="258105"/>
                    <a:pt x="133469" y="256712"/>
                    <a:pt x="130263" y="258105"/>
                  </a:cubicBezTo>
                  <a:cubicBezTo>
                    <a:pt x="127058" y="259498"/>
                    <a:pt x="136628" y="267996"/>
                    <a:pt x="142389" y="272918"/>
                  </a:cubicBezTo>
                  <a:cubicBezTo>
                    <a:pt x="148103" y="277886"/>
                    <a:pt x="136953" y="281740"/>
                    <a:pt x="135699" y="276075"/>
                  </a:cubicBezTo>
                  <a:cubicBezTo>
                    <a:pt x="134956" y="272825"/>
                    <a:pt x="131982" y="274497"/>
                    <a:pt x="127662" y="277468"/>
                  </a:cubicBezTo>
                  <a:cubicBezTo>
                    <a:pt x="127801" y="279883"/>
                    <a:pt x="127522" y="282298"/>
                    <a:pt x="126686" y="284434"/>
                  </a:cubicBezTo>
                  <a:cubicBezTo>
                    <a:pt x="117441" y="307697"/>
                    <a:pt x="101041" y="320699"/>
                    <a:pt x="78230" y="330776"/>
                  </a:cubicBezTo>
                  <a:cubicBezTo>
                    <a:pt x="72470" y="333329"/>
                    <a:pt x="66895" y="333562"/>
                    <a:pt x="61924" y="332261"/>
                  </a:cubicBezTo>
                  <a:cubicBezTo>
                    <a:pt x="59787" y="333051"/>
                    <a:pt x="57324" y="333422"/>
                    <a:pt x="54909" y="333794"/>
                  </a:cubicBezTo>
                  <a:cubicBezTo>
                    <a:pt x="53469" y="336394"/>
                    <a:pt x="51564" y="338809"/>
                    <a:pt x="49009" y="340805"/>
                  </a:cubicBezTo>
                  <a:cubicBezTo>
                    <a:pt x="49148" y="341409"/>
                    <a:pt x="49241" y="342013"/>
                    <a:pt x="49334" y="342616"/>
                  </a:cubicBezTo>
                  <a:cubicBezTo>
                    <a:pt x="52400" y="343824"/>
                    <a:pt x="56256" y="344892"/>
                    <a:pt x="57232" y="347028"/>
                  </a:cubicBezTo>
                  <a:cubicBezTo>
                    <a:pt x="58347" y="349442"/>
                    <a:pt x="54398" y="349814"/>
                    <a:pt x="49520" y="349303"/>
                  </a:cubicBezTo>
                  <a:cubicBezTo>
                    <a:pt x="48962" y="353993"/>
                    <a:pt x="46871" y="358451"/>
                    <a:pt x="43016" y="361933"/>
                  </a:cubicBezTo>
                  <a:cubicBezTo>
                    <a:pt x="34467" y="369548"/>
                    <a:pt x="25408" y="374610"/>
                    <a:pt x="15373" y="376978"/>
                  </a:cubicBezTo>
                  <a:cubicBezTo>
                    <a:pt x="18950" y="381807"/>
                    <a:pt x="20576" y="388215"/>
                    <a:pt x="18486" y="395784"/>
                  </a:cubicBezTo>
                  <a:cubicBezTo>
                    <a:pt x="16116" y="404328"/>
                    <a:pt x="14305" y="412501"/>
                    <a:pt x="9055" y="419884"/>
                  </a:cubicBezTo>
                  <a:cubicBezTo>
                    <a:pt x="6964" y="422809"/>
                    <a:pt x="4548" y="425084"/>
                    <a:pt x="1900" y="426849"/>
                  </a:cubicBezTo>
                  <a:cubicBezTo>
                    <a:pt x="321" y="428846"/>
                    <a:pt x="-1212" y="431121"/>
                    <a:pt x="1436" y="435347"/>
                  </a:cubicBezTo>
                  <a:cubicBezTo>
                    <a:pt x="6546" y="443473"/>
                    <a:pt x="10356" y="433211"/>
                    <a:pt x="12585" y="439201"/>
                  </a:cubicBezTo>
                  <a:cubicBezTo>
                    <a:pt x="14816" y="445237"/>
                    <a:pt x="20855" y="439897"/>
                    <a:pt x="27870" y="432839"/>
                  </a:cubicBezTo>
                  <a:cubicBezTo>
                    <a:pt x="34885" y="425781"/>
                    <a:pt x="37441" y="440594"/>
                    <a:pt x="31680" y="440269"/>
                  </a:cubicBezTo>
                  <a:cubicBezTo>
                    <a:pt x="25919" y="439944"/>
                    <a:pt x="19229" y="443798"/>
                    <a:pt x="20530" y="450159"/>
                  </a:cubicBezTo>
                  <a:cubicBezTo>
                    <a:pt x="21784" y="456521"/>
                    <a:pt x="11610" y="455453"/>
                    <a:pt x="11935" y="447698"/>
                  </a:cubicBezTo>
                  <a:cubicBezTo>
                    <a:pt x="12261" y="439944"/>
                    <a:pt x="135" y="449091"/>
                    <a:pt x="4595" y="454756"/>
                  </a:cubicBezTo>
                  <a:cubicBezTo>
                    <a:pt x="9055" y="460375"/>
                    <a:pt x="3015" y="463579"/>
                    <a:pt x="3015" y="468872"/>
                  </a:cubicBezTo>
                  <a:cubicBezTo>
                    <a:pt x="3015" y="474166"/>
                    <a:pt x="11610" y="473098"/>
                    <a:pt x="15141" y="467108"/>
                  </a:cubicBezTo>
                  <a:cubicBezTo>
                    <a:pt x="18671" y="461118"/>
                    <a:pt x="24386" y="462511"/>
                    <a:pt x="26616" y="468547"/>
                  </a:cubicBezTo>
                  <a:cubicBezTo>
                    <a:pt x="28846" y="474537"/>
                    <a:pt x="21227" y="469940"/>
                    <a:pt x="21227" y="478067"/>
                  </a:cubicBezTo>
                  <a:cubicBezTo>
                    <a:pt x="21227" y="485171"/>
                    <a:pt x="17556" y="480667"/>
                    <a:pt x="13840" y="483685"/>
                  </a:cubicBezTo>
                  <a:cubicBezTo>
                    <a:pt x="15838" y="485264"/>
                    <a:pt x="17603" y="487168"/>
                    <a:pt x="19275" y="489257"/>
                  </a:cubicBezTo>
                  <a:lnTo>
                    <a:pt x="19415" y="489257"/>
                  </a:lnTo>
                  <a:cubicBezTo>
                    <a:pt x="17185" y="486285"/>
                    <a:pt x="18904" y="488421"/>
                    <a:pt x="20019" y="489629"/>
                  </a:cubicBezTo>
                  <a:cubicBezTo>
                    <a:pt x="21831" y="490604"/>
                    <a:pt x="23550" y="491718"/>
                    <a:pt x="25361" y="492693"/>
                  </a:cubicBezTo>
                  <a:cubicBezTo>
                    <a:pt x="30890" y="495712"/>
                    <a:pt x="36279" y="499241"/>
                    <a:pt x="40693" y="503745"/>
                  </a:cubicBezTo>
                  <a:cubicBezTo>
                    <a:pt x="42690" y="505788"/>
                    <a:pt x="44177" y="508063"/>
                    <a:pt x="45245" y="510478"/>
                  </a:cubicBezTo>
                  <a:cubicBezTo>
                    <a:pt x="49148" y="512335"/>
                    <a:pt x="53794" y="513728"/>
                    <a:pt x="60112" y="512707"/>
                  </a:cubicBezTo>
                  <a:cubicBezTo>
                    <a:pt x="72888" y="510571"/>
                    <a:pt x="97092" y="484474"/>
                    <a:pt x="100298" y="479877"/>
                  </a:cubicBezTo>
                  <a:cubicBezTo>
                    <a:pt x="103504" y="475280"/>
                    <a:pt x="110519" y="480574"/>
                    <a:pt x="115304" y="476348"/>
                  </a:cubicBezTo>
                  <a:cubicBezTo>
                    <a:pt x="120089" y="472123"/>
                    <a:pt x="117209" y="461164"/>
                    <a:pt x="120739" y="459075"/>
                  </a:cubicBezTo>
                  <a:cubicBezTo>
                    <a:pt x="124270" y="456939"/>
                    <a:pt x="126128" y="470730"/>
                    <a:pt x="129334" y="472123"/>
                  </a:cubicBezTo>
                  <a:cubicBezTo>
                    <a:pt x="132214" y="473377"/>
                    <a:pt x="134305" y="475884"/>
                    <a:pt x="134445" y="482942"/>
                  </a:cubicBezTo>
                  <a:cubicBezTo>
                    <a:pt x="137000" y="482571"/>
                    <a:pt x="139555" y="482664"/>
                    <a:pt x="141181" y="484010"/>
                  </a:cubicBezTo>
                  <a:cubicBezTo>
                    <a:pt x="145269" y="487400"/>
                    <a:pt x="146291" y="472680"/>
                    <a:pt x="146291" y="468129"/>
                  </a:cubicBezTo>
                  <a:cubicBezTo>
                    <a:pt x="146291" y="463579"/>
                    <a:pt x="150380" y="454524"/>
                    <a:pt x="149357" y="448813"/>
                  </a:cubicBezTo>
                  <a:cubicBezTo>
                    <a:pt x="148335" y="443148"/>
                    <a:pt x="161669" y="447698"/>
                    <a:pt x="163713" y="443148"/>
                  </a:cubicBezTo>
                  <a:cubicBezTo>
                    <a:pt x="165757" y="438597"/>
                    <a:pt x="166779" y="422716"/>
                    <a:pt x="162691" y="420441"/>
                  </a:cubicBezTo>
                  <a:cubicBezTo>
                    <a:pt x="158603" y="418166"/>
                    <a:pt x="157534" y="409111"/>
                    <a:pt x="161669" y="409111"/>
                  </a:cubicBezTo>
                  <a:cubicBezTo>
                    <a:pt x="165804" y="409111"/>
                    <a:pt x="170867" y="405721"/>
                    <a:pt x="169892" y="396620"/>
                  </a:cubicBezTo>
                  <a:cubicBezTo>
                    <a:pt x="168870" y="387565"/>
                    <a:pt x="156559" y="388680"/>
                    <a:pt x="155536" y="379625"/>
                  </a:cubicBezTo>
                  <a:cubicBezTo>
                    <a:pt x="154514" y="370570"/>
                    <a:pt x="161669" y="368295"/>
                    <a:pt x="156559" y="356918"/>
                  </a:cubicBezTo>
                  <a:cubicBezTo>
                    <a:pt x="151448" y="345588"/>
                    <a:pt x="158603" y="338762"/>
                    <a:pt x="156559" y="333097"/>
                  </a:cubicBezTo>
                  <a:cubicBezTo>
                    <a:pt x="154514" y="327432"/>
                    <a:pt x="152470" y="320606"/>
                    <a:pt x="158603" y="309276"/>
                  </a:cubicBezTo>
                  <a:cubicBezTo>
                    <a:pt x="164735" y="297946"/>
                    <a:pt x="176024" y="292235"/>
                    <a:pt x="180112" y="293396"/>
                  </a:cubicBezTo>
                  <a:cubicBezTo>
                    <a:pt x="184201" y="294510"/>
                    <a:pt x="191402" y="299061"/>
                    <a:pt x="194468" y="292235"/>
                  </a:cubicBezTo>
                  <a:cubicBezTo>
                    <a:pt x="197534" y="285455"/>
                    <a:pt x="197534" y="279744"/>
                    <a:pt x="194468" y="278629"/>
                  </a:cubicBezTo>
                  <a:cubicBezTo>
                    <a:pt x="191402" y="277515"/>
                    <a:pt x="183179" y="275240"/>
                    <a:pt x="189358" y="266138"/>
                  </a:cubicBezTo>
                  <a:cubicBezTo>
                    <a:pt x="195490" y="257084"/>
                    <a:pt x="202691" y="245707"/>
                    <a:pt x="203713" y="235538"/>
                  </a:cubicBezTo>
                  <a:cubicBezTo>
                    <a:pt x="204735" y="225322"/>
                    <a:pt x="201669" y="217382"/>
                    <a:pt x="204735" y="213946"/>
                  </a:cubicBezTo>
                  <a:cubicBezTo>
                    <a:pt x="207801" y="210556"/>
                    <a:pt x="215002" y="213946"/>
                    <a:pt x="221135" y="209442"/>
                  </a:cubicBezTo>
                  <a:cubicBezTo>
                    <a:pt x="227267" y="204891"/>
                    <a:pt x="222157" y="199226"/>
                    <a:pt x="225223" y="195836"/>
                  </a:cubicBezTo>
                  <a:cubicBezTo>
                    <a:pt x="228290" y="192446"/>
                    <a:pt x="232378" y="181070"/>
                    <a:pt x="236512" y="177680"/>
                  </a:cubicBezTo>
                  <a:cubicBezTo>
                    <a:pt x="240601" y="174291"/>
                    <a:pt x="244689" y="169740"/>
                    <a:pt x="241623" y="165189"/>
                  </a:cubicBezTo>
                  <a:cubicBezTo>
                    <a:pt x="238557" y="160639"/>
                    <a:pt x="247755" y="156088"/>
                    <a:pt x="247755" y="148148"/>
                  </a:cubicBezTo>
                  <a:cubicBezTo>
                    <a:pt x="247755" y="140207"/>
                    <a:pt x="257976" y="134542"/>
                    <a:pt x="264155" y="134542"/>
                  </a:cubicBezTo>
                  <a:cubicBezTo>
                    <a:pt x="270334" y="134542"/>
                    <a:pt x="280555" y="134542"/>
                    <a:pt x="280555" y="127763"/>
                  </a:cubicBezTo>
                  <a:cubicBezTo>
                    <a:pt x="280555" y="120983"/>
                    <a:pt x="276466" y="106171"/>
                    <a:pt x="285665" y="110768"/>
                  </a:cubicBezTo>
                  <a:cubicBezTo>
                    <a:pt x="294863" y="115318"/>
                    <a:pt x="302064" y="109607"/>
                    <a:pt x="308197" y="115318"/>
                  </a:cubicBezTo>
                  <a:cubicBezTo>
                    <a:pt x="314329" y="120983"/>
                    <a:pt x="322552" y="119869"/>
                    <a:pt x="322552" y="110768"/>
                  </a:cubicBezTo>
                  <a:cubicBezTo>
                    <a:pt x="322552" y="101667"/>
                    <a:pt x="325619" y="86947"/>
                    <a:pt x="334864" y="92612"/>
                  </a:cubicBezTo>
                  <a:cubicBezTo>
                    <a:pt x="335607" y="93030"/>
                    <a:pt x="336258" y="93541"/>
                    <a:pt x="336954" y="94051"/>
                  </a:cubicBezTo>
                  <a:cubicBezTo>
                    <a:pt x="340021" y="86482"/>
                    <a:pt x="345828" y="81653"/>
                    <a:pt x="351263" y="82396"/>
                  </a:cubicBezTo>
                  <a:cubicBezTo>
                    <a:pt x="359487" y="83557"/>
                    <a:pt x="364597" y="99438"/>
                    <a:pt x="374818" y="101667"/>
                  </a:cubicBezTo>
                  <a:cubicBezTo>
                    <a:pt x="385085" y="103942"/>
                    <a:pt x="395305" y="108492"/>
                    <a:pt x="398372" y="102781"/>
                  </a:cubicBezTo>
                  <a:cubicBezTo>
                    <a:pt x="401438" y="97116"/>
                    <a:pt x="408639" y="106171"/>
                    <a:pt x="414771" y="103895"/>
                  </a:cubicBezTo>
                  <a:cubicBezTo>
                    <a:pt x="420904" y="101620"/>
                    <a:pt x="420904" y="116386"/>
                    <a:pt x="427083" y="107285"/>
                  </a:cubicBezTo>
                  <a:cubicBezTo>
                    <a:pt x="433215" y="98230"/>
                    <a:pt x="426060" y="92519"/>
                    <a:pt x="436281" y="93680"/>
                  </a:cubicBezTo>
                  <a:cubicBezTo>
                    <a:pt x="446549" y="94794"/>
                    <a:pt x="440370" y="81189"/>
                    <a:pt x="440370" y="73248"/>
                  </a:cubicBezTo>
                  <a:cubicBezTo>
                    <a:pt x="440370" y="65308"/>
                    <a:pt x="453656" y="64147"/>
                    <a:pt x="453656" y="57368"/>
                  </a:cubicBezTo>
                  <a:cubicBezTo>
                    <a:pt x="453656" y="50588"/>
                    <a:pt x="472100" y="56207"/>
                    <a:pt x="475166" y="51703"/>
                  </a:cubicBezTo>
                  <a:cubicBezTo>
                    <a:pt x="478233" y="47152"/>
                    <a:pt x="488500" y="43762"/>
                    <a:pt x="492588" y="51703"/>
                  </a:cubicBezTo>
                  <a:cubicBezTo>
                    <a:pt x="496676" y="59643"/>
                    <a:pt x="514098" y="61918"/>
                    <a:pt x="515120" y="68744"/>
                  </a:cubicBezTo>
                  <a:cubicBezTo>
                    <a:pt x="515631" y="72041"/>
                    <a:pt x="515120" y="77242"/>
                    <a:pt x="515120" y="82071"/>
                  </a:cubicBezTo>
                  <a:cubicBezTo>
                    <a:pt x="517954" y="78960"/>
                    <a:pt x="521578" y="76638"/>
                    <a:pt x="525016" y="76638"/>
                  </a:cubicBezTo>
                  <a:cubicBezTo>
                    <a:pt x="531381" y="76638"/>
                    <a:pt x="537095" y="66051"/>
                    <a:pt x="542856" y="67444"/>
                  </a:cubicBezTo>
                  <a:cubicBezTo>
                    <a:pt x="547641" y="68605"/>
                    <a:pt x="552379" y="67723"/>
                    <a:pt x="553820" y="58900"/>
                  </a:cubicBezTo>
                  <a:cubicBezTo>
                    <a:pt x="548663" y="55325"/>
                    <a:pt x="538907" y="54860"/>
                    <a:pt x="537745" y="59690"/>
                  </a:cubicBezTo>
                  <a:close/>
                </a:path>
              </a:pathLst>
            </a:custGeom>
            <a:solidFill>
              <a:schemeClr val="accent1">
                <a:lumMod val="75000"/>
              </a:schemeClr>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spTree>
    <p:extLst>
      <p:ext uri="{BB962C8B-B14F-4D97-AF65-F5344CB8AC3E}">
        <p14:creationId xmlns:p14="http://schemas.microsoft.com/office/powerpoint/2010/main" val="8075802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1329DC4F-05E4-5CEF-AC4D-A3B3D518BD6F}"/>
              </a:ext>
            </a:extLst>
          </p:cNvPr>
          <p:cNvGraphicFramePr>
            <a:graphicFrameLocks noChangeAspect="1"/>
          </p:cNvGraphicFramePr>
          <p:nvPr>
            <p:custDataLst>
              <p:tags r:id="rId1"/>
            </p:custDataLst>
            <p:extLst>
              <p:ext uri="{D42A27DB-BD31-4B8C-83A1-F6EECF244321}">
                <p14:modId xmlns:p14="http://schemas.microsoft.com/office/powerpoint/2010/main" val="2492246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14" name="Objekt 13" hidden="1">
                        <a:extLst>
                          <a:ext uri="{FF2B5EF4-FFF2-40B4-BE49-F238E27FC236}">
                            <a16:creationId xmlns:a16="http://schemas.microsoft.com/office/drawing/2014/main" id="{1329DC4F-05E4-5CEF-AC4D-A3B3D518B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9" name="Freeform 118">
            <a:extLst>
              <a:ext uri="{FF2B5EF4-FFF2-40B4-BE49-F238E27FC236}">
                <a16:creationId xmlns:a16="http://schemas.microsoft.com/office/drawing/2014/main" id="{9E9FE2ED-82B0-D66D-9FA9-60099C394EB7}"/>
              </a:ext>
            </a:extLst>
          </p:cNvPr>
          <p:cNvSpPr/>
          <p:nvPr/>
        </p:nvSpPr>
        <p:spPr>
          <a:xfrm>
            <a:off x="23110951" y="13112566"/>
            <a:ext cx="123623" cy="47758"/>
          </a:xfrm>
          <a:custGeom>
            <a:avLst/>
            <a:gdLst>
              <a:gd name="connsiteX0" fmla="*/ 461 w 26467"/>
              <a:gd name="connsiteY0" fmla="*/ 7107 h 10225"/>
              <a:gd name="connsiteX1" fmla="*/ 26292 w 26467"/>
              <a:gd name="connsiteY1" fmla="*/ 3392 h 10225"/>
              <a:gd name="connsiteX2" fmla="*/ 461 w 26467"/>
              <a:gd name="connsiteY2" fmla="*/ 7107 h 10225"/>
            </a:gdLst>
            <a:ahLst/>
            <a:cxnLst>
              <a:cxn ang="0">
                <a:pos x="connsiteX0" y="connsiteY0"/>
              </a:cxn>
              <a:cxn ang="0">
                <a:pos x="connsiteX1" y="connsiteY1"/>
              </a:cxn>
              <a:cxn ang="0">
                <a:pos x="connsiteX2" y="connsiteY2"/>
              </a:cxn>
            </a:cxnLst>
            <a:rect l="l" t="t" r="r" b="b"/>
            <a:pathLst>
              <a:path w="26467" h="10225">
                <a:moveTo>
                  <a:pt x="461" y="7107"/>
                </a:moveTo>
                <a:cubicBezTo>
                  <a:pt x="5710" y="12400"/>
                  <a:pt x="23411" y="10821"/>
                  <a:pt x="26292" y="3392"/>
                </a:cubicBezTo>
                <a:cubicBezTo>
                  <a:pt x="29172" y="-4038"/>
                  <a:pt x="-4278" y="2370"/>
                  <a:pt x="461" y="7107"/>
                </a:cubicBezTo>
                <a:close/>
              </a:path>
            </a:pathLst>
          </a:custGeom>
          <a:solidFill>
            <a:schemeClr val="accent4">
              <a:lumMod val="20000"/>
              <a:lumOff val="80000"/>
              <a:alpha val="43000"/>
            </a:schemeClr>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1" name="Freeform 130">
            <a:extLst>
              <a:ext uri="{FF2B5EF4-FFF2-40B4-BE49-F238E27FC236}">
                <a16:creationId xmlns:a16="http://schemas.microsoft.com/office/drawing/2014/main" id="{B639CF13-D322-C443-B7B9-1E6C2C8DEE32}"/>
              </a:ext>
            </a:extLst>
          </p:cNvPr>
          <p:cNvSpPr/>
          <p:nvPr/>
        </p:nvSpPr>
        <p:spPr>
          <a:xfrm>
            <a:off x="25938559" y="11249063"/>
            <a:ext cx="294629" cy="231309"/>
          </a:xfrm>
          <a:custGeom>
            <a:avLst/>
            <a:gdLst>
              <a:gd name="connsiteX0" fmla="*/ 18 w 63078"/>
              <a:gd name="connsiteY0" fmla="*/ 1019 h 49522"/>
              <a:gd name="connsiteX1" fmla="*/ 62503 w 63078"/>
              <a:gd name="connsiteY1" fmla="*/ 49033 h 49522"/>
              <a:gd name="connsiteX2" fmla="*/ 18 w 63078"/>
              <a:gd name="connsiteY2" fmla="*/ 1019 h 49522"/>
            </a:gdLst>
            <a:ahLst/>
            <a:cxnLst>
              <a:cxn ang="0">
                <a:pos x="connsiteX0" y="connsiteY0"/>
              </a:cxn>
              <a:cxn ang="0">
                <a:pos x="connsiteX1" y="connsiteY1"/>
              </a:cxn>
              <a:cxn ang="0">
                <a:pos x="connsiteX2" y="connsiteY2"/>
              </a:cxn>
            </a:cxnLst>
            <a:rect l="l" t="t" r="r" b="b"/>
            <a:pathLst>
              <a:path w="63078" h="49522">
                <a:moveTo>
                  <a:pt x="18" y="1019"/>
                </a:moveTo>
                <a:cubicBezTo>
                  <a:pt x="-1283" y="-7804"/>
                  <a:pt x="70169" y="43414"/>
                  <a:pt x="62503" y="49033"/>
                </a:cubicBezTo>
                <a:cubicBezTo>
                  <a:pt x="54837" y="54697"/>
                  <a:pt x="1271" y="9517"/>
                  <a:pt x="18" y="1019"/>
                </a:cubicBezTo>
                <a:close/>
              </a:path>
            </a:pathLst>
          </a:custGeom>
          <a:solidFill>
            <a:schemeClr val="accent4">
              <a:lumMod val="20000"/>
              <a:lumOff val="80000"/>
              <a:alpha val="43000"/>
            </a:schemeClr>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0" name="Tittel 9">
            <a:extLst>
              <a:ext uri="{FF2B5EF4-FFF2-40B4-BE49-F238E27FC236}">
                <a16:creationId xmlns:a16="http://schemas.microsoft.com/office/drawing/2014/main" id="{94CED9D4-7CE9-72C1-9001-0EFE602D31FD}"/>
              </a:ext>
            </a:extLst>
          </p:cNvPr>
          <p:cNvSpPr>
            <a:spLocks noGrp="1"/>
          </p:cNvSpPr>
          <p:nvPr>
            <p:ph type="title"/>
          </p:nvPr>
        </p:nvSpPr>
        <p:spPr>
          <a:xfrm>
            <a:off x="758045" y="422238"/>
            <a:ext cx="10397772" cy="1232458"/>
          </a:xfrm>
        </p:spPr>
        <p:txBody>
          <a:bodyPr vert="horz">
            <a:normAutofit/>
          </a:bodyPr>
          <a:lstStyle/>
          <a:p>
            <a:r>
              <a:rPr lang="en-GB" sz="3600"/>
              <a:t>Actions taken in </a:t>
            </a:r>
            <a:r>
              <a:rPr lang="en-GB" sz="3600" b="1">
                <a:latin typeface="Helvetica" pitchFamily="2" charset="0"/>
              </a:rPr>
              <a:t>UK and Spain</a:t>
            </a:r>
          </a:p>
        </p:txBody>
      </p:sp>
      <p:sp>
        <p:nvSpPr>
          <p:cNvPr id="11" name="Plassholder for tekst 11">
            <a:extLst>
              <a:ext uri="{FF2B5EF4-FFF2-40B4-BE49-F238E27FC236}">
                <a16:creationId xmlns:a16="http://schemas.microsoft.com/office/drawing/2014/main" id="{36A82F83-E787-1002-7B82-B2030E1101E4}"/>
              </a:ext>
            </a:extLst>
          </p:cNvPr>
          <p:cNvSpPr txBox="1">
            <a:spLocks/>
          </p:cNvSpPr>
          <p:nvPr/>
        </p:nvSpPr>
        <p:spPr>
          <a:xfrm>
            <a:off x="4569400" y="2001618"/>
            <a:ext cx="5349411" cy="4203065"/>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a:ln>
                <a:noFill/>
              </a:ln>
              <a:solidFill>
                <a:prstClr val="black"/>
              </a:solidFill>
              <a:effectLst/>
              <a:uLnTx/>
              <a:uFillTx/>
              <a:latin typeface="Helvetica"/>
              <a:ea typeface="+mn-ea"/>
              <a:cs typeface="+mn-cs"/>
            </a:endParaRPr>
          </a:p>
        </p:txBody>
      </p:sp>
      <p:sp>
        <p:nvSpPr>
          <p:cNvPr id="228" name="Rektangel 2">
            <a:extLst>
              <a:ext uri="{FF2B5EF4-FFF2-40B4-BE49-F238E27FC236}">
                <a16:creationId xmlns:a16="http://schemas.microsoft.com/office/drawing/2014/main" id="{34977C40-96DE-5776-40B1-B6565CA67132}"/>
              </a:ext>
            </a:extLst>
          </p:cNvPr>
          <p:cNvSpPr/>
          <p:nvPr/>
        </p:nvSpPr>
        <p:spPr>
          <a:xfrm>
            <a:off x="0" y="6400800"/>
            <a:ext cx="12192000" cy="457200"/>
          </a:xfrm>
          <a:prstGeom prst="rect">
            <a:avLst/>
          </a:prstGeom>
          <a:solidFill>
            <a:srgbClr val="283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Helvetica" pitchFamily="2" charset="0"/>
              <a:ea typeface="+mn-ea"/>
              <a:cs typeface="+mn-cs"/>
            </a:endParaRPr>
          </a:p>
        </p:txBody>
      </p:sp>
      <p:pic>
        <p:nvPicPr>
          <p:cNvPr id="229" name="Bilde 3">
            <a:extLst>
              <a:ext uri="{FF2B5EF4-FFF2-40B4-BE49-F238E27FC236}">
                <a16:creationId xmlns:a16="http://schemas.microsoft.com/office/drawing/2014/main" id="{94DEF1C7-BC18-A478-B366-ED93379BE56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775159" y="6548217"/>
            <a:ext cx="1129876" cy="197539"/>
          </a:xfrm>
          <a:prstGeom prst="rect">
            <a:avLst/>
          </a:prstGeom>
        </p:spPr>
      </p:pic>
      <p:sp>
        <p:nvSpPr>
          <p:cNvPr id="12" name="Text Placeholder 6">
            <a:extLst>
              <a:ext uri="{FF2B5EF4-FFF2-40B4-BE49-F238E27FC236}">
                <a16:creationId xmlns:a16="http://schemas.microsoft.com/office/drawing/2014/main" id="{D13DD6C9-81E5-9783-65E5-F22EEDD7A39A}"/>
              </a:ext>
            </a:extLst>
          </p:cNvPr>
          <p:cNvSpPr txBox="1">
            <a:spLocks/>
          </p:cNvSpPr>
          <p:nvPr/>
        </p:nvSpPr>
        <p:spPr>
          <a:xfrm>
            <a:off x="5045384" y="2374806"/>
            <a:ext cx="7146616" cy="4211437"/>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90000"/>
              </a:lnSpc>
              <a:spcBef>
                <a:spcPts val="1000"/>
              </a:spcBef>
              <a:spcAft>
                <a:spcPts val="600"/>
              </a:spcAft>
              <a:buClrTx/>
              <a:buSzTx/>
              <a:tabLst/>
              <a:defRPr/>
            </a:pPr>
            <a:endParaRPr lang="en-GB" sz="2000">
              <a:solidFill>
                <a:srgbClr val="1E1E50"/>
              </a:solidFill>
              <a:latin typeface="Helvetica Light" panose="020B0403020202020204" pitchFamily="34" charset="0"/>
              <a:sym typeface="Wingdings" pitchFamily="2" charset="2"/>
            </a:endParaRPr>
          </a:p>
        </p:txBody>
      </p:sp>
      <p:grpSp>
        <p:nvGrpSpPr>
          <p:cNvPr id="112" name="Group 111">
            <a:extLst>
              <a:ext uri="{FF2B5EF4-FFF2-40B4-BE49-F238E27FC236}">
                <a16:creationId xmlns:a16="http://schemas.microsoft.com/office/drawing/2014/main" id="{092804A1-3A4F-0B48-8E97-18268E22E001}"/>
              </a:ext>
            </a:extLst>
          </p:cNvPr>
          <p:cNvGrpSpPr/>
          <p:nvPr/>
        </p:nvGrpSpPr>
        <p:grpSpPr>
          <a:xfrm>
            <a:off x="5040981" y="1531854"/>
            <a:ext cx="6818983" cy="4541531"/>
            <a:chOff x="5040808" y="997305"/>
            <a:chExt cx="6281469" cy="5080455"/>
          </a:xfrm>
        </p:grpSpPr>
        <p:sp>
          <p:nvSpPr>
            <p:cNvPr id="107" name="Rectangle 106">
              <a:extLst>
                <a:ext uri="{FF2B5EF4-FFF2-40B4-BE49-F238E27FC236}">
                  <a16:creationId xmlns:a16="http://schemas.microsoft.com/office/drawing/2014/main" id="{C49290F5-3DE9-67CF-847D-07A0BFFA918D}"/>
                </a:ext>
              </a:extLst>
            </p:cNvPr>
            <p:cNvSpPr/>
            <p:nvPr/>
          </p:nvSpPr>
          <p:spPr>
            <a:xfrm>
              <a:off x="5040808" y="997305"/>
              <a:ext cx="6281469" cy="4614688"/>
            </a:xfrm>
            <a:prstGeom prst="rect">
              <a:avLst/>
            </a:prstGeom>
            <a:solidFill>
              <a:schemeClr val="accent4">
                <a:lumMod val="20000"/>
                <a:lumOff val="80000"/>
                <a:alpha val="4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Text Placeholder 6">
              <a:extLst>
                <a:ext uri="{FF2B5EF4-FFF2-40B4-BE49-F238E27FC236}">
                  <a16:creationId xmlns:a16="http://schemas.microsoft.com/office/drawing/2014/main" id="{8A966BCA-F591-A719-458D-00BA3B62E626}"/>
                </a:ext>
              </a:extLst>
            </p:cNvPr>
            <p:cNvSpPr txBox="1">
              <a:spLocks/>
            </p:cNvSpPr>
            <p:nvPr/>
          </p:nvSpPr>
          <p:spPr>
            <a:xfrm>
              <a:off x="5344833" y="1123269"/>
              <a:ext cx="5858488" cy="4954491"/>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90000"/>
                </a:lnSpc>
                <a:spcBef>
                  <a:spcPts val="1000"/>
                </a:spcBef>
                <a:spcAft>
                  <a:spcPts val="600"/>
                </a:spcAft>
                <a:buClrTx/>
                <a:buSzTx/>
                <a:tabLst/>
                <a:defRPr/>
              </a:pPr>
              <a:r>
                <a:rPr lang="en-GB" sz="1800">
                  <a:latin typeface="Helvetica Light" panose="020B0403020202020204" pitchFamily="34" charset="0"/>
                </a:rPr>
                <a:t>Further investments in key markets of UK and Spain to leverage recent large customer successes </a:t>
              </a:r>
              <a:endParaRPr lang="nb-NO" sz="1800">
                <a:solidFill>
                  <a:srgbClr val="1E1E50"/>
                </a:solidFill>
                <a:latin typeface="Helvetica Light" panose="020B0403020202020204" pitchFamily="34" charset="0"/>
              </a:endParaRPr>
            </a:p>
            <a:p>
              <a:pPr marR="0" lvl="0" algn="l" defTabSz="914400" rtl="0" eaLnBrk="1" fontAlgn="auto" latinLnBrk="0" hangingPunct="1">
                <a:lnSpc>
                  <a:spcPct val="90000"/>
                </a:lnSpc>
                <a:spcBef>
                  <a:spcPts val="1000"/>
                </a:spcBef>
                <a:spcAft>
                  <a:spcPts val="600"/>
                </a:spcAft>
                <a:buClrTx/>
                <a:buSzTx/>
                <a:tabLst/>
                <a:defRPr/>
              </a:pPr>
              <a:r>
                <a:rPr lang="nb-NO" sz="1800" err="1">
                  <a:solidFill>
                    <a:srgbClr val="1E1E50"/>
                  </a:solidFill>
                  <a:latin typeface="Helvetica Light" panose="020B0403020202020204" pitchFamily="34" charset="0"/>
                </a:rPr>
                <a:t>Recruitments</a:t>
              </a:r>
              <a:r>
                <a:rPr lang="nb-NO" sz="1800">
                  <a:solidFill>
                    <a:srgbClr val="1E1E50"/>
                  </a:solidFill>
                  <a:latin typeface="Helvetica Light" panose="020B0403020202020204" pitchFamily="34" charset="0"/>
                </a:rPr>
                <a:t> and </a:t>
              </a:r>
              <a:r>
                <a:rPr lang="nb-NO" sz="1800" err="1">
                  <a:solidFill>
                    <a:srgbClr val="1E1E50"/>
                  </a:solidFill>
                  <a:latin typeface="Helvetica Light" panose="020B0403020202020204" pitchFamily="34" charset="0"/>
                </a:rPr>
                <a:t>reorgani</a:t>
              </a:r>
              <a:r>
                <a:rPr lang="nb-NO" sz="1800" err="1">
                  <a:solidFill>
                    <a:srgbClr val="1E1E50"/>
                  </a:solidFill>
                </a:rPr>
                <a:t>z</a:t>
              </a:r>
              <a:r>
                <a:rPr lang="nb-NO" sz="1800" err="1">
                  <a:solidFill>
                    <a:srgbClr val="1E1E50"/>
                  </a:solidFill>
                  <a:latin typeface="Helvetica Light" panose="020B0403020202020204" pitchFamily="34" charset="0"/>
                </a:rPr>
                <a:t>ation</a:t>
              </a:r>
              <a:r>
                <a:rPr lang="en-NO" sz="1800">
                  <a:solidFill>
                    <a:srgbClr val="1E1E50"/>
                  </a:solidFill>
                  <a:latin typeface="Helvetica Light" panose="020B0403020202020204" pitchFamily="34" charset="0"/>
                </a:rPr>
                <a:t>: </a:t>
              </a:r>
            </a:p>
            <a:p>
              <a:pPr marL="342900" indent="-342900">
                <a:buFont typeface="Arial" panose="020B0604020202020204" pitchFamily="34" charset="0"/>
                <a:buChar char="•"/>
              </a:pPr>
              <a:r>
                <a:rPr lang="en-GB" sz="1800">
                  <a:solidFill>
                    <a:srgbClr val="1E1E50"/>
                  </a:solidFill>
                  <a:latin typeface="Helvetica Light" panose="020B0403020202020204" pitchFamily="34" charset="0"/>
                  <a:sym typeface="Wingdings" pitchFamily="2" charset="2"/>
                </a:rPr>
                <a:t>Alex Eveleigh, former Aldi, Ocado, ASDA and </a:t>
              </a:r>
              <a:r>
                <a:rPr lang="en-GB" sz="1800" err="1">
                  <a:solidFill>
                    <a:srgbClr val="1E1E50"/>
                  </a:solidFill>
                  <a:latin typeface="Helvetica Light" panose="020B0403020202020204" pitchFamily="34" charset="0"/>
                  <a:sym typeface="Wingdings" pitchFamily="2" charset="2"/>
                </a:rPr>
                <a:t>Takeoff</a:t>
              </a:r>
              <a:r>
                <a:rPr lang="en-GB" sz="1800">
                  <a:solidFill>
                    <a:srgbClr val="1E1E50"/>
                  </a:solidFill>
                  <a:latin typeface="Helvetica Light" panose="020B0403020202020204" pitchFamily="34" charset="0"/>
                  <a:sym typeface="Wingdings" pitchFamily="2" charset="2"/>
                </a:rPr>
                <a:t> Technologies executive, as new MD SVP for UK and Ireland</a:t>
              </a:r>
            </a:p>
            <a:p>
              <a:pPr marL="342900" indent="-342900">
                <a:buFont typeface="Arial" panose="020B0604020202020204" pitchFamily="34" charset="0"/>
                <a:buChar char="•"/>
              </a:pPr>
              <a:r>
                <a:rPr lang="en-GB" sz="1800">
                  <a:solidFill>
                    <a:srgbClr val="1E1E50"/>
                  </a:solidFill>
                  <a:latin typeface="Helvetica Light" panose="020B0403020202020204" pitchFamily="34" charset="0"/>
                  <a:sym typeface="Wingdings" pitchFamily="2" charset="2"/>
                </a:rPr>
                <a:t>Strengthening UK and Spain teams to capitalise on Sainsbury’s and </a:t>
              </a:r>
              <a:r>
                <a:rPr lang="en-GB" sz="1800" err="1">
                  <a:solidFill>
                    <a:srgbClr val="1E1E50"/>
                  </a:solidFill>
                  <a:latin typeface="Helvetica Light" panose="020B0403020202020204" pitchFamily="34" charset="0"/>
                  <a:sym typeface="Wingdings" pitchFamily="2" charset="2"/>
                </a:rPr>
                <a:t>Mercadona</a:t>
              </a:r>
              <a:r>
                <a:rPr lang="en-GB" sz="1800">
                  <a:solidFill>
                    <a:srgbClr val="1E1E50"/>
                  </a:solidFill>
                  <a:latin typeface="Helvetica Light" panose="020B0403020202020204" pitchFamily="34" charset="0"/>
                  <a:sym typeface="Wingdings" pitchFamily="2" charset="2"/>
                </a:rPr>
                <a:t> projects</a:t>
              </a:r>
            </a:p>
            <a:p>
              <a:pPr marL="342900" indent="-342900">
                <a:buFont typeface="Arial" panose="020B0604020202020204" pitchFamily="34" charset="0"/>
                <a:buChar char="•"/>
              </a:pPr>
              <a:r>
                <a:rPr lang="en-GB" sz="1800">
                  <a:solidFill>
                    <a:srgbClr val="1E1E50"/>
                  </a:solidFill>
                  <a:latin typeface="Helvetica Light" panose="020B0403020202020204" pitchFamily="34" charset="0"/>
                  <a:sym typeface="Wingdings" pitchFamily="2" charset="2"/>
                </a:rPr>
                <a:t>Neil McCourt, former Tesco Retail MD and Amazon Director, as new strategic advisor</a:t>
              </a:r>
            </a:p>
            <a:p>
              <a:pPr marL="342900" indent="-342900">
                <a:buFont typeface="Arial" panose="020B0604020202020204" pitchFamily="34" charset="0"/>
                <a:buChar char="•"/>
              </a:pPr>
              <a:r>
                <a:rPr lang="en-GB" sz="1800">
                  <a:solidFill>
                    <a:srgbClr val="1E1E50"/>
                  </a:solidFill>
                  <a:latin typeface="Helvetica Light" panose="020B0403020202020204" pitchFamily="34" charset="0"/>
                  <a:sym typeface="Wingdings" pitchFamily="2" charset="2"/>
                </a:rPr>
                <a:t>Reorganization of product team to support customer opportunities in UK and Spain </a:t>
              </a:r>
            </a:p>
          </p:txBody>
        </p:sp>
      </p:grpSp>
      <p:grpSp>
        <p:nvGrpSpPr>
          <p:cNvPr id="59" name="Graphic 8">
            <a:extLst>
              <a:ext uri="{FF2B5EF4-FFF2-40B4-BE49-F238E27FC236}">
                <a16:creationId xmlns:a16="http://schemas.microsoft.com/office/drawing/2014/main" id="{6E96A2E7-6E75-F631-CF3F-87FC41F625A2}"/>
              </a:ext>
            </a:extLst>
          </p:cNvPr>
          <p:cNvGrpSpPr/>
          <p:nvPr/>
        </p:nvGrpSpPr>
        <p:grpSpPr>
          <a:xfrm>
            <a:off x="411633" y="1908442"/>
            <a:ext cx="1912184" cy="2660415"/>
            <a:chOff x="4287738" y="2530272"/>
            <a:chExt cx="213729" cy="297362"/>
          </a:xfrm>
          <a:solidFill>
            <a:srgbClr val="1B23A8"/>
          </a:solidFill>
        </p:grpSpPr>
        <p:grpSp>
          <p:nvGrpSpPr>
            <p:cNvPr id="61" name="Graphic 8">
              <a:extLst>
                <a:ext uri="{FF2B5EF4-FFF2-40B4-BE49-F238E27FC236}">
                  <a16:creationId xmlns:a16="http://schemas.microsoft.com/office/drawing/2014/main" id="{182B11FD-66C8-46CA-2A3C-022391FCAA35}"/>
                </a:ext>
              </a:extLst>
            </p:cNvPr>
            <p:cNvGrpSpPr/>
            <p:nvPr/>
          </p:nvGrpSpPr>
          <p:grpSpPr>
            <a:xfrm>
              <a:off x="4287738" y="2530272"/>
              <a:ext cx="213729" cy="297362"/>
              <a:chOff x="4287738" y="2530272"/>
              <a:chExt cx="213729" cy="297362"/>
            </a:xfrm>
            <a:grpFill/>
          </p:grpSpPr>
          <p:sp>
            <p:nvSpPr>
              <p:cNvPr id="63" name="Freeform 131">
                <a:extLst>
                  <a:ext uri="{FF2B5EF4-FFF2-40B4-BE49-F238E27FC236}">
                    <a16:creationId xmlns:a16="http://schemas.microsoft.com/office/drawing/2014/main" id="{5DB38759-DB5B-C5A5-A1DA-86F8120CAE7E}"/>
                  </a:ext>
                </a:extLst>
              </p:cNvPr>
              <p:cNvSpPr/>
              <p:nvPr/>
            </p:nvSpPr>
            <p:spPr>
              <a:xfrm>
                <a:off x="4308478" y="2551005"/>
                <a:ext cx="15149" cy="17508"/>
              </a:xfrm>
              <a:custGeom>
                <a:avLst/>
                <a:gdLst>
                  <a:gd name="connsiteX0" fmla="*/ 8692 w 15149"/>
                  <a:gd name="connsiteY0" fmla="*/ 0 h 17508"/>
                  <a:gd name="connsiteX1" fmla="*/ 1444 w 15149"/>
                  <a:gd name="connsiteY1" fmla="*/ 17506 h 17508"/>
                  <a:gd name="connsiteX2" fmla="*/ 15150 w 15149"/>
                  <a:gd name="connsiteY2" fmla="*/ 5386 h 17508"/>
                  <a:gd name="connsiteX3" fmla="*/ 8692 w 15149"/>
                  <a:gd name="connsiteY3" fmla="*/ 0 h 17508"/>
                </a:gdLst>
                <a:ahLst/>
                <a:cxnLst>
                  <a:cxn ang="0">
                    <a:pos x="connsiteX0" y="connsiteY0"/>
                  </a:cxn>
                  <a:cxn ang="0">
                    <a:pos x="connsiteX1" y="connsiteY1"/>
                  </a:cxn>
                  <a:cxn ang="0">
                    <a:pos x="connsiteX2" y="connsiteY2"/>
                  </a:cxn>
                  <a:cxn ang="0">
                    <a:pos x="connsiteX3" y="connsiteY3"/>
                  </a:cxn>
                </a:cxnLst>
                <a:rect l="l" t="t" r="r" b="b"/>
                <a:pathLst>
                  <a:path w="15149" h="17508">
                    <a:moveTo>
                      <a:pt x="8692" y="0"/>
                    </a:moveTo>
                    <a:cubicBezTo>
                      <a:pt x="3071" y="6362"/>
                      <a:pt x="-2783" y="17692"/>
                      <a:pt x="1444" y="17506"/>
                    </a:cubicBezTo>
                    <a:cubicBezTo>
                      <a:pt x="6694" y="17274"/>
                      <a:pt x="12408" y="11144"/>
                      <a:pt x="15150" y="5386"/>
                    </a:cubicBezTo>
                    <a:cubicBezTo>
                      <a:pt x="12548" y="3993"/>
                      <a:pt x="10411" y="2182"/>
                      <a:pt x="8692" y="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4" name="Freeform 133">
                <a:extLst>
                  <a:ext uri="{FF2B5EF4-FFF2-40B4-BE49-F238E27FC236}">
                    <a16:creationId xmlns:a16="http://schemas.microsoft.com/office/drawing/2014/main" id="{6DDDACCC-2FC3-A723-B7F0-D6D62B2904E5}"/>
                  </a:ext>
                </a:extLst>
              </p:cNvPr>
              <p:cNvSpPr/>
              <p:nvPr/>
            </p:nvSpPr>
            <p:spPr>
              <a:xfrm>
                <a:off x="4287738" y="2655337"/>
                <a:ext cx="53616" cy="41241"/>
              </a:xfrm>
              <a:custGeom>
                <a:avLst/>
                <a:gdLst>
                  <a:gd name="connsiteX0" fmla="*/ 12428 w 53616"/>
                  <a:gd name="connsiteY0" fmla="*/ 7669 h 41241"/>
                  <a:gd name="connsiteX1" fmla="*/ 6574 w 53616"/>
                  <a:gd name="connsiteY1" fmla="*/ 21274 h 41241"/>
                  <a:gd name="connsiteX2" fmla="*/ 1743 w 53616"/>
                  <a:gd name="connsiteY2" fmla="*/ 35158 h 41241"/>
                  <a:gd name="connsiteX3" fmla="*/ 15262 w 53616"/>
                  <a:gd name="connsiteY3" fmla="*/ 38362 h 41241"/>
                  <a:gd name="connsiteX4" fmla="*/ 27806 w 53616"/>
                  <a:gd name="connsiteY4" fmla="*/ 34090 h 41241"/>
                  <a:gd name="connsiteX5" fmla="*/ 34914 w 53616"/>
                  <a:gd name="connsiteY5" fmla="*/ 41241 h 41241"/>
                  <a:gd name="connsiteX6" fmla="*/ 51546 w 53616"/>
                  <a:gd name="connsiteY6" fmla="*/ 29726 h 41241"/>
                  <a:gd name="connsiteX7" fmla="*/ 39467 w 53616"/>
                  <a:gd name="connsiteY7" fmla="*/ 2886 h 41241"/>
                  <a:gd name="connsiteX8" fmla="*/ 12475 w 53616"/>
                  <a:gd name="connsiteY8" fmla="*/ 7623 h 41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616" h="41241">
                    <a:moveTo>
                      <a:pt x="12428" y="7669"/>
                    </a:moveTo>
                    <a:cubicBezTo>
                      <a:pt x="11034" y="14541"/>
                      <a:pt x="8804" y="19510"/>
                      <a:pt x="6574" y="21274"/>
                    </a:cubicBezTo>
                    <a:cubicBezTo>
                      <a:pt x="3183" y="23968"/>
                      <a:pt x="-3042" y="34090"/>
                      <a:pt x="1743" y="35158"/>
                    </a:cubicBezTo>
                    <a:cubicBezTo>
                      <a:pt x="6574" y="36226"/>
                      <a:pt x="14240" y="44770"/>
                      <a:pt x="15262" y="38362"/>
                    </a:cubicBezTo>
                    <a:cubicBezTo>
                      <a:pt x="16238" y="31954"/>
                      <a:pt x="19583" y="23410"/>
                      <a:pt x="27806" y="34090"/>
                    </a:cubicBezTo>
                    <a:cubicBezTo>
                      <a:pt x="29757" y="36644"/>
                      <a:pt x="32265" y="39059"/>
                      <a:pt x="34914" y="41241"/>
                    </a:cubicBezTo>
                    <a:cubicBezTo>
                      <a:pt x="36261" y="36412"/>
                      <a:pt x="46296" y="35576"/>
                      <a:pt x="51546" y="29726"/>
                    </a:cubicBezTo>
                    <a:cubicBezTo>
                      <a:pt x="57910" y="22667"/>
                      <a:pt x="48386" y="12405"/>
                      <a:pt x="39467" y="2886"/>
                    </a:cubicBezTo>
                    <a:cubicBezTo>
                      <a:pt x="31383" y="-5751"/>
                      <a:pt x="21023" y="7762"/>
                      <a:pt x="12475" y="7623"/>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5" name="Freeform 134">
                <a:extLst>
                  <a:ext uri="{FF2B5EF4-FFF2-40B4-BE49-F238E27FC236}">
                    <a16:creationId xmlns:a16="http://schemas.microsoft.com/office/drawing/2014/main" id="{6A944BFE-CD05-6302-B3F5-960D82A46CAB}"/>
                  </a:ext>
                </a:extLst>
              </p:cNvPr>
              <p:cNvSpPr/>
              <p:nvPr/>
            </p:nvSpPr>
            <p:spPr>
              <a:xfrm>
                <a:off x="4317114" y="2530272"/>
                <a:ext cx="184353" cy="297362"/>
              </a:xfrm>
              <a:custGeom>
                <a:avLst/>
                <a:gdLst>
                  <a:gd name="connsiteX0" fmla="*/ 179940 w 184353"/>
                  <a:gd name="connsiteY0" fmla="*/ 213298 h 297362"/>
                  <a:gd name="connsiteX1" fmla="*/ 177246 w 184353"/>
                  <a:gd name="connsiteY1" fmla="*/ 212416 h 297362"/>
                  <a:gd name="connsiteX2" fmla="*/ 163215 w 184353"/>
                  <a:gd name="connsiteY2" fmla="*/ 201782 h 297362"/>
                  <a:gd name="connsiteX3" fmla="*/ 161775 w 184353"/>
                  <a:gd name="connsiteY3" fmla="*/ 203175 h 297362"/>
                  <a:gd name="connsiteX4" fmla="*/ 151229 w 184353"/>
                  <a:gd name="connsiteY4" fmla="*/ 201782 h 297362"/>
                  <a:gd name="connsiteX5" fmla="*/ 150904 w 184353"/>
                  <a:gd name="connsiteY5" fmla="*/ 188688 h 297362"/>
                  <a:gd name="connsiteX6" fmla="*/ 143889 w 184353"/>
                  <a:gd name="connsiteY6" fmla="*/ 175639 h 297362"/>
                  <a:gd name="connsiteX7" fmla="*/ 143935 w 184353"/>
                  <a:gd name="connsiteY7" fmla="*/ 174107 h 297362"/>
                  <a:gd name="connsiteX8" fmla="*/ 133157 w 184353"/>
                  <a:gd name="connsiteY8" fmla="*/ 161709 h 297362"/>
                  <a:gd name="connsiteX9" fmla="*/ 130463 w 184353"/>
                  <a:gd name="connsiteY9" fmla="*/ 155255 h 297362"/>
                  <a:gd name="connsiteX10" fmla="*/ 128651 w 184353"/>
                  <a:gd name="connsiteY10" fmla="*/ 154372 h 297362"/>
                  <a:gd name="connsiteX11" fmla="*/ 117826 w 184353"/>
                  <a:gd name="connsiteY11" fmla="*/ 140488 h 297362"/>
                  <a:gd name="connsiteX12" fmla="*/ 116943 w 184353"/>
                  <a:gd name="connsiteY12" fmla="*/ 134127 h 297362"/>
                  <a:gd name="connsiteX13" fmla="*/ 115410 w 184353"/>
                  <a:gd name="connsiteY13" fmla="*/ 128694 h 297362"/>
                  <a:gd name="connsiteX14" fmla="*/ 103564 w 184353"/>
                  <a:gd name="connsiteY14" fmla="*/ 109702 h 297362"/>
                  <a:gd name="connsiteX15" fmla="*/ 98871 w 184353"/>
                  <a:gd name="connsiteY15" fmla="*/ 105616 h 297362"/>
                  <a:gd name="connsiteX16" fmla="*/ 79405 w 184353"/>
                  <a:gd name="connsiteY16" fmla="*/ 102087 h 297362"/>
                  <a:gd name="connsiteX17" fmla="*/ 84237 w 184353"/>
                  <a:gd name="connsiteY17" fmla="*/ 88946 h 297362"/>
                  <a:gd name="connsiteX18" fmla="*/ 82843 w 184353"/>
                  <a:gd name="connsiteY18" fmla="*/ 81470 h 297362"/>
                  <a:gd name="connsiteX19" fmla="*/ 96966 w 184353"/>
                  <a:gd name="connsiteY19" fmla="*/ 60156 h 297362"/>
                  <a:gd name="connsiteX20" fmla="*/ 101473 w 184353"/>
                  <a:gd name="connsiteY20" fmla="*/ 54631 h 297362"/>
                  <a:gd name="connsiteX21" fmla="*/ 101752 w 184353"/>
                  <a:gd name="connsiteY21" fmla="*/ 54398 h 297362"/>
                  <a:gd name="connsiteX22" fmla="*/ 103610 w 184353"/>
                  <a:gd name="connsiteY22" fmla="*/ 44926 h 297362"/>
                  <a:gd name="connsiteX23" fmla="*/ 63749 w 184353"/>
                  <a:gd name="connsiteY23" fmla="*/ 42790 h 297362"/>
                  <a:gd name="connsiteX24" fmla="*/ 56409 w 184353"/>
                  <a:gd name="connsiteY24" fmla="*/ 35035 h 297362"/>
                  <a:gd name="connsiteX25" fmla="*/ 72669 w 184353"/>
                  <a:gd name="connsiteY25" fmla="*/ 15254 h 297362"/>
                  <a:gd name="connsiteX26" fmla="*/ 75875 w 184353"/>
                  <a:gd name="connsiteY26" fmla="*/ 1138 h 297362"/>
                  <a:gd name="connsiteX27" fmla="*/ 66304 w 184353"/>
                  <a:gd name="connsiteY27" fmla="*/ 10657 h 297362"/>
                  <a:gd name="connsiteX28" fmla="*/ 43029 w 184353"/>
                  <a:gd name="connsiteY28" fmla="*/ 11028 h 297362"/>
                  <a:gd name="connsiteX29" fmla="*/ 39684 w 184353"/>
                  <a:gd name="connsiteY29" fmla="*/ 11028 h 297362"/>
                  <a:gd name="connsiteX30" fmla="*/ 30160 w 184353"/>
                  <a:gd name="connsiteY30" fmla="*/ 25284 h 297362"/>
                  <a:gd name="connsiteX31" fmla="*/ 29649 w 184353"/>
                  <a:gd name="connsiteY31" fmla="*/ 31181 h 297362"/>
                  <a:gd name="connsiteX32" fmla="*/ 20079 w 184353"/>
                  <a:gd name="connsiteY32" fmla="*/ 47433 h 297362"/>
                  <a:gd name="connsiteX33" fmla="*/ 14690 w 184353"/>
                  <a:gd name="connsiteY33" fmla="*/ 54120 h 297362"/>
                  <a:gd name="connsiteX34" fmla="*/ 1635 w 184353"/>
                  <a:gd name="connsiteY34" fmla="*/ 48826 h 297362"/>
                  <a:gd name="connsiteX35" fmla="*/ 17245 w 184353"/>
                  <a:gd name="connsiteY35" fmla="*/ 62989 h 297362"/>
                  <a:gd name="connsiteX36" fmla="*/ 9300 w 184353"/>
                  <a:gd name="connsiteY36" fmla="*/ 80634 h 297362"/>
                  <a:gd name="connsiteX37" fmla="*/ 20776 w 184353"/>
                  <a:gd name="connsiteY37" fmla="*/ 93357 h 297362"/>
                  <a:gd name="connsiteX38" fmla="*/ 2889 w 184353"/>
                  <a:gd name="connsiteY38" fmla="*/ 108170 h 297362"/>
                  <a:gd name="connsiteX39" fmla="*/ 18174 w 184353"/>
                  <a:gd name="connsiteY39" fmla="*/ 102180 h 297362"/>
                  <a:gd name="connsiteX40" fmla="*/ 27094 w 184353"/>
                  <a:gd name="connsiteY40" fmla="*/ 116667 h 297362"/>
                  <a:gd name="connsiteX41" fmla="*/ 39544 w 184353"/>
                  <a:gd name="connsiteY41" fmla="*/ 97954 h 297362"/>
                  <a:gd name="connsiteX42" fmla="*/ 41171 w 184353"/>
                  <a:gd name="connsiteY42" fmla="*/ 114531 h 297362"/>
                  <a:gd name="connsiteX43" fmla="*/ 33505 w 184353"/>
                  <a:gd name="connsiteY43" fmla="*/ 138585 h 297362"/>
                  <a:gd name="connsiteX44" fmla="*/ 64446 w 184353"/>
                  <a:gd name="connsiteY44" fmla="*/ 135427 h 297362"/>
                  <a:gd name="connsiteX45" fmla="*/ 70207 w 184353"/>
                  <a:gd name="connsiteY45" fmla="*/ 142485 h 297362"/>
                  <a:gd name="connsiteX46" fmla="*/ 73737 w 184353"/>
                  <a:gd name="connsiteY46" fmla="*/ 157344 h 297362"/>
                  <a:gd name="connsiteX47" fmla="*/ 79452 w 184353"/>
                  <a:gd name="connsiteY47" fmla="*/ 166167 h 297362"/>
                  <a:gd name="connsiteX48" fmla="*/ 77547 w 184353"/>
                  <a:gd name="connsiteY48" fmla="*/ 187712 h 297362"/>
                  <a:gd name="connsiteX49" fmla="*/ 55526 w 184353"/>
                  <a:gd name="connsiteY49" fmla="*/ 188780 h 297362"/>
                  <a:gd name="connsiteX50" fmla="*/ 48836 w 184353"/>
                  <a:gd name="connsiteY50" fmla="*/ 192634 h 297362"/>
                  <a:gd name="connsiteX51" fmla="*/ 42471 w 184353"/>
                  <a:gd name="connsiteY51" fmla="*/ 207494 h 297362"/>
                  <a:gd name="connsiteX52" fmla="*/ 55201 w 184353"/>
                  <a:gd name="connsiteY52" fmla="*/ 216688 h 297362"/>
                  <a:gd name="connsiteX53" fmla="*/ 34481 w 184353"/>
                  <a:gd name="connsiteY53" fmla="*/ 232940 h 297362"/>
                  <a:gd name="connsiteX54" fmla="*/ 42750 w 184353"/>
                  <a:gd name="connsiteY54" fmla="*/ 242830 h 297362"/>
                  <a:gd name="connsiteX55" fmla="*/ 55526 w 184353"/>
                  <a:gd name="connsiteY55" fmla="*/ 245988 h 297362"/>
                  <a:gd name="connsiteX56" fmla="*/ 78151 w 184353"/>
                  <a:gd name="connsiteY56" fmla="*/ 249517 h 297362"/>
                  <a:gd name="connsiteX57" fmla="*/ 80056 w 184353"/>
                  <a:gd name="connsiteY57" fmla="*/ 255507 h 297362"/>
                  <a:gd name="connsiteX58" fmla="*/ 56130 w 184353"/>
                  <a:gd name="connsiteY58" fmla="*/ 259036 h 297362"/>
                  <a:gd name="connsiteX59" fmla="*/ 28720 w 184353"/>
                  <a:gd name="connsiteY59" fmla="*/ 296463 h 297362"/>
                  <a:gd name="connsiteX60" fmla="*/ 44655 w 184353"/>
                  <a:gd name="connsiteY60" fmla="*/ 286572 h 297362"/>
                  <a:gd name="connsiteX61" fmla="*/ 54597 w 184353"/>
                  <a:gd name="connsiteY61" fmla="*/ 286758 h 297362"/>
                  <a:gd name="connsiteX62" fmla="*/ 63331 w 184353"/>
                  <a:gd name="connsiteY62" fmla="*/ 277935 h 297362"/>
                  <a:gd name="connsiteX63" fmla="*/ 81450 w 184353"/>
                  <a:gd name="connsiteY63" fmla="*/ 275613 h 297362"/>
                  <a:gd name="connsiteX64" fmla="*/ 85073 w 184353"/>
                  <a:gd name="connsiteY64" fmla="*/ 277006 h 297362"/>
                  <a:gd name="connsiteX65" fmla="*/ 85770 w 184353"/>
                  <a:gd name="connsiteY65" fmla="*/ 277053 h 297362"/>
                  <a:gd name="connsiteX66" fmla="*/ 102681 w 184353"/>
                  <a:gd name="connsiteY66" fmla="*/ 271759 h 297362"/>
                  <a:gd name="connsiteX67" fmla="*/ 119916 w 184353"/>
                  <a:gd name="connsiteY67" fmla="*/ 276356 h 297362"/>
                  <a:gd name="connsiteX68" fmla="*/ 144168 w 184353"/>
                  <a:gd name="connsiteY68" fmla="*/ 271388 h 297362"/>
                  <a:gd name="connsiteX69" fmla="*/ 174133 w 184353"/>
                  <a:gd name="connsiteY69" fmla="*/ 257597 h 297362"/>
                  <a:gd name="connsiteX70" fmla="*/ 164888 w 184353"/>
                  <a:gd name="connsiteY70" fmla="*/ 252675 h 297362"/>
                  <a:gd name="connsiteX71" fmla="*/ 166467 w 184353"/>
                  <a:gd name="connsiteY71" fmla="*/ 238559 h 297362"/>
                  <a:gd name="connsiteX72" fmla="*/ 184354 w 184353"/>
                  <a:gd name="connsiteY72" fmla="*/ 215620 h 297362"/>
                  <a:gd name="connsiteX73" fmla="*/ 184354 w 184353"/>
                  <a:gd name="connsiteY73" fmla="*/ 215620 h 297362"/>
                  <a:gd name="connsiteX74" fmla="*/ 179847 w 184353"/>
                  <a:gd name="connsiteY74" fmla="*/ 213391 h 297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84353" h="297362">
                    <a:moveTo>
                      <a:pt x="179940" y="213298"/>
                    </a:moveTo>
                    <a:cubicBezTo>
                      <a:pt x="179058" y="212973"/>
                      <a:pt x="178175" y="212648"/>
                      <a:pt x="177246" y="212416"/>
                    </a:cubicBezTo>
                    <a:cubicBezTo>
                      <a:pt x="171253" y="210837"/>
                      <a:pt x="166514" y="206844"/>
                      <a:pt x="163215" y="201782"/>
                    </a:cubicBezTo>
                    <a:cubicBezTo>
                      <a:pt x="162565" y="202107"/>
                      <a:pt x="162007" y="202525"/>
                      <a:pt x="161775" y="203175"/>
                    </a:cubicBezTo>
                    <a:cubicBezTo>
                      <a:pt x="159545" y="208840"/>
                      <a:pt x="154760" y="208144"/>
                      <a:pt x="151229" y="201782"/>
                    </a:cubicBezTo>
                    <a:cubicBezTo>
                      <a:pt x="147745" y="195421"/>
                      <a:pt x="154435" y="189384"/>
                      <a:pt x="150904" y="188688"/>
                    </a:cubicBezTo>
                    <a:cubicBezTo>
                      <a:pt x="147373" y="187991"/>
                      <a:pt x="142913" y="179122"/>
                      <a:pt x="143889" y="175639"/>
                    </a:cubicBezTo>
                    <a:cubicBezTo>
                      <a:pt x="143982" y="175314"/>
                      <a:pt x="143982" y="174757"/>
                      <a:pt x="143935" y="174107"/>
                    </a:cubicBezTo>
                    <a:cubicBezTo>
                      <a:pt x="139754" y="170485"/>
                      <a:pt x="136316" y="166213"/>
                      <a:pt x="133157" y="161709"/>
                    </a:cubicBezTo>
                    <a:cubicBezTo>
                      <a:pt x="131810" y="159759"/>
                      <a:pt x="130973" y="157576"/>
                      <a:pt x="130463" y="155255"/>
                    </a:cubicBezTo>
                    <a:lnTo>
                      <a:pt x="128651" y="154372"/>
                    </a:lnTo>
                    <a:cubicBezTo>
                      <a:pt x="123215" y="151679"/>
                      <a:pt x="119638" y="146060"/>
                      <a:pt x="117826" y="140488"/>
                    </a:cubicBezTo>
                    <a:cubicBezTo>
                      <a:pt x="117129" y="138399"/>
                      <a:pt x="116897" y="136263"/>
                      <a:pt x="116943" y="134127"/>
                    </a:cubicBezTo>
                    <a:cubicBezTo>
                      <a:pt x="116339" y="132362"/>
                      <a:pt x="115828" y="130551"/>
                      <a:pt x="115410" y="128694"/>
                    </a:cubicBezTo>
                    <a:cubicBezTo>
                      <a:pt x="108720" y="124840"/>
                      <a:pt x="104260" y="117782"/>
                      <a:pt x="103564" y="109702"/>
                    </a:cubicBezTo>
                    <a:cubicBezTo>
                      <a:pt x="101984" y="108913"/>
                      <a:pt x="100358" y="107752"/>
                      <a:pt x="98871" y="105616"/>
                    </a:cubicBezTo>
                    <a:cubicBezTo>
                      <a:pt x="93436" y="97861"/>
                      <a:pt x="84190" y="101715"/>
                      <a:pt x="79405" y="102087"/>
                    </a:cubicBezTo>
                    <a:cubicBezTo>
                      <a:pt x="75224" y="102365"/>
                      <a:pt x="78337" y="94657"/>
                      <a:pt x="84237" y="88946"/>
                    </a:cubicBezTo>
                    <a:cubicBezTo>
                      <a:pt x="83447" y="86531"/>
                      <a:pt x="82936" y="83977"/>
                      <a:pt x="82843" y="81470"/>
                    </a:cubicBezTo>
                    <a:cubicBezTo>
                      <a:pt x="82425" y="72554"/>
                      <a:pt x="88697" y="63871"/>
                      <a:pt x="96966" y="60156"/>
                    </a:cubicBezTo>
                    <a:cubicBezTo>
                      <a:pt x="98314" y="58160"/>
                      <a:pt x="99754" y="56209"/>
                      <a:pt x="101473" y="54631"/>
                    </a:cubicBezTo>
                    <a:cubicBezTo>
                      <a:pt x="101566" y="54538"/>
                      <a:pt x="101659" y="54491"/>
                      <a:pt x="101752" y="54398"/>
                    </a:cubicBezTo>
                    <a:cubicBezTo>
                      <a:pt x="102913" y="50080"/>
                      <a:pt x="103610" y="46551"/>
                      <a:pt x="103610" y="44926"/>
                    </a:cubicBezTo>
                    <a:cubicBezTo>
                      <a:pt x="103610" y="38936"/>
                      <a:pt x="70114" y="39261"/>
                      <a:pt x="63749" y="42790"/>
                    </a:cubicBezTo>
                    <a:cubicBezTo>
                      <a:pt x="57384" y="46319"/>
                      <a:pt x="51020" y="37496"/>
                      <a:pt x="56409" y="35035"/>
                    </a:cubicBezTo>
                    <a:cubicBezTo>
                      <a:pt x="61844" y="32574"/>
                      <a:pt x="73319" y="20222"/>
                      <a:pt x="72669" y="15254"/>
                    </a:cubicBezTo>
                    <a:cubicBezTo>
                      <a:pt x="72018" y="10332"/>
                      <a:pt x="80660" y="5735"/>
                      <a:pt x="75875" y="1138"/>
                    </a:cubicBezTo>
                    <a:cubicBezTo>
                      <a:pt x="71090" y="-3459"/>
                      <a:pt x="70439" y="7128"/>
                      <a:pt x="66304" y="10657"/>
                    </a:cubicBezTo>
                    <a:cubicBezTo>
                      <a:pt x="62169" y="14186"/>
                      <a:pt x="52924" y="13118"/>
                      <a:pt x="43029" y="11028"/>
                    </a:cubicBezTo>
                    <a:cubicBezTo>
                      <a:pt x="41821" y="10750"/>
                      <a:pt x="40706" y="10796"/>
                      <a:pt x="39684" y="11028"/>
                    </a:cubicBezTo>
                    <a:cubicBezTo>
                      <a:pt x="38476" y="16786"/>
                      <a:pt x="35270" y="22033"/>
                      <a:pt x="30160" y="25284"/>
                    </a:cubicBezTo>
                    <a:cubicBezTo>
                      <a:pt x="29742" y="27513"/>
                      <a:pt x="29602" y="29602"/>
                      <a:pt x="29649" y="31181"/>
                    </a:cubicBezTo>
                    <a:cubicBezTo>
                      <a:pt x="29974" y="37868"/>
                      <a:pt x="18174" y="41768"/>
                      <a:pt x="20079" y="47433"/>
                    </a:cubicBezTo>
                    <a:cubicBezTo>
                      <a:pt x="21984" y="53098"/>
                      <a:pt x="17849" y="57324"/>
                      <a:pt x="14690" y="54120"/>
                    </a:cubicBezTo>
                    <a:cubicBezTo>
                      <a:pt x="11531" y="50962"/>
                      <a:pt x="8000" y="43161"/>
                      <a:pt x="1635" y="48826"/>
                    </a:cubicBezTo>
                    <a:cubicBezTo>
                      <a:pt x="-4730" y="54491"/>
                      <a:pt x="8975" y="61921"/>
                      <a:pt x="17245" y="62989"/>
                    </a:cubicBezTo>
                    <a:cubicBezTo>
                      <a:pt x="25561" y="64057"/>
                      <a:pt x="10880" y="70743"/>
                      <a:pt x="9300" y="80634"/>
                    </a:cubicBezTo>
                    <a:cubicBezTo>
                      <a:pt x="7721" y="90525"/>
                      <a:pt x="20125" y="86299"/>
                      <a:pt x="20776" y="93357"/>
                    </a:cubicBezTo>
                    <a:cubicBezTo>
                      <a:pt x="21426" y="100415"/>
                      <a:pt x="2889" y="101483"/>
                      <a:pt x="2889" y="108170"/>
                    </a:cubicBezTo>
                    <a:cubicBezTo>
                      <a:pt x="2889" y="114856"/>
                      <a:pt x="13435" y="105012"/>
                      <a:pt x="18174" y="102180"/>
                    </a:cubicBezTo>
                    <a:cubicBezTo>
                      <a:pt x="22959" y="99347"/>
                      <a:pt x="15619" y="118757"/>
                      <a:pt x="27094" y="116667"/>
                    </a:cubicBezTo>
                    <a:cubicBezTo>
                      <a:pt x="38569" y="114531"/>
                      <a:pt x="35363" y="97258"/>
                      <a:pt x="39544" y="97954"/>
                    </a:cubicBezTo>
                    <a:cubicBezTo>
                      <a:pt x="43679" y="98651"/>
                      <a:pt x="37640" y="107148"/>
                      <a:pt x="41171" y="114531"/>
                    </a:cubicBezTo>
                    <a:cubicBezTo>
                      <a:pt x="44655" y="121961"/>
                      <a:pt x="32855" y="133245"/>
                      <a:pt x="33505" y="138585"/>
                    </a:cubicBezTo>
                    <a:cubicBezTo>
                      <a:pt x="34155" y="143878"/>
                      <a:pt x="57106" y="143878"/>
                      <a:pt x="64446" y="135427"/>
                    </a:cubicBezTo>
                    <a:cubicBezTo>
                      <a:pt x="71786" y="126929"/>
                      <a:pt x="75271" y="136124"/>
                      <a:pt x="70207" y="142485"/>
                    </a:cubicBezTo>
                    <a:cubicBezTo>
                      <a:pt x="65096" y="148847"/>
                      <a:pt x="67326" y="154837"/>
                      <a:pt x="73737" y="157344"/>
                    </a:cubicBezTo>
                    <a:cubicBezTo>
                      <a:pt x="80102" y="159805"/>
                      <a:pt x="82332" y="160502"/>
                      <a:pt x="79452" y="166167"/>
                    </a:cubicBezTo>
                    <a:cubicBezTo>
                      <a:pt x="76572" y="171832"/>
                      <a:pt x="79127" y="182419"/>
                      <a:pt x="77547" y="187712"/>
                    </a:cubicBezTo>
                    <a:cubicBezTo>
                      <a:pt x="75968" y="193006"/>
                      <a:pt x="56176" y="192310"/>
                      <a:pt x="55526" y="188780"/>
                    </a:cubicBezTo>
                    <a:cubicBezTo>
                      <a:pt x="54875" y="185251"/>
                      <a:pt x="46606" y="187712"/>
                      <a:pt x="48836" y="192634"/>
                    </a:cubicBezTo>
                    <a:cubicBezTo>
                      <a:pt x="51066" y="197603"/>
                      <a:pt x="41821" y="202897"/>
                      <a:pt x="42471" y="207494"/>
                    </a:cubicBezTo>
                    <a:cubicBezTo>
                      <a:pt x="43122" y="212091"/>
                      <a:pt x="54922" y="211023"/>
                      <a:pt x="55201" y="216688"/>
                    </a:cubicBezTo>
                    <a:cubicBezTo>
                      <a:pt x="55526" y="222306"/>
                      <a:pt x="46606" y="229039"/>
                      <a:pt x="34481" y="232940"/>
                    </a:cubicBezTo>
                    <a:cubicBezTo>
                      <a:pt x="22355" y="236794"/>
                      <a:pt x="37036" y="247428"/>
                      <a:pt x="42750" y="242830"/>
                    </a:cubicBezTo>
                    <a:cubicBezTo>
                      <a:pt x="48465" y="238233"/>
                      <a:pt x="47210" y="245988"/>
                      <a:pt x="55526" y="245988"/>
                    </a:cubicBezTo>
                    <a:cubicBezTo>
                      <a:pt x="63842" y="245988"/>
                      <a:pt x="68906" y="253418"/>
                      <a:pt x="78151" y="249517"/>
                    </a:cubicBezTo>
                    <a:cubicBezTo>
                      <a:pt x="87396" y="245617"/>
                      <a:pt x="87071" y="249517"/>
                      <a:pt x="80056" y="255507"/>
                    </a:cubicBezTo>
                    <a:cubicBezTo>
                      <a:pt x="73041" y="261497"/>
                      <a:pt x="62541" y="255182"/>
                      <a:pt x="56130" y="259036"/>
                    </a:cubicBezTo>
                    <a:cubicBezTo>
                      <a:pt x="49765" y="262890"/>
                      <a:pt x="23795" y="289869"/>
                      <a:pt x="28720" y="296463"/>
                    </a:cubicBezTo>
                    <a:cubicBezTo>
                      <a:pt x="31600" y="300317"/>
                      <a:pt x="35410" y="290798"/>
                      <a:pt x="44655" y="286572"/>
                    </a:cubicBezTo>
                    <a:cubicBezTo>
                      <a:pt x="49580" y="284297"/>
                      <a:pt x="52320" y="285272"/>
                      <a:pt x="54597" y="286758"/>
                    </a:cubicBezTo>
                    <a:cubicBezTo>
                      <a:pt x="56687" y="283182"/>
                      <a:pt x="59847" y="280164"/>
                      <a:pt x="63331" y="277935"/>
                    </a:cubicBezTo>
                    <a:cubicBezTo>
                      <a:pt x="68348" y="274778"/>
                      <a:pt x="75828" y="274081"/>
                      <a:pt x="81450" y="275613"/>
                    </a:cubicBezTo>
                    <a:cubicBezTo>
                      <a:pt x="82611" y="275938"/>
                      <a:pt x="83865" y="276403"/>
                      <a:pt x="85073" y="277006"/>
                    </a:cubicBezTo>
                    <a:cubicBezTo>
                      <a:pt x="85306" y="277006"/>
                      <a:pt x="85538" y="277006"/>
                      <a:pt x="85770" y="277053"/>
                    </a:cubicBezTo>
                    <a:cubicBezTo>
                      <a:pt x="93436" y="278446"/>
                      <a:pt x="98871" y="275288"/>
                      <a:pt x="102681" y="271759"/>
                    </a:cubicBezTo>
                    <a:cubicBezTo>
                      <a:pt x="106490" y="268230"/>
                      <a:pt x="116711" y="278817"/>
                      <a:pt x="119916" y="276356"/>
                    </a:cubicBezTo>
                    <a:cubicBezTo>
                      <a:pt x="123076" y="273895"/>
                      <a:pt x="137152" y="271063"/>
                      <a:pt x="144168" y="271388"/>
                    </a:cubicBezTo>
                    <a:cubicBezTo>
                      <a:pt x="151183" y="271759"/>
                      <a:pt x="169348" y="262565"/>
                      <a:pt x="174133" y="257597"/>
                    </a:cubicBezTo>
                    <a:cubicBezTo>
                      <a:pt x="178918" y="252675"/>
                      <a:pt x="171253" y="251607"/>
                      <a:pt x="164888" y="252675"/>
                    </a:cubicBezTo>
                    <a:cubicBezTo>
                      <a:pt x="158523" y="253743"/>
                      <a:pt x="159777" y="245617"/>
                      <a:pt x="166467" y="238559"/>
                    </a:cubicBezTo>
                    <a:cubicBezTo>
                      <a:pt x="173157" y="231500"/>
                      <a:pt x="183703" y="226207"/>
                      <a:pt x="184354" y="215620"/>
                    </a:cubicBezTo>
                    <a:lnTo>
                      <a:pt x="184354" y="215620"/>
                    </a:lnTo>
                    <a:cubicBezTo>
                      <a:pt x="182867" y="214830"/>
                      <a:pt x="181380" y="214087"/>
                      <a:pt x="179847" y="213391"/>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sp>
          <p:nvSpPr>
            <p:cNvPr id="62" name="Freeform 130">
              <a:extLst>
                <a:ext uri="{FF2B5EF4-FFF2-40B4-BE49-F238E27FC236}">
                  <a16:creationId xmlns:a16="http://schemas.microsoft.com/office/drawing/2014/main" id="{E362B1C3-D54D-2D8B-FCED-2E0437F774EF}"/>
                </a:ext>
              </a:extLst>
            </p:cNvPr>
            <p:cNvSpPr/>
            <p:nvPr/>
          </p:nvSpPr>
          <p:spPr>
            <a:xfrm>
              <a:off x="4308478" y="2551005"/>
              <a:ext cx="15149" cy="17508"/>
            </a:xfrm>
            <a:custGeom>
              <a:avLst/>
              <a:gdLst>
                <a:gd name="connsiteX0" fmla="*/ 8692 w 15149"/>
                <a:gd name="connsiteY0" fmla="*/ 0 h 17508"/>
                <a:gd name="connsiteX1" fmla="*/ 1444 w 15149"/>
                <a:gd name="connsiteY1" fmla="*/ 17506 h 17508"/>
                <a:gd name="connsiteX2" fmla="*/ 15150 w 15149"/>
                <a:gd name="connsiteY2" fmla="*/ 5386 h 17508"/>
                <a:gd name="connsiteX3" fmla="*/ 8692 w 15149"/>
                <a:gd name="connsiteY3" fmla="*/ 0 h 17508"/>
              </a:gdLst>
              <a:ahLst/>
              <a:cxnLst>
                <a:cxn ang="0">
                  <a:pos x="connsiteX0" y="connsiteY0"/>
                </a:cxn>
                <a:cxn ang="0">
                  <a:pos x="connsiteX1" y="connsiteY1"/>
                </a:cxn>
                <a:cxn ang="0">
                  <a:pos x="connsiteX2" y="connsiteY2"/>
                </a:cxn>
                <a:cxn ang="0">
                  <a:pos x="connsiteX3" y="connsiteY3"/>
                </a:cxn>
              </a:cxnLst>
              <a:rect l="l" t="t" r="r" b="b"/>
              <a:pathLst>
                <a:path w="15149" h="17508">
                  <a:moveTo>
                    <a:pt x="8692" y="0"/>
                  </a:moveTo>
                  <a:cubicBezTo>
                    <a:pt x="3071" y="6362"/>
                    <a:pt x="-2783" y="17692"/>
                    <a:pt x="1444" y="17506"/>
                  </a:cubicBezTo>
                  <a:cubicBezTo>
                    <a:pt x="6694" y="17274"/>
                    <a:pt x="12408" y="11144"/>
                    <a:pt x="15150" y="5386"/>
                  </a:cubicBezTo>
                  <a:cubicBezTo>
                    <a:pt x="12548" y="3993"/>
                    <a:pt x="10411" y="2182"/>
                    <a:pt x="8692" y="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sp>
        <p:nvSpPr>
          <p:cNvPr id="60" name="Freeform 72">
            <a:extLst>
              <a:ext uri="{FF2B5EF4-FFF2-40B4-BE49-F238E27FC236}">
                <a16:creationId xmlns:a16="http://schemas.microsoft.com/office/drawing/2014/main" id="{94D4C407-1D9D-B25E-E849-438150034422}"/>
              </a:ext>
            </a:extLst>
          </p:cNvPr>
          <p:cNvSpPr/>
          <p:nvPr/>
        </p:nvSpPr>
        <p:spPr>
          <a:xfrm>
            <a:off x="2323817" y="3093243"/>
            <a:ext cx="2527572" cy="2126603"/>
          </a:xfrm>
          <a:custGeom>
            <a:avLst/>
            <a:gdLst>
              <a:gd name="connsiteX0" fmla="*/ 257748 w 258219"/>
              <a:gd name="connsiteY0" fmla="*/ 39005 h 217256"/>
              <a:gd name="connsiteX1" fmla="*/ 235588 w 258219"/>
              <a:gd name="connsiteY1" fmla="*/ 38309 h 217256"/>
              <a:gd name="connsiteX2" fmla="*/ 209990 w 258219"/>
              <a:gd name="connsiteY2" fmla="*/ 31436 h 217256"/>
              <a:gd name="connsiteX3" fmla="*/ 199908 w 258219"/>
              <a:gd name="connsiteY3" fmla="*/ 28836 h 217256"/>
              <a:gd name="connsiteX4" fmla="*/ 182858 w 258219"/>
              <a:gd name="connsiteY4" fmla="*/ 30554 h 217256"/>
              <a:gd name="connsiteX5" fmla="*/ 161906 w 258219"/>
              <a:gd name="connsiteY5" fmla="*/ 19363 h 217256"/>
              <a:gd name="connsiteX6" fmla="*/ 149641 w 258219"/>
              <a:gd name="connsiteY6" fmla="*/ 12630 h 217256"/>
              <a:gd name="connsiteX7" fmla="*/ 112335 w 258219"/>
              <a:gd name="connsiteY7" fmla="*/ 8126 h 217256"/>
              <a:gd name="connsiteX8" fmla="*/ 41208 w 258219"/>
              <a:gd name="connsiteY8" fmla="*/ 7430 h 217256"/>
              <a:gd name="connsiteX9" fmla="*/ 15052 w 258219"/>
              <a:gd name="connsiteY9" fmla="*/ 0 h 217256"/>
              <a:gd name="connsiteX10" fmla="*/ 0 w 258219"/>
              <a:gd name="connsiteY10" fmla="*/ 12027 h 217256"/>
              <a:gd name="connsiteX11" fmla="*/ 976 w 258219"/>
              <a:gd name="connsiteY11" fmla="*/ 23775 h 217256"/>
              <a:gd name="connsiteX12" fmla="*/ 9477 w 258219"/>
              <a:gd name="connsiteY12" fmla="*/ 33247 h 217256"/>
              <a:gd name="connsiteX13" fmla="*/ 11847 w 258219"/>
              <a:gd name="connsiteY13" fmla="*/ 51125 h 217256"/>
              <a:gd name="connsiteX14" fmla="*/ 11382 w 258219"/>
              <a:gd name="connsiteY14" fmla="*/ 52611 h 217256"/>
              <a:gd name="connsiteX15" fmla="*/ 11754 w 258219"/>
              <a:gd name="connsiteY15" fmla="*/ 54096 h 217256"/>
              <a:gd name="connsiteX16" fmla="*/ 22997 w 258219"/>
              <a:gd name="connsiteY16" fmla="*/ 54607 h 217256"/>
              <a:gd name="connsiteX17" fmla="*/ 31545 w 258219"/>
              <a:gd name="connsiteY17" fmla="*/ 54607 h 217256"/>
              <a:gd name="connsiteX18" fmla="*/ 44739 w 258219"/>
              <a:gd name="connsiteY18" fmla="*/ 57161 h 217256"/>
              <a:gd name="connsiteX19" fmla="*/ 50174 w 258219"/>
              <a:gd name="connsiteY19" fmla="*/ 66634 h 217256"/>
              <a:gd name="connsiteX20" fmla="*/ 36191 w 258219"/>
              <a:gd name="connsiteY20" fmla="*/ 80379 h 217256"/>
              <a:gd name="connsiteX21" fmla="*/ 37770 w 258219"/>
              <a:gd name="connsiteY21" fmla="*/ 102714 h 217256"/>
              <a:gd name="connsiteX22" fmla="*/ 33914 w 258219"/>
              <a:gd name="connsiteY22" fmla="*/ 119059 h 217256"/>
              <a:gd name="connsiteX23" fmla="*/ 28479 w 258219"/>
              <a:gd name="connsiteY23" fmla="*/ 128485 h 217256"/>
              <a:gd name="connsiteX24" fmla="*/ 34704 w 258219"/>
              <a:gd name="connsiteY24" fmla="*/ 141394 h 217256"/>
              <a:gd name="connsiteX25" fmla="*/ 29268 w 258219"/>
              <a:gd name="connsiteY25" fmla="*/ 154303 h 217256"/>
              <a:gd name="connsiteX26" fmla="*/ 33914 w 258219"/>
              <a:gd name="connsiteY26" fmla="*/ 166329 h 217256"/>
              <a:gd name="connsiteX27" fmla="*/ 25366 w 258219"/>
              <a:gd name="connsiteY27" fmla="*/ 180956 h 217256"/>
              <a:gd name="connsiteX28" fmla="*/ 28479 w 258219"/>
              <a:gd name="connsiteY28" fmla="*/ 188711 h 217256"/>
              <a:gd name="connsiteX29" fmla="*/ 39954 w 258219"/>
              <a:gd name="connsiteY29" fmla="*/ 189639 h 217256"/>
              <a:gd name="connsiteX30" fmla="*/ 66109 w 258219"/>
              <a:gd name="connsiteY30" fmla="*/ 217175 h 217256"/>
              <a:gd name="connsiteX31" fmla="*/ 71220 w 258219"/>
              <a:gd name="connsiteY31" fmla="*/ 209421 h 217256"/>
              <a:gd name="connsiteX32" fmla="*/ 83671 w 258219"/>
              <a:gd name="connsiteY32" fmla="*/ 208724 h 217256"/>
              <a:gd name="connsiteX33" fmla="*/ 103415 w 258219"/>
              <a:gd name="connsiteY33" fmla="*/ 200273 h 217256"/>
              <a:gd name="connsiteX34" fmla="*/ 130825 w 258219"/>
              <a:gd name="connsiteY34" fmla="*/ 199205 h 217256"/>
              <a:gd name="connsiteX35" fmla="*/ 146435 w 258219"/>
              <a:gd name="connsiteY35" fmla="*/ 190754 h 217256"/>
              <a:gd name="connsiteX36" fmla="*/ 163346 w 258219"/>
              <a:gd name="connsiteY36" fmla="*/ 178031 h 217256"/>
              <a:gd name="connsiteX37" fmla="*/ 171337 w 258219"/>
              <a:gd name="connsiteY37" fmla="*/ 161082 h 217256"/>
              <a:gd name="connsiteX38" fmla="*/ 187272 w 258219"/>
              <a:gd name="connsiteY38" fmla="*/ 142694 h 217256"/>
              <a:gd name="connsiteX39" fmla="*/ 187597 w 258219"/>
              <a:gd name="connsiteY39" fmla="*/ 107729 h 217256"/>
              <a:gd name="connsiteX40" fmla="*/ 205437 w 258219"/>
              <a:gd name="connsiteY40" fmla="*/ 84418 h 217256"/>
              <a:gd name="connsiteX41" fmla="*/ 225228 w 258219"/>
              <a:gd name="connsiteY41" fmla="*/ 72763 h 217256"/>
              <a:gd name="connsiteX42" fmla="*/ 248828 w 258219"/>
              <a:gd name="connsiteY42" fmla="*/ 59019 h 217256"/>
              <a:gd name="connsiteX43" fmla="*/ 257795 w 258219"/>
              <a:gd name="connsiteY43" fmla="*/ 39052 h 21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58219" h="217256">
                <a:moveTo>
                  <a:pt x="257748" y="39005"/>
                </a:moveTo>
                <a:cubicBezTo>
                  <a:pt x="250083" y="38820"/>
                  <a:pt x="241488" y="39748"/>
                  <a:pt x="235588" y="38309"/>
                </a:cubicBezTo>
                <a:cubicBezTo>
                  <a:pt x="228619" y="36591"/>
                  <a:pt x="213846" y="35755"/>
                  <a:pt x="209990" y="31436"/>
                </a:cubicBezTo>
                <a:cubicBezTo>
                  <a:pt x="206087" y="27164"/>
                  <a:pt x="199908" y="23728"/>
                  <a:pt x="199908" y="28836"/>
                </a:cubicBezTo>
                <a:cubicBezTo>
                  <a:pt x="199908" y="33944"/>
                  <a:pt x="189037" y="34873"/>
                  <a:pt x="182858" y="30554"/>
                </a:cubicBezTo>
                <a:cubicBezTo>
                  <a:pt x="176633" y="26236"/>
                  <a:pt x="166551" y="22846"/>
                  <a:pt x="161906" y="19363"/>
                </a:cubicBezTo>
                <a:cubicBezTo>
                  <a:pt x="159443" y="17552"/>
                  <a:pt x="154426" y="15277"/>
                  <a:pt x="149641" y="12630"/>
                </a:cubicBezTo>
                <a:cubicBezTo>
                  <a:pt x="143183" y="14023"/>
                  <a:pt x="124600" y="6454"/>
                  <a:pt x="112335" y="8126"/>
                </a:cubicBezTo>
                <a:cubicBezTo>
                  <a:pt x="99234" y="9891"/>
                  <a:pt x="57468" y="5990"/>
                  <a:pt x="41208" y="7430"/>
                </a:cubicBezTo>
                <a:cubicBezTo>
                  <a:pt x="24948" y="8823"/>
                  <a:pt x="23972" y="0"/>
                  <a:pt x="15052" y="0"/>
                </a:cubicBezTo>
                <a:cubicBezTo>
                  <a:pt x="6876" y="0"/>
                  <a:pt x="9385" y="10076"/>
                  <a:pt x="0" y="12027"/>
                </a:cubicBezTo>
                <a:cubicBezTo>
                  <a:pt x="1301" y="15741"/>
                  <a:pt x="1533" y="19828"/>
                  <a:pt x="976" y="23775"/>
                </a:cubicBezTo>
                <a:cubicBezTo>
                  <a:pt x="4228" y="26468"/>
                  <a:pt x="6597" y="29161"/>
                  <a:pt x="9477" y="33247"/>
                </a:cubicBezTo>
                <a:cubicBezTo>
                  <a:pt x="13055" y="38309"/>
                  <a:pt x="13194" y="45320"/>
                  <a:pt x="11847" y="51125"/>
                </a:cubicBezTo>
                <a:cubicBezTo>
                  <a:pt x="11707" y="51635"/>
                  <a:pt x="11521" y="52146"/>
                  <a:pt x="11382" y="52611"/>
                </a:cubicBezTo>
                <a:cubicBezTo>
                  <a:pt x="11568" y="53121"/>
                  <a:pt x="11661" y="53586"/>
                  <a:pt x="11754" y="54096"/>
                </a:cubicBezTo>
                <a:cubicBezTo>
                  <a:pt x="14541" y="55443"/>
                  <a:pt x="19698" y="54607"/>
                  <a:pt x="22997" y="54607"/>
                </a:cubicBezTo>
                <a:cubicBezTo>
                  <a:pt x="27642" y="54607"/>
                  <a:pt x="26109" y="58926"/>
                  <a:pt x="31545" y="54607"/>
                </a:cubicBezTo>
                <a:cubicBezTo>
                  <a:pt x="36981" y="50289"/>
                  <a:pt x="44739" y="52007"/>
                  <a:pt x="44739" y="57161"/>
                </a:cubicBezTo>
                <a:cubicBezTo>
                  <a:pt x="44739" y="62315"/>
                  <a:pt x="56400" y="59715"/>
                  <a:pt x="50174" y="66634"/>
                </a:cubicBezTo>
                <a:cubicBezTo>
                  <a:pt x="43949" y="73506"/>
                  <a:pt x="36191" y="75224"/>
                  <a:pt x="36191" y="80379"/>
                </a:cubicBezTo>
                <a:cubicBezTo>
                  <a:pt x="36191" y="85533"/>
                  <a:pt x="43159" y="96677"/>
                  <a:pt x="37770" y="102714"/>
                </a:cubicBezTo>
                <a:cubicBezTo>
                  <a:pt x="32335" y="108704"/>
                  <a:pt x="39303" y="119059"/>
                  <a:pt x="33914" y="119059"/>
                </a:cubicBezTo>
                <a:cubicBezTo>
                  <a:pt x="28525" y="119059"/>
                  <a:pt x="22253" y="121613"/>
                  <a:pt x="28479" y="128485"/>
                </a:cubicBezTo>
                <a:cubicBezTo>
                  <a:pt x="34704" y="135357"/>
                  <a:pt x="39350" y="141394"/>
                  <a:pt x="34704" y="141394"/>
                </a:cubicBezTo>
                <a:cubicBezTo>
                  <a:pt x="30058" y="141394"/>
                  <a:pt x="26946" y="151702"/>
                  <a:pt x="29268" y="154303"/>
                </a:cubicBezTo>
                <a:cubicBezTo>
                  <a:pt x="31591" y="156857"/>
                  <a:pt x="42463" y="164611"/>
                  <a:pt x="33914" y="166329"/>
                </a:cubicBezTo>
                <a:cubicBezTo>
                  <a:pt x="25366" y="168047"/>
                  <a:pt x="25366" y="175755"/>
                  <a:pt x="25366" y="180956"/>
                </a:cubicBezTo>
                <a:cubicBezTo>
                  <a:pt x="25366" y="182860"/>
                  <a:pt x="26760" y="185785"/>
                  <a:pt x="28479" y="188711"/>
                </a:cubicBezTo>
                <a:cubicBezTo>
                  <a:pt x="32427" y="187921"/>
                  <a:pt x="36330" y="187782"/>
                  <a:pt x="39954" y="189639"/>
                </a:cubicBezTo>
                <a:cubicBezTo>
                  <a:pt x="48874" y="194237"/>
                  <a:pt x="54031" y="218847"/>
                  <a:pt x="66109" y="217175"/>
                </a:cubicBezTo>
                <a:cubicBezTo>
                  <a:pt x="71220" y="216479"/>
                  <a:pt x="68665" y="212207"/>
                  <a:pt x="71220" y="209421"/>
                </a:cubicBezTo>
                <a:cubicBezTo>
                  <a:pt x="73775" y="206588"/>
                  <a:pt x="78560" y="208724"/>
                  <a:pt x="83671" y="208724"/>
                </a:cubicBezTo>
                <a:cubicBezTo>
                  <a:pt x="88781" y="208724"/>
                  <a:pt x="91336" y="200598"/>
                  <a:pt x="103415" y="200273"/>
                </a:cubicBezTo>
                <a:cubicBezTo>
                  <a:pt x="115541" y="199902"/>
                  <a:pt x="123206" y="198834"/>
                  <a:pt x="130825" y="199205"/>
                </a:cubicBezTo>
                <a:cubicBezTo>
                  <a:pt x="138491" y="199530"/>
                  <a:pt x="144530" y="196744"/>
                  <a:pt x="146435" y="190754"/>
                </a:cubicBezTo>
                <a:cubicBezTo>
                  <a:pt x="148340" y="184764"/>
                  <a:pt x="154705" y="179470"/>
                  <a:pt x="163346" y="178031"/>
                </a:cubicBezTo>
                <a:cubicBezTo>
                  <a:pt x="171941" y="176638"/>
                  <a:pt x="170686" y="166701"/>
                  <a:pt x="171337" y="161082"/>
                </a:cubicBezTo>
                <a:cubicBezTo>
                  <a:pt x="171987" y="155464"/>
                  <a:pt x="186342" y="146966"/>
                  <a:pt x="187272" y="142694"/>
                </a:cubicBezTo>
                <a:cubicBezTo>
                  <a:pt x="188247" y="138468"/>
                  <a:pt x="178956" y="122216"/>
                  <a:pt x="187597" y="107729"/>
                </a:cubicBezTo>
                <a:cubicBezTo>
                  <a:pt x="196191" y="93241"/>
                  <a:pt x="205437" y="92544"/>
                  <a:pt x="205437" y="84418"/>
                </a:cubicBezTo>
                <a:cubicBezTo>
                  <a:pt x="205437" y="76989"/>
                  <a:pt x="214357" y="74203"/>
                  <a:pt x="225228" y="72763"/>
                </a:cubicBezTo>
                <a:cubicBezTo>
                  <a:pt x="236052" y="71370"/>
                  <a:pt x="239583" y="63244"/>
                  <a:pt x="248828" y="59019"/>
                </a:cubicBezTo>
                <a:cubicBezTo>
                  <a:pt x="256587" y="55443"/>
                  <a:pt x="259374" y="49128"/>
                  <a:pt x="257795" y="39052"/>
                </a:cubicBezTo>
                <a:close/>
              </a:path>
            </a:pathLst>
          </a:custGeom>
          <a:solidFill>
            <a:srgbClr val="1B23A8"/>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Tree>
    <p:extLst>
      <p:ext uri="{BB962C8B-B14F-4D97-AF65-F5344CB8AC3E}">
        <p14:creationId xmlns:p14="http://schemas.microsoft.com/office/powerpoint/2010/main" val="35793602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B3B82C8-11C2-92AD-98C0-A40666B2C7A3}"/>
              </a:ext>
            </a:extLst>
          </p:cNvPr>
          <p:cNvSpPr/>
          <p:nvPr/>
        </p:nvSpPr>
        <p:spPr>
          <a:xfrm>
            <a:off x="5299449" y="652084"/>
            <a:ext cx="6080002" cy="5447805"/>
          </a:xfrm>
          <a:prstGeom prst="rect">
            <a:avLst/>
          </a:prstGeom>
          <a:solidFill>
            <a:srgbClr val="F2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3" name="Chart 2">
            <a:extLst>
              <a:ext uri="{FF2B5EF4-FFF2-40B4-BE49-F238E27FC236}">
                <a16:creationId xmlns:a16="http://schemas.microsoft.com/office/drawing/2014/main" id="{BF6E3787-4138-A605-C4F1-F91B4F5A0FCE}"/>
              </a:ext>
            </a:extLst>
          </p:cNvPr>
          <p:cNvGraphicFramePr/>
          <p:nvPr>
            <p:extLst>
              <p:ext uri="{D42A27DB-BD31-4B8C-83A1-F6EECF244321}">
                <p14:modId xmlns:p14="http://schemas.microsoft.com/office/powerpoint/2010/main" val="3942512950"/>
              </p:ext>
            </p:extLst>
          </p:nvPr>
        </p:nvGraphicFramePr>
        <p:xfrm>
          <a:off x="4527717" y="1000308"/>
          <a:ext cx="7513762" cy="500917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Objekt 8" hidden="1">
            <a:extLst>
              <a:ext uri="{FF2B5EF4-FFF2-40B4-BE49-F238E27FC236}">
                <a16:creationId xmlns:a16="http://schemas.microsoft.com/office/drawing/2014/main" id="{F2540B4E-2156-1672-C3D3-E3B9D3755E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5" progId="TCLayout.ActiveDocument.1">
                  <p:embed/>
                </p:oleObj>
              </mc:Choice>
              <mc:Fallback>
                <p:oleObj name="think-cell Slide" r:id="rId5" imgW="344" imgH="345" progId="TCLayout.ActiveDocument.1">
                  <p:embed/>
                  <p:pic>
                    <p:nvPicPr>
                      <p:cNvPr id="9" name="Objekt 8" hidden="1">
                        <a:extLst>
                          <a:ext uri="{FF2B5EF4-FFF2-40B4-BE49-F238E27FC236}">
                            <a16:creationId xmlns:a16="http://schemas.microsoft.com/office/drawing/2014/main" id="{F2540B4E-2156-1672-C3D3-E3B9D3755E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FCB5D-1AD6-5915-15DF-57B223F44702}"/>
              </a:ext>
            </a:extLst>
          </p:cNvPr>
          <p:cNvSpPr>
            <a:spLocks noGrp="1"/>
          </p:cNvSpPr>
          <p:nvPr>
            <p:ph type="title"/>
          </p:nvPr>
        </p:nvSpPr>
        <p:spPr>
          <a:xfrm>
            <a:off x="741777" y="365125"/>
            <a:ext cx="5152837" cy="2156883"/>
          </a:xfrm>
        </p:spPr>
        <p:txBody>
          <a:bodyPr vert="horz">
            <a:normAutofit fontScale="90000"/>
          </a:bodyPr>
          <a:lstStyle/>
          <a:p>
            <a:r>
              <a:rPr lang="en-GB"/>
              <a:t>Continuing to</a:t>
            </a:r>
            <a:br>
              <a:rPr lang="en-GB"/>
            </a:br>
            <a:r>
              <a:rPr lang="en-GB"/>
              <a:t>develop strong</a:t>
            </a:r>
            <a:br>
              <a:rPr lang="en-GB"/>
            </a:br>
            <a:r>
              <a:rPr lang="en-GB"/>
              <a:t>base of recurring</a:t>
            </a:r>
            <a:br>
              <a:rPr lang="en-GB"/>
            </a:br>
            <a:r>
              <a:rPr lang="en-GB"/>
              <a:t>and re-</a:t>
            </a:r>
            <a:r>
              <a:rPr lang="en-GB" err="1"/>
              <a:t>occuring</a:t>
            </a:r>
            <a:r>
              <a:rPr lang="en-GB"/>
              <a:t>  revenue</a:t>
            </a:r>
            <a:endParaRPr lang="en-US"/>
          </a:p>
        </p:txBody>
      </p:sp>
      <p:sp>
        <p:nvSpPr>
          <p:cNvPr id="17" name="TekstSylinder 32">
            <a:extLst>
              <a:ext uri="{FF2B5EF4-FFF2-40B4-BE49-F238E27FC236}">
                <a16:creationId xmlns:a16="http://schemas.microsoft.com/office/drawing/2014/main" id="{B41DC34C-1C93-7B95-A8D6-264633FA8507}"/>
              </a:ext>
            </a:extLst>
          </p:cNvPr>
          <p:cNvSpPr txBox="1"/>
          <p:nvPr/>
        </p:nvSpPr>
        <p:spPr>
          <a:xfrm>
            <a:off x="864926" y="3512911"/>
            <a:ext cx="3878775"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O" sz="1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We are still to a large extent a project driven company. </a:t>
            </a:r>
            <a:endParaRPr kumimoji="0" lang="en-GB" sz="1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O" sz="1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O" sz="1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Focus going forward is to grow recurring and re-occuring base of revenue, in particular for new</a:t>
            </a:r>
            <a:br>
              <a:rPr kumimoji="0" lang="en-GB" sz="1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br>
            <a:r>
              <a:rPr kumimoji="0" lang="en-NO" sz="1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large-scale customer projects</a:t>
            </a:r>
            <a:endParaRPr kumimoji="0" lang="en-GB" sz="1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39" name="TextBox 38">
            <a:extLst>
              <a:ext uri="{FF2B5EF4-FFF2-40B4-BE49-F238E27FC236}">
                <a16:creationId xmlns:a16="http://schemas.microsoft.com/office/drawing/2014/main" id="{49D09681-DF23-5D5D-268E-84727A2F0C44}"/>
              </a:ext>
            </a:extLst>
          </p:cNvPr>
          <p:cNvSpPr txBox="1"/>
          <p:nvPr/>
        </p:nvSpPr>
        <p:spPr>
          <a:xfrm>
            <a:off x="8549119" y="2522008"/>
            <a:ext cx="178143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u="none" strike="noStrike" kern="1200" cap="none" spc="0" normalizeH="0" baseline="0" noProof="0">
                <a:ln>
                  <a:noFill/>
                </a:ln>
                <a:solidFill>
                  <a:prstClr val="white"/>
                </a:solidFill>
                <a:effectLst/>
                <a:uLnTx/>
                <a:uFillTx/>
                <a:latin typeface="Helvetica" pitchFamily="2" charset="0"/>
              </a:rPr>
              <a:t>Recurring revenue </a:t>
            </a:r>
          </a:p>
        </p:txBody>
      </p:sp>
      <p:sp>
        <p:nvSpPr>
          <p:cNvPr id="40" name="TextBox 39">
            <a:extLst>
              <a:ext uri="{FF2B5EF4-FFF2-40B4-BE49-F238E27FC236}">
                <a16:creationId xmlns:a16="http://schemas.microsoft.com/office/drawing/2014/main" id="{0832EB9C-F9BE-4FDA-2249-ACD1CA2D022D}"/>
              </a:ext>
            </a:extLst>
          </p:cNvPr>
          <p:cNvSpPr txBox="1"/>
          <p:nvPr/>
        </p:nvSpPr>
        <p:spPr>
          <a:xfrm>
            <a:off x="7111458" y="4437077"/>
            <a:ext cx="244380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u="none" strike="noStrike" kern="1200" cap="none" spc="0" normalizeH="0" baseline="0" noProof="0">
                <a:ln>
                  <a:noFill/>
                </a:ln>
                <a:solidFill>
                  <a:prstClr val="black"/>
                </a:solidFill>
                <a:effectLst/>
                <a:uLnTx/>
                <a:uFillTx/>
                <a:latin typeface="Helvetica" pitchFamily="2" charset="0"/>
              </a:rPr>
              <a:t>Re-occurr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u="none" strike="noStrike" kern="1200" cap="none" spc="0" normalizeH="0" baseline="0" noProof="0">
                <a:ln>
                  <a:noFill/>
                </a:ln>
                <a:solidFill>
                  <a:prstClr val="black"/>
                </a:solidFill>
                <a:effectLst/>
                <a:uLnTx/>
                <a:uFillTx/>
                <a:latin typeface="Helvetica" pitchFamily="2" charset="0"/>
              </a:rPr>
              <a:t>revenue</a:t>
            </a:r>
          </a:p>
        </p:txBody>
      </p:sp>
      <p:sp>
        <p:nvSpPr>
          <p:cNvPr id="41" name="TextBox 40">
            <a:extLst>
              <a:ext uri="{FF2B5EF4-FFF2-40B4-BE49-F238E27FC236}">
                <a16:creationId xmlns:a16="http://schemas.microsoft.com/office/drawing/2014/main" id="{165A915F-1FC7-CC6D-0066-9739F218B3D6}"/>
              </a:ext>
            </a:extLst>
          </p:cNvPr>
          <p:cNvSpPr txBox="1"/>
          <p:nvPr/>
        </p:nvSpPr>
        <p:spPr>
          <a:xfrm>
            <a:off x="6306616" y="3034506"/>
            <a:ext cx="178143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u="none" strike="noStrike" kern="1200" cap="none" spc="0" normalizeH="0" baseline="0" noProof="0">
                <a:ln>
                  <a:noFill/>
                </a:ln>
                <a:solidFill>
                  <a:srgbClr val="1E1E50"/>
                </a:solidFill>
                <a:effectLst/>
                <a:uLnTx/>
                <a:uFillTx/>
                <a:latin typeface="Helvetica" pitchFamily="2" charset="0"/>
              </a:rPr>
              <a:t>New sales </a:t>
            </a:r>
          </a:p>
        </p:txBody>
      </p:sp>
      <p:sp>
        <p:nvSpPr>
          <p:cNvPr id="43" name="TextBox 42">
            <a:extLst>
              <a:ext uri="{FF2B5EF4-FFF2-40B4-BE49-F238E27FC236}">
                <a16:creationId xmlns:a16="http://schemas.microsoft.com/office/drawing/2014/main" id="{CD6FFDEE-A604-40E0-021C-8F15D0466B14}"/>
              </a:ext>
            </a:extLst>
          </p:cNvPr>
          <p:cNvSpPr txBox="1"/>
          <p:nvPr/>
        </p:nvSpPr>
        <p:spPr>
          <a:xfrm>
            <a:off x="5496960" y="798794"/>
            <a:ext cx="445477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1E1E50"/>
                </a:solidFill>
                <a:effectLst/>
                <a:uLnTx/>
                <a:uFillTx/>
                <a:latin typeface="Helvetica" pitchFamily="2" charset="0"/>
                <a:ea typeface="+mn-ea"/>
                <a:cs typeface="+mn-cs"/>
              </a:rPr>
              <a:t>2023 Revenue</a:t>
            </a:r>
          </a:p>
        </p:txBody>
      </p:sp>
      <p:grpSp>
        <p:nvGrpSpPr>
          <p:cNvPr id="5" name="Group 4">
            <a:extLst>
              <a:ext uri="{FF2B5EF4-FFF2-40B4-BE49-F238E27FC236}">
                <a16:creationId xmlns:a16="http://schemas.microsoft.com/office/drawing/2014/main" id="{C8E2AEA3-5F15-EB1F-9C9F-C7667E8E508D}"/>
              </a:ext>
            </a:extLst>
          </p:cNvPr>
          <p:cNvGrpSpPr/>
          <p:nvPr/>
        </p:nvGrpSpPr>
        <p:grpSpPr>
          <a:xfrm>
            <a:off x="731839" y="3178744"/>
            <a:ext cx="4052432" cy="2921145"/>
            <a:chOff x="731838" y="2374534"/>
            <a:chExt cx="3022581" cy="3240076"/>
          </a:xfrm>
        </p:grpSpPr>
        <p:cxnSp>
          <p:nvCxnSpPr>
            <p:cNvPr id="6" name="Straight Connector 5">
              <a:extLst>
                <a:ext uri="{FF2B5EF4-FFF2-40B4-BE49-F238E27FC236}">
                  <a16:creationId xmlns:a16="http://schemas.microsoft.com/office/drawing/2014/main" id="{14FCDC4A-85B9-D935-DD1C-6BD54ED8B975}"/>
                </a:ext>
              </a:extLst>
            </p:cNvPr>
            <p:cNvCxnSpPr>
              <a:cxnSpLocks/>
            </p:cNvCxnSpPr>
            <p:nvPr/>
          </p:nvCxnSpPr>
          <p:spPr>
            <a:xfrm>
              <a:off x="731838" y="5614610"/>
              <a:ext cx="3022581"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54C6DDC-DA2B-A4BD-0577-4FAD758AF77D}"/>
                </a:ext>
              </a:extLst>
            </p:cNvPr>
            <p:cNvCxnSpPr>
              <a:cxnSpLocks/>
            </p:cNvCxnSpPr>
            <p:nvPr/>
          </p:nvCxnSpPr>
          <p:spPr>
            <a:xfrm>
              <a:off x="731838" y="2374534"/>
              <a:ext cx="3022581"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10" name="Straight Connector 9">
            <a:extLst>
              <a:ext uri="{FF2B5EF4-FFF2-40B4-BE49-F238E27FC236}">
                <a16:creationId xmlns:a16="http://schemas.microsoft.com/office/drawing/2014/main" id="{5A52E463-6AC9-4F32-E04B-3A60941BE5E6}"/>
              </a:ext>
            </a:extLst>
          </p:cNvPr>
          <p:cNvCxnSpPr>
            <a:cxnSpLocks/>
          </p:cNvCxnSpPr>
          <p:nvPr/>
        </p:nvCxnSpPr>
        <p:spPr>
          <a:xfrm>
            <a:off x="5299449" y="652084"/>
            <a:ext cx="6080002"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77A872D-1D54-60F1-1C1B-98BB52260917}"/>
              </a:ext>
            </a:extLst>
          </p:cNvPr>
          <p:cNvCxnSpPr>
            <a:cxnSpLocks/>
          </p:cNvCxnSpPr>
          <p:nvPr/>
        </p:nvCxnSpPr>
        <p:spPr>
          <a:xfrm flipH="1">
            <a:off x="6249119" y="3512911"/>
            <a:ext cx="2035479" cy="1196875"/>
          </a:xfrm>
          <a:prstGeom prst="line">
            <a:avLst/>
          </a:prstGeom>
          <a:ln w="22225"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77470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hink-cell data - do not delete" hidden="1">
            <a:extLst>
              <a:ext uri="{FF2B5EF4-FFF2-40B4-BE49-F238E27FC236}">
                <a16:creationId xmlns:a16="http://schemas.microsoft.com/office/drawing/2014/main" id="{C020BC88-D5C5-77D9-5777-B8F43B7D39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6" name="think-cell data - do not delete" hidden="1">
                        <a:extLst>
                          <a:ext uri="{FF2B5EF4-FFF2-40B4-BE49-F238E27FC236}">
                            <a16:creationId xmlns:a16="http://schemas.microsoft.com/office/drawing/2014/main" id="{C020BC88-D5C5-77D9-5777-B8F43B7D39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0" name="Rectangle 29">
            <a:extLst>
              <a:ext uri="{FF2B5EF4-FFF2-40B4-BE49-F238E27FC236}">
                <a16:creationId xmlns:a16="http://schemas.microsoft.com/office/drawing/2014/main" id="{74EA2411-3AC9-E583-1AFD-6DA2F0BA4379}"/>
              </a:ext>
            </a:extLst>
          </p:cNvPr>
          <p:cNvSpPr/>
          <p:nvPr/>
        </p:nvSpPr>
        <p:spPr>
          <a:xfrm>
            <a:off x="1" y="0"/>
            <a:ext cx="5568443" cy="6411074"/>
          </a:xfrm>
          <a:prstGeom prst="rect">
            <a:avLst/>
          </a:prstGeom>
          <a:solidFill>
            <a:schemeClr val="accent4">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2" name="Title 1">
            <a:extLst>
              <a:ext uri="{FF2B5EF4-FFF2-40B4-BE49-F238E27FC236}">
                <a16:creationId xmlns:a16="http://schemas.microsoft.com/office/drawing/2014/main" id="{58FF883A-FA88-B7B1-794E-AB48CE070EEF}"/>
              </a:ext>
            </a:extLst>
          </p:cNvPr>
          <p:cNvSpPr>
            <a:spLocks noGrp="1"/>
          </p:cNvSpPr>
          <p:nvPr>
            <p:ph type="title"/>
          </p:nvPr>
        </p:nvSpPr>
        <p:spPr>
          <a:xfrm>
            <a:off x="703099" y="521630"/>
            <a:ext cx="3987878" cy="1036620"/>
          </a:xfrm>
        </p:spPr>
        <p:txBody>
          <a:bodyPr vert="horz">
            <a:noAutofit/>
          </a:bodyPr>
          <a:lstStyle/>
          <a:p>
            <a:r>
              <a:rPr lang="en-US" sz="4400"/>
              <a:t>Agenda </a:t>
            </a:r>
            <a:br>
              <a:rPr lang="en-US" sz="4400"/>
            </a:br>
            <a:r>
              <a:rPr lang="en-US" sz="4400"/>
              <a:t>&amp; Speakers </a:t>
            </a:r>
          </a:p>
        </p:txBody>
      </p:sp>
      <p:sp>
        <p:nvSpPr>
          <p:cNvPr id="38" name="Text Placeholder 27">
            <a:extLst>
              <a:ext uri="{FF2B5EF4-FFF2-40B4-BE49-F238E27FC236}">
                <a16:creationId xmlns:a16="http://schemas.microsoft.com/office/drawing/2014/main" id="{8965BAD2-E066-E104-06ED-D423A329A5F1}"/>
              </a:ext>
            </a:extLst>
          </p:cNvPr>
          <p:cNvSpPr txBox="1">
            <a:spLocks/>
          </p:cNvSpPr>
          <p:nvPr/>
        </p:nvSpPr>
        <p:spPr>
          <a:xfrm>
            <a:off x="703099" y="2162162"/>
            <a:ext cx="5236962" cy="3572936"/>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About </a:t>
            </a:r>
            <a:r>
              <a:rPr kumimoji="0" lang="en-US" sz="1600" b="0" i="0" u="none" strike="noStrike" kern="1200" cap="none" spc="0" normalizeH="0" baseline="0" noProof="0" err="1">
                <a:ln>
                  <a:noFill/>
                </a:ln>
                <a:solidFill>
                  <a:srgbClr val="1E1E50"/>
                </a:solidFill>
                <a:effectLst/>
                <a:uLnTx/>
                <a:uFillTx/>
                <a:latin typeface="Helvetica Light" panose="020B0403020202020204" pitchFamily="34" charset="0"/>
                <a:ea typeface="+mn-ea"/>
                <a:cs typeface="+mn-cs"/>
              </a:rPr>
              <a:t>StrongPoint</a:t>
            </a:r>
            <a:endParaRPr kumimoji="0" lang="en-US"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a:p>
            <a:pPr marL="285750" marR="0" lvl="0" indent="-28575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Update on financial results vs. ambitions</a:t>
            </a:r>
          </a:p>
          <a:p>
            <a:pPr marL="285750" marR="0" lvl="0" indent="-28575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Big wins from big investments</a:t>
            </a:r>
          </a:p>
          <a:p>
            <a:pPr marL="285750" marR="0" lvl="0" indent="-28575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Deep dive on Scandinavia, UK and Spain</a:t>
            </a:r>
          </a:p>
          <a:p>
            <a:pPr marL="285750" marR="0" lvl="0" indent="-28575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Financial update</a:t>
            </a:r>
          </a:p>
          <a:p>
            <a:pPr marL="285750" marR="0" lvl="0" indent="-28575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Concluding comments</a:t>
            </a:r>
          </a:p>
          <a:p>
            <a:pPr marL="285750" marR="0" lvl="0" indent="-28575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Q&amp;A</a:t>
            </a:r>
          </a:p>
        </p:txBody>
      </p:sp>
      <p:grpSp>
        <p:nvGrpSpPr>
          <p:cNvPr id="71" name="Group 70">
            <a:extLst>
              <a:ext uri="{FF2B5EF4-FFF2-40B4-BE49-F238E27FC236}">
                <a16:creationId xmlns:a16="http://schemas.microsoft.com/office/drawing/2014/main" id="{6E2032F0-5AAF-E97C-528D-947639489909}"/>
              </a:ext>
            </a:extLst>
          </p:cNvPr>
          <p:cNvGrpSpPr/>
          <p:nvPr/>
        </p:nvGrpSpPr>
        <p:grpSpPr>
          <a:xfrm>
            <a:off x="6972321" y="706294"/>
            <a:ext cx="1767998" cy="2492905"/>
            <a:chOff x="7203780" y="706294"/>
            <a:chExt cx="1767998" cy="2492905"/>
          </a:xfrm>
        </p:grpSpPr>
        <p:sp>
          <p:nvSpPr>
            <p:cNvPr id="6" name="Text Placeholder 20">
              <a:extLst>
                <a:ext uri="{FF2B5EF4-FFF2-40B4-BE49-F238E27FC236}">
                  <a16:creationId xmlns:a16="http://schemas.microsoft.com/office/drawing/2014/main" id="{C29EDD09-68A2-A47C-03CF-25EF6C1E5CDD}"/>
                </a:ext>
              </a:extLst>
            </p:cNvPr>
            <p:cNvSpPr txBox="1">
              <a:spLocks/>
            </p:cNvSpPr>
            <p:nvPr/>
          </p:nvSpPr>
          <p:spPr>
            <a:xfrm>
              <a:off x="7213408" y="2950744"/>
              <a:ext cx="1748743" cy="248455"/>
            </a:xfrm>
            <a:prstGeom prst="rect">
              <a:avLst/>
            </a:prstGeom>
          </p:spPr>
          <p:txBody>
            <a:bodyPr anchor="t">
              <a:noAutofit/>
            </a:bodyPr>
            <a:lstStyle>
              <a:lvl1pPr marL="0" indent="0" algn="ctr" defTabSz="914400" rtl="0" eaLnBrk="1" latinLnBrk="0" hangingPunct="1">
                <a:lnSpc>
                  <a:spcPct val="90000"/>
                </a:lnSpc>
                <a:spcBef>
                  <a:spcPts val="0"/>
                </a:spcBef>
                <a:buFont typeface="Arial" panose="020B0604020202020204" pitchFamily="34" charset="0"/>
                <a:buNone/>
                <a:defRPr sz="1400" b="0" i="0" kern="1200">
                  <a:solidFill>
                    <a:schemeClr val="tx1">
                      <a:lumMod val="85000"/>
                      <a:lumOff val="15000"/>
                    </a:schemeClr>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nb-NO" sz="1050" b="0" i="0" u="none" strike="noStrike" kern="1200" cap="none" spc="0" normalizeH="0" baseline="0" noProof="0">
                  <a:ln>
                    <a:noFill/>
                  </a:ln>
                  <a:solidFill>
                    <a:prstClr val="black">
                      <a:lumMod val="85000"/>
                      <a:lumOff val="15000"/>
                    </a:prstClr>
                  </a:solidFill>
                  <a:effectLst/>
                  <a:uLnTx/>
                  <a:uFillTx/>
                  <a:latin typeface="Helvetica Light" panose="020B0403020202020204" pitchFamily="34" charset="0"/>
                  <a:ea typeface="+mn-ea"/>
                  <a:cs typeface="+mn-cs"/>
                </a:rPr>
                <a:t>Chief Executive Officer</a:t>
              </a:r>
            </a:p>
          </p:txBody>
        </p:sp>
        <p:sp>
          <p:nvSpPr>
            <p:cNvPr id="7" name="Text Placeholder 20">
              <a:extLst>
                <a:ext uri="{FF2B5EF4-FFF2-40B4-BE49-F238E27FC236}">
                  <a16:creationId xmlns:a16="http://schemas.microsoft.com/office/drawing/2014/main" id="{2CDB7DE4-D230-ACB1-334F-73792F2BA23A}"/>
                </a:ext>
              </a:extLst>
            </p:cNvPr>
            <p:cNvSpPr txBox="1">
              <a:spLocks/>
            </p:cNvSpPr>
            <p:nvPr/>
          </p:nvSpPr>
          <p:spPr>
            <a:xfrm>
              <a:off x="7203780" y="2523303"/>
              <a:ext cx="1767998" cy="302000"/>
            </a:xfrm>
            <a:prstGeom prst="rect">
              <a:avLst/>
            </a:prstGeom>
          </p:spPr>
          <p:txBody>
            <a:bodyPr anchor="t">
              <a:noAutofit/>
            </a:bodyPr>
            <a:lstStyle>
              <a:lvl1pPr marL="0" indent="0" algn="ctr" defTabSz="914400" rtl="0" eaLnBrk="1" latinLnBrk="0" hangingPunct="1">
                <a:lnSpc>
                  <a:spcPct val="90000"/>
                </a:lnSpc>
                <a:spcBef>
                  <a:spcPts val="0"/>
                </a:spcBef>
                <a:buFont typeface="Arial" panose="020B0604020202020204" pitchFamily="34" charset="0"/>
                <a:buNone/>
                <a:defRPr sz="2000" b="1" i="0" kern="1200">
                  <a:solidFill>
                    <a:schemeClr val="accent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nb-NO" sz="1100" b="1" i="0" u="none" strike="noStrike" kern="1200" cap="none" spc="0" normalizeH="0" baseline="0" noProof="0">
                  <a:ln>
                    <a:noFill/>
                  </a:ln>
                  <a:solidFill>
                    <a:srgbClr val="2832DC"/>
                  </a:solidFill>
                  <a:effectLst/>
                  <a:uLnTx/>
                  <a:uFillTx/>
                  <a:latin typeface="Helvetica" pitchFamily="2" charset="0"/>
                  <a:ea typeface="+mn-ea"/>
                  <a:cs typeface="+mn-cs"/>
                </a:rPr>
                <a:t>Jacob </a:t>
              </a:r>
              <a:r>
                <a:rPr kumimoji="0" lang="nb-NO" sz="1100" b="1" i="0" u="none" strike="noStrike" kern="1200" cap="none" spc="0" normalizeH="0" baseline="0" noProof="0" err="1">
                  <a:ln>
                    <a:noFill/>
                  </a:ln>
                  <a:solidFill>
                    <a:srgbClr val="2832DC"/>
                  </a:solidFill>
                  <a:effectLst/>
                  <a:uLnTx/>
                  <a:uFillTx/>
                  <a:latin typeface="Helvetica" pitchFamily="2" charset="0"/>
                  <a:ea typeface="+mn-ea"/>
                  <a:cs typeface="+mn-cs"/>
                </a:rPr>
                <a:t>Tveraabak</a:t>
              </a:r>
              <a:endParaRPr kumimoji="0" lang="nb-NO" sz="1100" b="1" i="0" u="none" strike="noStrike" kern="1200" cap="none" spc="0" normalizeH="0" baseline="0" noProof="0">
                <a:ln>
                  <a:noFill/>
                </a:ln>
                <a:solidFill>
                  <a:srgbClr val="2832DC"/>
                </a:solidFill>
                <a:effectLst/>
                <a:uLnTx/>
                <a:uFillTx/>
                <a:latin typeface="Helvetica" pitchFamily="2" charset="0"/>
                <a:ea typeface="+mn-ea"/>
                <a:cs typeface="+mn-cs"/>
              </a:endParaRPr>
            </a:p>
          </p:txBody>
        </p:sp>
        <p:cxnSp>
          <p:nvCxnSpPr>
            <p:cNvPr id="8" name="Straight Connector 7">
              <a:extLst>
                <a:ext uri="{FF2B5EF4-FFF2-40B4-BE49-F238E27FC236}">
                  <a16:creationId xmlns:a16="http://schemas.microsoft.com/office/drawing/2014/main" id="{005FEF65-B878-F9CF-19BE-10ACA2668306}"/>
                </a:ext>
              </a:extLst>
            </p:cNvPr>
            <p:cNvCxnSpPr>
              <a:cxnSpLocks/>
            </p:cNvCxnSpPr>
            <p:nvPr/>
          </p:nvCxnSpPr>
          <p:spPr>
            <a:xfrm>
              <a:off x="7205779" y="2825302"/>
              <a:ext cx="1764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E9C40395-8AD2-D1BE-E896-3B5A2E440B29}"/>
                </a:ext>
              </a:extLst>
            </p:cNvPr>
            <p:cNvGrpSpPr/>
            <p:nvPr/>
          </p:nvGrpSpPr>
          <p:grpSpPr>
            <a:xfrm>
              <a:off x="7227279" y="706294"/>
              <a:ext cx="1721000" cy="1721000"/>
              <a:chOff x="7232991" y="706294"/>
              <a:chExt cx="1721000" cy="1721000"/>
            </a:xfrm>
          </p:grpSpPr>
          <p:sp>
            <p:nvSpPr>
              <p:cNvPr id="20" name="Oval 19">
                <a:extLst>
                  <a:ext uri="{FF2B5EF4-FFF2-40B4-BE49-F238E27FC236}">
                    <a16:creationId xmlns:a16="http://schemas.microsoft.com/office/drawing/2014/main" id="{EF11287C-3C49-D699-7F6E-D21A5E17A1BE}"/>
                  </a:ext>
                </a:extLst>
              </p:cNvPr>
              <p:cNvSpPr/>
              <p:nvPr/>
            </p:nvSpPr>
            <p:spPr>
              <a:xfrm>
                <a:off x="7232991" y="706294"/>
                <a:ext cx="1721000" cy="1721000"/>
              </a:xfrm>
              <a:prstGeom prst="ellipse">
                <a:avLst/>
              </a:prstGeom>
              <a:solidFill>
                <a:srgbClr val="DEE3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40" name="Picture 39" descr="A person in a suit smiling&#10;&#10;Description automatically generated">
                <a:extLst>
                  <a:ext uri="{FF2B5EF4-FFF2-40B4-BE49-F238E27FC236}">
                    <a16:creationId xmlns:a16="http://schemas.microsoft.com/office/drawing/2014/main" id="{2291F6A4-0587-335F-AAAA-E6B79B2F789E}"/>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37491" y="810794"/>
                <a:ext cx="1512000" cy="1512000"/>
              </a:xfrm>
              <a:prstGeom prst="ellipse">
                <a:avLst/>
              </a:prstGeom>
              <a:solidFill>
                <a:schemeClr val="accent1"/>
              </a:solidFill>
              <a:ln>
                <a:noFill/>
              </a:ln>
            </p:spPr>
          </p:pic>
        </p:grpSp>
      </p:grpSp>
      <p:grpSp>
        <p:nvGrpSpPr>
          <p:cNvPr id="70" name="Group 69">
            <a:extLst>
              <a:ext uri="{FF2B5EF4-FFF2-40B4-BE49-F238E27FC236}">
                <a16:creationId xmlns:a16="http://schemas.microsoft.com/office/drawing/2014/main" id="{BBE95FC5-66E8-8CCF-4AE1-DCB65AD15DA3}"/>
              </a:ext>
            </a:extLst>
          </p:cNvPr>
          <p:cNvGrpSpPr/>
          <p:nvPr/>
        </p:nvGrpSpPr>
        <p:grpSpPr>
          <a:xfrm>
            <a:off x="8977862" y="706294"/>
            <a:ext cx="1767998" cy="2495135"/>
            <a:chOff x="9209321" y="706294"/>
            <a:chExt cx="1767998" cy="2495135"/>
          </a:xfrm>
        </p:grpSpPr>
        <p:sp>
          <p:nvSpPr>
            <p:cNvPr id="9" name="Text Placeholder 20">
              <a:extLst>
                <a:ext uri="{FF2B5EF4-FFF2-40B4-BE49-F238E27FC236}">
                  <a16:creationId xmlns:a16="http://schemas.microsoft.com/office/drawing/2014/main" id="{E9873A41-2156-9739-2F66-33545A8FDAC4}"/>
                </a:ext>
              </a:extLst>
            </p:cNvPr>
            <p:cNvSpPr txBox="1">
              <a:spLocks/>
            </p:cNvSpPr>
            <p:nvPr/>
          </p:nvSpPr>
          <p:spPr>
            <a:xfrm>
              <a:off x="9218949" y="2948513"/>
              <a:ext cx="1748743" cy="252916"/>
            </a:xfrm>
            <a:prstGeom prst="rect">
              <a:avLst/>
            </a:prstGeom>
          </p:spPr>
          <p:txBody>
            <a:bodyPr anchor="t">
              <a:noAutofit/>
            </a:bodyPr>
            <a:lstStyle>
              <a:lvl1pPr marL="0" indent="0" algn="ctr" defTabSz="914400" rtl="0" eaLnBrk="1" latinLnBrk="0" hangingPunct="1">
                <a:lnSpc>
                  <a:spcPct val="90000"/>
                </a:lnSpc>
                <a:spcBef>
                  <a:spcPts val="0"/>
                </a:spcBef>
                <a:buFont typeface="Arial" panose="020B0604020202020204" pitchFamily="34" charset="0"/>
                <a:buNone/>
                <a:defRPr sz="1400" b="0" i="0" kern="1200">
                  <a:solidFill>
                    <a:schemeClr val="tx1">
                      <a:lumMod val="85000"/>
                      <a:lumOff val="15000"/>
                    </a:schemeClr>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nb-NO" sz="1050" b="0" i="0" u="none" strike="noStrike" kern="1200" cap="none" spc="0" normalizeH="0" baseline="0" noProof="0">
                  <a:ln>
                    <a:noFill/>
                  </a:ln>
                  <a:solidFill>
                    <a:prstClr val="black">
                      <a:lumMod val="85000"/>
                      <a:lumOff val="15000"/>
                    </a:prstClr>
                  </a:solidFill>
                  <a:effectLst/>
                  <a:uLnTx/>
                  <a:uFillTx/>
                  <a:latin typeface="Helvetica Light" panose="020B0403020202020204" pitchFamily="34" charset="0"/>
                  <a:ea typeface="+mn-ea"/>
                  <a:cs typeface="+mn-cs"/>
                </a:rPr>
                <a:t>Chief Financial Officer</a:t>
              </a:r>
            </a:p>
          </p:txBody>
        </p:sp>
        <p:sp>
          <p:nvSpPr>
            <p:cNvPr id="10" name="Text Placeholder 20">
              <a:extLst>
                <a:ext uri="{FF2B5EF4-FFF2-40B4-BE49-F238E27FC236}">
                  <a16:creationId xmlns:a16="http://schemas.microsoft.com/office/drawing/2014/main" id="{49AA4FDB-BA62-163A-584B-2BCA814023DF}"/>
                </a:ext>
              </a:extLst>
            </p:cNvPr>
            <p:cNvSpPr txBox="1">
              <a:spLocks/>
            </p:cNvSpPr>
            <p:nvPr/>
          </p:nvSpPr>
          <p:spPr>
            <a:xfrm>
              <a:off x="9209321" y="2523303"/>
              <a:ext cx="1767998" cy="302000"/>
            </a:xfrm>
            <a:prstGeom prst="rect">
              <a:avLst/>
            </a:prstGeom>
          </p:spPr>
          <p:txBody>
            <a:bodyPr anchor="t">
              <a:noAutofit/>
            </a:bodyPr>
            <a:lstStyle>
              <a:lvl1pPr marL="0" indent="0" algn="ctr" defTabSz="914400" rtl="0" eaLnBrk="1" latinLnBrk="0" hangingPunct="1">
                <a:lnSpc>
                  <a:spcPct val="90000"/>
                </a:lnSpc>
                <a:spcBef>
                  <a:spcPts val="0"/>
                </a:spcBef>
                <a:buFont typeface="Arial" panose="020B0604020202020204" pitchFamily="34" charset="0"/>
                <a:buNone/>
                <a:defRPr sz="2000" b="1" i="0" kern="1200">
                  <a:solidFill>
                    <a:schemeClr val="accent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nb-NO" sz="1100" b="1" i="0" u="none" strike="noStrike" kern="1200" cap="none" spc="0" normalizeH="0" baseline="0" noProof="0">
                  <a:ln>
                    <a:noFill/>
                  </a:ln>
                  <a:solidFill>
                    <a:srgbClr val="2832DC"/>
                  </a:solidFill>
                  <a:effectLst/>
                  <a:uLnTx/>
                  <a:uFillTx/>
                  <a:latin typeface="Helvetica" pitchFamily="2" charset="0"/>
                  <a:ea typeface="+mn-ea"/>
                  <a:cs typeface="+mn-cs"/>
                </a:rPr>
                <a:t>Marius Drefvelin</a:t>
              </a:r>
            </a:p>
          </p:txBody>
        </p:sp>
        <p:cxnSp>
          <p:nvCxnSpPr>
            <p:cNvPr id="11" name="Straight Connector 10">
              <a:extLst>
                <a:ext uri="{FF2B5EF4-FFF2-40B4-BE49-F238E27FC236}">
                  <a16:creationId xmlns:a16="http://schemas.microsoft.com/office/drawing/2014/main" id="{85E15E07-A11E-DA00-B46A-19214320EEF4}"/>
                </a:ext>
              </a:extLst>
            </p:cNvPr>
            <p:cNvCxnSpPr>
              <a:cxnSpLocks/>
            </p:cNvCxnSpPr>
            <p:nvPr/>
          </p:nvCxnSpPr>
          <p:spPr>
            <a:xfrm>
              <a:off x="9211320" y="2825302"/>
              <a:ext cx="1764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69" name="Group 68">
              <a:extLst>
                <a:ext uri="{FF2B5EF4-FFF2-40B4-BE49-F238E27FC236}">
                  <a16:creationId xmlns:a16="http://schemas.microsoft.com/office/drawing/2014/main" id="{1E533B5C-0931-6D76-734B-9C3C83319A25}"/>
                </a:ext>
              </a:extLst>
            </p:cNvPr>
            <p:cNvGrpSpPr/>
            <p:nvPr/>
          </p:nvGrpSpPr>
          <p:grpSpPr>
            <a:xfrm>
              <a:off x="9232820" y="706294"/>
              <a:ext cx="1721000" cy="1721000"/>
              <a:chOff x="9228770" y="706294"/>
              <a:chExt cx="1721000" cy="1721000"/>
            </a:xfrm>
          </p:grpSpPr>
          <p:sp>
            <p:nvSpPr>
              <p:cNvPr id="24" name="Oval 23">
                <a:extLst>
                  <a:ext uri="{FF2B5EF4-FFF2-40B4-BE49-F238E27FC236}">
                    <a16:creationId xmlns:a16="http://schemas.microsoft.com/office/drawing/2014/main" id="{155931CE-CEDB-6436-D768-2828C45700E6}"/>
                  </a:ext>
                </a:extLst>
              </p:cNvPr>
              <p:cNvSpPr/>
              <p:nvPr/>
            </p:nvSpPr>
            <p:spPr>
              <a:xfrm>
                <a:off x="9228770" y="706294"/>
                <a:ext cx="1721000" cy="1721000"/>
              </a:xfrm>
              <a:prstGeom prst="ellipse">
                <a:avLst/>
              </a:prstGeom>
              <a:solidFill>
                <a:srgbClr val="DEE3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42" name="Picture 41" descr="A person in a suit and tie&#10;&#10;Description automatically generated">
                <a:extLst>
                  <a:ext uri="{FF2B5EF4-FFF2-40B4-BE49-F238E27FC236}">
                    <a16:creationId xmlns:a16="http://schemas.microsoft.com/office/drawing/2014/main" id="{234F601E-5F13-4CE3-7E0F-6FEF4A18C006}"/>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9333270" y="810794"/>
                <a:ext cx="1512000" cy="1512000"/>
              </a:xfrm>
              <a:prstGeom prst="ellipse">
                <a:avLst/>
              </a:prstGeom>
              <a:solidFill>
                <a:schemeClr val="accent1"/>
              </a:solidFill>
              <a:ln>
                <a:noFill/>
              </a:ln>
            </p:spPr>
          </p:pic>
        </p:grpSp>
      </p:grpSp>
      <p:grpSp>
        <p:nvGrpSpPr>
          <p:cNvPr id="62" name="Group 61">
            <a:extLst>
              <a:ext uri="{FF2B5EF4-FFF2-40B4-BE49-F238E27FC236}">
                <a16:creationId xmlns:a16="http://schemas.microsoft.com/office/drawing/2014/main" id="{6F238C29-3AA5-7D56-7A7C-F14130826A79}"/>
              </a:ext>
            </a:extLst>
          </p:cNvPr>
          <p:cNvGrpSpPr/>
          <p:nvPr/>
        </p:nvGrpSpPr>
        <p:grpSpPr>
          <a:xfrm>
            <a:off x="5864541" y="3506590"/>
            <a:ext cx="1943367" cy="2567404"/>
            <a:chOff x="6096000" y="3506590"/>
            <a:chExt cx="1943367" cy="2567404"/>
          </a:xfrm>
        </p:grpSpPr>
        <p:sp>
          <p:nvSpPr>
            <p:cNvPr id="12" name="Text Placeholder 20">
              <a:extLst>
                <a:ext uri="{FF2B5EF4-FFF2-40B4-BE49-F238E27FC236}">
                  <a16:creationId xmlns:a16="http://schemas.microsoft.com/office/drawing/2014/main" id="{1D31213A-6ABC-E40F-002B-13E186BDD41F}"/>
                </a:ext>
              </a:extLst>
            </p:cNvPr>
            <p:cNvSpPr txBox="1">
              <a:spLocks/>
            </p:cNvSpPr>
            <p:nvPr/>
          </p:nvSpPr>
          <p:spPr>
            <a:xfrm>
              <a:off x="6096000" y="5811638"/>
              <a:ext cx="1943367" cy="262356"/>
            </a:xfrm>
            <a:prstGeom prst="rect">
              <a:avLst/>
            </a:prstGeom>
          </p:spPr>
          <p:txBody>
            <a:bodyPr anchor="t">
              <a:noAutofit/>
            </a:bodyPr>
            <a:lstStyle>
              <a:lvl1pPr marL="0" indent="0" algn="ctr" defTabSz="914400" rtl="0" eaLnBrk="1" latinLnBrk="0" hangingPunct="1">
                <a:lnSpc>
                  <a:spcPct val="90000"/>
                </a:lnSpc>
                <a:spcBef>
                  <a:spcPts val="0"/>
                </a:spcBef>
                <a:buFont typeface="Arial" panose="020B0604020202020204" pitchFamily="34" charset="0"/>
                <a:buNone/>
                <a:defRPr sz="1400" b="0" i="0" kern="1200">
                  <a:solidFill>
                    <a:schemeClr val="tx1">
                      <a:lumMod val="85000"/>
                      <a:lumOff val="15000"/>
                    </a:schemeClr>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GB" sz="1050" b="0" i="0" u="none" strike="noStrike" kern="1200" cap="none" spc="0" normalizeH="0" baseline="0" noProof="0">
                  <a:ln>
                    <a:noFill/>
                  </a:ln>
                  <a:solidFill>
                    <a:prstClr val="black">
                      <a:lumMod val="85000"/>
                      <a:lumOff val="15000"/>
                    </a:prstClr>
                  </a:solidFill>
                  <a:effectLst/>
                  <a:uLnTx/>
                  <a:uFillTx/>
                  <a:latin typeface="Helvetica Light" panose="020B0403020202020204" pitchFamily="34" charset="0"/>
                  <a:ea typeface="+mn-ea"/>
                  <a:cs typeface="+mn-cs"/>
                </a:rPr>
                <a:t>MD &amp; SVP Norway &amp; Sweden </a:t>
              </a:r>
            </a:p>
          </p:txBody>
        </p:sp>
        <p:sp>
          <p:nvSpPr>
            <p:cNvPr id="14" name="Text Placeholder 20">
              <a:extLst>
                <a:ext uri="{FF2B5EF4-FFF2-40B4-BE49-F238E27FC236}">
                  <a16:creationId xmlns:a16="http://schemas.microsoft.com/office/drawing/2014/main" id="{1FBD14E1-F6A2-DDB5-1FD0-7E349D3DD91D}"/>
                </a:ext>
              </a:extLst>
            </p:cNvPr>
            <p:cNvSpPr txBox="1">
              <a:spLocks/>
            </p:cNvSpPr>
            <p:nvPr/>
          </p:nvSpPr>
          <p:spPr>
            <a:xfrm>
              <a:off x="6183684" y="5397375"/>
              <a:ext cx="1767998" cy="304014"/>
            </a:xfrm>
            <a:prstGeom prst="rect">
              <a:avLst/>
            </a:prstGeom>
          </p:spPr>
          <p:txBody>
            <a:bodyPr anchor="t">
              <a:noAutofit/>
            </a:bodyPr>
            <a:lstStyle>
              <a:lvl1pPr marL="0" indent="0" algn="ctr" defTabSz="914400" rtl="0" eaLnBrk="1" latinLnBrk="0" hangingPunct="1">
                <a:lnSpc>
                  <a:spcPct val="90000"/>
                </a:lnSpc>
                <a:spcBef>
                  <a:spcPts val="0"/>
                </a:spcBef>
                <a:buFont typeface="Arial" panose="020B0604020202020204" pitchFamily="34" charset="0"/>
                <a:buNone/>
                <a:defRPr sz="2000" b="1" i="0" kern="1200">
                  <a:solidFill>
                    <a:schemeClr val="accent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2832DC"/>
                  </a:solidFill>
                  <a:effectLst/>
                  <a:uLnTx/>
                  <a:uFillTx/>
                  <a:latin typeface="Helvetica" pitchFamily="2" charset="0"/>
                  <a:ea typeface="+mn-ea"/>
                  <a:cs typeface="+mn-cs"/>
                </a:rPr>
                <a:t>Magnus Rosen</a:t>
              </a:r>
              <a:endParaRPr kumimoji="0" lang="en-US" sz="1100" b="1" i="0" u="none" strike="noStrike" kern="1200" cap="none" spc="0" normalizeH="0" baseline="0" noProof="0">
                <a:ln>
                  <a:noFill/>
                </a:ln>
                <a:solidFill>
                  <a:srgbClr val="2832DC"/>
                </a:solidFill>
                <a:effectLst/>
                <a:uLnTx/>
                <a:uFillTx/>
                <a:latin typeface="Helvetica" pitchFamily="2" charset="0"/>
                <a:ea typeface="+mn-ea"/>
                <a:cs typeface="+mn-cs"/>
              </a:endParaRPr>
            </a:p>
          </p:txBody>
        </p:sp>
        <p:cxnSp>
          <p:nvCxnSpPr>
            <p:cNvPr id="15" name="Straight Connector 14">
              <a:extLst>
                <a:ext uri="{FF2B5EF4-FFF2-40B4-BE49-F238E27FC236}">
                  <a16:creationId xmlns:a16="http://schemas.microsoft.com/office/drawing/2014/main" id="{AB788909-D068-81FD-6629-9EFCA67D5CEC}"/>
                </a:ext>
              </a:extLst>
            </p:cNvPr>
            <p:cNvCxnSpPr>
              <a:cxnSpLocks/>
            </p:cNvCxnSpPr>
            <p:nvPr/>
          </p:nvCxnSpPr>
          <p:spPr>
            <a:xfrm>
              <a:off x="6185683" y="5730382"/>
              <a:ext cx="1764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CC09A380-1088-D7D1-6C1E-A29E7891CC2D}"/>
                </a:ext>
              </a:extLst>
            </p:cNvPr>
            <p:cNvGrpSpPr/>
            <p:nvPr/>
          </p:nvGrpSpPr>
          <p:grpSpPr>
            <a:xfrm>
              <a:off x="6207183" y="3506590"/>
              <a:ext cx="1721000" cy="1721000"/>
              <a:chOff x="6197025" y="3242329"/>
              <a:chExt cx="1721000" cy="1721000"/>
            </a:xfrm>
          </p:grpSpPr>
          <p:sp>
            <p:nvSpPr>
              <p:cNvPr id="34" name="Oval 33">
                <a:extLst>
                  <a:ext uri="{FF2B5EF4-FFF2-40B4-BE49-F238E27FC236}">
                    <a16:creationId xmlns:a16="http://schemas.microsoft.com/office/drawing/2014/main" id="{2EDCAB54-3335-4FD3-95C4-4B2211F49C75}"/>
                  </a:ext>
                </a:extLst>
              </p:cNvPr>
              <p:cNvSpPr/>
              <p:nvPr/>
            </p:nvSpPr>
            <p:spPr>
              <a:xfrm>
                <a:off x="6197025" y="3242329"/>
                <a:ext cx="1721000" cy="1721000"/>
              </a:xfrm>
              <a:prstGeom prst="ellipse">
                <a:avLst/>
              </a:prstGeom>
              <a:solidFill>
                <a:srgbClr val="DEE3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46" name="Picture 45" descr="A person in a suit&#10;&#10;Description automatically generated">
                <a:extLst>
                  <a:ext uri="{FF2B5EF4-FFF2-40B4-BE49-F238E27FC236}">
                    <a16:creationId xmlns:a16="http://schemas.microsoft.com/office/drawing/2014/main" id="{532070DF-19BE-05B7-9423-05F45D9C9876}"/>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6301525" y="3346829"/>
                <a:ext cx="1512000" cy="1512000"/>
              </a:xfrm>
              <a:prstGeom prst="ellipse">
                <a:avLst/>
              </a:prstGeom>
              <a:solidFill>
                <a:schemeClr val="accent1"/>
              </a:solidFill>
            </p:spPr>
          </p:pic>
        </p:grpSp>
      </p:grpSp>
      <p:grpSp>
        <p:nvGrpSpPr>
          <p:cNvPr id="66" name="Group 65">
            <a:extLst>
              <a:ext uri="{FF2B5EF4-FFF2-40B4-BE49-F238E27FC236}">
                <a16:creationId xmlns:a16="http://schemas.microsoft.com/office/drawing/2014/main" id="{F44A0007-07B3-62FB-C2BB-C8A4DC41730B}"/>
              </a:ext>
            </a:extLst>
          </p:cNvPr>
          <p:cNvGrpSpPr/>
          <p:nvPr/>
        </p:nvGrpSpPr>
        <p:grpSpPr>
          <a:xfrm>
            <a:off x="7963846" y="3502072"/>
            <a:ext cx="1777646" cy="2602083"/>
            <a:chOff x="8195305" y="3502072"/>
            <a:chExt cx="1777646" cy="2602083"/>
          </a:xfrm>
        </p:grpSpPr>
        <p:sp>
          <p:nvSpPr>
            <p:cNvPr id="17" name="Text Placeholder 20">
              <a:extLst>
                <a:ext uri="{FF2B5EF4-FFF2-40B4-BE49-F238E27FC236}">
                  <a16:creationId xmlns:a16="http://schemas.microsoft.com/office/drawing/2014/main" id="{28EA322B-9016-1E6C-BB91-A959DA19F787}"/>
                </a:ext>
              </a:extLst>
            </p:cNvPr>
            <p:cNvSpPr txBox="1">
              <a:spLocks/>
            </p:cNvSpPr>
            <p:nvPr/>
          </p:nvSpPr>
          <p:spPr>
            <a:xfrm>
              <a:off x="8195305" y="5397375"/>
              <a:ext cx="1767998" cy="231402"/>
            </a:xfrm>
            <a:prstGeom prst="rect">
              <a:avLst/>
            </a:prstGeom>
          </p:spPr>
          <p:txBody>
            <a:bodyPr anchor="t">
              <a:noAutofit/>
            </a:bodyPr>
            <a:lstStyle>
              <a:lvl1pPr marL="0" indent="0" algn="ctr" defTabSz="914400" rtl="0" eaLnBrk="1" latinLnBrk="0" hangingPunct="1">
                <a:lnSpc>
                  <a:spcPct val="90000"/>
                </a:lnSpc>
                <a:spcBef>
                  <a:spcPts val="0"/>
                </a:spcBef>
                <a:buFont typeface="Arial" panose="020B0604020202020204" pitchFamily="34" charset="0"/>
                <a:buNone/>
                <a:defRPr sz="2000" b="1" i="0" kern="1200">
                  <a:solidFill>
                    <a:schemeClr val="accent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2832DC"/>
                  </a:solidFill>
                  <a:effectLst/>
                  <a:uLnTx/>
                  <a:uFillTx/>
                  <a:latin typeface="Helvetica" pitchFamily="2" charset="0"/>
                  <a:ea typeface="+mn-ea"/>
                  <a:cs typeface="+mn-cs"/>
                </a:rPr>
                <a:t>Alex Eveleigh</a:t>
              </a:r>
              <a:endParaRPr kumimoji="0" lang="en-US" sz="1100" b="1" i="0" u="none" strike="noStrike" kern="1200" cap="none" spc="0" normalizeH="0" baseline="0" noProof="0">
                <a:ln>
                  <a:noFill/>
                </a:ln>
                <a:solidFill>
                  <a:srgbClr val="2832DC"/>
                </a:solidFill>
                <a:effectLst/>
                <a:uLnTx/>
                <a:uFillTx/>
                <a:latin typeface="Helvetica" pitchFamily="2" charset="0"/>
                <a:ea typeface="+mn-ea"/>
                <a:cs typeface="+mn-cs"/>
              </a:endParaRPr>
            </a:p>
          </p:txBody>
        </p:sp>
        <p:cxnSp>
          <p:nvCxnSpPr>
            <p:cNvPr id="18" name="Straight Connector 17">
              <a:extLst>
                <a:ext uri="{FF2B5EF4-FFF2-40B4-BE49-F238E27FC236}">
                  <a16:creationId xmlns:a16="http://schemas.microsoft.com/office/drawing/2014/main" id="{FE8038CC-CF99-C629-BDCB-4AFDC0913A14}"/>
                </a:ext>
              </a:extLst>
            </p:cNvPr>
            <p:cNvCxnSpPr>
              <a:cxnSpLocks/>
            </p:cNvCxnSpPr>
            <p:nvPr/>
          </p:nvCxnSpPr>
          <p:spPr>
            <a:xfrm>
              <a:off x="8197304" y="5731330"/>
              <a:ext cx="1764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Text Placeholder 20">
              <a:extLst>
                <a:ext uri="{FF2B5EF4-FFF2-40B4-BE49-F238E27FC236}">
                  <a16:creationId xmlns:a16="http://schemas.microsoft.com/office/drawing/2014/main" id="{27854E0B-887C-B84B-EEDF-96275F734E82}"/>
                </a:ext>
              </a:extLst>
            </p:cNvPr>
            <p:cNvSpPr txBox="1">
              <a:spLocks/>
            </p:cNvSpPr>
            <p:nvPr/>
          </p:nvSpPr>
          <p:spPr>
            <a:xfrm>
              <a:off x="8224208" y="5816741"/>
              <a:ext cx="1748743" cy="287414"/>
            </a:xfrm>
            <a:prstGeom prst="rect">
              <a:avLst/>
            </a:prstGeom>
          </p:spPr>
          <p:txBody>
            <a:bodyPr anchor="t">
              <a:noAutofit/>
            </a:bodyPr>
            <a:lstStyle>
              <a:lvl1pPr marL="0" indent="0" algn="ctr" defTabSz="914400" rtl="0" eaLnBrk="1" latinLnBrk="0" hangingPunct="1">
                <a:lnSpc>
                  <a:spcPct val="90000"/>
                </a:lnSpc>
                <a:spcBef>
                  <a:spcPts val="0"/>
                </a:spcBef>
                <a:buFont typeface="Arial" panose="020B0604020202020204" pitchFamily="34" charset="0"/>
                <a:buNone/>
                <a:defRPr sz="1400" b="0" i="0" kern="1200">
                  <a:solidFill>
                    <a:schemeClr val="tx1">
                      <a:lumMod val="85000"/>
                      <a:lumOff val="15000"/>
                    </a:schemeClr>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GB" sz="1050" b="0" i="0" u="none" strike="noStrike" kern="1200" cap="none" spc="0" normalizeH="0" baseline="0" noProof="0">
                  <a:ln>
                    <a:noFill/>
                  </a:ln>
                  <a:solidFill>
                    <a:prstClr val="black">
                      <a:lumMod val="85000"/>
                      <a:lumOff val="15000"/>
                    </a:prstClr>
                  </a:solidFill>
                  <a:effectLst/>
                  <a:uLnTx/>
                  <a:uFillTx/>
                  <a:latin typeface="Helvetica Light" panose="020B0403020202020204" pitchFamily="34" charset="0"/>
                  <a:ea typeface="+mn-ea"/>
                  <a:cs typeface="+mn-cs"/>
                </a:rPr>
                <a:t>MD &amp; SVP UK &amp; Ireland</a:t>
              </a:r>
            </a:p>
          </p:txBody>
        </p:sp>
        <p:grpSp>
          <p:nvGrpSpPr>
            <p:cNvPr id="58" name="Group 57">
              <a:extLst>
                <a:ext uri="{FF2B5EF4-FFF2-40B4-BE49-F238E27FC236}">
                  <a16:creationId xmlns:a16="http://schemas.microsoft.com/office/drawing/2014/main" id="{D85ABA84-9715-A186-1135-D5B25CBCEA8E}"/>
                </a:ext>
              </a:extLst>
            </p:cNvPr>
            <p:cNvGrpSpPr/>
            <p:nvPr/>
          </p:nvGrpSpPr>
          <p:grpSpPr>
            <a:xfrm>
              <a:off x="8218804" y="3502072"/>
              <a:ext cx="1721000" cy="1721000"/>
              <a:chOff x="8233599" y="3237811"/>
              <a:chExt cx="1721000" cy="1721000"/>
            </a:xfrm>
          </p:grpSpPr>
          <p:sp>
            <p:nvSpPr>
              <p:cNvPr id="31" name="Oval 30">
                <a:extLst>
                  <a:ext uri="{FF2B5EF4-FFF2-40B4-BE49-F238E27FC236}">
                    <a16:creationId xmlns:a16="http://schemas.microsoft.com/office/drawing/2014/main" id="{DB86B1A3-164A-5B35-C730-8F5C1FB71D67}"/>
                  </a:ext>
                </a:extLst>
              </p:cNvPr>
              <p:cNvSpPr/>
              <p:nvPr/>
            </p:nvSpPr>
            <p:spPr>
              <a:xfrm>
                <a:off x="8233599" y="3237811"/>
                <a:ext cx="1721000" cy="1721000"/>
              </a:xfrm>
              <a:prstGeom prst="ellipse">
                <a:avLst/>
              </a:prstGeom>
              <a:solidFill>
                <a:srgbClr val="DEE3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53" name="Picture 52" descr="A person in a suit&#10;&#10;Description automatically generated">
                <a:extLst>
                  <a:ext uri="{FF2B5EF4-FFF2-40B4-BE49-F238E27FC236}">
                    <a16:creationId xmlns:a16="http://schemas.microsoft.com/office/drawing/2014/main" id="{AD189DB7-D422-58F3-F25A-47B718B12396}"/>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8338099" y="3342311"/>
                <a:ext cx="1512000" cy="1512000"/>
              </a:xfrm>
              <a:prstGeom prst="ellipse">
                <a:avLst/>
              </a:prstGeom>
              <a:solidFill>
                <a:schemeClr val="accent1"/>
              </a:solidFill>
            </p:spPr>
          </p:pic>
        </p:grpSp>
      </p:grpSp>
      <p:grpSp>
        <p:nvGrpSpPr>
          <p:cNvPr id="67" name="Group 66">
            <a:extLst>
              <a:ext uri="{FF2B5EF4-FFF2-40B4-BE49-F238E27FC236}">
                <a16:creationId xmlns:a16="http://schemas.microsoft.com/office/drawing/2014/main" id="{385576F6-3B3E-7B73-90F1-5C9C1DE675C9}"/>
              </a:ext>
            </a:extLst>
          </p:cNvPr>
          <p:cNvGrpSpPr/>
          <p:nvPr/>
        </p:nvGrpSpPr>
        <p:grpSpPr>
          <a:xfrm>
            <a:off x="9887781" y="3502072"/>
            <a:ext cx="1954321" cy="2562602"/>
            <a:chOff x="10119240" y="3502072"/>
            <a:chExt cx="1954321" cy="2562602"/>
          </a:xfrm>
        </p:grpSpPr>
        <p:sp>
          <p:nvSpPr>
            <p:cNvPr id="3" name="Text Placeholder 20">
              <a:extLst>
                <a:ext uri="{FF2B5EF4-FFF2-40B4-BE49-F238E27FC236}">
                  <a16:creationId xmlns:a16="http://schemas.microsoft.com/office/drawing/2014/main" id="{EAB2348A-E898-A7FF-1241-A519B903A14C}"/>
                </a:ext>
              </a:extLst>
            </p:cNvPr>
            <p:cNvSpPr txBox="1">
              <a:spLocks/>
            </p:cNvSpPr>
            <p:nvPr/>
          </p:nvSpPr>
          <p:spPr>
            <a:xfrm>
              <a:off x="10214401" y="5397256"/>
              <a:ext cx="1767998" cy="252917"/>
            </a:xfrm>
            <a:prstGeom prst="rect">
              <a:avLst/>
            </a:prstGeom>
          </p:spPr>
          <p:txBody>
            <a:bodyPr anchor="t">
              <a:noAutofit/>
            </a:bodyPr>
            <a:lstStyle>
              <a:lvl1pPr marL="0" indent="0" algn="ctr" defTabSz="914400" rtl="0" eaLnBrk="1" latinLnBrk="0" hangingPunct="1">
                <a:lnSpc>
                  <a:spcPct val="90000"/>
                </a:lnSpc>
                <a:spcBef>
                  <a:spcPts val="0"/>
                </a:spcBef>
                <a:buFont typeface="Arial" panose="020B0604020202020204" pitchFamily="34" charset="0"/>
                <a:buNone/>
                <a:defRPr sz="2000" b="1" i="0" kern="1200">
                  <a:solidFill>
                    <a:schemeClr val="accent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2832DC"/>
                  </a:solidFill>
                  <a:effectLst/>
                  <a:uLnTx/>
                  <a:uFillTx/>
                  <a:latin typeface="Helvetica" pitchFamily="2" charset="0"/>
                  <a:ea typeface="+mn-ea"/>
                  <a:cs typeface="+mn-cs"/>
                </a:rPr>
                <a:t>Lorena Gomez</a:t>
              </a:r>
              <a:endParaRPr kumimoji="0" lang="en-US" sz="1100" b="1" i="0" u="none" strike="noStrike" kern="1200" cap="none" spc="0" normalizeH="0" baseline="0" noProof="0">
                <a:ln>
                  <a:noFill/>
                </a:ln>
                <a:solidFill>
                  <a:srgbClr val="2832DC"/>
                </a:solidFill>
                <a:effectLst/>
                <a:uLnTx/>
                <a:uFillTx/>
                <a:latin typeface="Helvetica" pitchFamily="2" charset="0"/>
                <a:ea typeface="+mn-ea"/>
                <a:cs typeface="+mn-cs"/>
              </a:endParaRPr>
            </a:p>
          </p:txBody>
        </p:sp>
        <p:sp>
          <p:nvSpPr>
            <p:cNvPr id="4" name="Text Placeholder 20">
              <a:extLst>
                <a:ext uri="{FF2B5EF4-FFF2-40B4-BE49-F238E27FC236}">
                  <a16:creationId xmlns:a16="http://schemas.microsoft.com/office/drawing/2014/main" id="{AF5790EA-9F6A-A3E9-441E-73FD26F75DEA}"/>
                </a:ext>
              </a:extLst>
            </p:cNvPr>
            <p:cNvSpPr txBox="1">
              <a:spLocks/>
            </p:cNvSpPr>
            <p:nvPr/>
          </p:nvSpPr>
          <p:spPr>
            <a:xfrm>
              <a:off x="10119240" y="5806714"/>
              <a:ext cx="1954321" cy="257960"/>
            </a:xfrm>
            <a:prstGeom prst="rect">
              <a:avLst/>
            </a:prstGeom>
          </p:spPr>
          <p:txBody>
            <a:bodyPr anchor="t">
              <a:noAutofit/>
            </a:bodyPr>
            <a:lstStyle>
              <a:lvl1pPr marL="0" indent="0" algn="ctr" defTabSz="914400" rtl="0" eaLnBrk="1" latinLnBrk="0" hangingPunct="1">
                <a:lnSpc>
                  <a:spcPct val="90000"/>
                </a:lnSpc>
                <a:spcBef>
                  <a:spcPts val="0"/>
                </a:spcBef>
                <a:buFont typeface="Arial" panose="020B0604020202020204" pitchFamily="34" charset="0"/>
                <a:buNone/>
                <a:defRPr sz="1400" b="0" i="0" kern="1200">
                  <a:solidFill>
                    <a:schemeClr val="tx1">
                      <a:lumMod val="85000"/>
                      <a:lumOff val="15000"/>
                    </a:schemeClr>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prstClr val="black">
                      <a:lumMod val="85000"/>
                      <a:lumOff val="15000"/>
                    </a:prstClr>
                  </a:solidFill>
                  <a:effectLst/>
                  <a:uLnTx/>
                  <a:uFillTx/>
                  <a:latin typeface="Helvetica Light" panose="020B0403020202020204" pitchFamily="34" charset="0"/>
                  <a:ea typeface="+mn-ea"/>
                  <a:cs typeface="+mn-cs"/>
                </a:rPr>
                <a:t>MD &amp; SVP Spain </a:t>
              </a:r>
            </a:p>
          </p:txBody>
        </p:sp>
        <p:cxnSp>
          <p:nvCxnSpPr>
            <p:cNvPr id="5" name="Straight Connector 4">
              <a:extLst>
                <a:ext uri="{FF2B5EF4-FFF2-40B4-BE49-F238E27FC236}">
                  <a16:creationId xmlns:a16="http://schemas.microsoft.com/office/drawing/2014/main" id="{0FE40B8E-658A-CF94-48F2-A6B3B7C8B569}"/>
                </a:ext>
              </a:extLst>
            </p:cNvPr>
            <p:cNvCxnSpPr>
              <a:cxnSpLocks/>
            </p:cNvCxnSpPr>
            <p:nvPr/>
          </p:nvCxnSpPr>
          <p:spPr>
            <a:xfrm>
              <a:off x="10214401" y="5730382"/>
              <a:ext cx="1764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AC2E3812-FBB6-1FBF-BC18-881DE08A4878}"/>
                </a:ext>
              </a:extLst>
            </p:cNvPr>
            <p:cNvGrpSpPr/>
            <p:nvPr/>
          </p:nvGrpSpPr>
          <p:grpSpPr>
            <a:xfrm>
              <a:off x="10235901" y="3502072"/>
              <a:ext cx="1721000" cy="1721000"/>
              <a:chOff x="10235901" y="3237811"/>
              <a:chExt cx="1721000" cy="1721000"/>
            </a:xfrm>
          </p:grpSpPr>
          <p:sp>
            <p:nvSpPr>
              <p:cNvPr id="29" name="Oval 28">
                <a:extLst>
                  <a:ext uri="{FF2B5EF4-FFF2-40B4-BE49-F238E27FC236}">
                    <a16:creationId xmlns:a16="http://schemas.microsoft.com/office/drawing/2014/main" id="{2EABAA94-DA5E-7816-74F5-F3B724CBC995}"/>
                  </a:ext>
                </a:extLst>
              </p:cNvPr>
              <p:cNvSpPr/>
              <p:nvPr/>
            </p:nvSpPr>
            <p:spPr>
              <a:xfrm>
                <a:off x="10235901" y="3237811"/>
                <a:ext cx="1721000" cy="1721000"/>
              </a:xfrm>
              <a:prstGeom prst="ellipse">
                <a:avLst/>
              </a:prstGeom>
              <a:solidFill>
                <a:srgbClr val="DEE3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55" name="Picture 54" descr="A person with long blonde hair smiling&#10;&#10;Description automatically generated">
                <a:extLst>
                  <a:ext uri="{FF2B5EF4-FFF2-40B4-BE49-F238E27FC236}">
                    <a16:creationId xmlns:a16="http://schemas.microsoft.com/office/drawing/2014/main" id="{ADD98330-6848-ED6D-3C54-2CF5816A6AA0}"/>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10340401" y="3342311"/>
                <a:ext cx="1512000" cy="1512000"/>
              </a:xfrm>
              <a:prstGeom prst="ellipse">
                <a:avLst/>
              </a:prstGeom>
              <a:solidFill>
                <a:schemeClr val="accent1"/>
              </a:solidFill>
            </p:spPr>
          </p:pic>
        </p:grpSp>
      </p:grpSp>
    </p:spTree>
    <p:extLst>
      <p:ext uri="{BB962C8B-B14F-4D97-AF65-F5344CB8AC3E}">
        <p14:creationId xmlns:p14="http://schemas.microsoft.com/office/powerpoint/2010/main" val="17354242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arking garage with a sign&#10;&#10;Description automatically generated">
            <a:extLst>
              <a:ext uri="{FF2B5EF4-FFF2-40B4-BE49-F238E27FC236}">
                <a16:creationId xmlns:a16="http://schemas.microsoft.com/office/drawing/2014/main" id="{37368772-4F6F-E152-A674-CEEDDE1F2280}"/>
              </a:ext>
            </a:extLst>
          </p:cNvPr>
          <p:cNvPicPr>
            <a:picLocks noChangeAspect="1"/>
          </p:cNvPicPr>
          <p:nvPr/>
        </p:nvPicPr>
        <p:blipFill rotWithShape="1">
          <a:blip r:embed="rId3" cstate="screen">
            <a:alphaModFix amt="31000"/>
            <a:extLst>
              <a:ext uri="{28A0092B-C50C-407E-A947-70E740481C1C}">
                <a14:useLocalDpi xmlns:a14="http://schemas.microsoft.com/office/drawing/2010/main"/>
              </a:ext>
            </a:extLst>
          </a:blip>
          <a:srcRect/>
          <a:stretch/>
        </p:blipFill>
        <p:spPr>
          <a:xfrm>
            <a:off x="0" y="1"/>
            <a:ext cx="12192000" cy="6858000"/>
          </a:xfrm>
          <a:prstGeom prst="rect">
            <a:avLst/>
          </a:prstGeom>
        </p:spPr>
      </p:pic>
      <p:graphicFrame>
        <p:nvGraphicFramePr>
          <p:cNvPr id="3" name="think-cell data - do not delete" hidden="1">
            <a:extLst>
              <a:ext uri="{FF2B5EF4-FFF2-40B4-BE49-F238E27FC236}">
                <a16:creationId xmlns:a16="http://schemas.microsoft.com/office/drawing/2014/main" id="{7671BB0A-FE7C-719D-597A-B4EB0C6E0219}"/>
              </a:ext>
            </a:extLst>
          </p:cNvPr>
          <p:cNvGraphicFramePr>
            <a:graphicFrameLocks noChangeAspect="1"/>
          </p:cNvGraphicFramePr>
          <p:nvPr>
            <p:custDataLst>
              <p:tags r:id="rId1"/>
            </p:custDataLst>
            <p:extLst>
              <p:ext uri="{D42A27DB-BD31-4B8C-83A1-F6EECF244321}">
                <p14:modId xmlns:p14="http://schemas.microsoft.com/office/powerpoint/2010/main" val="17088337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7671BB0A-FE7C-719D-597A-B4EB0C6E021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19C55B9A-411C-CCD2-7C44-86752FEDAFEE}"/>
              </a:ext>
            </a:extLst>
          </p:cNvPr>
          <p:cNvCxnSpPr>
            <a:cxnSpLocks/>
          </p:cNvCxnSpPr>
          <p:nvPr/>
        </p:nvCxnSpPr>
        <p:spPr>
          <a:xfrm>
            <a:off x="1315186" y="5260160"/>
            <a:ext cx="85977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Bilde 3">
            <a:extLst>
              <a:ext uri="{FF2B5EF4-FFF2-40B4-BE49-F238E27FC236}">
                <a16:creationId xmlns:a16="http://schemas.microsoft.com/office/drawing/2014/main" id="{1CFE7C1A-03C1-DA39-0257-9C11128F2B8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315186" y="5601342"/>
            <a:ext cx="2737020" cy="478520"/>
          </a:xfrm>
          <a:prstGeom prst="rect">
            <a:avLst/>
          </a:prstGeom>
        </p:spPr>
      </p:pic>
      <p:sp>
        <p:nvSpPr>
          <p:cNvPr id="5" name="Title 1">
            <a:extLst>
              <a:ext uri="{FF2B5EF4-FFF2-40B4-BE49-F238E27FC236}">
                <a16:creationId xmlns:a16="http://schemas.microsoft.com/office/drawing/2014/main" id="{6B20B6AA-9B84-AA37-60BE-9E20C24BA41B}"/>
              </a:ext>
            </a:extLst>
          </p:cNvPr>
          <p:cNvSpPr>
            <a:spLocks noGrp="1"/>
          </p:cNvSpPr>
          <p:nvPr>
            <p:ph type="title"/>
          </p:nvPr>
        </p:nvSpPr>
        <p:spPr>
          <a:xfrm>
            <a:off x="1256709" y="3934597"/>
            <a:ext cx="8856776" cy="1325563"/>
          </a:xfrm>
        </p:spPr>
        <p:txBody>
          <a:bodyPr vert="horz" anchor="b"/>
          <a:lstStyle/>
          <a:p>
            <a:r>
              <a:rPr lang="en-US" sz="6600"/>
              <a:t>Big wins from </a:t>
            </a:r>
            <a:br>
              <a:rPr lang="en-US" sz="6600"/>
            </a:br>
            <a:r>
              <a:rPr lang="en-US" sz="6600"/>
              <a:t>big investments </a:t>
            </a:r>
          </a:p>
        </p:txBody>
      </p:sp>
    </p:spTree>
    <p:extLst>
      <p:ext uri="{BB962C8B-B14F-4D97-AF65-F5344CB8AC3E}">
        <p14:creationId xmlns:p14="http://schemas.microsoft.com/office/powerpoint/2010/main" val="34285510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3A7EE700-2358-E345-C60C-A07E4339586A}"/>
              </a:ext>
            </a:extLst>
          </p:cNvPr>
          <p:cNvSpPr txBox="1">
            <a:spLocks/>
          </p:cNvSpPr>
          <p:nvPr/>
        </p:nvSpPr>
        <p:spPr>
          <a:xfrm>
            <a:off x="778328" y="362620"/>
            <a:ext cx="10615386" cy="1270244"/>
          </a:xfrm>
          <a:prstGeom prst="rect">
            <a:avLst/>
          </a:prstGeom>
        </p:spPr>
        <p:txBody>
          <a:bodyPr anchor="t">
            <a:normAutofit/>
          </a:bodyPr>
          <a:lstStyle>
            <a:lvl1pPr algn="l" defTabSz="914400" rtl="0" eaLnBrk="1" latinLnBrk="0" hangingPunct="1">
              <a:lnSpc>
                <a:spcPct val="90000"/>
              </a:lnSpc>
              <a:spcBef>
                <a:spcPct val="0"/>
              </a:spcBef>
              <a:buNone/>
              <a:defRPr sz="4000" b="0" i="0" kern="1200">
                <a:solidFill>
                  <a:schemeClr val="accent1"/>
                </a:solidFill>
                <a:latin typeface="Helvetica Light" panose="020B0403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b="0" i="0" u="none" strike="noStrike" kern="1200" cap="none" spc="0" normalizeH="0" baseline="0" noProof="0">
                <a:ln>
                  <a:noFill/>
                </a:ln>
                <a:solidFill>
                  <a:srgbClr val="2832DC"/>
                </a:solidFill>
                <a:effectLst/>
                <a:uLnTx/>
                <a:uFillTx/>
                <a:latin typeface="Helvetica Light" panose="020B0403020202020204" pitchFamily="34" charset="0"/>
                <a:ea typeface="+mj-ea"/>
                <a:cs typeface="+mj-cs"/>
              </a:rPr>
              <a:t>Our investments </a:t>
            </a:r>
            <a:r>
              <a:rPr kumimoji="0" lang="en-GB" b="1" u="none" strike="noStrike" kern="1200" cap="none" spc="0" normalizeH="0" baseline="0" noProof="0">
                <a:ln>
                  <a:noFill/>
                </a:ln>
                <a:solidFill>
                  <a:srgbClr val="2832DC"/>
                </a:solidFill>
                <a:effectLst/>
                <a:uLnTx/>
                <a:uFillTx/>
                <a:latin typeface="Helvetica" pitchFamily="2" charset="0"/>
              </a:rPr>
              <a:t>are</a:t>
            </a:r>
            <a:r>
              <a:rPr kumimoji="0" lang="en-GB" b="0" i="0" u="none" strike="noStrike" kern="1200" cap="none" spc="0" normalizeH="0" baseline="0" noProof="0">
                <a:ln>
                  <a:noFill/>
                </a:ln>
                <a:solidFill>
                  <a:srgbClr val="2832DC"/>
                </a:solidFill>
                <a:effectLst/>
                <a:uLnTx/>
                <a:uFillTx/>
                <a:latin typeface="Helvetica Light" panose="020B0403020202020204" pitchFamily="34" charset="0"/>
                <a:ea typeface="+mj-ea"/>
                <a:cs typeface="+mj-cs"/>
              </a:rPr>
              <a:t> </a:t>
            </a:r>
            <a:r>
              <a:rPr kumimoji="0" lang="en-GB" b="1" u="none" strike="noStrike" kern="1200" cap="none" spc="0" normalizeH="0" baseline="0" noProof="0">
                <a:ln>
                  <a:noFill/>
                </a:ln>
                <a:solidFill>
                  <a:srgbClr val="2832DC"/>
                </a:solidFill>
                <a:effectLst/>
                <a:uLnTx/>
                <a:uFillTx/>
                <a:latin typeface="Helvetica" pitchFamily="2" charset="0"/>
              </a:rPr>
              <a:t>bearing fruit</a:t>
            </a:r>
            <a:endParaRPr kumimoji="0" lang="en-US" b="1" u="none" strike="noStrike" kern="1200" cap="none" spc="0" normalizeH="0" baseline="0" noProof="0">
              <a:ln>
                <a:noFill/>
              </a:ln>
              <a:solidFill>
                <a:srgbClr val="2832DC"/>
              </a:solidFill>
              <a:effectLst/>
              <a:uLnTx/>
              <a:uFillTx/>
              <a:latin typeface="Helvetica" pitchFamily="2" charset="0"/>
            </a:endParaRPr>
          </a:p>
        </p:txBody>
      </p:sp>
      <p:sp>
        <p:nvSpPr>
          <p:cNvPr id="15" name="Rectangle 14">
            <a:extLst>
              <a:ext uri="{FF2B5EF4-FFF2-40B4-BE49-F238E27FC236}">
                <a16:creationId xmlns:a16="http://schemas.microsoft.com/office/drawing/2014/main" id="{B7AC145D-DEFD-781B-EDCC-411EA8D1EB53}"/>
              </a:ext>
            </a:extLst>
          </p:cNvPr>
          <p:cNvSpPr/>
          <p:nvPr/>
        </p:nvSpPr>
        <p:spPr>
          <a:xfrm>
            <a:off x="883103" y="1896034"/>
            <a:ext cx="4983606" cy="3828927"/>
          </a:xfrm>
          <a:prstGeom prst="rect">
            <a:avLst/>
          </a:prstGeom>
          <a:solidFill>
            <a:schemeClr val="accent4">
              <a:lumMod val="20000"/>
              <a:lumOff val="80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Helvetica"/>
              <a:ea typeface="+mn-ea"/>
              <a:cs typeface="+mn-cs"/>
            </a:endParaRPr>
          </a:p>
        </p:txBody>
      </p:sp>
      <p:sp>
        <p:nvSpPr>
          <p:cNvPr id="8" name="Rectangle 7">
            <a:extLst>
              <a:ext uri="{FF2B5EF4-FFF2-40B4-BE49-F238E27FC236}">
                <a16:creationId xmlns:a16="http://schemas.microsoft.com/office/drawing/2014/main" id="{4F96CBB9-4686-BB35-C542-FE766CBB0384}"/>
              </a:ext>
            </a:extLst>
          </p:cNvPr>
          <p:cNvSpPr/>
          <p:nvPr/>
        </p:nvSpPr>
        <p:spPr>
          <a:xfrm>
            <a:off x="6318803" y="1896034"/>
            <a:ext cx="4983606" cy="3828927"/>
          </a:xfrm>
          <a:prstGeom prst="rect">
            <a:avLst/>
          </a:prstGeom>
          <a:solidFill>
            <a:schemeClr val="accent4">
              <a:lumMod val="20000"/>
              <a:lumOff val="80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Helvetica"/>
              <a:ea typeface="+mn-ea"/>
              <a:cs typeface="+mn-cs"/>
            </a:endParaRPr>
          </a:p>
        </p:txBody>
      </p:sp>
      <p:pic>
        <p:nvPicPr>
          <p:cNvPr id="11" name="Picture 2">
            <a:extLst>
              <a:ext uri="{FF2B5EF4-FFF2-40B4-BE49-F238E27FC236}">
                <a16:creationId xmlns:a16="http://schemas.microsoft.com/office/drawing/2014/main" id="{1A44DC39-EC6B-E286-3E30-8D2F4FCBC31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569220" y="2792513"/>
            <a:ext cx="3611372" cy="68418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86853749-414A-75B6-2465-6DCA7C631BA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294884" y="1316169"/>
            <a:ext cx="1031445" cy="1031445"/>
          </a:xfrm>
          <a:prstGeom prst="rect">
            <a:avLst/>
          </a:prstGeom>
        </p:spPr>
      </p:pic>
      <p:pic>
        <p:nvPicPr>
          <p:cNvPr id="24" name="Picture 23">
            <a:extLst>
              <a:ext uri="{FF2B5EF4-FFF2-40B4-BE49-F238E27FC236}">
                <a16:creationId xmlns:a16="http://schemas.microsoft.com/office/drawing/2014/main" id="{5B501B0A-D85D-64D8-2E28-41707607B3F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12599" y="1400331"/>
            <a:ext cx="924614" cy="924614"/>
          </a:xfrm>
          <a:prstGeom prst="rect">
            <a:avLst/>
          </a:prstGeom>
        </p:spPr>
      </p:pic>
      <p:sp>
        <p:nvSpPr>
          <p:cNvPr id="25" name="Text Placeholder 3">
            <a:extLst>
              <a:ext uri="{FF2B5EF4-FFF2-40B4-BE49-F238E27FC236}">
                <a16:creationId xmlns:a16="http://schemas.microsoft.com/office/drawing/2014/main" id="{DCDD35DC-B54A-0823-13F3-4A8F408BFFF7}"/>
              </a:ext>
            </a:extLst>
          </p:cNvPr>
          <p:cNvSpPr txBox="1">
            <a:spLocks/>
          </p:cNvSpPr>
          <p:nvPr/>
        </p:nvSpPr>
        <p:spPr>
          <a:xfrm>
            <a:off x="1448810" y="3896568"/>
            <a:ext cx="3830422" cy="1516472"/>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Exporting our world-class Order Picking solution to the UK driving </a:t>
            </a:r>
            <a:r>
              <a:rPr lang="en-US" sz="1600">
                <a:solidFill>
                  <a:srgbClr val="1E1E50"/>
                </a:solidFill>
              </a:rPr>
              <a:t>essential efficiency savings  </a:t>
            </a:r>
          </a:p>
        </p:txBody>
      </p:sp>
      <p:sp>
        <p:nvSpPr>
          <p:cNvPr id="26" name="Text Placeholder 3">
            <a:extLst>
              <a:ext uri="{FF2B5EF4-FFF2-40B4-BE49-F238E27FC236}">
                <a16:creationId xmlns:a16="http://schemas.microsoft.com/office/drawing/2014/main" id="{187D422A-8626-6DEB-A43A-E4934074E6DD}"/>
              </a:ext>
            </a:extLst>
          </p:cNvPr>
          <p:cNvSpPr txBox="1">
            <a:spLocks/>
          </p:cNvSpPr>
          <p:nvPr/>
        </p:nvSpPr>
        <p:spPr>
          <a:xfrm>
            <a:off x="6937490" y="3896568"/>
            <a:ext cx="3746231" cy="1516472"/>
          </a:xfrm>
          <a:prstGeom prst="rect">
            <a:avLst/>
          </a:prstGeom>
        </p:spPr>
        <p:txBody>
          <a:bodyPr anchor="t">
            <a:noAutofit/>
          </a:bodyPr>
          <a:lstStyle>
            <a:defPPr>
              <a:defRPr lang="en-US"/>
            </a:defPPr>
            <a:lvl1pPr indent="0" algn="ctr">
              <a:lnSpc>
                <a:spcPct val="150000"/>
              </a:lnSpc>
              <a:spcBef>
                <a:spcPts val="1000"/>
              </a:spcBef>
              <a:buFont typeface="Arial" panose="020B0604020202020204" pitchFamily="34" charset="0"/>
              <a:buNone/>
              <a:defRPr sz="1600" b="0" i="0">
                <a:solidFill>
                  <a:schemeClr val="accent3"/>
                </a:solidFill>
                <a:latin typeface="Helvetica Light" panose="020B0403020202020204" pitchFamily="34" charset="0"/>
              </a:defRPr>
            </a:lvl1pPr>
            <a:lvl2pPr marL="685800" indent="-228600">
              <a:lnSpc>
                <a:spcPct val="90000"/>
              </a:lnSpc>
              <a:spcBef>
                <a:spcPts val="500"/>
              </a:spcBef>
              <a:buFont typeface="Arial" panose="020B0604020202020204" pitchFamily="34" charset="0"/>
              <a:buChar char="•"/>
              <a:defRPr sz="1600" b="0" i="0">
                <a:solidFill>
                  <a:schemeClr val="bg1"/>
                </a:solidFill>
                <a:latin typeface="Helvetica Light" panose="020B0403020202020204" pitchFamily="34" charset="0"/>
              </a:defRPr>
            </a:lvl2pPr>
            <a:lvl3pPr marL="1143000" indent="-228600">
              <a:lnSpc>
                <a:spcPct val="90000"/>
              </a:lnSpc>
              <a:spcBef>
                <a:spcPts val="500"/>
              </a:spcBef>
              <a:buFont typeface="Arial" panose="020B0604020202020204" pitchFamily="34" charset="0"/>
              <a:buChar char="•"/>
              <a:defRPr sz="1400" b="0" i="0">
                <a:solidFill>
                  <a:schemeClr val="bg1"/>
                </a:solidFill>
                <a:latin typeface="Helvetica Light" panose="020B0403020202020204" pitchFamily="34" charset="0"/>
              </a:defRPr>
            </a:lvl3pPr>
            <a:lvl4pPr marL="1600200" indent="-228600">
              <a:lnSpc>
                <a:spcPct val="90000"/>
              </a:lnSpc>
              <a:spcBef>
                <a:spcPts val="500"/>
              </a:spcBef>
              <a:buFont typeface="Arial" panose="020B0604020202020204" pitchFamily="34" charset="0"/>
              <a:buChar char="•"/>
              <a:defRPr sz="1200" b="0" i="0">
                <a:solidFill>
                  <a:schemeClr val="bg1"/>
                </a:solidFill>
                <a:latin typeface="Helvetica Light" panose="020B0403020202020204" pitchFamily="34" charset="0"/>
              </a:defRPr>
            </a:lvl4pPr>
            <a:lvl5pPr marL="2057400" indent="-228600">
              <a:lnSpc>
                <a:spcPct val="90000"/>
              </a:lnSpc>
              <a:spcBef>
                <a:spcPts val="500"/>
              </a:spcBef>
              <a:buFont typeface="Arial" panose="020B0604020202020204" pitchFamily="34" charset="0"/>
              <a:buChar char="•"/>
              <a:defRPr sz="1100" b="0" i="0">
                <a:solidFill>
                  <a:schemeClr val="bg1"/>
                </a:solidFill>
                <a:latin typeface="Helvetica Light" panose="020B0403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Developed new cash management solution with </a:t>
            </a:r>
            <a:r>
              <a:rPr lang="en-US" err="1">
                <a:solidFill>
                  <a:srgbClr val="1E1E50"/>
                </a:solidFill>
              </a:rPr>
              <a:t>Mercadona</a:t>
            </a:r>
            <a:r>
              <a:rPr lang="en-US">
                <a:solidFill>
                  <a:srgbClr val="1E1E50"/>
                </a:solidFill>
              </a:rPr>
              <a:t> to improve efficiency of cash operations</a:t>
            </a:r>
          </a:p>
        </p:txBody>
      </p:sp>
      <p:pic>
        <p:nvPicPr>
          <p:cNvPr id="2" name="Picture 2">
            <a:extLst>
              <a:ext uri="{FF2B5EF4-FFF2-40B4-BE49-F238E27FC236}">
                <a16:creationId xmlns:a16="http://schemas.microsoft.com/office/drawing/2014/main" id="{E60A399D-192C-82C7-7A45-DA62EF330601}"/>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547201" y="2785933"/>
            <a:ext cx="4526810" cy="6430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77873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4DBD20-363B-3F48-12EF-789535422E1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B645403-53E6-6269-78A7-60EBA2578E3E}"/>
              </a:ext>
            </a:extLst>
          </p:cNvPr>
          <p:cNvGraphicFramePr>
            <a:graphicFrameLocks noChangeAspect="1"/>
          </p:cNvGraphicFramePr>
          <p:nvPr>
            <p:custDataLst>
              <p:tags r:id="rId1"/>
            </p:custDataLst>
            <p:extLst>
              <p:ext uri="{D42A27DB-BD31-4B8C-83A1-F6EECF244321}">
                <p14:modId xmlns:p14="http://schemas.microsoft.com/office/powerpoint/2010/main" val="11233862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8B645403-53E6-6269-78A7-60EBA2578E3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8E4810BD-F373-3285-A10B-F9F5E80D8CA3}"/>
              </a:ext>
            </a:extLst>
          </p:cNvPr>
          <p:cNvSpPr/>
          <p:nvPr/>
        </p:nvSpPr>
        <p:spPr>
          <a:xfrm>
            <a:off x="758370" y="1464165"/>
            <a:ext cx="10890291" cy="4715919"/>
          </a:xfrm>
          <a:prstGeom prst="rect">
            <a:avLst/>
          </a:prstGeom>
          <a:solidFill>
            <a:schemeClr val="accent4">
              <a:lumMod val="20000"/>
              <a:lumOff val="80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Helvetica"/>
              <a:ea typeface="+mn-ea"/>
              <a:cs typeface="+mn-cs"/>
            </a:endParaRPr>
          </a:p>
        </p:txBody>
      </p:sp>
      <p:sp>
        <p:nvSpPr>
          <p:cNvPr id="9" name="TextBox 8">
            <a:extLst>
              <a:ext uri="{FF2B5EF4-FFF2-40B4-BE49-F238E27FC236}">
                <a16:creationId xmlns:a16="http://schemas.microsoft.com/office/drawing/2014/main" id="{5325B516-13CF-3642-767B-9CE9FFADD0A4}"/>
              </a:ext>
            </a:extLst>
          </p:cNvPr>
          <p:cNvSpPr txBox="1"/>
          <p:nvPr/>
        </p:nvSpPr>
        <p:spPr>
          <a:xfrm>
            <a:off x="798286" y="1124390"/>
            <a:ext cx="467084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141E50"/>
                </a:solidFill>
                <a:effectLst/>
                <a:uLnTx/>
                <a:uFillTx/>
                <a:latin typeface="Helvetica" pitchFamily="2" charset="0"/>
                <a:ea typeface="+mn-ea"/>
                <a:cs typeface="+mn-cs"/>
              </a:rPr>
              <a:t>2023 </a:t>
            </a:r>
            <a:r>
              <a:rPr kumimoji="0" lang="en-GB" u="none" strike="noStrike" kern="1200" cap="none" spc="0" normalizeH="0" baseline="0" noProof="0">
                <a:ln>
                  <a:noFill/>
                </a:ln>
                <a:solidFill>
                  <a:srgbClr val="141E50"/>
                </a:solidFill>
                <a:effectLst/>
                <a:uLnTx/>
                <a:uFillTx/>
                <a:latin typeface="Helvetica Light" panose="020B0403020202020204" pitchFamily="34" charset="0"/>
              </a:rPr>
              <a:t>Revenue</a:t>
            </a:r>
          </a:p>
        </p:txBody>
      </p:sp>
      <p:sp>
        <p:nvSpPr>
          <p:cNvPr id="12" name="TextBox 11">
            <a:extLst>
              <a:ext uri="{FF2B5EF4-FFF2-40B4-BE49-F238E27FC236}">
                <a16:creationId xmlns:a16="http://schemas.microsoft.com/office/drawing/2014/main" id="{D9949048-0CD6-17DD-8AAE-BC118C8B5EC4}"/>
              </a:ext>
            </a:extLst>
          </p:cNvPr>
          <p:cNvSpPr txBox="1"/>
          <p:nvPr/>
        </p:nvSpPr>
        <p:spPr>
          <a:xfrm>
            <a:off x="4237930" y="5718418"/>
            <a:ext cx="1952319"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141E50"/>
                </a:solidFill>
                <a:effectLst/>
                <a:uLnTx/>
                <a:uFillTx/>
                <a:latin typeface="Helvetica" pitchFamily="2" charset="0"/>
                <a:ea typeface="+mn-ea"/>
                <a:cs typeface="+mn-cs"/>
              </a:rPr>
              <a:t>NOK 400Bn</a:t>
            </a:r>
            <a:endParaRPr kumimoji="0" lang="en-GB" sz="2400" b="0" i="0" u="none" strike="noStrike" kern="1200" cap="none" spc="0" normalizeH="0" baseline="0" noProof="0">
              <a:ln>
                <a:noFill/>
              </a:ln>
              <a:solidFill>
                <a:srgbClr val="141E50"/>
              </a:solidFill>
              <a:effectLst/>
              <a:uLnTx/>
              <a:uFillTx/>
              <a:latin typeface="Helvetica Light" panose="020B0403020202020204"/>
              <a:ea typeface="+mn-ea"/>
              <a:cs typeface="+mn-cs"/>
            </a:endParaRPr>
          </a:p>
        </p:txBody>
      </p:sp>
      <p:grpSp>
        <p:nvGrpSpPr>
          <p:cNvPr id="15" name="Group 14">
            <a:extLst>
              <a:ext uri="{FF2B5EF4-FFF2-40B4-BE49-F238E27FC236}">
                <a16:creationId xmlns:a16="http://schemas.microsoft.com/office/drawing/2014/main" id="{AEA119B1-3DEE-9B80-B649-1786BCB2AB50}"/>
              </a:ext>
            </a:extLst>
          </p:cNvPr>
          <p:cNvGrpSpPr/>
          <p:nvPr/>
        </p:nvGrpSpPr>
        <p:grpSpPr>
          <a:xfrm>
            <a:off x="3318744" y="1815609"/>
            <a:ext cx="3591569" cy="3591570"/>
            <a:chOff x="3757918" y="1313756"/>
            <a:chExt cx="3732582" cy="3732583"/>
          </a:xfrm>
        </p:grpSpPr>
        <p:sp>
          <p:nvSpPr>
            <p:cNvPr id="3" name="Oval 2">
              <a:extLst>
                <a:ext uri="{FF2B5EF4-FFF2-40B4-BE49-F238E27FC236}">
                  <a16:creationId xmlns:a16="http://schemas.microsoft.com/office/drawing/2014/main" id="{5AA35DB8-79C5-AE9B-0F69-99C69938277A}"/>
                </a:ext>
              </a:extLst>
            </p:cNvPr>
            <p:cNvSpPr/>
            <p:nvPr/>
          </p:nvSpPr>
          <p:spPr>
            <a:xfrm>
              <a:off x="3757918" y="1313756"/>
              <a:ext cx="3732582" cy="3732583"/>
            </a:xfrm>
            <a:prstGeom prst="ellipse">
              <a:avLst/>
            </a:prstGeom>
            <a:solidFill>
              <a:srgbClr val="F57320"/>
            </a:solidFill>
            <a:ln>
              <a:noFill/>
            </a:ln>
            <a:effectLst>
              <a:outerShdw blurRad="228600" sx="102000" sy="1020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14" name="Picture 13">
              <a:extLst>
                <a:ext uri="{FF2B5EF4-FFF2-40B4-BE49-F238E27FC236}">
                  <a16:creationId xmlns:a16="http://schemas.microsoft.com/office/drawing/2014/main" id="{5CE6D1BC-4B14-23A2-A5C9-521D84731A71}"/>
                </a:ext>
              </a:extLst>
            </p:cNvPr>
            <p:cNvPicPr>
              <a:picLocks noChangeAspect="1"/>
            </p:cNvPicPr>
            <p:nvPr/>
          </p:nvPicPr>
          <p:blipFill>
            <a:blip r:embed="rId6" cstate="print">
              <a:biLevel thresh="25000"/>
              <a:extLst>
                <a:ext uri="{28A0092B-C50C-407E-A947-70E740481C1C}">
                  <a14:useLocalDpi xmlns:a14="http://schemas.microsoft.com/office/drawing/2010/main"/>
                </a:ext>
              </a:extLst>
            </a:blip>
            <a:stretch>
              <a:fillRect/>
            </a:stretch>
          </p:blipFill>
          <p:spPr>
            <a:xfrm>
              <a:off x="3977958" y="2902499"/>
              <a:ext cx="3260139" cy="616369"/>
            </a:xfrm>
            <a:prstGeom prst="rect">
              <a:avLst/>
            </a:prstGeom>
          </p:spPr>
        </p:pic>
      </p:grpSp>
      <p:sp>
        <p:nvSpPr>
          <p:cNvPr id="34" name="TextBox 33">
            <a:extLst>
              <a:ext uri="{FF2B5EF4-FFF2-40B4-BE49-F238E27FC236}">
                <a16:creationId xmlns:a16="http://schemas.microsoft.com/office/drawing/2014/main" id="{DB0BE19F-BF99-65F6-13F6-D476492F6BA0}"/>
              </a:ext>
            </a:extLst>
          </p:cNvPr>
          <p:cNvSpPr txBox="1"/>
          <p:nvPr/>
        </p:nvSpPr>
        <p:spPr>
          <a:xfrm>
            <a:off x="708288" y="5718418"/>
            <a:ext cx="2245268"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141E50"/>
                </a:solidFill>
                <a:effectLst/>
                <a:uLnTx/>
                <a:uFillTx/>
                <a:latin typeface="Helvetica" pitchFamily="2" charset="0"/>
                <a:ea typeface="+mn-ea"/>
                <a:cs typeface="+mn-cs"/>
              </a:rPr>
              <a:t>NOK 110Bn</a:t>
            </a:r>
          </a:p>
        </p:txBody>
      </p:sp>
      <p:sp>
        <p:nvSpPr>
          <p:cNvPr id="11" name="Oval 10">
            <a:extLst>
              <a:ext uri="{FF2B5EF4-FFF2-40B4-BE49-F238E27FC236}">
                <a16:creationId xmlns:a16="http://schemas.microsoft.com/office/drawing/2014/main" id="{B064276F-6BB5-9CD4-2341-181E055881A0}"/>
              </a:ext>
            </a:extLst>
          </p:cNvPr>
          <p:cNvSpPr/>
          <p:nvPr/>
        </p:nvSpPr>
        <p:spPr>
          <a:xfrm>
            <a:off x="7603697" y="1632864"/>
            <a:ext cx="3809975" cy="3809976"/>
          </a:xfrm>
          <a:prstGeom prst="ellipse">
            <a:avLst/>
          </a:prstGeom>
          <a:solidFill>
            <a:srgbClr val="02965F"/>
          </a:solidFill>
          <a:ln>
            <a:noFill/>
          </a:ln>
          <a:effectLst>
            <a:outerShdw blurRad="228600" sx="102000" sy="1020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3" name="TextBox 12">
            <a:extLst>
              <a:ext uri="{FF2B5EF4-FFF2-40B4-BE49-F238E27FC236}">
                <a16:creationId xmlns:a16="http://schemas.microsoft.com/office/drawing/2014/main" id="{DA21CADE-7043-913E-312C-A7C21372D525}"/>
              </a:ext>
            </a:extLst>
          </p:cNvPr>
          <p:cNvSpPr txBox="1"/>
          <p:nvPr/>
        </p:nvSpPr>
        <p:spPr>
          <a:xfrm>
            <a:off x="8633328" y="5714462"/>
            <a:ext cx="1952319"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141E50"/>
                </a:solidFill>
                <a:effectLst/>
                <a:uLnTx/>
                <a:uFillTx/>
                <a:latin typeface="Helvetica" pitchFamily="2" charset="0"/>
                <a:ea typeface="+mn-ea"/>
                <a:cs typeface="+mn-cs"/>
              </a:rPr>
              <a:t>NOK 410Bn</a:t>
            </a:r>
            <a:endParaRPr kumimoji="0" lang="en-GB" sz="2400" b="0" i="0" u="none" strike="noStrike" kern="1200" cap="none" spc="0" normalizeH="0" baseline="0" noProof="0">
              <a:ln>
                <a:noFill/>
              </a:ln>
              <a:solidFill>
                <a:srgbClr val="141E50"/>
              </a:solidFill>
              <a:effectLst/>
              <a:uLnTx/>
              <a:uFillTx/>
              <a:latin typeface="Helvetica Light" panose="020B0403020202020204"/>
              <a:ea typeface="+mn-ea"/>
              <a:cs typeface="+mn-cs"/>
            </a:endParaRPr>
          </a:p>
        </p:txBody>
      </p:sp>
      <p:pic>
        <p:nvPicPr>
          <p:cNvPr id="20" name="Picture 19" descr="A white text on a black background&#10;&#10;Description automatically generated">
            <a:extLst>
              <a:ext uri="{FF2B5EF4-FFF2-40B4-BE49-F238E27FC236}">
                <a16:creationId xmlns:a16="http://schemas.microsoft.com/office/drawing/2014/main" id="{10335A15-7609-F480-7766-B4ECA5015C3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805304" y="2952906"/>
            <a:ext cx="3608368" cy="1227462"/>
          </a:xfrm>
          <a:prstGeom prst="rect">
            <a:avLst/>
          </a:prstGeom>
        </p:spPr>
      </p:pic>
      <p:grpSp>
        <p:nvGrpSpPr>
          <p:cNvPr id="4" name="Group 3">
            <a:extLst>
              <a:ext uri="{FF2B5EF4-FFF2-40B4-BE49-F238E27FC236}">
                <a16:creationId xmlns:a16="http://schemas.microsoft.com/office/drawing/2014/main" id="{8D59027E-51C7-B70B-8726-28B53239C3C4}"/>
              </a:ext>
            </a:extLst>
          </p:cNvPr>
          <p:cNvGrpSpPr/>
          <p:nvPr/>
        </p:nvGrpSpPr>
        <p:grpSpPr>
          <a:xfrm>
            <a:off x="995083" y="3080649"/>
            <a:ext cx="1460066" cy="1460067"/>
            <a:chOff x="2105014" y="1518427"/>
            <a:chExt cx="1460066" cy="1460067"/>
          </a:xfrm>
        </p:grpSpPr>
        <p:sp>
          <p:nvSpPr>
            <p:cNvPr id="2" name="Oval 1">
              <a:extLst>
                <a:ext uri="{FF2B5EF4-FFF2-40B4-BE49-F238E27FC236}">
                  <a16:creationId xmlns:a16="http://schemas.microsoft.com/office/drawing/2014/main" id="{625A7577-F056-BE7E-FDC3-FF81A5C2AC33}"/>
                </a:ext>
              </a:extLst>
            </p:cNvPr>
            <p:cNvSpPr/>
            <p:nvPr/>
          </p:nvSpPr>
          <p:spPr>
            <a:xfrm>
              <a:off x="2105014" y="1518427"/>
              <a:ext cx="1460066" cy="1460067"/>
            </a:xfrm>
            <a:prstGeom prst="ellipse">
              <a:avLst/>
            </a:prstGeom>
            <a:solidFill>
              <a:srgbClr val="43569D"/>
            </a:solidFill>
            <a:ln>
              <a:noFill/>
            </a:ln>
            <a:effectLst>
              <a:outerShdw blurRad="228600" sx="102000" sy="1020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1026" name="Picture 2" descr="logo">
              <a:extLst>
                <a:ext uri="{FF2B5EF4-FFF2-40B4-BE49-F238E27FC236}">
                  <a16:creationId xmlns:a16="http://schemas.microsoft.com/office/drawing/2014/main" id="{F18073F1-D134-FA0D-4A7C-FC5C096B9FBE}"/>
                </a:ext>
              </a:extLst>
            </p:cNvPr>
            <p:cNvPicPr>
              <a:picLocks noChangeAspect="1" noChangeArrowheads="1"/>
            </p:cNvPicPr>
            <p:nvPr/>
          </p:nvPicPr>
          <p:blipFill>
            <a:blip r:embed="rId8" cstate="screen">
              <a:extLst>
                <a:ext uri="{BEBA8EAE-BF5A-486C-A8C5-ECC9F3942E4B}">
                  <a14:imgProps xmlns:a14="http://schemas.microsoft.com/office/drawing/2010/main">
                    <a14:imgLayer r:embed="rId9">
                      <a14:imgEffect>
                        <a14:sharpenSoften amount="100000"/>
                      </a14:imgEffect>
                      <a14:imgEffect>
                        <a14:colorTemperature colorTemp="11500"/>
                      </a14:imgEffect>
                      <a14:imgEffect>
                        <a14:saturation sat="400000"/>
                      </a14:imgEffect>
                      <a14:imgEffect>
                        <a14:brightnessContrast bright="100000" contrast="100000"/>
                      </a14:imgEffect>
                    </a14:imgLayer>
                  </a14:imgProps>
                </a:ext>
                <a:ext uri="{28A0092B-C50C-407E-A947-70E740481C1C}">
                  <a14:useLocalDpi xmlns:a14="http://schemas.microsoft.com/office/drawing/2010/main"/>
                </a:ext>
              </a:extLst>
            </a:blip>
            <a:srcRect/>
            <a:stretch>
              <a:fillRect/>
            </a:stretch>
          </p:blipFill>
          <p:spPr bwMode="auto">
            <a:xfrm>
              <a:off x="2288123" y="1896437"/>
              <a:ext cx="1122499" cy="579354"/>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Title 1">
            <a:extLst>
              <a:ext uri="{FF2B5EF4-FFF2-40B4-BE49-F238E27FC236}">
                <a16:creationId xmlns:a16="http://schemas.microsoft.com/office/drawing/2014/main" id="{CD926E9F-6110-C0D8-09F9-63365D10F595}"/>
              </a:ext>
            </a:extLst>
          </p:cNvPr>
          <p:cNvSpPr txBox="1">
            <a:spLocks/>
          </p:cNvSpPr>
          <p:nvPr/>
        </p:nvSpPr>
        <p:spPr>
          <a:xfrm>
            <a:off x="778328" y="362620"/>
            <a:ext cx="10615386" cy="1270244"/>
          </a:xfrm>
          <a:prstGeom prst="rect">
            <a:avLst/>
          </a:prstGeom>
        </p:spPr>
        <p:txBody>
          <a:bodyPr anchor="t">
            <a:normAutofit/>
          </a:bodyPr>
          <a:lstStyle>
            <a:lvl1pPr algn="l" defTabSz="914400" rtl="0" eaLnBrk="1" latinLnBrk="0" hangingPunct="1">
              <a:lnSpc>
                <a:spcPct val="90000"/>
              </a:lnSpc>
              <a:spcBef>
                <a:spcPct val="0"/>
              </a:spcBef>
              <a:buNone/>
              <a:defRPr sz="4000" b="0" i="0" kern="1200">
                <a:solidFill>
                  <a:schemeClr val="accent1"/>
                </a:solidFill>
                <a:latin typeface="Helvetica Light" panose="020B0403020202020204" pitchFamily="34" charset="0"/>
                <a:ea typeface="+mj-ea"/>
                <a:cs typeface="+mj-cs"/>
              </a:defRPr>
            </a:lvl1pPr>
          </a:lstStyle>
          <a:p>
            <a:r>
              <a:rPr lang="en-GB" sz="3200"/>
              <a:t>Contextualising the size of these grocery retailers </a:t>
            </a:r>
            <a:endParaRPr lang="en-US" sz="3200"/>
          </a:p>
        </p:txBody>
      </p:sp>
      <p:cxnSp>
        <p:nvCxnSpPr>
          <p:cNvPr id="10" name="Straight Connector 9">
            <a:extLst>
              <a:ext uri="{FF2B5EF4-FFF2-40B4-BE49-F238E27FC236}">
                <a16:creationId xmlns:a16="http://schemas.microsoft.com/office/drawing/2014/main" id="{A4A4E901-D020-FBE0-192A-A57568D008D7}"/>
              </a:ext>
            </a:extLst>
          </p:cNvPr>
          <p:cNvCxnSpPr>
            <a:cxnSpLocks/>
          </p:cNvCxnSpPr>
          <p:nvPr/>
        </p:nvCxnSpPr>
        <p:spPr>
          <a:xfrm flipV="1">
            <a:off x="731838" y="1464165"/>
            <a:ext cx="10916823" cy="1071"/>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69968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4DBD20-363B-3F48-12EF-789535422E1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B645403-53E6-6269-78A7-60EBA2578E3E}"/>
              </a:ext>
            </a:extLst>
          </p:cNvPr>
          <p:cNvGraphicFramePr>
            <a:graphicFrameLocks noChangeAspect="1"/>
          </p:cNvGraphicFramePr>
          <p:nvPr>
            <p:custDataLst>
              <p:tags r:id="rId1"/>
            </p:custDataLst>
            <p:extLst>
              <p:ext uri="{D42A27DB-BD31-4B8C-83A1-F6EECF244321}">
                <p14:modId xmlns:p14="http://schemas.microsoft.com/office/powerpoint/2010/main" val="25493566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8B645403-53E6-6269-78A7-60EBA2578E3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9" name="Straight Connector 8">
            <a:extLst>
              <a:ext uri="{FF2B5EF4-FFF2-40B4-BE49-F238E27FC236}">
                <a16:creationId xmlns:a16="http://schemas.microsoft.com/office/drawing/2014/main" id="{6200AD35-8234-B510-4E78-8D73A8F91009}"/>
              </a:ext>
            </a:extLst>
          </p:cNvPr>
          <p:cNvCxnSpPr>
            <a:cxnSpLocks/>
          </p:cNvCxnSpPr>
          <p:nvPr/>
        </p:nvCxnSpPr>
        <p:spPr>
          <a:xfrm flipV="1">
            <a:off x="731838" y="1464165"/>
            <a:ext cx="10916823" cy="1071"/>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61928A77-A382-FDD0-0457-819FBE4805BA}"/>
              </a:ext>
            </a:extLst>
          </p:cNvPr>
          <p:cNvSpPr/>
          <p:nvPr/>
        </p:nvSpPr>
        <p:spPr>
          <a:xfrm>
            <a:off x="758370" y="1464165"/>
            <a:ext cx="10890291" cy="4715919"/>
          </a:xfrm>
          <a:prstGeom prst="rect">
            <a:avLst/>
          </a:prstGeom>
          <a:solidFill>
            <a:schemeClr val="accent4">
              <a:lumMod val="20000"/>
              <a:lumOff val="80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Helvetica"/>
              <a:ea typeface="+mn-ea"/>
              <a:cs typeface="+mn-cs"/>
            </a:endParaRPr>
          </a:p>
        </p:txBody>
      </p:sp>
      <p:grpSp>
        <p:nvGrpSpPr>
          <p:cNvPr id="15" name="Group 14">
            <a:extLst>
              <a:ext uri="{FF2B5EF4-FFF2-40B4-BE49-F238E27FC236}">
                <a16:creationId xmlns:a16="http://schemas.microsoft.com/office/drawing/2014/main" id="{AEA119B1-3DEE-9B80-B649-1786BCB2AB50}"/>
              </a:ext>
            </a:extLst>
          </p:cNvPr>
          <p:cNvGrpSpPr/>
          <p:nvPr/>
        </p:nvGrpSpPr>
        <p:grpSpPr>
          <a:xfrm>
            <a:off x="2150826" y="2028985"/>
            <a:ext cx="2352573" cy="2352574"/>
            <a:chOff x="3757918" y="1313756"/>
            <a:chExt cx="3732582" cy="3732583"/>
          </a:xfrm>
        </p:grpSpPr>
        <p:sp>
          <p:nvSpPr>
            <p:cNvPr id="3" name="Oval 2">
              <a:extLst>
                <a:ext uri="{FF2B5EF4-FFF2-40B4-BE49-F238E27FC236}">
                  <a16:creationId xmlns:a16="http://schemas.microsoft.com/office/drawing/2014/main" id="{5AA35DB8-79C5-AE9B-0F69-99C69938277A}"/>
                </a:ext>
              </a:extLst>
            </p:cNvPr>
            <p:cNvSpPr/>
            <p:nvPr/>
          </p:nvSpPr>
          <p:spPr>
            <a:xfrm>
              <a:off x="3757918" y="1313756"/>
              <a:ext cx="3732582" cy="3732583"/>
            </a:xfrm>
            <a:prstGeom prst="ellipse">
              <a:avLst/>
            </a:prstGeom>
            <a:solidFill>
              <a:srgbClr val="F57320"/>
            </a:solidFill>
            <a:ln>
              <a:noFill/>
            </a:ln>
            <a:effectLst>
              <a:outerShdw blurRad="228600" sx="102000" sy="1020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14" name="Picture 13">
              <a:extLst>
                <a:ext uri="{FF2B5EF4-FFF2-40B4-BE49-F238E27FC236}">
                  <a16:creationId xmlns:a16="http://schemas.microsoft.com/office/drawing/2014/main" id="{5CE6D1BC-4B14-23A2-A5C9-521D84731A71}"/>
                </a:ext>
              </a:extLst>
            </p:cNvPr>
            <p:cNvPicPr>
              <a:picLocks noChangeAspect="1"/>
            </p:cNvPicPr>
            <p:nvPr/>
          </p:nvPicPr>
          <p:blipFill>
            <a:blip r:embed="rId6" cstate="screen">
              <a:biLevel thresh="25000"/>
              <a:extLst>
                <a:ext uri="{28A0092B-C50C-407E-A947-70E740481C1C}">
                  <a14:useLocalDpi xmlns:a14="http://schemas.microsoft.com/office/drawing/2010/main"/>
                </a:ext>
              </a:extLst>
            </a:blip>
            <a:stretch>
              <a:fillRect/>
            </a:stretch>
          </p:blipFill>
          <p:spPr>
            <a:xfrm>
              <a:off x="3977958" y="2902499"/>
              <a:ext cx="3260139" cy="616369"/>
            </a:xfrm>
            <a:prstGeom prst="rect">
              <a:avLst/>
            </a:prstGeom>
          </p:spPr>
        </p:pic>
      </p:grpSp>
      <p:grpSp>
        <p:nvGrpSpPr>
          <p:cNvPr id="2" name="Group 1">
            <a:extLst>
              <a:ext uri="{FF2B5EF4-FFF2-40B4-BE49-F238E27FC236}">
                <a16:creationId xmlns:a16="http://schemas.microsoft.com/office/drawing/2014/main" id="{14110B52-AE0F-4635-3694-BD7CA7B3BC21}"/>
              </a:ext>
            </a:extLst>
          </p:cNvPr>
          <p:cNvGrpSpPr/>
          <p:nvPr/>
        </p:nvGrpSpPr>
        <p:grpSpPr>
          <a:xfrm>
            <a:off x="6584677" y="1664984"/>
            <a:ext cx="3507678" cy="3507679"/>
            <a:chOff x="6755440" y="1026299"/>
            <a:chExt cx="4038940" cy="4038941"/>
          </a:xfrm>
        </p:grpSpPr>
        <p:sp>
          <p:nvSpPr>
            <p:cNvPr id="11" name="Oval 10">
              <a:extLst>
                <a:ext uri="{FF2B5EF4-FFF2-40B4-BE49-F238E27FC236}">
                  <a16:creationId xmlns:a16="http://schemas.microsoft.com/office/drawing/2014/main" id="{B064276F-6BB5-9CD4-2341-181E055881A0}"/>
                </a:ext>
              </a:extLst>
            </p:cNvPr>
            <p:cNvSpPr/>
            <p:nvPr/>
          </p:nvSpPr>
          <p:spPr>
            <a:xfrm>
              <a:off x="6755440" y="1026299"/>
              <a:ext cx="4038940" cy="4038941"/>
            </a:xfrm>
            <a:prstGeom prst="ellipse">
              <a:avLst/>
            </a:prstGeom>
            <a:solidFill>
              <a:srgbClr val="02965F"/>
            </a:solidFill>
            <a:ln>
              <a:noFill/>
            </a:ln>
            <a:effectLst>
              <a:outerShdw blurRad="228600" sx="102000" sy="1020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20" name="Picture 19" descr="A white text on a black background&#10;&#10;Description automatically generated">
              <a:extLst>
                <a:ext uri="{FF2B5EF4-FFF2-40B4-BE49-F238E27FC236}">
                  <a16:creationId xmlns:a16="http://schemas.microsoft.com/office/drawing/2014/main" id="{10335A15-7609-F480-7766-B4ECA5015C3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019393" y="2440223"/>
              <a:ext cx="3608368" cy="1227462"/>
            </a:xfrm>
            <a:prstGeom prst="rect">
              <a:avLst/>
            </a:prstGeom>
          </p:spPr>
        </p:pic>
      </p:grpSp>
      <p:sp>
        <p:nvSpPr>
          <p:cNvPr id="6" name="Title 1">
            <a:extLst>
              <a:ext uri="{FF2B5EF4-FFF2-40B4-BE49-F238E27FC236}">
                <a16:creationId xmlns:a16="http://schemas.microsoft.com/office/drawing/2014/main" id="{CD926E9F-6110-C0D8-09F9-63365D10F595}"/>
              </a:ext>
            </a:extLst>
          </p:cNvPr>
          <p:cNvSpPr txBox="1">
            <a:spLocks/>
          </p:cNvSpPr>
          <p:nvPr/>
        </p:nvSpPr>
        <p:spPr>
          <a:xfrm>
            <a:off x="778327" y="362620"/>
            <a:ext cx="11076215" cy="1270244"/>
          </a:xfrm>
          <a:prstGeom prst="rect">
            <a:avLst/>
          </a:prstGeom>
        </p:spPr>
        <p:txBody>
          <a:bodyPr anchor="t">
            <a:normAutofit/>
          </a:bodyPr>
          <a:lstStyle>
            <a:lvl1pPr algn="l" defTabSz="914400" rtl="0" eaLnBrk="1" latinLnBrk="0" hangingPunct="1">
              <a:lnSpc>
                <a:spcPct val="90000"/>
              </a:lnSpc>
              <a:spcBef>
                <a:spcPct val="0"/>
              </a:spcBef>
              <a:buNone/>
              <a:defRPr sz="4000" b="0" i="0" kern="1200">
                <a:solidFill>
                  <a:schemeClr val="accent1"/>
                </a:solidFill>
                <a:latin typeface="Helvetica Light" panose="020B0403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sz="3200" err="1">
                <a:solidFill>
                  <a:srgbClr val="2832DC"/>
                </a:solidFill>
              </a:rPr>
              <a:t>Valu</a:t>
            </a:r>
            <a:r>
              <a:rPr kumimoji="0" lang="en-GB" sz="3200" b="0" i="0" u="none" strike="noStrike" kern="1200" cap="none" spc="0" normalizeH="0" baseline="0" noProof="0">
                <a:ln>
                  <a:noFill/>
                </a:ln>
                <a:solidFill>
                  <a:srgbClr val="2832DC"/>
                </a:solidFill>
                <a:effectLst/>
                <a:uLnTx/>
                <a:uFillTx/>
                <a:latin typeface="Helvetica Light" panose="020B0403020202020204" pitchFamily="34" charset="0"/>
                <a:ea typeface="+mj-ea"/>
                <a:cs typeface="+mj-cs"/>
              </a:rPr>
              <a:t>e in project opportunities are very large in themselves </a:t>
            </a:r>
            <a:endParaRPr kumimoji="0" lang="en-US" sz="3200" b="0" i="0" u="none" strike="noStrike" kern="1200" cap="none" spc="0" normalizeH="0" baseline="0" noProof="0">
              <a:ln>
                <a:noFill/>
              </a:ln>
              <a:solidFill>
                <a:srgbClr val="2832DC"/>
              </a:solidFill>
              <a:effectLst/>
              <a:uLnTx/>
              <a:uFillTx/>
              <a:latin typeface="Helvetica Light" panose="020B0403020202020204" pitchFamily="34" charset="0"/>
              <a:ea typeface="+mj-ea"/>
              <a:cs typeface="+mj-cs"/>
            </a:endParaRPr>
          </a:p>
        </p:txBody>
      </p:sp>
      <p:sp>
        <p:nvSpPr>
          <p:cNvPr id="16" name="TextBox 15">
            <a:extLst>
              <a:ext uri="{FF2B5EF4-FFF2-40B4-BE49-F238E27FC236}">
                <a16:creationId xmlns:a16="http://schemas.microsoft.com/office/drawing/2014/main" id="{4DD3C73F-BE7F-2C46-1345-1E8E33ADDF10}"/>
              </a:ext>
            </a:extLst>
          </p:cNvPr>
          <p:cNvSpPr txBox="1"/>
          <p:nvPr/>
        </p:nvSpPr>
        <p:spPr>
          <a:xfrm>
            <a:off x="1466431" y="5371251"/>
            <a:ext cx="3777027"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141E50"/>
                </a:solidFill>
                <a:effectLst/>
                <a:uLnTx/>
                <a:uFillTx/>
                <a:latin typeface="Helvetica" pitchFamily="2" charset="0"/>
                <a:ea typeface="+mn-ea"/>
                <a:cs typeface="+mn-cs"/>
              </a:rPr>
              <a:t>NOK 60B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a:solidFill>
                  <a:srgbClr val="141E50"/>
                </a:solidFill>
                <a:latin typeface="Helvetica Light" panose="020B0403020202020204" pitchFamily="34" charset="0"/>
              </a:rPr>
              <a:t>E-commerce revenue</a:t>
            </a:r>
            <a:endParaRPr kumimoji="0" lang="en-GB" sz="2400" u="none" strike="noStrike" kern="1200" cap="none" spc="0" normalizeH="0" baseline="0" noProof="0">
              <a:ln>
                <a:noFill/>
              </a:ln>
              <a:solidFill>
                <a:srgbClr val="141E50"/>
              </a:solidFill>
              <a:effectLst/>
              <a:uLnTx/>
              <a:uFillTx/>
              <a:latin typeface="Helvetica Light" panose="020B0403020202020204" pitchFamily="34" charset="0"/>
            </a:endParaRPr>
          </a:p>
        </p:txBody>
      </p:sp>
      <p:sp>
        <p:nvSpPr>
          <p:cNvPr id="19" name="TextBox 18">
            <a:extLst>
              <a:ext uri="{FF2B5EF4-FFF2-40B4-BE49-F238E27FC236}">
                <a16:creationId xmlns:a16="http://schemas.microsoft.com/office/drawing/2014/main" id="{D6E59771-ECF0-C237-FAA4-A4DC72BCE4D7}"/>
              </a:ext>
            </a:extLst>
          </p:cNvPr>
          <p:cNvSpPr txBox="1"/>
          <p:nvPr/>
        </p:nvSpPr>
        <p:spPr>
          <a:xfrm>
            <a:off x="6582786" y="5381207"/>
            <a:ext cx="3507678"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141E50"/>
                </a:solidFill>
                <a:effectLst/>
                <a:uLnTx/>
                <a:uFillTx/>
                <a:latin typeface="Helvetica" pitchFamily="2" charset="0"/>
                <a:ea typeface="+mn-ea"/>
                <a:cs typeface="+mn-cs"/>
              </a:rPr>
              <a:t>NOK 140B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a:solidFill>
                  <a:srgbClr val="141E50"/>
                </a:solidFill>
                <a:latin typeface="Helvetica Light" panose="020B0403020202020204" pitchFamily="34" charset="0"/>
              </a:rPr>
              <a:t>Cash transactions value</a:t>
            </a:r>
            <a:endParaRPr kumimoji="0" lang="en-GB" sz="2400" u="none" strike="noStrike" kern="1200" cap="none" spc="0" normalizeH="0" baseline="0" noProof="0">
              <a:ln>
                <a:noFill/>
              </a:ln>
              <a:solidFill>
                <a:srgbClr val="141E50"/>
              </a:solidFill>
              <a:effectLst/>
              <a:uLnTx/>
              <a:uFillTx/>
              <a:latin typeface="Helvetica Light" panose="020B0403020202020204" pitchFamily="34" charset="0"/>
            </a:endParaRPr>
          </a:p>
        </p:txBody>
      </p:sp>
      <p:pic>
        <p:nvPicPr>
          <p:cNvPr id="7" name="Picture 6">
            <a:extLst>
              <a:ext uri="{FF2B5EF4-FFF2-40B4-BE49-F238E27FC236}">
                <a16:creationId xmlns:a16="http://schemas.microsoft.com/office/drawing/2014/main" id="{90724B3D-C827-58C6-59AB-D19BBA48E1A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998733" y="4583484"/>
            <a:ext cx="658868" cy="658494"/>
          </a:xfrm>
          <a:prstGeom prst="rect">
            <a:avLst/>
          </a:prstGeom>
        </p:spPr>
      </p:pic>
    </p:spTree>
    <p:extLst>
      <p:ext uri="{BB962C8B-B14F-4D97-AF65-F5344CB8AC3E}">
        <p14:creationId xmlns:p14="http://schemas.microsoft.com/office/powerpoint/2010/main" val="42099029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932742C-42E3-973C-B6F0-7C5C0AEC2AB7}"/>
              </a:ext>
            </a:extLst>
          </p:cNvPr>
          <p:cNvSpPr/>
          <p:nvPr/>
        </p:nvSpPr>
        <p:spPr>
          <a:xfrm>
            <a:off x="3534243" y="1853571"/>
            <a:ext cx="8027912" cy="4413338"/>
          </a:xfrm>
          <a:prstGeom prst="rect">
            <a:avLst/>
          </a:prstGeom>
          <a:solidFill>
            <a:schemeClr val="accent4">
              <a:lumMod val="20000"/>
              <a:lumOff val="80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Helvetica"/>
              <a:ea typeface="+mn-ea"/>
              <a:cs typeface="+mn-cs"/>
            </a:endParaRPr>
          </a:p>
        </p:txBody>
      </p:sp>
      <p:sp>
        <p:nvSpPr>
          <p:cNvPr id="14" name="Rectangle 13">
            <a:extLst>
              <a:ext uri="{FF2B5EF4-FFF2-40B4-BE49-F238E27FC236}">
                <a16:creationId xmlns:a16="http://schemas.microsoft.com/office/drawing/2014/main" id="{6A8B3BDB-67E7-528E-3FED-2464011A18F8}"/>
              </a:ext>
            </a:extLst>
          </p:cNvPr>
          <p:cNvSpPr/>
          <p:nvPr/>
        </p:nvSpPr>
        <p:spPr>
          <a:xfrm>
            <a:off x="763845" y="1853571"/>
            <a:ext cx="2709526" cy="4413338"/>
          </a:xfrm>
          <a:prstGeom prst="rect">
            <a:avLst/>
          </a:prstGeom>
          <a:solidFill>
            <a:schemeClr val="accent4">
              <a:lumMod val="20000"/>
              <a:lumOff val="80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Helvetica"/>
              <a:ea typeface="+mn-ea"/>
              <a:cs typeface="+mn-cs"/>
            </a:endParaRPr>
          </a:p>
        </p:txBody>
      </p:sp>
      <p:graphicFrame>
        <p:nvGraphicFramePr>
          <p:cNvPr id="6" name="think-cell data - do not delete" hidden="1">
            <a:extLst>
              <a:ext uri="{FF2B5EF4-FFF2-40B4-BE49-F238E27FC236}">
                <a16:creationId xmlns:a16="http://schemas.microsoft.com/office/drawing/2014/main" id="{794424EB-0739-2458-5012-B58640E8272A}"/>
              </a:ext>
            </a:extLst>
          </p:cNvPr>
          <p:cNvGraphicFramePr>
            <a:graphicFrameLocks noChangeAspect="1"/>
          </p:cNvGraphicFramePr>
          <p:nvPr>
            <p:custDataLst>
              <p:tags r:id="rId1"/>
            </p:custDataLst>
            <p:extLst>
              <p:ext uri="{D42A27DB-BD31-4B8C-83A1-F6EECF244321}">
                <p14:modId xmlns:p14="http://schemas.microsoft.com/office/powerpoint/2010/main" val="37839662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6" name="think-cell data - do not delete" hidden="1">
                        <a:extLst>
                          <a:ext uri="{FF2B5EF4-FFF2-40B4-BE49-F238E27FC236}">
                            <a16:creationId xmlns:a16="http://schemas.microsoft.com/office/drawing/2014/main" id="{794424EB-0739-2458-5012-B58640E8272A}"/>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87F080E-3ED8-0C74-F6A8-6C9204616A75}"/>
              </a:ext>
            </a:extLst>
          </p:cNvPr>
          <p:cNvSpPr>
            <a:spLocks noGrp="1"/>
          </p:cNvSpPr>
          <p:nvPr>
            <p:ph type="title"/>
          </p:nvPr>
        </p:nvSpPr>
        <p:spPr/>
        <p:txBody>
          <a:bodyPr vert="horz">
            <a:noAutofit/>
          </a:bodyPr>
          <a:lstStyle/>
          <a:p>
            <a:pPr rtl="0"/>
            <a:r>
              <a:rPr lang="en-GB" sz="3600"/>
              <a:t>As an incumbent we are well placed</a:t>
            </a:r>
            <a:br>
              <a:rPr lang="en-GB" sz="3600"/>
            </a:br>
            <a:r>
              <a:rPr lang="en-GB" sz="3600"/>
              <a:t>to upsell additional solutions</a:t>
            </a:r>
            <a:endParaRPr lang="en-GB" sz="3600">
              <a:effectLst/>
            </a:endParaRPr>
          </a:p>
        </p:txBody>
      </p:sp>
      <p:graphicFrame>
        <p:nvGraphicFramePr>
          <p:cNvPr id="4" name="Chart 3">
            <a:extLst>
              <a:ext uri="{FF2B5EF4-FFF2-40B4-BE49-F238E27FC236}">
                <a16:creationId xmlns:a16="http://schemas.microsoft.com/office/drawing/2014/main" id="{D8812361-484C-44E0-F151-812AB46A02B6}"/>
              </a:ext>
            </a:extLst>
          </p:cNvPr>
          <p:cNvGraphicFramePr/>
          <p:nvPr>
            <p:custDataLst>
              <p:tags r:id="rId2"/>
            </p:custDataLst>
          </p:nvPr>
        </p:nvGraphicFramePr>
        <p:xfrm>
          <a:off x="3805624" y="2057522"/>
          <a:ext cx="7413178" cy="3910326"/>
        </p:xfrm>
        <a:graphic>
          <a:graphicData uri="http://schemas.openxmlformats.org/drawingml/2006/chart">
            <c:chart xmlns:c="http://schemas.openxmlformats.org/drawingml/2006/chart" xmlns:r="http://schemas.openxmlformats.org/officeDocument/2006/relationships" r:id="rId16"/>
          </a:graphicData>
        </a:graphic>
      </p:graphicFrame>
      <p:sp>
        <p:nvSpPr>
          <p:cNvPr id="27" name="Rectangle 26">
            <a:extLst>
              <a:ext uri="{FF2B5EF4-FFF2-40B4-BE49-F238E27FC236}">
                <a16:creationId xmlns:a16="http://schemas.microsoft.com/office/drawing/2014/main" id="{16530617-6F5B-90A0-031D-8504567461A2}"/>
              </a:ext>
            </a:extLst>
          </p:cNvPr>
          <p:cNvSpPr/>
          <p:nvPr/>
        </p:nvSpPr>
        <p:spPr bwMode="auto">
          <a:xfrm>
            <a:off x="3766694" y="5810250"/>
            <a:ext cx="823913"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en-GB" altLang="en-US" sz="1050">
                <a:solidFill>
                  <a:schemeClr val="tx1"/>
                </a:solidFill>
                <a:latin typeface="Helvetica Light" panose="020B0403020202020204" pitchFamily="34" charset="0"/>
              </a:rPr>
              <a:t>Coop EE</a:t>
            </a:r>
            <a:endParaRPr lang="en-GB" sz="1050">
              <a:solidFill>
                <a:schemeClr val="tx1"/>
              </a:solidFill>
              <a:latin typeface="Helvetica Light" panose="020B0403020202020204" pitchFamily="34" charset="0"/>
            </a:endParaRPr>
          </a:p>
        </p:txBody>
      </p:sp>
      <p:sp>
        <p:nvSpPr>
          <p:cNvPr id="30" name="Rectangle 29">
            <a:extLst>
              <a:ext uri="{FF2B5EF4-FFF2-40B4-BE49-F238E27FC236}">
                <a16:creationId xmlns:a16="http://schemas.microsoft.com/office/drawing/2014/main" id="{E98622C2-6227-F4C2-D3B1-A46193397F9C}"/>
              </a:ext>
            </a:extLst>
          </p:cNvPr>
          <p:cNvSpPr/>
          <p:nvPr>
            <p:custDataLst>
              <p:tags r:id="rId3"/>
            </p:custDataLst>
          </p:nvPr>
        </p:nvSpPr>
        <p:spPr bwMode="auto">
          <a:xfrm>
            <a:off x="4577062" y="5810250"/>
            <a:ext cx="741363" cy="4254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lstStyle/>
          <a:p>
            <a:pPr algn="ctr">
              <a:spcBef>
                <a:spcPct val="0"/>
              </a:spcBef>
              <a:spcAft>
                <a:spcPct val="0"/>
              </a:spcAft>
            </a:pPr>
            <a:r>
              <a:rPr lang="en-GB" altLang="en-US" sz="1050">
                <a:solidFill>
                  <a:schemeClr val="tx1"/>
                </a:solidFill>
                <a:latin typeface="Helvetica Light" panose="020B0403020202020204" pitchFamily="34" charset="0"/>
              </a:rPr>
              <a:t>IKI</a:t>
            </a:r>
            <a:br>
              <a:rPr lang="en-GB" altLang="en-US" sz="1050">
                <a:solidFill>
                  <a:schemeClr val="tx1"/>
                </a:solidFill>
                <a:latin typeface="Helvetica Light" panose="020B0403020202020204" pitchFamily="34" charset="0"/>
              </a:rPr>
            </a:br>
            <a:r>
              <a:rPr lang="en-GB" altLang="en-US" sz="1050" err="1">
                <a:solidFill>
                  <a:schemeClr val="tx1"/>
                </a:solidFill>
                <a:latin typeface="Helvetica Light" panose="020B0403020202020204" pitchFamily="34" charset="0"/>
              </a:rPr>
              <a:t>Lietuva</a:t>
            </a:r>
            <a:endParaRPr lang="en-GB" sz="1050">
              <a:solidFill>
                <a:schemeClr val="tx1"/>
              </a:solidFill>
              <a:latin typeface="Helvetica Light" panose="020B0403020202020204" pitchFamily="34" charset="0"/>
            </a:endParaRPr>
          </a:p>
        </p:txBody>
      </p:sp>
      <p:sp>
        <p:nvSpPr>
          <p:cNvPr id="31" name="Rectangle 30">
            <a:extLst>
              <a:ext uri="{FF2B5EF4-FFF2-40B4-BE49-F238E27FC236}">
                <a16:creationId xmlns:a16="http://schemas.microsoft.com/office/drawing/2014/main" id="{431527C1-63E6-8D92-5783-6D0B28A20CD9}"/>
              </a:ext>
            </a:extLst>
          </p:cNvPr>
          <p:cNvSpPr/>
          <p:nvPr>
            <p:custDataLst>
              <p:tags r:id="rId4"/>
            </p:custDataLst>
          </p:nvPr>
        </p:nvSpPr>
        <p:spPr bwMode="auto">
          <a:xfrm>
            <a:off x="5323042" y="5810250"/>
            <a:ext cx="714375"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en-GB" altLang="en-US" sz="1050">
                <a:solidFill>
                  <a:schemeClr val="tx1"/>
                </a:solidFill>
                <a:latin typeface="Helvetica Light" panose="020B0403020202020204" pitchFamily="34" charset="0"/>
              </a:rPr>
              <a:t>Maxima</a:t>
            </a:r>
            <a:endParaRPr lang="en-GB" sz="1050">
              <a:solidFill>
                <a:schemeClr val="tx1"/>
              </a:solidFill>
              <a:latin typeface="Helvetica Light" panose="020B0403020202020204" pitchFamily="34" charset="0"/>
            </a:endParaRPr>
          </a:p>
        </p:txBody>
      </p:sp>
      <p:sp>
        <p:nvSpPr>
          <p:cNvPr id="25" name="Rectangle 24">
            <a:extLst>
              <a:ext uri="{FF2B5EF4-FFF2-40B4-BE49-F238E27FC236}">
                <a16:creationId xmlns:a16="http://schemas.microsoft.com/office/drawing/2014/main" id="{DD3A098E-1156-F0C0-02DA-8CE25C857A88}"/>
              </a:ext>
            </a:extLst>
          </p:cNvPr>
          <p:cNvSpPr/>
          <p:nvPr>
            <p:custDataLst>
              <p:tags r:id="rId5"/>
            </p:custDataLst>
          </p:nvPr>
        </p:nvSpPr>
        <p:spPr bwMode="auto">
          <a:xfrm>
            <a:off x="6036837" y="5810250"/>
            <a:ext cx="782501" cy="38862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en-GB" altLang="en-US" sz="1000">
                <a:solidFill>
                  <a:schemeClr val="tx1"/>
                </a:solidFill>
                <a:latin typeface="Helvetica Light" panose="020B0403020202020204" pitchFamily="34" charset="0"/>
              </a:rPr>
              <a:t>Rema1000/</a:t>
            </a:r>
            <a:br>
              <a:rPr lang="en-GB" altLang="en-US" sz="1000">
                <a:solidFill>
                  <a:schemeClr val="tx1"/>
                </a:solidFill>
                <a:latin typeface="Helvetica Light" panose="020B0403020202020204" pitchFamily="34" charset="0"/>
              </a:rPr>
            </a:br>
            <a:r>
              <a:rPr lang="en-GB" altLang="en-US" sz="1000" err="1">
                <a:solidFill>
                  <a:schemeClr val="tx1"/>
                </a:solidFill>
                <a:latin typeface="Helvetica Light" panose="020B0403020202020204" pitchFamily="34" charset="0"/>
              </a:rPr>
              <a:t>Reitan</a:t>
            </a:r>
            <a:endParaRPr lang="en-GB" sz="1000">
              <a:solidFill>
                <a:schemeClr val="tx1"/>
              </a:solidFill>
              <a:latin typeface="Helvetica Light" panose="020B0403020202020204" pitchFamily="34" charset="0"/>
            </a:endParaRPr>
          </a:p>
        </p:txBody>
      </p:sp>
      <p:sp>
        <p:nvSpPr>
          <p:cNvPr id="34" name="Rectangle 33">
            <a:extLst>
              <a:ext uri="{FF2B5EF4-FFF2-40B4-BE49-F238E27FC236}">
                <a16:creationId xmlns:a16="http://schemas.microsoft.com/office/drawing/2014/main" id="{55AA35FA-7495-9B0E-F164-2E8816E0193D}"/>
              </a:ext>
            </a:extLst>
          </p:cNvPr>
          <p:cNvSpPr/>
          <p:nvPr>
            <p:custDataLst>
              <p:tags r:id="rId6"/>
            </p:custDataLst>
          </p:nvPr>
        </p:nvSpPr>
        <p:spPr bwMode="auto">
          <a:xfrm>
            <a:off x="6796843" y="5810250"/>
            <a:ext cx="714375" cy="4254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en-GB" altLang="en-US" sz="1050" err="1">
                <a:solidFill>
                  <a:schemeClr val="tx1"/>
                </a:solidFill>
                <a:latin typeface="Helvetica Light" panose="020B0403020202020204" pitchFamily="34" charset="0"/>
              </a:rPr>
              <a:t>Norges</a:t>
            </a:r>
            <a:br>
              <a:rPr lang="en-GB" altLang="en-US" sz="1050">
                <a:solidFill>
                  <a:schemeClr val="tx1"/>
                </a:solidFill>
                <a:latin typeface="Helvetica Light" panose="020B0403020202020204" pitchFamily="34" charset="0"/>
              </a:rPr>
            </a:br>
            <a:r>
              <a:rPr lang="en-GB" altLang="en-US" sz="1050">
                <a:solidFill>
                  <a:schemeClr val="tx1"/>
                </a:solidFill>
                <a:latin typeface="Helvetica Light" panose="020B0403020202020204" pitchFamily="34" charset="0"/>
              </a:rPr>
              <a:t>Gruppen</a:t>
            </a:r>
            <a:endParaRPr lang="en-GB" sz="1050">
              <a:solidFill>
                <a:schemeClr val="tx1"/>
              </a:solidFill>
              <a:latin typeface="Helvetica Light" panose="020B0403020202020204" pitchFamily="34" charset="0"/>
            </a:endParaRPr>
          </a:p>
        </p:txBody>
      </p:sp>
      <p:sp>
        <p:nvSpPr>
          <p:cNvPr id="35" name="Rectangle 34">
            <a:extLst>
              <a:ext uri="{FF2B5EF4-FFF2-40B4-BE49-F238E27FC236}">
                <a16:creationId xmlns:a16="http://schemas.microsoft.com/office/drawing/2014/main" id="{ED6FA538-BC35-01F4-FAA0-80ADFE017AE4}"/>
              </a:ext>
            </a:extLst>
          </p:cNvPr>
          <p:cNvSpPr/>
          <p:nvPr>
            <p:custDataLst>
              <p:tags r:id="rId7"/>
            </p:custDataLst>
          </p:nvPr>
        </p:nvSpPr>
        <p:spPr bwMode="auto">
          <a:xfrm>
            <a:off x="7533843" y="5810250"/>
            <a:ext cx="653550" cy="4254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lstStyle/>
          <a:p>
            <a:pPr algn="ctr">
              <a:spcBef>
                <a:spcPct val="0"/>
              </a:spcBef>
              <a:spcAft>
                <a:spcPct val="0"/>
              </a:spcAft>
            </a:pPr>
            <a:fld id="{04993F67-869E-4412-AAE7-8477050F6CC1}" type="datetime'C''''''''''''''''o''op N''''or''''w''''''''''''a''''''y'">
              <a:rPr lang="en-GB" altLang="en-US" sz="1050" smtClean="0">
                <a:solidFill>
                  <a:schemeClr val="tx1"/>
                </a:solidFill>
                <a:latin typeface="Helvetica Light" panose="020B0403020202020204" pitchFamily="34" charset="0"/>
              </a:rPr>
              <a:pPr algn="ctr">
                <a:spcBef>
                  <a:spcPct val="0"/>
                </a:spcBef>
                <a:spcAft>
                  <a:spcPct val="0"/>
                </a:spcAft>
              </a:pPr>
              <a:t>Coop Norway</a:t>
            </a:fld>
            <a:endParaRPr lang="en-GB" sz="1050">
              <a:solidFill>
                <a:schemeClr val="tx1"/>
              </a:solidFill>
              <a:latin typeface="Helvetica Light" panose="020B0403020202020204" pitchFamily="34" charset="0"/>
            </a:endParaRPr>
          </a:p>
        </p:txBody>
      </p:sp>
      <p:sp>
        <p:nvSpPr>
          <p:cNvPr id="18" name="Rectangle 17">
            <a:extLst>
              <a:ext uri="{FF2B5EF4-FFF2-40B4-BE49-F238E27FC236}">
                <a16:creationId xmlns:a16="http://schemas.microsoft.com/office/drawing/2014/main" id="{EF457C55-FC06-CCB0-90F0-E309DAEC7FA9}"/>
              </a:ext>
            </a:extLst>
          </p:cNvPr>
          <p:cNvSpPr/>
          <p:nvPr>
            <p:custDataLst>
              <p:tags r:id="rId8"/>
            </p:custDataLst>
          </p:nvPr>
        </p:nvSpPr>
        <p:spPr bwMode="auto">
          <a:xfrm>
            <a:off x="8260030" y="5810250"/>
            <a:ext cx="701675" cy="4254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lstStyle/>
          <a:p>
            <a:pPr algn="ctr">
              <a:spcBef>
                <a:spcPct val="0"/>
              </a:spcBef>
              <a:spcAft>
                <a:spcPct val="0"/>
              </a:spcAft>
            </a:pPr>
            <a:fld id="{01DCBA1D-01B9-43BA-917F-F482789DC12A}" type="datetime'''I''''''''C''A-G''''''''''''''rup''p''''''e''''n'''''">
              <a:rPr lang="en-GB" altLang="en-US" sz="1050" smtClean="0">
                <a:solidFill>
                  <a:schemeClr val="tx1"/>
                </a:solidFill>
                <a:latin typeface="Helvetica Light" panose="020B0403020202020204" pitchFamily="34" charset="0"/>
              </a:rPr>
              <a:pPr algn="ctr">
                <a:spcBef>
                  <a:spcPct val="0"/>
                </a:spcBef>
                <a:spcAft>
                  <a:spcPct val="0"/>
                </a:spcAft>
              </a:pPr>
              <a:t>ICA-Gruppen</a:t>
            </a:fld>
            <a:endParaRPr lang="en-GB" sz="1050">
              <a:solidFill>
                <a:schemeClr val="tx1"/>
              </a:solidFill>
              <a:latin typeface="Helvetica Light" panose="020B0403020202020204" pitchFamily="34" charset="0"/>
            </a:endParaRPr>
          </a:p>
        </p:txBody>
      </p:sp>
      <p:sp>
        <p:nvSpPr>
          <p:cNvPr id="20" name="Rectangle 19">
            <a:extLst>
              <a:ext uri="{FF2B5EF4-FFF2-40B4-BE49-F238E27FC236}">
                <a16:creationId xmlns:a16="http://schemas.microsoft.com/office/drawing/2014/main" id="{82B86D3A-4C22-6375-5111-06A462050C31}"/>
              </a:ext>
            </a:extLst>
          </p:cNvPr>
          <p:cNvSpPr/>
          <p:nvPr>
            <p:custDataLst>
              <p:tags r:id="rId9"/>
            </p:custDataLst>
          </p:nvPr>
        </p:nvSpPr>
        <p:spPr bwMode="auto">
          <a:xfrm>
            <a:off x="8975489" y="5810250"/>
            <a:ext cx="701674"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0EC0DCEF-12DF-40DA-82AA-A8330FB8DD98}" type="datetime'''''''''R''''''''''''''''I''''M''''''''''''''''''I'''''''''">
              <a:rPr lang="en-GB" altLang="en-US" sz="1050" smtClean="0">
                <a:solidFill>
                  <a:schemeClr val="tx1"/>
                </a:solidFill>
                <a:latin typeface="Helvetica Light" panose="020B0403020202020204" pitchFamily="34" charset="0"/>
              </a:rPr>
              <a:pPr algn="ctr">
                <a:spcBef>
                  <a:spcPct val="0"/>
                </a:spcBef>
                <a:spcAft>
                  <a:spcPct val="0"/>
                </a:spcAft>
              </a:pPr>
              <a:t>RIMI</a:t>
            </a:fld>
            <a:endParaRPr lang="en-GB" sz="1050">
              <a:solidFill>
                <a:schemeClr val="tx1"/>
              </a:solidFill>
              <a:latin typeface="Helvetica Light" panose="020B0403020202020204" pitchFamily="34" charset="0"/>
            </a:endParaRPr>
          </a:p>
        </p:txBody>
      </p:sp>
      <p:sp>
        <p:nvSpPr>
          <p:cNvPr id="21" name="Rectangle 20">
            <a:extLst>
              <a:ext uri="{FF2B5EF4-FFF2-40B4-BE49-F238E27FC236}">
                <a16:creationId xmlns:a16="http://schemas.microsoft.com/office/drawing/2014/main" id="{B4E8E85A-6093-E8DD-3A8C-DC8EE342F58C}"/>
              </a:ext>
            </a:extLst>
          </p:cNvPr>
          <p:cNvSpPr/>
          <p:nvPr>
            <p:custDataLst>
              <p:tags r:id="rId10"/>
            </p:custDataLst>
          </p:nvPr>
        </p:nvSpPr>
        <p:spPr bwMode="auto">
          <a:xfrm>
            <a:off x="9756539" y="5810250"/>
            <a:ext cx="654050" cy="4254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lstStyle/>
          <a:p>
            <a:pPr algn="ctr">
              <a:spcBef>
                <a:spcPct val="0"/>
              </a:spcBef>
              <a:spcAft>
                <a:spcPct val="0"/>
              </a:spcAft>
            </a:pPr>
            <a:fld id="{D648263B-2EA3-4847-BBC2-1F2BE8C48663}" type="datetime'''''''C''oo''''p ''''''''''''''Sw''e''''d''''e''n'''">
              <a:rPr lang="en-GB" altLang="en-US" sz="1050" smtClean="0">
                <a:solidFill>
                  <a:schemeClr val="tx1"/>
                </a:solidFill>
                <a:latin typeface="Helvetica Light" panose="020B0403020202020204" pitchFamily="34" charset="0"/>
              </a:rPr>
              <a:pPr algn="ctr">
                <a:spcBef>
                  <a:spcPct val="0"/>
                </a:spcBef>
                <a:spcAft>
                  <a:spcPct val="0"/>
                </a:spcAft>
              </a:pPr>
              <a:t>Coop Sweden</a:t>
            </a:fld>
            <a:endParaRPr lang="en-GB" sz="1050">
              <a:solidFill>
                <a:schemeClr val="tx1"/>
              </a:solidFill>
              <a:latin typeface="Helvetica Light" panose="020B0403020202020204" pitchFamily="34" charset="0"/>
            </a:endParaRPr>
          </a:p>
        </p:txBody>
      </p:sp>
      <p:sp>
        <p:nvSpPr>
          <p:cNvPr id="15" name="Rectangle 14">
            <a:extLst>
              <a:ext uri="{FF2B5EF4-FFF2-40B4-BE49-F238E27FC236}">
                <a16:creationId xmlns:a16="http://schemas.microsoft.com/office/drawing/2014/main" id="{1A32CFAC-BB98-A3E1-81FA-E8C01B913A08}"/>
              </a:ext>
            </a:extLst>
          </p:cNvPr>
          <p:cNvSpPr/>
          <p:nvPr>
            <p:custDataLst>
              <p:tags r:id="rId11"/>
            </p:custDataLst>
          </p:nvPr>
        </p:nvSpPr>
        <p:spPr bwMode="auto">
          <a:xfrm>
            <a:off x="10508811" y="5802630"/>
            <a:ext cx="56515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97F3AB6E-E5C6-40AD-85A9-A86D71440535}" type="datetime'''''A''x''''''''''''''''f''o''''''''''''''''''o''''d'">
              <a:rPr lang="en-GB" altLang="en-US" sz="1050" smtClean="0">
                <a:solidFill>
                  <a:schemeClr val="tx1"/>
                </a:solidFill>
                <a:latin typeface="Helvetica Light" panose="020B0403020202020204" pitchFamily="34" charset="0"/>
              </a:rPr>
              <a:pPr algn="ctr">
                <a:spcBef>
                  <a:spcPct val="0"/>
                </a:spcBef>
                <a:spcAft>
                  <a:spcPct val="0"/>
                </a:spcAft>
              </a:pPr>
              <a:t>Axfood</a:t>
            </a:fld>
            <a:endParaRPr lang="en-GB" sz="1050">
              <a:solidFill>
                <a:schemeClr val="tx1"/>
              </a:solidFill>
              <a:latin typeface="Helvetica Light" panose="020B0403020202020204" pitchFamily="34" charset="0"/>
            </a:endParaRPr>
          </a:p>
        </p:txBody>
      </p:sp>
      <p:grpSp>
        <p:nvGrpSpPr>
          <p:cNvPr id="9" name="Group 8">
            <a:extLst>
              <a:ext uri="{FF2B5EF4-FFF2-40B4-BE49-F238E27FC236}">
                <a16:creationId xmlns:a16="http://schemas.microsoft.com/office/drawing/2014/main" id="{3DF8FE3F-1469-22C4-9F11-B050F54BF5D7}"/>
              </a:ext>
            </a:extLst>
          </p:cNvPr>
          <p:cNvGrpSpPr/>
          <p:nvPr/>
        </p:nvGrpSpPr>
        <p:grpSpPr>
          <a:xfrm>
            <a:off x="8767086" y="313751"/>
            <a:ext cx="1951631" cy="1951631"/>
            <a:chOff x="639220" y="1728679"/>
            <a:chExt cx="1951631" cy="1951631"/>
          </a:xfrm>
        </p:grpSpPr>
        <p:sp>
          <p:nvSpPr>
            <p:cNvPr id="44" name="Oval 43">
              <a:extLst>
                <a:ext uri="{FF2B5EF4-FFF2-40B4-BE49-F238E27FC236}">
                  <a16:creationId xmlns:a16="http://schemas.microsoft.com/office/drawing/2014/main" id="{2102762F-CA38-1E26-6618-482DCB122E2D}"/>
                </a:ext>
              </a:extLst>
            </p:cNvPr>
            <p:cNvSpPr/>
            <p:nvPr/>
          </p:nvSpPr>
          <p:spPr bwMode="auto">
            <a:xfrm>
              <a:off x="639220" y="1728679"/>
              <a:ext cx="1951631" cy="19516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45" name="Text Placeholder 3">
              <a:extLst>
                <a:ext uri="{FF2B5EF4-FFF2-40B4-BE49-F238E27FC236}">
                  <a16:creationId xmlns:a16="http://schemas.microsoft.com/office/drawing/2014/main" id="{24614397-6662-B5DE-7DC4-2FAAF7AD4304}"/>
                </a:ext>
              </a:extLst>
            </p:cNvPr>
            <p:cNvSpPr txBox="1">
              <a:spLocks/>
            </p:cNvSpPr>
            <p:nvPr/>
          </p:nvSpPr>
          <p:spPr>
            <a:xfrm>
              <a:off x="724889" y="2751878"/>
              <a:ext cx="1780293" cy="854120"/>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average number</a:t>
              </a:r>
              <a:br>
                <a:rPr kumimoji="0" lang="en-GB"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br>
              <a:r>
                <a:rPr kumimoji="0" lang="en-GB"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of solutions</a:t>
              </a:r>
              <a:br>
                <a:rPr kumimoji="0" lang="en-GB"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br>
              <a:r>
                <a:rPr kumimoji="0" lang="en-GB"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used</a:t>
              </a:r>
              <a:endParaRPr kumimoji="0" lang="en-GB" sz="1400" b="1" i="0" u="none" strike="noStrike" kern="1200" cap="none" spc="0" normalizeH="0" baseline="0" noProof="0">
                <a:ln>
                  <a:noFill/>
                </a:ln>
                <a:solidFill>
                  <a:srgbClr val="1E1E50"/>
                </a:solidFill>
                <a:effectLst/>
                <a:uLnTx/>
                <a:uFillTx/>
                <a:latin typeface="Helvetica" pitchFamily="2" charset="0"/>
                <a:ea typeface="+mn-ea"/>
                <a:cs typeface="+mn-cs"/>
              </a:endParaRPr>
            </a:p>
          </p:txBody>
        </p:sp>
        <p:sp>
          <p:nvSpPr>
            <p:cNvPr id="46" name="Text Placeholder 3">
              <a:extLst>
                <a:ext uri="{FF2B5EF4-FFF2-40B4-BE49-F238E27FC236}">
                  <a16:creationId xmlns:a16="http://schemas.microsoft.com/office/drawing/2014/main" id="{2720C528-CF34-C204-59AA-567311F44711}"/>
                </a:ext>
              </a:extLst>
            </p:cNvPr>
            <p:cNvSpPr txBox="1">
              <a:spLocks/>
            </p:cNvSpPr>
            <p:nvPr/>
          </p:nvSpPr>
          <p:spPr>
            <a:xfrm>
              <a:off x="777392" y="2098815"/>
              <a:ext cx="1675286" cy="854120"/>
            </a:xfrm>
            <a:prstGeom prst="rect">
              <a:avLst/>
            </a:prstGeom>
          </p:spPr>
          <p:txBody>
            <a:bodyPr lIns="0" rIns="0"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0" b="1" u="none" strike="noStrike" kern="1200" cap="none" spc="0" normalizeH="0" baseline="0" noProof="0">
                  <a:ln>
                    <a:noFill/>
                  </a:ln>
                  <a:solidFill>
                    <a:srgbClr val="1E1E50"/>
                  </a:solidFill>
                  <a:effectLst/>
                  <a:uLnTx/>
                  <a:uFillTx/>
                  <a:latin typeface="Helvetica" pitchFamily="2" charset="0"/>
                </a:rPr>
                <a:t>4.7</a:t>
              </a:r>
            </a:p>
          </p:txBody>
        </p:sp>
      </p:grpSp>
      <p:pic>
        <p:nvPicPr>
          <p:cNvPr id="5" name="Picture 2">
            <a:extLst>
              <a:ext uri="{FF2B5EF4-FFF2-40B4-BE49-F238E27FC236}">
                <a16:creationId xmlns:a16="http://schemas.microsoft.com/office/drawing/2014/main" id="{7EB9E247-DCBE-DB1F-B73F-F60E55D065F8}"/>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2173828" y="5844903"/>
            <a:ext cx="753176" cy="14269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862B9A11-07FC-2940-047A-1C68F00DA3F4}"/>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907336" y="5844904"/>
            <a:ext cx="1004463" cy="14269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2A5AB9CB-440C-645B-E41B-FE9A32C1CC92}"/>
              </a:ext>
            </a:extLst>
          </p:cNvPr>
          <p:cNvSpPr/>
          <p:nvPr/>
        </p:nvSpPr>
        <p:spPr>
          <a:xfrm>
            <a:off x="1072739" y="5270854"/>
            <a:ext cx="673656" cy="448625"/>
          </a:xfrm>
          <a:prstGeom prst="rect">
            <a:avLst/>
          </a:prstGeom>
          <a:solidFill>
            <a:schemeClr val="accent4">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4FEFDCC-88E0-846D-173E-37F9FEEB63DE}"/>
              </a:ext>
            </a:extLst>
          </p:cNvPr>
          <p:cNvSpPr/>
          <p:nvPr/>
        </p:nvSpPr>
        <p:spPr>
          <a:xfrm>
            <a:off x="2213588" y="4847558"/>
            <a:ext cx="673656" cy="871922"/>
          </a:xfrm>
          <a:prstGeom prst="rect">
            <a:avLst/>
          </a:prstGeom>
          <a:solidFill>
            <a:schemeClr val="accent4">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B06C472-B509-5386-4917-495B920203C8}"/>
              </a:ext>
            </a:extLst>
          </p:cNvPr>
          <p:cNvSpPr/>
          <p:nvPr/>
        </p:nvSpPr>
        <p:spPr bwMode="auto">
          <a:xfrm>
            <a:off x="1042856" y="5039695"/>
            <a:ext cx="703539" cy="212724"/>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en-GB" altLang="en-US" sz="1200" b="1">
                <a:solidFill>
                  <a:schemeClr val="tx1"/>
                </a:solidFill>
                <a:latin typeface="Helvetica" pitchFamily="2" charset="0"/>
              </a:rPr>
              <a:t>1</a:t>
            </a:r>
            <a:endParaRPr lang="en-GB" sz="1200" b="1">
              <a:solidFill>
                <a:schemeClr val="tx1"/>
              </a:solidFill>
              <a:latin typeface="Helvetica" pitchFamily="2" charset="0"/>
            </a:endParaRPr>
          </a:p>
        </p:txBody>
      </p:sp>
      <p:sp>
        <p:nvSpPr>
          <p:cNvPr id="13" name="Rectangle 12">
            <a:extLst>
              <a:ext uri="{FF2B5EF4-FFF2-40B4-BE49-F238E27FC236}">
                <a16:creationId xmlns:a16="http://schemas.microsoft.com/office/drawing/2014/main" id="{0EDACF1A-C4C2-CAA2-3DD5-A44F6A20F3C1}"/>
              </a:ext>
            </a:extLst>
          </p:cNvPr>
          <p:cNvSpPr/>
          <p:nvPr>
            <p:custDataLst>
              <p:tags r:id="rId12"/>
            </p:custDataLst>
          </p:nvPr>
        </p:nvSpPr>
        <p:spPr bwMode="auto">
          <a:xfrm>
            <a:off x="2200105" y="4663710"/>
            <a:ext cx="687139" cy="23092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en-GB" altLang="en-US" sz="1200" b="1">
                <a:solidFill>
                  <a:schemeClr val="tx1"/>
                </a:solidFill>
                <a:latin typeface="Helvetica" pitchFamily="2" charset="0"/>
              </a:rPr>
              <a:t>2</a:t>
            </a:r>
            <a:endParaRPr lang="en-GB" sz="1200" b="1">
              <a:solidFill>
                <a:schemeClr val="tx1"/>
              </a:solidFill>
              <a:latin typeface="Helvetica" pitchFamily="2" charset="0"/>
            </a:endParaRPr>
          </a:p>
        </p:txBody>
      </p:sp>
      <p:sp>
        <p:nvSpPr>
          <p:cNvPr id="19" name="TextBox 18">
            <a:extLst>
              <a:ext uri="{FF2B5EF4-FFF2-40B4-BE49-F238E27FC236}">
                <a16:creationId xmlns:a16="http://schemas.microsoft.com/office/drawing/2014/main" id="{0150417D-BB8B-8BE8-4AC6-B3CCA7424FFF}"/>
              </a:ext>
            </a:extLst>
          </p:cNvPr>
          <p:cNvSpPr txBox="1"/>
          <p:nvPr/>
        </p:nvSpPr>
        <p:spPr>
          <a:xfrm>
            <a:off x="3686643" y="1987683"/>
            <a:ext cx="2778703" cy="738664"/>
          </a:xfrm>
          <a:prstGeom prst="rect">
            <a:avLst/>
          </a:prstGeom>
          <a:noFill/>
        </p:spPr>
        <p:txBody>
          <a:bodyPr wrap="square">
            <a:spAutoFit/>
          </a:bodyPr>
          <a:lstStyle/>
          <a:p>
            <a:r>
              <a:rPr lang="en-GB" sz="1400">
                <a:latin typeface="Helvetica Light" panose="020B0403020202020204" pitchFamily="34" charset="0"/>
              </a:rPr>
              <a:t>Number of solutions being used by largest </a:t>
            </a:r>
            <a:r>
              <a:rPr lang="en-GB" sz="1400">
                <a:effectLst/>
                <a:latin typeface="Helvetica Light" panose="020B0403020202020204" pitchFamily="34" charset="0"/>
              </a:rPr>
              <a:t>10 grocery customers in Norway, Sweden and Baltics</a:t>
            </a:r>
            <a:endParaRPr lang="en-US" sz="1400">
              <a:latin typeface="Helvetica Light" panose="020B0403020202020204" pitchFamily="34" charset="0"/>
            </a:endParaRPr>
          </a:p>
        </p:txBody>
      </p:sp>
      <p:cxnSp>
        <p:nvCxnSpPr>
          <p:cNvPr id="23" name="Straight Connector 22">
            <a:extLst>
              <a:ext uri="{FF2B5EF4-FFF2-40B4-BE49-F238E27FC236}">
                <a16:creationId xmlns:a16="http://schemas.microsoft.com/office/drawing/2014/main" id="{42C009F6-93E7-3F64-83E5-9D4DE078E771}"/>
              </a:ext>
            </a:extLst>
          </p:cNvPr>
          <p:cNvCxnSpPr>
            <a:cxnSpLocks/>
          </p:cNvCxnSpPr>
          <p:nvPr/>
        </p:nvCxnSpPr>
        <p:spPr>
          <a:xfrm>
            <a:off x="881508" y="5719479"/>
            <a:ext cx="228431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57CAA76F-D773-B81B-5453-C6E9DB888098}"/>
              </a:ext>
            </a:extLst>
          </p:cNvPr>
          <p:cNvSpPr txBox="1"/>
          <p:nvPr/>
        </p:nvSpPr>
        <p:spPr>
          <a:xfrm>
            <a:off x="793541" y="1987683"/>
            <a:ext cx="1960478" cy="954107"/>
          </a:xfrm>
          <a:prstGeom prst="rect">
            <a:avLst/>
          </a:prstGeom>
          <a:noFill/>
        </p:spPr>
        <p:txBody>
          <a:bodyPr wrap="square">
            <a:spAutoFit/>
          </a:bodyPr>
          <a:lstStyle/>
          <a:p>
            <a:r>
              <a:rPr lang="en-GB" sz="1400">
                <a:latin typeface="Helvetica Light" panose="020B0403020202020204" pitchFamily="34" charset="0"/>
              </a:rPr>
              <a:t>Recent clients currently using 1 and 2 solutions respectively</a:t>
            </a:r>
            <a:endParaRPr lang="en-US" sz="1400">
              <a:latin typeface="Helvetica Light" panose="020B0403020202020204" pitchFamily="34" charset="0"/>
            </a:endParaRPr>
          </a:p>
        </p:txBody>
      </p:sp>
      <p:cxnSp>
        <p:nvCxnSpPr>
          <p:cNvPr id="32" name="Straight Arrow Connector 31">
            <a:extLst>
              <a:ext uri="{FF2B5EF4-FFF2-40B4-BE49-F238E27FC236}">
                <a16:creationId xmlns:a16="http://schemas.microsoft.com/office/drawing/2014/main" id="{63992464-E546-2FA3-2ED2-04697F127058}"/>
              </a:ext>
            </a:extLst>
          </p:cNvPr>
          <p:cNvCxnSpPr>
            <a:cxnSpLocks/>
          </p:cNvCxnSpPr>
          <p:nvPr/>
        </p:nvCxnSpPr>
        <p:spPr>
          <a:xfrm flipV="1">
            <a:off x="4025900" y="2200283"/>
            <a:ext cx="4729714" cy="2050665"/>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242E3831-F29F-4C08-831D-ECBEB242BFB2}"/>
              </a:ext>
            </a:extLst>
          </p:cNvPr>
          <p:cNvCxnSpPr>
            <a:cxnSpLocks/>
          </p:cNvCxnSpPr>
          <p:nvPr/>
        </p:nvCxnSpPr>
        <p:spPr>
          <a:xfrm flipV="1">
            <a:off x="1408505" y="3872209"/>
            <a:ext cx="1784366" cy="799733"/>
          </a:xfrm>
          <a:prstGeom prst="straightConnector1">
            <a:avLst/>
          </a:prstGeom>
          <a:ln w="9525">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1C7E89EB-ED5C-1BA4-7C66-0A89671C0EAB}"/>
              </a:ext>
            </a:extLst>
          </p:cNvPr>
          <p:cNvGrpSpPr/>
          <p:nvPr/>
        </p:nvGrpSpPr>
        <p:grpSpPr>
          <a:xfrm>
            <a:off x="2220756" y="3778645"/>
            <a:ext cx="635792" cy="635792"/>
            <a:chOff x="3757918" y="1313756"/>
            <a:chExt cx="3732582" cy="3732583"/>
          </a:xfrm>
        </p:grpSpPr>
        <p:sp>
          <p:nvSpPr>
            <p:cNvPr id="56" name="Oval 55">
              <a:extLst>
                <a:ext uri="{FF2B5EF4-FFF2-40B4-BE49-F238E27FC236}">
                  <a16:creationId xmlns:a16="http://schemas.microsoft.com/office/drawing/2014/main" id="{CD68D1BE-A587-3EB8-4D12-BE8D604EDE12}"/>
                </a:ext>
              </a:extLst>
            </p:cNvPr>
            <p:cNvSpPr/>
            <p:nvPr/>
          </p:nvSpPr>
          <p:spPr>
            <a:xfrm>
              <a:off x="3757918" y="1313756"/>
              <a:ext cx="3732582" cy="3732583"/>
            </a:xfrm>
            <a:prstGeom prst="ellipse">
              <a:avLst/>
            </a:prstGeom>
            <a:solidFill>
              <a:srgbClr val="F57320"/>
            </a:solidFill>
            <a:ln>
              <a:noFill/>
            </a:ln>
            <a:effectLst>
              <a:outerShdw blurRad="228600" sx="102000" sy="1020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57" name="Picture 56">
              <a:extLst>
                <a:ext uri="{FF2B5EF4-FFF2-40B4-BE49-F238E27FC236}">
                  <a16:creationId xmlns:a16="http://schemas.microsoft.com/office/drawing/2014/main" id="{97072923-0B54-F496-0357-98527139E2AE}"/>
                </a:ext>
              </a:extLst>
            </p:cNvPr>
            <p:cNvPicPr>
              <a:picLocks noChangeAspect="1"/>
            </p:cNvPicPr>
            <p:nvPr/>
          </p:nvPicPr>
          <p:blipFill>
            <a:blip r:embed="rId19" cstate="screen">
              <a:biLevel thresh="25000"/>
              <a:extLst>
                <a:ext uri="{28A0092B-C50C-407E-A947-70E740481C1C}">
                  <a14:useLocalDpi xmlns:a14="http://schemas.microsoft.com/office/drawing/2010/main"/>
                </a:ext>
              </a:extLst>
            </a:blip>
            <a:stretch>
              <a:fillRect/>
            </a:stretch>
          </p:blipFill>
          <p:spPr>
            <a:xfrm>
              <a:off x="3977958" y="2902499"/>
              <a:ext cx="3260139" cy="616369"/>
            </a:xfrm>
            <a:prstGeom prst="rect">
              <a:avLst/>
            </a:prstGeom>
          </p:spPr>
        </p:pic>
      </p:grpSp>
      <p:grpSp>
        <p:nvGrpSpPr>
          <p:cNvPr id="61" name="Group 60">
            <a:extLst>
              <a:ext uri="{FF2B5EF4-FFF2-40B4-BE49-F238E27FC236}">
                <a16:creationId xmlns:a16="http://schemas.microsoft.com/office/drawing/2014/main" id="{822B1762-CFFD-C1B5-632F-FBF2EA15BA6E}"/>
              </a:ext>
            </a:extLst>
          </p:cNvPr>
          <p:cNvGrpSpPr/>
          <p:nvPr/>
        </p:nvGrpSpPr>
        <p:grpSpPr>
          <a:xfrm>
            <a:off x="1085118" y="4277137"/>
            <a:ext cx="637134" cy="637134"/>
            <a:chOff x="2976831" y="3113509"/>
            <a:chExt cx="637134" cy="637134"/>
          </a:xfrm>
        </p:grpSpPr>
        <p:sp>
          <p:nvSpPr>
            <p:cNvPr id="58" name="Oval 57">
              <a:extLst>
                <a:ext uri="{FF2B5EF4-FFF2-40B4-BE49-F238E27FC236}">
                  <a16:creationId xmlns:a16="http://schemas.microsoft.com/office/drawing/2014/main" id="{851A3CED-0706-2FD9-343F-C26B38BF195B}"/>
                </a:ext>
              </a:extLst>
            </p:cNvPr>
            <p:cNvSpPr/>
            <p:nvPr/>
          </p:nvSpPr>
          <p:spPr>
            <a:xfrm>
              <a:off x="2976831" y="3113509"/>
              <a:ext cx="637134" cy="637134"/>
            </a:xfrm>
            <a:prstGeom prst="ellipse">
              <a:avLst/>
            </a:prstGeom>
            <a:solidFill>
              <a:srgbClr val="02965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9" name="Picture 58" descr="A white text on a black background&#10;&#10;Description automatically generated">
              <a:extLst>
                <a:ext uri="{FF2B5EF4-FFF2-40B4-BE49-F238E27FC236}">
                  <a16:creationId xmlns:a16="http://schemas.microsoft.com/office/drawing/2014/main" id="{E35692AB-A091-946D-18A8-635FCC3B2330}"/>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3037465" y="3356630"/>
              <a:ext cx="517387" cy="176000"/>
            </a:xfrm>
            <a:prstGeom prst="rect">
              <a:avLst/>
            </a:prstGeom>
          </p:spPr>
        </p:pic>
      </p:grpSp>
    </p:spTree>
    <p:extLst>
      <p:ext uri="{BB962C8B-B14F-4D97-AF65-F5344CB8AC3E}">
        <p14:creationId xmlns:p14="http://schemas.microsoft.com/office/powerpoint/2010/main" val="25256523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E0FEFB8-A0E1-539F-E7DF-34521E5DC4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E0FEFB8-A0E1-539F-E7DF-34521E5DC4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B4D049-1408-BA00-2F68-CFA4BACF77A9}"/>
              </a:ext>
            </a:extLst>
          </p:cNvPr>
          <p:cNvSpPr>
            <a:spLocks noGrp="1"/>
          </p:cNvSpPr>
          <p:nvPr>
            <p:ph type="title"/>
          </p:nvPr>
        </p:nvSpPr>
        <p:spPr>
          <a:xfrm>
            <a:off x="459709" y="296836"/>
            <a:ext cx="10866382" cy="1036620"/>
          </a:xfrm>
        </p:spPr>
        <p:txBody>
          <a:bodyPr vert="horz">
            <a:normAutofit/>
          </a:bodyPr>
          <a:lstStyle/>
          <a:p>
            <a:pPr marL="0" marR="0" lvl="0" indent="0" defTabSz="914400" rtl="0" eaLnBrk="1" fontAlgn="auto" latinLnBrk="0" hangingPunct="1">
              <a:lnSpc>
                <a:spcPct val="90000"/>
              </a:lnSpc>
              <a:spcBef>
                <a:spcPct val="0"/>
              </a:spcBef>
              <a:spcAft>
                <a:spcPts val="0"/>
              </a:spcAft>
              <a:tabLst/>
              <a:defRPr/>
            </a:pPr>
            <a:r>
              <a:rPr kumimoji="0" lang="en-US" sz="3200" b="0" i="0" u="none" strike="noStrike" kern="1200" cap="none" spc="0" normalizeH="0" baseline="0" noProof="0">
                <a:ln>
                  <a:noFill/>
                </a:ln>
                <a:solidFill>
                  <a:srgbClr val="2832DC"/>
                </a:solidFill>
                <a:effectLst/>
                <a:uLnTx/>
                <a:uFillTx/>
                <a:latin typeface="Helvetica Light" panose="020B0403020202020204"/>
                <a:ea typeface="+mj-ea"/>
                <a:cs typeface="+mj-cs"/>
              </a:rPr>
              <a:t>Large serviceable customer base of grocery retailers</a:t>
            </a:r>
          </a:p>
        </p:txBody>
      </p:sp>
      <p:sp>
        <p:nvSpPr>
          <p:cNvPr id="7" name="Rectangle 6">
            <a:extLst>
              <a:ext uri="{FF2B5EF4-FFF2-40B4-BE49-F238E27FC236}">
                <a16:creationId xmlns:a16="http://schemas.microsoft.com/office/drawing/2014/main" id="{23D97B03-8EDD-96D9-D295-8A52B5EAFC76}"/>
              </a:ext>
            </a:extLst>
          </p:cNvPr>
          <p:cNvSpPr/>
          <p:nvPr/>
        </p:nvSpPr>
        <p:spPr>
          <a:xfrm>
            <a:off x="497671" y="1274476"/>
            <a:ext cx="5521509" cy="4784315"/>
          </a:xfrm>
          <a:prstGeom prst="rect">
            <a:avLst/>
          </a:prstGeom>
          <a:solidFill>
            <a:srgbClr val="2832DC">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2DC"/>
              </a:solidFill>
              <a:effectLst/>
              <a:uLnTx/>
              <a:uFillTx/>
              <a:latin typeface="Helvetica"/>
              <a:ea typeface="+mn-ea"/>
              <a:cs typeface="+mn-cs"/>
            </a:endParaRPr>
          </a:p>
        </p:txBody>
      </p:sp>
      <p:graphicFrame>
        <p:nvGraphicFramePr>
          <p:cNvPr id="4" name="Chart 3">
            <a:extLst>
              <a:ext uri="{FF2B5EF4-FFF2-40B4-BE49-F238E27FC236}">
                <a16:creationId xmlns:a16="http://schemas.microsoft.com/office/drawing/2014/main" id="{BF4BEF98-011A-2549-AC1A-3F2320583EC1}"/>
              </a:ext>
            </a:extLst>
          </p:cNvPr>
          <p:cNvGraphicFramePr/>
          <p:nvPr/>
        </p:nvGraphicFramePr>
        <p:xfrm>
          <a:off x="550049" y="1770094"/>
          <a:ext cx="5469131" cy="4140161"/>
        </p:xfrm>
        <a:graphic>
          <a:graphicData uri="http://schemas.openxmlformats.org/drawingml/2006/chart">
            <c:chart xmlns:c="http://schemas.openxmlformats.org/drawingml/2006/chart" xmlns:r="http://schemas.openxmlformats.org/officeDocument/2006/relationships" r:id="rId5"/>
          </a:graphicData>
        </a:graphic>
      </p:graphicFrame>
      <p:pic>
        <p:nvPicPr>
          <p:cNvPr id="12" name="Picture 11">
            <a:extLst>
              <a:ext uri="{FF2B5EF4-FFF2-40B4-BE49-F238E27FC236}">
                <a16:creationId xmlns:a16="http://schemas.microsoft.com/office/drawing/2014/main" id="{1C5CEE49-183A-5FD6-EF6E-3EBB2A4F330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013873" y="929723"/>
            <a:ext cx="696650" cy="696650"/>
          </a:xfrm>
          <a:prstGeom prst="rect">
            <a:avLst/>
          </a:prstGeom>
        </p:spPr>
      </p:pic>
      <p:sp>
        <p:nvSpPr>
          <p:cNvPr id="17" name="Rectangle 16">
            <a:extLst>
              <a:ext uri="{FF2B5EF4-FFF2-40B4-BE49-F238E27FC236}">
                <a16:creationId xmlns:a16="http://schemas.microsoft.com/office/drawing/2014/main" id="{16D68D44-43D2-8490-7956-E40BB0D73DCA}"/>
              </a:ext>
            </a:extLst>
          </p:cNvPr>
          <p:cNvSpPr/>
          <p:nvPr/>
        </p:nvSpPr>
        <p:spPr>
          <a:xfrm>
            <a:off x="6151873" y="1271464"/>
            <a:ext cx="5580418" cy="4784315"/>
          </a:xfrm>
          <a:prstGeom prst="rect">
            <a:avLst/>
          </a:prstGeom>
          <a:solidFill>
            <a:srgbClr val="2832DC">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2DC"/>
              </a:solidFill>
              <a:effectLst/>
              <a:uLnTx/>
              <a:uFillTx/>
              <a:latin typeface="Helvetica"/>
              <a:ea typeface="+mn-ea"/>
              <a:cs typeface="+mn-cs"/>
            </a:endParaRPr>
          </a:p>
        </p:txBody>
      </p:sp>
      <p:graphicFrame>
        <p:nvGraphicFramePr>
          <p:cNvPr id="5" name="Chart 4">
            <a:extLst>
              <a:ext uri="{FF2B5EF4-FFF2-40B4-BE49-F238E27FC236}">
                <a16:creationId xmlns:a16="http://schemas.microsoft.com/office/drawing/2014/main" id="{BD2C08A0-DB75-0EDB-42BE-8E0F8501D358}"/>
              </a:ext>
            </a:extLst>
          </p:cNvPr>
          <p:cNvGraphicFramePr/>
          <p:nvPr/>
        </p:nvGraphicFramePr>
        <p:xfrm>
          <a:off x="6335270" y="1770093"/>
          <a:ext cx="5374166" cy="4140161"/>
        </p:xfrm>
        <a:graphic>
          <a:graphicData uri="http://schemas.openxmlformats.org/drawingml/2006/chart">
            <c:chart xmlns:c="http://schemas.openxmlformats.org/drawingml/2006/chart" xmlns:r="http://schemas.openxmlformats.org/officeDocument/2006/relationships" r:id="rId7"/>
          </a:graphicData>
        </a:graphic>
      </p:graphicFrame>
      <p:pic>
        <p:nvPicPr>
          <p:cNvPr id="10" name="Picture 9">
            <a:extLst>
              <a:ext uri="{FF2B5EF4-FFF2-40B4-BE49-F238E27FC236}">
                <a16:creationId xmlns:a16="http://schemas.microsoft.com/office/drawing/2014/main" id="{D124D4F6-836E-BE2B-6780-743B7732BC3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631668" y="929723"/>
            <a:ext cx="777141" cy="777141"/>
          </a:xfrm>
          <a:prstGeom prst="rect">
            <a:avLst/>
          </a:prstGeom>
        </p:spPr>
      </p:pic>
      <p:sp>
        <p:nvSpPr>
          <p:cNvPr id="19" name="Rectangle 18">
            <a:extLst>
              <a:ext uri="{FF2B5EF4-FFF2-40B4-BE49-F238E27FC236}">
                <a16:creationId xmlns:a16="http://schemas.microsoft.com/office/drawing/2014/main" id="{3227A622-2DC2-2165-8270-6A80C11F6AF7}"/>
              </a:ext>
            </a:extLst>
          </p:cNvPr>
          <p:cNvSpPr/>
          <p:nvPr/>
        </p:nvSpPr>
        <p:spPr>
          <a:xfrm>
            <a:off x="6377045" y="1992082"/>
            <a:ext cx="874643" cy="344556"/>
          </a:xfrm>
          <a:prstGeom prst="rect">
            <a:avLst/>
          </a:prstGeom>
          <a:solidFill>
            <a:srgbClr val="E9EB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Helvetica"/>
              <a:ea typeface="+mn-ea"/>
              <a:cs typeface="+mn-cs"/>
            </a:endParaRPr>
          </a:p>
        </p:txBody>
      </p:sp>
      <p:sp>
        <p:nvSpPr>
          <p:cNvPr id="20" name="Rectangle 19">
            <a:extLst>
              <a:ext uri="{FF2B5EF4-FFF2-40B4-BE49-F238E27FC236}">
                <a16:creationId xmlns:a16="http://schemas.microsoft.com/office/drawing/2014/main" id="{B0896377-CA58-BB4E-E70E-EAB11F74D886}"/>
              </a:ext>
            </a:extLst>
          </p:cNvPr>
          <p:cNvSpPr/>
          <p:nvPr/>
        </p:nvSpPr>
        <p:spPr>
          <a:xfrm>
            <a:off x="932271" y="2276892"/>
            <a:ext cx="753177" cy="344556"/>
          </a:xfrm>
          <a:prstGeom prst="rect">
            <a:avLst/>
          </a:prstGeom>
          <a:solidFill>
            <a:srgbClr val="E9EB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16" name="Picture 2">
            <a:extLst>
              <a:ext uri="{FF2B5EF4-FFF2-40B4-BE49-F238E27FC236}">
                <a16:creationId xmlns:a16="http://schemas.microsoft.com/office/drawing/2014/main" id="{1AD97B80-F410-E62F-6AF7-6CDAF84870D9}"/>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50143" y="2411728"/>
            <a:ext cx="753176" cy="14269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a:extLst>
              <a:ext uri="{FF2B5EF4-FFF2-40B4-BE49-F238E27FC236}">
                <a16:creationId xmlns:a16="http://schemas.microsoft.com/office/drawing/2014/main" id="{C170188A-40D1-ED84-9F47-07FDD0E26E0B}"/>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272371" y="2153782"/>
            <a:ext cx="1004463" cy="142692"/>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4">
            <a:extLst>
              <a:ext uri="{FF2B5EF4-FFF2-40B4-BE49-F238E27FC236}">
                <a16:creationId xmlns:a16="http://schemas.microsoft.com/office/drawing/2014/main" id="{B2654702-833F-E6B9-71D9-EB89F22F252A}"/>
              </a:ext>
            </a:extLst>
          </p:cNvPr>
          <p:cNvSpPr txBox="1"/>
          <p:nvPr/>
        </p:nvSpPr>
        <p:spPr>
          <a:xfrm>
            <a:off x="462082" y="6146453"/>
            <a:ext cx="6059462" cy="5693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rPr>
              <a:t>*Source: Kantar, IGD</a:t>
            </a:r>
            <a:endParaRPr kumimoji="0" lang="en-GB" sz="11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Helvetica"/>
                <a:ea typeface="+mn-ea"/>
                <a:cs typeface="+mn-cs"/>
              </a:rPr>
              <a:t>. </a:t>
            </a:r>
          </a:p>
        </p:txBody>
      </p:sp>
      <p:sp>
        <p:nvSpPr>
          <p:cNvPr id="3" name="TextBox 2">
            <a:extLst>
              <a:ext uri="{FF2B5EF4-FFF2-40B4-BE49-F238E27FC236}">
                <a16:creationId xmlns:a16="http://schemas.microsoft.com/office/drawing/2014/main" id="{47A60618-0936-95B1-0C1A-2AF6858A2A33}"/>
              </a:ext>
            </a:extLst>
          </p:cNvPr>
          <p:cNvSpPr txBox="1"/>
          <p:nvPr/>
        </p:nvSpPr>
        <p:spPr>
          <a:xfrm>
            <a:off x="520004" y="1294132"/>
            <a:ext cx="2237002"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UK grocery retailer market percentage share, by retailer*</a:t>
            </a:r>
          </a:p>
        </p:txBody>
      </p:sp>
      <p:sp>
        <p:nvSpPr>
          <p:cNvPr id="6" name="TextBox 5">
            <a:extLst>
              <a:ext uri="{FF2B5EF4-FFF2-40B4-BE49-F238E27FC236}">
                <a16:creationId xmlns:a16="http://schemas.microsoft.com/office/drawing/2014/main" id="{B0259CE0-EB17-66E1-8910-4C3B09F8C90E}"/>
              </a:ext>
            </a:extLst>
          </p:cNvPr>
          <p:cNvSpPr txBox="1"/>
          <p:nvPr/>
        </p:nvSpPr>
        <p:spPr>
          <a:xfrm>
            <a:off x="6164064" y="1294132"/>
            <a:ext cx="2225541"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Spanish grocery retailer market percentage share, by retailer*</a:t>
            </a:r>
          </a:p>
        </p:txBody>
      </p:sp>
      <p:sp>
        <p:nvSpPr>
          <p:cNvPr id="24" name="TextBox 23">
            <a:extLst>
              <a:ext uri="{FF2B5EF4-FFF2-40B4-BE49-F238E27FC236}">
                <a16:creationId xmlns:a16="http://schemas.microsoft.com/office/drawing/2014/main" id="{5B03B3C2-893A-FB04-709D-AE61DCF42E72}"/>
              </a:ext>
            </a:extLst>
          </p:cNvPr>
          <p:cNvSpPr txBox="1"/>
          <p:nvPr/>
        </p:nvSpPr>
        <p:spPr>
          <a:xfrm>
            <a:off x="5394221" y="1971480"/>
            <a:ext cx="5173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E1E50"/>
                </a:solidFill>
                <a:effectLst/>
                <a:uLnTx/>
                <a:uFillTx/>
                <a:latin typeface="Helvetica" pitchFamily="2" charset="0"/>
                <a:ea typeface="+mn-ea"/>
                <a:cs typeface="+mn-cs"/>
              </a:rPr>
              <a:t>26.4</a:t>
            </a:r>
          </a:p>
        </p:txBody>
      </p:sp>
      <p:sp>
        <p:nvSpPr>
          <p:cNvPr id="25" name="TextBox 24">
            <a:extLst>
              <a:ext uri="{FF2B5EF4-FFF2-40B4-BE49-F238E27FC236}">
                <a16:creationId xmlns:a16="http://schemas.microsoft.com/office/drawing/2014/main" id="{EE65AC5F-7B2D-E489-B8F5-3E04B8DB861A}"/>
              </a:ext>
            </a:extLst>
          </p:cNvPr>
          <p:cNvSpPr txBox="1"/>
          <p:nvPr/>
        </p:nvSpPr>
        <p:spPr>
          <a:xfrm>
            <a:off x="3741911" y="2358183"/>
            <a:ext cx="5173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E1E50"/>
                </a:solidFill>
                <a:effectLst/>
                <a:uLnTx/>
                <a:uFillTx/>
                <a:latin typeface="Helvetica" pitchFamily="2" charset="0"/>
                <a:ea typeface="+mn-ea"/>
                <a:cs typeface="+mn-cs"/>
              </a:rPr>
              <a:t>14.3</a:t>
            </a:r>
          </a:p>
        </p:txBody>
      </p:sp>
      <p:sp>
        <p:nvSpPr>
          <p:cNvPr id="26" name="TextBox 25">
            <a:extLst>
              <a:ext uri="{FF2B5EF4-FFF2-40B4-BE49-F238E27FC236}">
                <a16:creationId xmlns:a16="http://schemas.microsoft.com/office/drawing/2014/main" id="{3D4D2D90-B7D8-E0AD-5F75-BC3CDD21BE4D}"/>
              </a:ext>
            </a:extLst>
          </p:cNvPr>
          <p:cNvSpPr txBox="1"/>
          <p:nvPr/>
        </p:nvSpPr>
        <p:spPr>
          <a:xfrm>
            <a:off x="3594465" y="2744886"/>
            <a:ext cx="5173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E1E50"/>
                </a:solidFill>
                <a:effectLst/>
                <a:uLnTx/>
                <a:uFillTx/>
                <a:latin typeface="Helvetica" pitchFamily="2" charset="0"/>
                <a:ea typeface="+mn-ea"/>
                <a:cs typeface="+mn-cs"/>
              </a:rPr>
              <a:t>13.4</a:t>
            </a:r>
          </a:p>
        </p:txBody>
      </p:sp>
      <p:sp>
        <p:nvSpPr>
          <p:cNvPr id="27" name="TextBox 26">
            <a:extLst>
              <a:ext uri="{FF2B5EF4-FFF2-40B4-BE49-F238E27FC236}">
                <a16:creationId xmlns:a16="http://schemas.microsoft.com/office/drawing/2014/main" id="{11E1EB28-EBD2-F9FD-CD0E-7CEB470FF258}"/>
              </a:ext>
            </a:extLst>
          </p:cNvPr>
          <p:cNvSpPr txBox="1"/>
          <p:nvPr/>
        </p:nvSpPr>
        <p:spPr>
          <a:xfrm>
            <a:off x="3058420" y="3131589"/>
            <a:ext cx="5173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E1E50"/>
                </a:solidFill>
                <a:effectLst/>
                <a:uLnTx/>
                <a:uFillTx/>
                <a:latin typeface="Helvetica" pitchFamily="2" charset="0"/>
                <a:ea typeface="+mn-ea"/>
                <a:cs typeface="+mn-cs"/>
              </a:rPr>
              <a:t>9.5</a:t>
            </a:r>
          </a:p>
        </p:txBody>
      </p:sp>
      <p:sp>
        <p:nvSpPr>
          <p:cNvPr id="28" name="TextBox 27">
            <a:extLst>
              <a:ext uri="{FF2B5EF4-FFF2-40B4-BE49-F238E27FC236}">
                <a16:creationId xmlns:a16="http://schemas.microsoft.com/office/drawing/2014/main" id="{A6150829-4EAB-5645-EB8B-BD5E84F209BE}"/>
              </a:ext>
            </a:extLst>
          </p:cNvPr>
          <p:cNvSpPr txBox="1"/>
          <p:nvPr/>
        </p:nvSpPr>
        <p:spPr>
          <a:xfrm>
            <a:off x="3058420" y="3518292"/>
            <a:ext cx="5173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E1E50"/>
                </a:solidFill>
                <a:effectLst/>
                <a:uLnTx/>
                <a:uFillTx/>
                <a:latin typeface="Helvetica" pitchFamily="2" charset="0"/>
                <a:ea typeface="+mn-ea"/>
                <a:cs typeface="+mn-cs"/>
              </a:rPr>
              <a:t>9.5</a:t>
            </a:r>
          </a:p>
        </p:txBody>
      </p:sp>
      <p:sp>
        <p:nvSpPr>
          <p:cNvPr id="29" name="TextBox 28">
            <a:extLst>
              <a:ext uri="{FF2B5EF4-FFF2-40B4-BE49-F238E27FC236}">
                <a16:creationId xmlns:a16="http://schemas.microsoft.com/office/drawing/2014/main" id="{C43A42A1-B658-D004-7BFE-E4B098C199DA}"/>
              </a:ext>
            </a:extLst>
          </p:cNvPr>
          <p:cNvSpPr txBox="1"/>
          <p:nvPr/>
        </p:nvSpPr>
        <p:spPr>
          <a:xfrm>
            <a:off x="2663382" y="3904995"/>
            <a:ext cx="5173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E1E50"/>
                </a:solidFill>
                <a:effectLst/>
                <a:uLnTx/>
                <a:uFillTx/>
                <a:latin typeface="Helvetica" pitchFamily="2" charset="0"/>
                <a:ea typeface="+mn-ea"/>
                <a:cs typeface="+mn-cs"/>
              </a:rPr>
              <a:t>6.6</a:t>
            </a:r>
          </a:p>
        </p:txBody>
      </p:sp>
      <p:sp>
        <p:nvSpPr>
          <p:cNvPr id="30" name="TextBox 29">
            <a:extLst>
              <a:ext uri="{FF2B5EF4-FFF2-40B4-BE49-F238E27FC236}">
                <a16:creationId xmlns:a16="http://schemas.microsoft.com/office/drawing/2014/main" id="{E123AAB3-7CFF-5CBB-2B8B-C107E7CFDB7F}"/>
              </a:ext>
            </a:extLst>
          </p:cNvPr>
          <p:cNvSpPr txBox="1"/>
          <p:nvPr/>
        </p:nvSpPr>
        <p:spPr>
          <a:xfrm>
            <a:off x="2479339" y="4291698"/>
            <a:ext cx="5173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E1E50"/>
                </a:solidFill>
                <a:effectLst/>
                <a:uLnTx/>
                <a:uFillTx/>
                <a:latin typeface="Helvetica" pitchFamily="2" charset="0"/>
                <a:ea typeface="+mn-ea"/>
                <a:cs typeface="+mn-cs"/>
              </a:rPr>
              <a:t>5.3</a:t>
            </a:r>
          </a:p>
        </p:txBody>
      </p:sp>
      <p:sp>
        <p:nvSpPr>
          <p:cNvPr id="31" name="TextBox 30">
            <a:extLst>
              <a:ext uri="{FF2B5EF4-FFF2-40B4-BE49-F238E27FC236}">
                <a16:creationId xmlns:a16="http://schemas.microsoft.com/office/drawing/2014/main" id="{8F80BEC8-1D3B-7E8F-1B65-BD83683669F8}"/>
              </a:ext>
            </a:extLst>
          </p:cNvPr>
          <p:cNvSpPr txBox="1"/>
          <p:nvPr/>
        </p:nvSpPr>
        <p:spPr>
          <a:xfrm>
            <a:off x="2313955" y="4678401"/>
            <a:ext cx="5173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E1E50"/>
                </a:solidFill>
                <a:effectLst/>
                <a:uLnTx/>
                <a:uFillTx/>
                <a:latin typeface="Helvetica" pitchFamily="2" charset="0"/>
                <a:ea typeface="+mn-ea"/>
                <a:cs typeface="+mn-cs"/>
              </a:rPr>
              <a:t>4.1</a:t>
            </a:r>
          </a:p>
        </p:txBody>
      </p:sp>
      <p:sp>
        <p:nvSpPr>
          <p:cNvPr id="32" name="TextBox 31">
            <a:extLst>
              <a:ext uri="{FF2B5EF4-FFF2-40B4-BE49-F238E27FC236}">
                <a16:creationId xmlns:a16="http://schemas.microsoft.com/office/drawing/2014/main" id="{3D68A0AE-B4AE-3DF1-4B97-FA8D4633E943}"/>
              </a:ext>
            </a:extLst>
          </p:cNvPr>
          <p:cNvSpPr txBox="1"/>
          <p:nvPr/>
        </p:nvSpPr>
        <p:spPr>
          <a:xfrm>
            <a:off x="2192654" y="5065104"/>
            <a:ext cx="5173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E1E50"/>
                </a:solidFill>
                <a:effectLst/>
                <a:uLnTx/>
                <a:uFillTx/>
                <a:latin typeface="Helvetica" pitchFamily="2" charset="0"/>
                <a:ea typeface="+mn-ea"/>
                <a:cs typeface="+mn-cs"/>
              </a:rPr>
              <a:t>3.2</a:t>
            </a:r>
          </a:p>
        </p:txBody>
      </p:sp>
      <p:sp>
        <p:nvSpPr>
          <p:cNvPr id="33" name="TextBox 32">
            <a:extLst>
              <a:ext uri="{FF2B5EF4-FFF2-40B4-BE49-F238E27FC236}">
                <a16:creationId xmlns:a16="http://schemas.microsoft.com/office/drawing/2014/main" id="{813DBA64-59C9-C61B-C9E8-AC1900BB446F}"/>
              </a:ext>
            </a:extLst>
          </p:cNvPr>
          <p:cNvSpPr txBox="1"/>
          <p:nvPr/>
        </p:nvSpPr>
        <p:spPr>
          <a:xfrm>
            <a:off x="2049322" y="5451804"/>
            <a:ext cx="5173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E1E50"/>
                </a:solidFill>
                <a:effectLst/>
                <a:uLnTx/>
                <a:uFillTx/>
                <a:latin typeface="Helvetica" pitchFamily="2" charset="0"/>
                <a:ea typeface="+mn-ea"/>
                <a:cs typeface="+mn-cs"/>
              </a:rPr>
              <a:t>2.3</a:t>
            </a:r>
          </a:p>
        </p:txBody>
      </p:sp>
      <p:sp>
        <p:nvSpPr>
          <p:cNvPr id="34" name="TextBox 33">
            <a:extLst>
              <a:ext uri="{FF2B5EF4-FFF2-40B4-BE49-F238E27FC236}">
                <a16:creationId xmlns:a16="http://schemas.microsoft.com/office/drawing/2014/main" id="{CE6BB519-550A-2FD1-81AE-E61CDDD9FE83}"/>
              </a:ext>
            </a:extLst>
          </p:cNvPr>
          <p:cNvSpPr txBox="1"/>
          <p:nvPr/>
        </p:nvSpPr>
        <p:spPr>
          <a:xfrm>
            <a:off x="11066990" y="2026565"/>
            <a:ext cx="5173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E1E50"/>
                </a:solidFill>
                <a:effectLst/>
                <a:uLnTx/>
                <a:uFillTx/>
                <a:latin typeface="Helvetica" pitchFamily="2" charset="0"/>
                <a:ea typeface="+mn-ea"/>
                <a:cs typeface="+mn-cs"/>
              </a:rPr>
              <a:t>26.2</a:t>
            </a:r>
          </a:p>
        </p:txBody>
      </p:sp>
      <p:sp>
        <p:nvSpPr>
          <p:cNvPr id="35" name="TextBox 34">
            <a:extLst>
              <a:ext uri="{FF2B5EF4-FFF2-40B4-BE49-F238E27FC236}">
                <a16:creationId xmlns:a16="http://schemas.microsoft.com/office/drawing/2014/main" id="{A529BA82-E9C6-7071-19F1-2C19C4E80C98}"/>
              </a:ext>
            </a:extLst>
          </p:cNvPr>
          <p:cNvSpPr txBox="1"/>
          <p:nvPr/>
        </p:nvSpPr>
        <p:spPr>
          <a:xfrm>
            <a:off x="8769486" y="2509589"/>
            <a:ext cx="5173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E1E50"/>
                </a:solidFill>
                <a:effectLst/>
                <a:uLnTx/>
                <a:uFillTx/>
                <a:latin typeface="Helvetica" pitchFamily="2" charset="0"/>
                <a:ea typeface="+mn-ea"/>
                <a:cs typeface="+mn-cs"/>
              </a:rPr>
              <a:t>9.9</a:t>
            </a:r>
          </a:p>
        </p:txBody>
      </p:sp>
      <p:sp>
        <p:nvSpPr>
          <p:cNvPr id="36" name="TextBox 35">
            <a:extLst>
              <a:ext uri="{FF2B5EF4-FFF2-40B4-BE49-F238E27FC236}">
                <a16:creationId xmlns:a16="http://schemas.microsoft.com/office/drawing/2014/main" id="{408A3FE4-E5EB-B18D-24DF-73F2877C2BB5}"/>
              </a:ext>
            </a:extLst>
          </p:cNvPr>
          <p:cNvSpPr txBox="1"/>
          <p:nvPr/>
        </p:nvSpPr>
        <p:spPr>
          <a:xfrm>
            <a:off x="8275647" y="2992613"/>
            <a:ext cx="5173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E1E50"/>
                </a:solidFill>
                <a:effectLst/>
                <a:uLnTx/>
                <a:uFillTx/>
                <a:latin typeface="Helvetica" pitchFamily="2" charset="0"/>
                <a:ea typeface="+mn-ea"/>
                <a:cs typeface="+mn-cs"/>
              </a:rPr>
              <a:t>6.4</a:t>
            </a:r>
          </a:p>
        </p:txBody>
      </p:sp>
      <p:sp>
        <p:nvSpPr>
          <p:cNvPr id="37" name="TextBox 36">
            <a:extLst>
              <a:ext uri="{FF2B5EF4-FFF2-40B4-BE49-F238E27FC236}">
                <a16:creationId xmlns:a16="http://schemas.microsoft.com/office/drawing/2014/main" id="{459EA3E0-FD79-8D53-BD9A-9E72C14DC538}"/>
              </a:ext>
            </a:extLst>
          </p:cNvPr>
          <p:cNvSpPr txBox="1"/>
          <p:nvPr/>
        </p:nvSpPr>
        <p:spPr>
          <a:xfrm>
            <a:off x="7983103" y="3475637"/>
            <a:ext cx="5173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E1E50"/>
                </a:solidFill>
                <a:effectLst/>
                <a:uLnTx/>
                <a:uFillTx/>
                <a:latin typeface="Helvetica" pitchFamily="2" charset="0"/>
                <a:ea typeface="+mn-ea"/>
                <a:cs typeface="+mn-cs"/>
              </a:rPr>
              <a:t>4.4</a:t>
            </a:r>
          </a:p>
        </p:txBody>
      </p:sp>
      <p:sp>
        <p:nvSpPr>
          <p:cNvPr id="38" name="TextBox 37">
            <a:extLst>
              <a:ext uri="{FF2B5EF4-FFF2-40B4-BE49-F238E27FC236}">
                <a16:creationId xmlns:a16="http://schemas.microsoft.com/office/drawing/2014/main" id="{B7A5BA4D-D7E4-4E0D-CB38-E3710872A205}"/>
              </a:ext>
            </a:extLst>
          </p:cNvPr>
          <p:cNvSpPr txBox="1"/>
          <p:nvPr/>
        </p:nvSpPr>
        <p:spPr>
          <a:xfrm>
            <a:off x="7944358" y="3958661"/>
            <a:ext cx="5173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E1E50"/>
                </a:solidFill>
                <a:effectLst/>
                <a:uLnTx/>
                <a:uFillTx/>
                <a:latin typeface="Helvetica" pitchFamily="2" charset="0"/>
                <a:ea typeface="+mn-ea"/>
                <a:cs typeface="+mn-cs"/>
              </a:rPr>
              <a:t>4.1</a:t>
            </a:r>
          </a:p>
        </p:txBody>
      </p:sp>
      <p:sp>
        <p:nvSpPr>
          <p:cNvPr id="39" name="TextBox 38">
            <a:extLst>
              <a:ext uri="{FF2B5EF4-FFF2-40B4-BE49-F238E27FC236}">
                <a16:creationId xmlns:a16="http://schemas.microsoft.com/office/drawing/2014/main" id="{17F5E30B-A0C8-F537-DBAC-5668EC1F93AC}"/>
              </a:ext>
            </a:extLst>
          </p:cNvPr>
          <p:cNvSpPr txBox="1"/>
          <p:nvPr/>
        </p:nvSpPr>
        <p:spPr>
          <a:xfrm>
            <a:off x="7843621" y="4441685"/>
            <a:ext cx="5173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E1E50"/>
                </a:solidFill>
                <a:effectLst/>
                <a:uLnTx/>
                <a:uFillTx/>
                <a:latin typeface="Helvetica" pitchFamily="2" charset="0"/>
                <a:ea typeface="+mn-ea"/>
                <a:cs typeface="+mn-cs"/>
              </a:rPr>
              <a:t>3.4</a:t>
            </a:r>
          </a:p>
        </p:txBody>
      </p:sp>
      <p:sp>
        <p:nvSpPr>
          <p:cNvPr id="40" name="TextBox 39">
            <a:extLst>
              <a:ext uri="{FF2B5EF4-FFF2-40B4-BE49-F238E27FC236}">
                <a16:creationId xmlns:a16="http://schemas.microsoft.com/office/drawing/2014/main" id="{C69A5482-9B0F-B194-203D-19BA6108E8C3}"/>
              </a:ext>
            </a:extLst>
          </p:cNvPr>
          <p:cNvSpPr txBox="1"/>
          <p:nvPr/>
        </p:nvSpPr>
        <p:spPr>
          <a:xfrm>
            <a:off x="7797127" y="4924709"/>
            <a:ext cx="5173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E1E50"/>
                </a:solidFill>
                <a:effectLst/>
                <a:uLnTx/>
                <a:uFillTx/>
                <a:latin typeface="Helvetica" pitchFamily="2" charset="0"/>
                <a:ea typeface="+mn-ea"/>
                <a:cs typeface="+mn-cs"/>
              </a:rPr>
              <a:t>3.1</a:t>
            </a:r>
          </a:p>
        </p:txBody>
      </p:sp>
      <p:sp>
        <p:nvSpPr>
          <p:cNvPr id="41" name="TextBox 40">
            <a:extLst>
              <a:ext uri="{FF2B5EF4-FFF2-40B4-BE49-F238E27FC236}">
                <a16:creationId xmlns:a16="http://schemas.microsoft.com/office/drawing/2014/main" id="{FA5BD0AB-8068-1EF5-D1FC-BD10F8D42D41}"/>
              </a:ext>
            </a:extLst>
          </p:cNvPr>
          <p:cNvSpPr txBox="1"/>
          <p:nvPr/>
        </p:nvSpPr>
        <p:spPr>
          <a:xfrm>
            <a:off x="7578101" y="5407736"/>
            <a:ext cx="5173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E1E50"/>
                </a:solidFill>
                <a:effectLst/>
                <a:uLnTx/>
                <a:uFillTx/>
                <a:latin typeface="Helvetica" pitchFamily="2" charset="0"/>
                <a:ea typeface="+mn-ea"/>
                <a:cs typeface="+mn-cs"/>
              </a:rPr>
              <a:t>1.5</a:t>
            </a:r>
          </a:p>
        </p:txBody>
      </p:sp>
    </p:spTree>
    <p:extLst>
      <p:ext uri="{BB962C8B-B14F-4D97-AF65-F5344CB8AC3E}">
        <p14:creationId xmlns:p14="http://schemas.microsoft.com/office/powerpoint/2010/main" val="42151134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1E2C2A5-7F22-495C-359B-7E4D08882CAE}"/>
              </a:ext>
            </a:extLst>
          </p:cNvPr>
          <p:cNvGraphicFramePr>
            <a:graphicFrameLocks noChangeAspect="1"/>
          </p:cNvGraphicFramePr>
          <p:nvPr>
            <p:custDataLst>
              <p:tags r:id="rId1"/>
            </p:custDataLst>
            <p:extLst>
              <p:ext uri="{D42A27DB-BD31-4B8C-83A1-F6EECF244321}">
                <p14:modId xmlns:p14="http://schemas.microsoft.com/office/powerpoint/2010/main" val="18037386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B1E2C2A5-7F22-495C-359B-7E4D08882CA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DEF98B-FAEB-EA27-E8F0-FE03CE0EADF2}"/>
              </a:ext>
            </a:extLst>
          </p:cNvPr>
          <p:cNvSpPr>
            <a:spLocks noGrp="1"/>
          </p:cNvSpPr>
          <p:nvPr>
            <p:ph type="title"/>
          </p:nvPr>
        </p:nvSpPr>
        <p:spPr>
          <a:xfrm>
            <a:off x="741777" y="365126"/>
            <a:ext cx="10671895" cy="793729"/>
          </a:xfrm>
        </p:spPr>
        <p:txBody>
          <a:bodyPr vert="horz"/>
          <a:lstStyle/>
          <a:p>
            <a:r>
              <a:rPr lang="en-GB">
                <a:latin typeface="Helvetica Light" panose="020B0403020202020204" pitchFamily="34" charset="0"/>
              </a:rPr>
              <a:t>Large opportunities in key markets </a:t>
            </a:r>
            <a:endParaRPr lang="en-US">
              <a:latin typeface="Helvetica Light" panose="020B0403020202020204" pitchFamily="34" charset="0"/>
            </a:endParaRPr>
          </a:p>
        </p:txBody>
      </p:sp>
      <p:sp>
        <p:nvSpPr>
          <p:cNvPr id="121" name="Rectangle 120">
            <a:extLst>
              <a:ext uri="{FF2B5EF4-FFF2-40B4-BE49-F238E27FC236}">
                <a16:creationId xmlns:a16="http://schemas.microsoft.com/office/drawing/2014/main" id="{B71DB024-1C03-4275-0032-8F0C82CA3AB8}"/>
              </a:ext>
            </a:extLst>
          </p:cNvPr>
          <p:cNvSpPr/>
          <p:nvPr/>
        </p:nvSpPr>
        <p:spPr>
          <a:xfrm>
            <a:off x="1531501" y="1754013"/>
            <a:ext cx="9848968" cy="798806"/>
          </a:xfrm>
          <a:prstGeom prst="rect">
            <a:avLst/>
          </a:prstGeom>
          <a:solidFill>
            <a:srgbClr val="DEE4FF">
              <a:alpha val="782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22" name="Rectangle 121">
            <a:extLst>
              <a:ext uri="{FF2B5EF4-FFF2-40B4-BE49-F238E27FC236}">
                <a16:creationId xmlns:a16="http://schemas.microsoft.com/office/drawing/2014/main" id="{3B508EAA-DE36-D36A-E176-ECCE9AB84181}"/>
              </a:ext>
            </a:extLst>
          </p:cNvPr>
          <p:cNvSpPr/>
          <p:nvPr/>
        </p:nvSpPr>
        <p:spPr>
          <a:xfrm>
            <a:off x="1531501" y="2615223"/>
            <a:ext cx="9848968" cy="798806"/>
          </a:xfrm>
          <a:prstGeom prst="rect">
            <a:avLst/>
          </a:prstGeom>
          <a:solidFill>
            <a:srgbClr val="DEE4FF">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23" name="Rectangle 122">
            <a:extLst>
              <a:ext uri="{FF2B5EF4-FFF2-40B4-BE49-F238E27FC236}">
                <a16:creationId xmlns:a16="http://schemas.microsoft.com/office/drawing/2014/main" id="{D5F84EEB-7B3E-F0CC-6DF0-5D32CDDD32B3}"/>
              </a:ext>
            </a:extLst>
          </p:cNvPr>
          <p:cNvSpPr/>
          <p:nvPr/>
        </p:nvSpPr>
        <p:spPr>
          <a:xfrm>
            <a:off x="1531501" y="3476433"/>
            <a:ext cx="9848968" cy="798806"/>
          </a:xfrm>
          <a:prstGeom prst="rect">
            <a:avLst/>
          </a:prstGeom>
          <a:solidFill>
            <a:srgbClr val="DEE4FF">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24" name="Rectangle 123">
            <a:extLst>
              <a:ext uri="{FF2B5EF4-FFF2-40B4-BE49-F238E27FC236}">
                <a16:creationId xmlns:a16="http://schemas.microsoft.com/office/drawing/2014/main" id="{B6C288C0-5B7B-8663-0F95-F884216BECF9}"/>
              </a:ext>
            </a:extLst>
          </p:cNvPr>
          <p:cNvSpPr/>
          <p:nvPr/>
        </p:nvSpPr>
        <p:spPr>
          <a:xfrm>
            <a:off x="1531501" y="5198854"/>
            <a:ext cx="9848968" cy="798806"/>
          </a:xfrm>
          <a:prstGeom prst="rect">
            <a:avLst/>
          </a:prstGeom>
          <a:solidFill>
            <a:srgbClr val="ABA7A3">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25" name="Rectangle 124">
            <a:extLst>
              <a:ext uri="{FF2B5EF4-FFF2-40B4-BE49-F238E27FC236}">
                <a16:creationId xmlns:a16="http://schemas.microsoft.com/office/drawing/2014/main" id="{5F33E1F4-A444-3BC6-2A3F-C074A87DEA0C}"/>
              </a:ext>
            </a:extLst>
          </p:cNvPr>
          <p:cNvSpPr/>
          <p:nvPr/>
        </p:nvSpPr>
        <p:spPr>
          <a:xfrm>
            <a:off x="1531501" y="4337643"/>
            <a:ext cx="9848968" cy="798806"/>
          </a:xfrm>
          <a:prstGeom prst="rect">
            <a:avLst/>
          </a:prstGeom>
          <a:solidFill>
            <a:srgbClr val="ABA7A3">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cxnSp>
        <p:nvCxnSpPr>
          <p:cNvPr id="126" name="Straight Connector 125">
            <a:extLst>
              <a:ext uri="{FF2B5EF4-FFF2-40B4-BE49-F238E27FC236}">
                <a16:creationId xmlns:a16="http://schemas.microsoft.com/office/drawing/2014/main" id="{9441E830-E6E7-D4BC-88F7-9D97A43D9129}"/>
              </a:ext>
            </a:extLst>
          </p:cNvPr>
          <p:cNvCxnSpPr>
            <a:cxnSpLocks/>
          </p:cNvCxnSpPr>
          <p:nvPr/>
        </p:nvCxnSpPr>
        <p:spPr>
          <a:xfrm>
            <a:off x="947558" y="1682075"/>
            <a:ext cx="10432911" cy="0"/>
          </a:xfrm>
          <a:prstGeom prst="line">
            <a:avLst/>
          </a:prstGeom>
        </p:spPr>
        <p:style>
          <a:lnRef idx="3">
            <a:schemeClr val="accent1"/>
          </a:lnRef>
          <a:fillRef idx="0">
            <a:schemeClr val="accent1"/>
          </a:fillRef>
          <a:effectRef idx="2">
            <a:schemeClr val="accent1"/>
          </a:effectRef>
          <a:fontRef idx="minor">
            <a:schemeClr val="tx1"/>
          </a:fontRef>
        </p:style>
      </p:cxnSp>
      <p:sp>
        <p:nvSpPr>
          <p:cNvPr id="127" name="TextBox 126">
            <a:extLst>
              <a:ext uri="{FF2B5EF4-FFF2-40B4-BE49-F238E27FC236}">
                <a16:creationId xmlns:a16="http://schemas.microsoft.com/office/drawing/2014/main" id="{4E12EEE9-1C89-782F-5874-5B5AC2DCBDA8}"/>
              </a:ext>
            </a:extLst>
          </p:cNvPr>
          <p:cNvSpPr txBox="1"/>
          <p:nvPr/>
        </p:nvSpPr>
        <p:spPr>
          <a:xfrm>
            <a:off x="4496000" y="1158855"/>
            <a:ext cx="213340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err="1">
                <a:ln>
                  <a:noFill/>
                </a:ln>
                <a:solidFill>
                  <a:prstClr val="black"/>
                </a:solidFill>
                <a:effectLst/>
                <a:uLnTx/>
                <a:uFillTx/>
                <a:latin typeface="Helvetica Light" panose="020B0403020202020204" pitchFamily="34" charset="0"/>
                <a:ea typeface="+mn-ea"/>
                <a:cs typeface="+mn-cs"/>
              </a:rPr>
              <a:t>StrongPoint</a:t>
            </a:r>
            <a:r>
              <a:rPr kumimoji="0" lang="en-GB" sz="14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rPr>
              <a:t> g</a:t>
            </a:r>
            <a:r>
              <a:rPr kumimoji="0" lang="en-NO" sz="14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rPr>
              <a:t>rocery </a:t>
            </a:r>
            <a:r>
              <a:rPr kumimoji="0" lang="en-GB" sz="14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rPr>
              <a:t>c</a:t>
            </a:r>
            <a:r>
              <a:rPr kumimoji="0" lang="en-NO" sz="14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rPr>
              <a:t>hain coverage</a:t>
            </a:r>
          </a:p>
        </p:txBody>
      </p:sp>
      <p:sp>
        <p:nvSpPr>
          <p:cNvPr id="128" name="TextBox 127">
            <a:extLst>
              <a:ext uri="{FF2B5EF4-FFF2-40B4-BE49-F238E27FC236}">
                <a16:creationId xmlns:a16="http://schemas.microsoft.com/office/drawing/2014/main" id="{851B4FFE-BA7B-EBFE-04A7-E5E30D96FD05}"/>
              </a:ext>
            </a:extLst>
          </p:cNvPr>
          <p:cNvSpPr txBox="1"/>
          <p:nvPr/>
        </p:nvSpPr>
        <p:spPr>
          <a:xfrm>
            <a:off x="1447705" y="1374298"/>
            <a:ext cx="174928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O" sz="14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rPr>
              <a:t>Country</a:t>
            </a:r>
          </a:p>
        </p:txBody>
      </p:sp>
      <p:sp>
        <p:nvSpPr>
          <p:cNvPr id="129" name="TextBox 128">
            <a:extLst>
              <a:ext uri="{FF2B5EF4-FFF2-40B4-BE49-F238E27FC236}">
                <a16:creationId xmlns:a16="http://schemas.microsoft.com/office/drawing/2014/main" id="{A2B42313-C625-8D99-617A-305FCC25D921}"/>
              </a:ext>
            </a:extLst>
          </p:cNvPr>
          <p:cNvSpPr txBox="1"/>
          <p:nvPr/>
        </p:nvSpPr>
        <p:spPr>
          <a:xfrm>
            <a:off x="8324401" y="1158855"/>
            <a:ext cx="174928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O" sz="14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rPr>
              <a:t>Examples of opportunities</a:t>
            </a:r>
          </a:p>
        </p:txBody>
      </p:sp>
      <p:sp>
        <p:nvSpPr>
          <p:cNvPr id="130" name="TextBox 129">
            <a:extLst>
              <a:ext uri="{FF2B5EF4-FFF2-40B4-BE49-F238E27FC236}">
                <a16:creationId xmlns:a16="http://schemas.microsoft.com/office/drawing/2014/main" id="{DD6A0BD8-0D7E-FE66-A78A-F72E479098BF}"/>
              </a:ext>
            </a:extLst>
          </p:cNvPr>
          <p:cNvSpPr txBox="1"/>
          <p:nvPr/>
        </p:nvSpPr>
        <p:spPr>
          <a:xfrm>
            <a:off x="6451931" y="1158855"/>
            <a:ext cx="174409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err="1">
                <a:ln>
                  <a:noFill/>
                </a:ln>
                <a:solidFill>
                  <a:prstClr val="black"/>
                </a:solidFill>
                <a:effectLst/>
                <a:uLnTx/>
                <a:uFillTx/>
                <a:latin typeface="Helvetica Light" panose="020B0403020202020204" pitchFamily="34" charset="0"/>
                <a:ea typeface="+mn-ea"/>
                <a:cs typeface="+mn-cs"/>
              </a:rPr>
              <a:t>StrongPoint</a:t>
            </a:r>
            <a:r>
              <a:rPr kumimoji="0" lang="en-GB" sz="14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rPr>
              <a:t> s</a:t>
            </a:r>
            <a:r>
              <a:rPr kumimoji="0" lang="en-NO" sz="14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rPr>
              <a:t>olution penetration</a:t>
            </a:r>
          </a:p>
        </p:txBody>
      </p:sp>
      <p:graphicFrame>
        <p:nvGraphicFramePr>
          <p:cNvPr id="131" name="Chart 130">
            <a:extLst>
              <a:ext uri="{FF2B5EF4-FFF2-40B4-BE49-F238E27FC236}">
                <a16:creationId xmlns:a16="http://schemas.microsoft.com/office/drawing/2014/main" id="{D62EB589-FDA9-25E7-3B2E-E6A3E64A30A8}"/>
              </a:ext>
            </a:extLst>
          </p:cNvPr>
          <p:cNvGraphicFramePr/>
          <p:nvPr>
            <p:extLst>
              <p:ext uri="{D42A27DB-BD31-4B8C-83A1-F6EECF244321}">
                <p14:modId xmlns:p14="http://schemas.microsoft.com/office/powerpoint/2010/main" val="3299500301"/>
              </p:ext>
            </p:extLst>
          </p:nvPr>
        </p:nvGraphicFramePr>
        <p:xfrm>
          <a:off x="4545741" y="1699349"/>
          <a:ext cx="1354760" cy="903173"/>
        </p:xfrm>
        <a:graphic>
          <a:graphicData uri="http://schemas.openxmlformats.org/drawingml/2006/chart">
            <c:chart xmlns:c="http://schemas.openxmlformats.org/drawingml/2006/chart" xmlns:r="http://schemas.openxmlformats.org/officeDocument/2006/relationships" r:id="rId6"/>
          </a:graphicData>
        </a:graphic>
      </p:graphicFrame>
      <p:sp>
        <p:nvSpPr>
          <p:cNvPr id="132" name="TextBox 131">
            <a:extLst>
              <a:ext uri="{FF2B5EF4-FFF2-40B4-BE49-F238E27FC236}">
                <a16:creationId xmlns:a16="http://schemas.microsoft.com/office/drawing/2014/main" id="{A914507E-2142-9DEA-3F12-E4EC69B7B9E2}"/>
              </a:ext>
            </a:extLst>
          </p:cNvPr>
          <p:cNvSpPr txBox="1"/>
          <p:nvPr/>
        </p:nvSpPr>
        <p:spPr>
          <a:xfrm>
            <a:off x="1531502" y="2009304"/>
            <a:ext cx="174928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O" sz="1800" b="1" i="0" u="none" strike="noStrike" kern="1200" cap="none" spc="0" normalizeH="0" baseline="0" noProof="0">
                <a:ln>
                  <a:noFill/>
                </a:ln>
                <a:solidFill>
                  <a:srgbClr val="1E1E50"/>
                </a:solidFill>
                <a:effectLst/>
                <a:uLnTx/>
                <a:uFillTx/>
                <a:latin typeface="Helvetica" pitchFamily="2" charset="0"/>
                <a:ea typeface="+mn-ea"/>
                <a:cs typeface="+mn-cs"/>
              </a:rPr>
              <a:t>Norway </a:t>
            </a:r>
          </a:p>
        </p:txBody>
      </p:sp>
      <p:sp>
        <p:nvSpPr>
          <p:cNvPr id="133" name="TextBox 132">
            <a:extLst>
              <a:ext uri="{FF2B5EF4-FFF2-40B4-BE49-F238E27FC236}">
                <a16:creationId xmlns:a16="http://schemas.microsoft.com/office/drawing/2014/main" id="{14E0B799-E5E6-07D4-855B-094ADB2D0373}"/>
              </a:ext>
            </a:extLst>
          </p:cNvPr>
          <p:cNvSpPr txBox="1"/>
          <p:nvPr/>
        </p:nvSpPr>
        <p:spPr>
          <a:xfrm>
            <a:off x="1531502" y="2872894"/>
            <a:ext cx="174928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O" sz="1800" b="1" i="0" u="none" strike="noStrike" kern="1200" cap="none" spc="0" normalizeH="0" baseline="0" noProof="0">
                <a:ln>
                  <a:noFill/>
                </a:ln>
                <a:solidFill>
                  <a:srgbClr val="1E1E50"/>
                </a:solidFill>
                <a:effectLst/>
                <a:uLnTx/>
                <a:uFillTx/>
                <a:latin typeface="Helvetica" pitchFamily="2" charset="0"/>
                <a:ea typeface="+mn-ea"/>
                <a:cs typeface="+mn-cs"/>
              </a:rPr>
              <a:t>Sweden</a:t>
            </a:r>
          </a:p>
        </p:txBody>
      </p:sp>
      <p:sp>
        <p:nvSpPr>
          <p:cNvPr id="134" name="TextBox 133">
            <a:extLst>
              <a:ext uri="{FF2B5EF4-FFF2-40B4-BE49-F238E27FC236}">
                <a16:creationId xmlns:a16="http://schemas.microsoft.com/office/drawing/2014/main" id="{6C1B9D4F-E59E-9B78-B7AE-B18B064DAF45}"/>
              </a:ext>
            </a:extLst>
          </p:cNvPr>
          <p:cNvSpPr txBox="1"/>
          <p:nvPr/>
        </p:nvSpPr>
        <p:spPr>
          <a:xfrm>
            <a:off x="1531502" y="3554463"/>
            <a:ext cx="174928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O" sz="1800" b="1" i="0" u="none" strike="noStrike" kern="1200" cap="none" spc="0" normalizeH="0" baseline="0" noProof="0">
                <a:ln>
                  <a:noFill/>
                </a:ln>
                <a:solidFill>
                  <a:srgbClr val="1E1E50"/>
                </a:solidFill>
                <a:effectLst/>
                <a:uLnTx/>
                <a:uFillTx/>
                <a:latin typeface="Helvetica" pitchFamily="2" charset="0"/>
                <a:ea typeface="+mn-ea"/>
                <a:cs typeface="+mn-cs"/>
              </a:rPr>
              <a:t>Baltic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O" sz="1800" b="1" i="0" u="none" strike="noStrike" kern="1200" cap="none" spc="0" normalizeH="0" baseline="0" noProof="0">
                <a:ln>
                  <a:noFill/>
                </a:ln>
                <a:solidFill>
                  <a:srgbClr val="1E1E50"/>
                </a:solidFill>
                <a:effectLst/>
                <a:uLnTx/>
                <a:uFillTx/>
                <a:latin typeface="Helvetica" pitchFamily="2" charset="0"/>
                <a:ea typeface="+mn-ea"/>
                <a:cs typeface="+mn-cs"/>
              </a:rPr>
              <a:t>&amp; Finland </a:t>
            </a:r>
          </a:p>
        </p:txBody>
      </p:sp>
      <p:sp>
        <p:nvSpPr>
          <p:cNvPr id="135" name="TextBox 134">
            <a:extLst>
              <a:ext uri="{FF2B5EF4-FFF2-40B4-BE49-F238E27FC236}">
                <a16:creationId xmlns:a16="http://schemas.microsoft.com/office/drawing/2014/main" id="{BF9AA081-9713-F52E-AC41-B892A9F2CE06}"/>
              </a:ext>
            </a:extLst>
          </p:cNvPr>
          <p:cNvSpPr txBox="1"/>
          <p:nvPr/>
        </p:nvSpPr>
        <p:spPr>
          <a:xfrm>
            <a:off x="1531503" y="5275325"/>
            <a:ext cx="143274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O" sz="1800" b="1" i="0" u="none" strike="noStrike" kern="1200" cap="none" spc="0" normalizeH="0" baseline="0" noProof="0">
                <a:ln>
                  <a:noFill/>
                </a:ln>
                <a:solidFill>
                  <a:srgbClr val="1E1E50"/>
                </a:solidFill>
                <a:effectLst/>
                <a:uLnTx/>
                <a:uFillTx/>
                <a:latin typeface="Helvetica" pitchFamily="2" charset="0"/>
                <a:ea typeface="+mn-ea"/>
                <a:cs typeface="+mn-cs"/>
              </a:rPr>
              <a:t>U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O" sz="1800" b="1" i="0" u="none" strike="noStrike" kern="1200" cap="none" spc="0" normalizeH="0" baseline="0" noProof="0">
                <a:ln>
                  <a:noFill/>
                </a:ln>
                <a:solidFill>
                  <a:srgbClr val="1E1E50"/>
                </a:solidFill>
                <a:effectLst/>
                <a:uLnTx/>
                <a:uFillTx/>
                <a:latin typeface="Helvetica" pitchFamily="2" charset="0"/>
                <a:ea typeface="+mn-ea"/>
                <a:cs typeface="+mn-cs"/>
              </a:rPr>
              <a:t>&amp; Ireland</a:t>
            </a:r>
          </a:p>
        </p:txBody>
      </p:sp>
      <p:sp>
        <p:nvSpPr>
          <p:cNvPr id="136" name="TextBox 135">
            <a:extLst>
              <a:ext uri="{FF2B5EF4-FFF2-40B4-BE49-F238E27FC236}">
                <a16:creationId xmlns:a16="http://schemas.microsoft.com/office/drawing/2014/main" id="{30318345-E6B9-689E-6F11-6AE09971C360}"/>
              </a:ext>
            </a:extLst>
          </p:cNvPr>
          <p:cNvSpPr txBox="1"/>
          <p:nvPr/>
        </p:nvSpPr>
        <p:spPr>
          <a:xfrm>
            <a:off x="1531502" y="4576332"/>
            <a:ext cx="174928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O" sz="1800" b="1" i="0" u="none" strike="noStrike" kern="1200" cap="none" spc="0" normalizeH="0" baseline="0" noProof="0">
                <a:ln>
                  <a:noFill/>
                </a:ln>
                <a:solidFill>
                  <a:srgbClr val="1E1E50"/>
                </a:solidFill>
                <a:effectLst/>
                <a:uLnTx/>
                <a:uFillTx/>
                <a:latin typeface="Helvetica" pitchFamily="2" charset="0"/>
                <a:ea typeface="+mn-ea"/>
                <a:cs typeface="+mn-cs"/>
              </a:rPr>
              <a:t>Spain</a:t>
            </a:r>
          </a:p>
        </p:txBody>
      </p:sp>
      <p:graphicFrame>
        <p:nvGraphicFramePr>
          <p:cNvPr id="137" name="Chart 136">
            <a:extLst>
              <a:ext uri="{FF2B5EF4-FFF2-40B4-BE49-F238E27FC236}">
                <a16:creationId xmlns:a16="http://schemas.microsoft.com/office/drawing/2014/main" id="{773C7BB2-CE9E-2943-678F-ADE14285D350}"/>
              </a:ext>
            </a:extLst>
          </p:cNvPr>
          <p:cNvGraphicFramePr/>
          <p:nvPr>
            <p:extLst>
              <p:ext uri="{D42A27DB-BD31-4B8C-83A1-F6EECF244321}">
                <p14:modId xmlns:p14="http://schemas.microsoft.com/office/powerpoint/2010/main" val="3706792332"/>
              </p:ext>
            </p:extLst>
          </p:nvPr>
        </p:nvGraphicFramePr>
        <p:xfrm>
          <a:off x="4545741" y="2563503"/>
          <a:ext cx="1354760" cy="90317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8" name="Chart 137">
            <a:extLst>
              <a:ext uri="{FF2B5EF4-FFF2-40B4-BE49-F238E27FC236}">
                <a16:creationId xmlns:a16="http://schemas.microsoft.com/office/drawing/2014/main" id="{CE9B8852-11E1-E51F-BFF0-06A35B9E6641}"/>
              </a:ext>
            </a:extLst>
          </p:cNvPr>
          <p:cNvGraphicFramePr/>
          <p:nvPr>
            <p:extLst>
              <p:ext uri="{D42A27DB-BD31-4B8C-83A1-F6EECF244321}">
                <p14:modId xmlns:p14="http://schemas.microsoft.com/office/powerpoint/2010/main" val="1487475356"/>
              </p:ext>
            </p:extLst>
          </p:nvPr>
        </p:nvGraphicFramePr>
        <p:xfrm>
          <a:off x="4545741" y="3405742"/>
          <a:ext cx="1354760" cy="90317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39" name="Chart 138">
            <a:extLst>
              <a:ext uri="{FF2B5EF4-FFF2-40B4-BE49-F238E27FC236}">
                <a16:creationId xmlns:a16="http://schemas.microsoft.com/office/drawing/2014/main" id="{D1FF854D-7BD5-4483-ACC9-60E72E3860D6}"/>
              </a:ext>
            </a:extLst>
          </p:cNvPr>
          <p:cNvGraphicFramePr/>
          <p:nvPr>
            <p:extLst>
              <p:ext uri="{D42A27DB-BD31-4B8C-83A1-F6EECF244321}">
                <p14:modId xmlns:p14="http://schemas.microsoft.com/office/powerpoint/2010/main" val="3734402897"/>
              </p:ext>
            </p:extLst>
          </p:nvPr>
        </p:nvGraphicFramePr>
        <p:xfrm>
          <a:off x="4545741" y="5146501"/>
          <a:ext cx="1354760" cy="903173"/>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0" name="Chart 139">
            <a:extLst>
              <a:ext uri="{FF2B5EF4-FFF2-40B4-BE49-F238E27FC236}">
                <a16:creationId xmlns:a16="http://schemas.microsoft.com/office/drawing/2014/main" id="{37E273D2-9216-7D5E-ACDE-1FE02565D815}"/>
              </a:ext>
            </a:extLst>
          </p:cNvPr>
          <p:cNvGraphicFramePr/>
          <p:nvPr>
            <p:extLst>
              <p:ext uri="{D42A27DB-BD31-4B8C-83A1-F6EECF244321}">
                <p14:modId xmlns:p14="http://schemas.microsoft.com/office/powerpoint/2010/main" val="1479862009"/>
              </p:ext>
            </p:extLst>
          </p:nvPr>
        </p:nvGraphicFramePr>
        <p:xfrm>
          <a:off x="4545741" y="4301583"/>
          <a:ext cx="1354760" cy="903173"/>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41" name="Chart 140">
            <a:extLst>
              <a:ext uri="{FF2B5EF4-FFF2-40B4-BE49-F238E27FC236}">
                <a16:creationId xmlns:a16="http://schemas.microsoft.com/office/drawing/2014/main" id="{79A0A1D5-C13B-140D-704F-B14F554FB7BF}"/>
              </a:ext>
            </a:extLst>
          </p:cNvPr>
          <p:cNvGraphicFramePr/>
          <p:nvPr>
            <p:extLst>
              <p:ext uri="{D42A27DB-BD31-4B8C-83A1-F6EECF244321}">
                <p14:modId xmlns:p14="http://schemas.microsoft.com/office/powerpoint/2010/main" val="776842672"/>
              </p:ext>
            </p:extLst>
          </p:nvPr>
        </p:nvGraphicFramePr>
        <p:xfrm>
          <a:off x="6332962" y="1699349"/>
          <a:ext cx="1354760" cy="903173"/>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42" name="Chart 141">
            <a:extLst>
              <a:ext uri="{FF2B5EF4-FFF2-40B4-BE49-F238E27FC236}">
                <a16:creationId xmlns:a16="http://schemas.microsoft.com/office/drawing/2014/main" id="{9275EAF3-488E-F98A-D360-1B289A0A8F34}"/>
              </a:ext>
            </a:extLst>
          </p:cNvPr>
          <p:cNvGraphicFramePr/>
          <p:nvPr>
            <p:extLst>
              <p:ext uri="{D42A27DB-BD31-4B8C-83A1-F6EECF244321}">
                <p14:modId xmlns:p14="http://schemas.microsoft.com/office/powerpoint/2010/main" val="4195979807"/>
              </p:ext>
            </p:extLst>
          </p:nvPr>
        </p:nvGraphicFramePr>
        <p:xfrm>
          <a:off x="6332962" y="2563503"/>
          <a:ext cx="1354760" cy="903173"/>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43" name="Chart 142">
            <a:extLst>
              <a:ext uri="{FF2B5EF4-FFF2-40B4-BE49-F238E27FC236}">
                <a16:creationId xmlns:a16="http://schemas.microsoft.com/office/drawing/2014/main" id="{328EFB4E-A880-5E12-C644-418ED5D4961F}"/>
              </a:ext>
            </a:extLst>
          </p:cNvPr>
          <p:cNvGraphicFramePr/>
          <p:nvPr>
            <p:extLst>
              <p:ext uri="{D42A27DB-BD31-4B8C-83A1-F6EECF244321}">
                <p14:modId xmlns:p14="http://schemas.microsoft.com/office/powerpoint/2010/main" val="1104201894"/>
              </p:ext>
            </p:extLst>
          </p:nvPr>
        </p:nvGraphicFramePr>
        <p:xfrm>
          <a:off x="6332962" y="3405742"/>
          <a:ext cx="1354760" cy="903173"/>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44" name="Chart 143">
            <a:extLst>
              <a:ext uri="{FF2B5EF4-FFF2-40B4-BE49-F238E27FC236}">
                <a16:creationId xmlns:a16="http://schemas.microsoft.com/office/drawing/2014/main" id="{BDB23DD7-165C-4349-C4D8-41E2A14D3E3A}"/>
              </a:ext>
            </a:extLst>
          </p:cNvPr>
          <p:cNvGraphicFramePr/>
          <p:nvPr>
            <p:extLst>
              <p:ext uri="{D42A27DB-BD31-4B8C-83A1-F6EECF244321}">
                <p14:modId xmlns:p14="http://schemas.microsoft.com/office/powerpoint/2010/main" val="1742931249"/>
              </p:ext>
            </p:extLst>
          </p:nvPr>
        </p:nvGraphicFramePr>
        <p:xfrm>
          <a:off x="6332962" y="5146501"/>
          <a:ext cx="1354760" cy="903173"/>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145" name="Chart 144">
            <a:extLst>
              <a:ext uri="{FF2B5EF4-FFF2-40B4-BE49-F238E27FC236}">
                <a16:creationId xmlns:a16="http://schemas.microsoft.com/office/drawing/2014/main" id="{27DA6B72-6476-9489-3711-B0EC3082EA5C}"/>
              </a:ext>
            </a:extLst>
          </p:cNvPr>
          <p:cNvGraphicFramePr/>
          <p:nvPr>
            <p:extLst>
              <p:ext uri="{D42A27DB-BD31-4B8C-83A1-F6EECF244321}">
                <p14:modId xmlns:p14="http://schemas.microsoft.com/office/powerpoint/2010/main" val="3652249306"/>
              </p:ext>
            </p:extLst>
          </p:nvPr>
        </p:nvGraphicFramePr>
        <p:xfrm>
          <a:off x="6332962" y="4301583"/>
          <a:ext cx="1354760" cy="903173"/>
        </p:xfrm>
        <a:graphic>
          <a:graphicData uri="http://schemas.openxmlformats.org/drawingml/2006/chart">
            <c:chart xmlns:c="http://schemas.openxmlformats.org/drawingml/2006/chart" xmlns:r="http://schemas.openxmlformats.org/officeDocument/2006/relationships" r:id="rId15"/>
          </a:graphicData>
        </a:graphic>
      </p:graphicFrame>
      <p:sp>
        <p:nvSpPr>
          <p:cNvPr id="146" name="TextBox 145">
            <a:extLst>
              <a:ext uri="{FF2B5EF4-FFF2-40B4-BE49-F238E27FC236}">
                <a16:creationId xmlns:a16="http://schemas.microsoft.com/office/drawing/2014/main" id="{616AB25B-B5E7-9CB7-1DD8-50A101894244}"/>
              </a:ext>
            </a:extLst>
          </p:cNvPr>
          <p:cNvSpPr txBox="1"/>
          <p:nvPr/>
        </p:nvSpPr>
        <p:spPr>
          <a:xfrm>
            <a:off x="8284645" y="1870423"/>
            <a:ext cx="2569421"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Self-checkout, </a:t>
            </a:r>
            <a:r>
              <a:rPr kumimoji="0" lang="en-GB" sz="1600" b="0" i="0" u="none" strike="noStrike" kern="1200" cap="none" spc="0" normalizeH="0" baseline="0" noProof="0" err="1">
                <a:ln>
                  <a:noFill/>
                </a:ln>
                <a:solidFill>
                  <a:srgbClr val="1E1E50"/>
                </a:solidFill>
                <a:effectLst/>
                <a:uLnTx/>
                <a:uFillTx/>
                <a:latin typeface="Helvetica Light" panose="020B0403020202020204" pitchFamily="34" charset="0"/>
                <a:ea typeface="+mn-ea"/>
                <a:cs typeface="+mn-cs"/>
              </a:rPr>
              <a:t>Vensafe</a:t>
            </a:r>
            <a:r>
              <a:rPr kumimoji="0" lang="en-GB"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 E-Commerce</a:t>
            </a:r>
            <a:endParaRPr kumimoji="0" lang="en-NO"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147" name="TextBox 146">
            <a:extLst>
              <a:ext uri="{FF2B5EF4-FFF2-40B4-BE49-F238E27FC236}">
                <a16:creationId xmlns:a16="http://schemas.microsoft.com/office/drawing/2014/main" id="{73CF509F-0269-6582-B649-0CBC54ECF9B6}"/>
              </a:ext>
            </a:extLst>
          </p:cNvPr>
          <p:cNvSpPr txBox="1"/>
          <p:nvPr/>
        </p:nvSpPr>
        <p:spPr>
          <a:xfrm>
            <a:off x="8284645" y="2717953"/>
            <a:ext cx="3401567"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E-Commerce, Electronic</a:t>
            </a:r>
            <a:br>
              <a:rPr kumimoji="0" lang="en-GB"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br>
            <a:r>
              <a:rPr kumimoji="0" lang="en-GB"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Shelf Labels, Self-Checkout</a:t>
            </a:r>
            <a:endParaRPr kumimoji="0" lang="en-NO"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148" name="TextBox 147">
            <a:extLst>
              <a:ext uri="{FF2B5EF4-FFF2-40B4-BE49-F238E27FC236}">
                <a16:creationId xmlns:a16="http://schemas.microsoft.com/office/drawing/2014/main" id="{A8F9F088-311C-3881-3F54-9D9B8A852AEE}"/>
              </a:ext>
            </a:extLst>
          </p:cNvPr>
          <p:cNvSpPr txBox="1"/>
          <p:nvPr/>
        </p:nvSpPr>
        <p:spPr>
          <a:xfrm>
            <a:off x="8284646" y="3561586"/>
            <a:ext cx="3126366"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err="1">
                <a:ln>
                  <a:noFill/>
                </a:ln>
                <a:solidFill>
                  <a:srgbClr val="1E1E50"/>
                </a:solidFill>
                <a:effectLst/>
                <a:uLnTx/>
                <a:uFillTx/>
                <a:latin typeface="Helvetica Light" panose="020B0403020202020204" pitchFamily="34" charset="0"/>
                <a:ea typeface="+mn-ea"/>
                <a:cs typeface="+mn-cs"/>
              </a:rPr>
              <a:t>Vensafe</a:t>
            </a:r>
            <a:r>
              <a:rPr kumimoji="0" lang="en-GB"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 Self-Checkout, Electronic Shelf Labels </a:t>
            </a:r>
            <a:endParaRPr kumimoji="0" lang="en-NO"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149" name="TextBox 148">
            <a:extLst>
              <a:ext uri="{FF2B5EF4-FFF2-40B4-BE49-F238E27FC236}">
                <a16:creationId xmlns:a16="http://schemas.microsoft.com/office/drawing/2014/main" id="{1D57321A-4BA1-BF77-C66C-359DEE5C41BF}"/>
              </a:ext>
            </a:extLst>
          </p:cNvPr>
          <p:cNvSpPr txBox="1"/>
          <p:nvPr/>
        </p:nvSpPr>
        <p:spPr>
          <a:xfrm>
            <a:off x="8284645" y="5310003"/>
            <a:ext cx="3385355"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E-Commerce, Electronic Shelf Labels, </a:t>
            </a:r>
            <a:r>
              <a:rPr kumimoji="0" lang="en-GB" sz="1600" b="0" i="0" u="none" strike="noStrike" kern="1200" cap="none" spc="0" normalizeH="0" baseline="0" noProof="0" err="1">
                <a:ln>
                  <a:noFill/>
                </a:ln>
                <a:solidFill>
                  <a:srgbClr val="1E1E50"/>
                </a:solidFill>
                <a:effectLst/>
                <a:uLnTx/>
                <a:uFillTx/>
                <a:latin typeface="Helvetica Light" panose="020B0403020202020204" pitchFamily="34" charset="0"/>
                <a:ea typeface="+mn-ea"/>
                <a:cs typeface="+mn-cs"/>
              </a:rPr>
              <a:t>Vensafe</a:t>
            </a:r>
            <a:r>
              <a:rPr kumimoji="0" lang="en-GB"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 Self-Checkout </a:t>
            </a:r>
            <a:endParaRPr kumimoji="0" lang="en-NO"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150" name="TextBox 149">
            <a:extLst>
              <a:ext uri="{FF2B5EF4-FFF2-40B4-BE49-F238E27FC236}">
                <a16:creationId xmlns:a16="http://schemas.microsoft.com/office/drawing/2014/main" id="{B0675C48-77DF-DEBA-0D87-12CCF998EAFC}"/>
              </a:ext>
            </a:extLst>
          </p:cNvPr>
          <p:cNvSpPr txBox="1"/>
          <p:nvPr/>
        </p:nvSpPr>
        <p:spPr>
          <a:xfrm>
            <a:off x="8284646" y="4456387"/>
            <a:ext cx="3441290"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Cash Management,</a:t>
            </a:r>
            <a:br>
              <a:rPr kumimoji="0" lang="en-GB"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br>
            <a:r>
              <a:rPr kumimoji="0" lang="en-GB"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Self-Checkout, E-Commerce </a:t>
            </a:r>
            <a:endParaRPr kumimoji="0" lang="en-NO" sz="1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151" name="TextBox 150">
            <a:extLst>
              <a:ext uri="{FF2B5EF4-FFF2-40B4-BE49-F238E27FC236}">
                <a16:creationId xmlns:a16="http://schemas.microsoft.com/office/drawing/2014/main" id="{3CF2DE84-4910-FC16-2C57-E2E01D584C14}"/>
              </a:ext>
            </a:extLst>
          </p:cNvPr>
          <p:cNvSpPr txBox="1"/>
          <p:nvPr/>
        </p:nvSpPr>
        <p:spPr>
          <a:xfrm>
            <a:off x="4894663" y="1999522"/>
            <a:ext cx="66744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Helvetica Light" panose="020B0403020202020204" pitchFamily="34" charset="0"/>
                <a:ea typeface="+mn-ea"/>
                <a:cs typeface="+mn-cs"/>
              </a:rPr>
              <a:t>100%</a:t>
            </a:r>
            <a:endParaRPr kumimoji="0" lang="en-NO" sz="1400" b="0" i="0" u="none" strike="noStrike" kern="1200" cap="none" spc="0" normalizeH="0" baseline="0" noProof="0">
              <a:ln>
                <a:noFill/>
              </a:ln>
              <a:solidFill>
                <a:prstClr val="white"/>
              </a:solidFill>
              <a:effectLst/>
              <a:uLnTx/>
              <a:uFillTx/>
              <a:latin typeface="Helvetica Light" panose="020B0403020202020204" pitchFamily="34" charset="0"/>
              <a:ea typeface="+mn-ea"/>
              <a:cs typeface="+mn-cs"/>
            </a:endParaRPr>
          </a:p>
        </p:txBody>
      </p:sp>
      <p:sp>
        <p:nvSpPr>
          <p:cNvPr id="152" name="TextBox 151">
            <a:extLst>
              <a:ext uri="{FF2B5EF4-FFF2-40B4-BE49-F238E27FC236}">
                <a16:creationId xmlns:a16="http://schemas.microsoft.com/office/drawing/2014/main" id="{46ABE6DF-1614-F91D-DE46-4133D8071E48}"/>
              </a:ext>
            </a:extLst>
          </p:cNvPr>
          <p:cNvSpPr txBox="1"/>
          <p:nvPr/>
        </p:nvSpPr>
        <p:spPr>
          <a:xfrm>
            <a:off x="4894663" y="2861201"/>
            <a:ext cx="66744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Helvetica Light" panose="020B0403020202020204" pitchFamily="34" charset="0"/>
                <a:ea typeface="+mn-ea"/>
                <a:cs typeface="+mn-cs"/>
              </a:rPr>
              <a:t>100%</a:t>
            </a:r>
            <a:endParaRPr kumimoji="0" lang="en-NO" sz="1400" b="0" i="0" u="none" strike="noStrike" kern="1200" cap="none" spc="0" normalizeH="0" baseline="0" noProof="0">
              <a:ln>
                <a:noFill/>
              </a:ln>
              <a:solidFill>
                <a:prstClr val="white"/>
              </a:solidFill>
              <a:effectLst/>
              <a:uLnTx/>
              <a:uFillTx/>
              <a:latin typeface="Helvetica Light" panose="020B0403020202020204" pitchFamily="34" charset="0"/>
              <a:ea typeface="+mn-ea"/>
              <a:cs typeface="+mn-cs"/>
            </a:endParaRPr>
          </a:p>
        </p:txBody>
      </p:sp>
      <p:sp>
        <p:nvSpPr>
          <p:cNvPr id="153" name="TextBox 152">
            <a:extLst>
              <a:ext uri="{FF2B5EF4-FFF2-40B4-BE49-F238E27FC236}">
                <a16:creationId xmlns:a16="http://schemas.microsoft.com/office/drawing/2014/main" id="{5A6EA072-55E9-C26E-7DFA-7E3A053C9613}"/>
              </a:ext>
            </a:extLst>
          </p:cNvPr>
          <p:cNvSpPr txBox="1"/>
          <p:nvPr/>
        </p:nvSpPr>
        <p:spPr>
          <a:xfrm>
            <a:off x="4894663" y="3790526"/>
            <a:ext cx="66744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Helvetica Light" panose="020B0403020202020204" pitchFamily="34" charset="0"/>
                <a:ea typeface="+mn-ea"/>
                <a:cs typeface="+mn-cs"/>
              </a:rPr>
              <a:t>90%</a:t>
            </a:r>
            <a:endParaRPr kumimoji="0" lang="en-NO" sz="1400" b="0" i="0" u="none" strike="noStrike" kern="1200" cap="none" spc="0" normalizeH="0" baseline="0" noProof="0">
              <a:ln>
                <a:noFill/>
              </a:ln>
              <a:solidFill>
                <a:prstClr val="white"/>
              </a:solidFill>
              <a:effectLst/>
              <a:uLnTx/>
              <a:uFillTx/>
              <a:latin typeface="Helvetica Light" panose="020B0403020202020204" pitchFamily="34" charset="0"/>
              <a:ea typeface="+mn-ea"/>
              <a:cs typeface="+mn-cs"/>
            </a:endParaRPr>
          </a:p>
        </p:txBody>
      </p:sp>
      <p:sp>
        <p:nvSpPr>
          <p:cNvPr id="154" name="TextBox 153">
            <a:extLst>
              <a:ext uri="{FF2B5EF4-FFF2-40B4-BE49-F238E27FC236}">
                <a16:creationId xmlns:a16="http://schemas.microsoft.com/office/drawing/2014/main" id="{893B5AEE-278F-79F1-DF78-48FA4ADD2259}"/>
              </a:ext>
            </a:extLst>
          </p:cNvPr>
          <p:cNvSpPr txBox="1"/>
          <p:nvPr/>
        </p:nvSpPr>
        <p:spPr>
          <a:xfrm>
            <a:off x="3081436" y="4560943"/>
            <a:ext cx="195094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832DC"/>
                </a:solidFill>
                <a:effectLst/>
                <a:uLnTx/>
                <a:uFillTx/>
                <a:latin typeface="Helvetica" pitchFamily="2" charset="0"/>
                <a:ea typeface="+mn-ea"/>
                <a:cs typeface="+mn-cs"/>
              </a:rPr>
              <a:t>1,230</a:t>
            </a:r>
            <a:endParaRPr kumimoji="0" lang="en-US" sz="1800" b="0" i="0" u="none" strike="noStrike" kern="1200" cap="none" spc="0" normalizeH="0" baseline="0" noProof="0">
              <a:ln>
                <a:noFill/>
              </a:ln>
              <a:solidFill>
                <a:srgbClr val="2832DC"/>
              </a:solidFill>
              <a:effectLst/>
              <a:uLnTx/>
              <a:uFillTx/>
              <a:latin typeface="Helvetica Light" panose="020B0403020202020204" pitchFamily="34" charset="0"/>
              <a:ea typeface="+mn-ea"/>
              <a:cs typeface="+mn-cs"/>
            </a:endParaRPr>
          </a:p>
        </p:txBody>
      </p:sp>
      <p:sp>
        <p:nvSpPr>
          <p:cNvPr id="155" name="TextBox 154">
            <a:extLst>
              <a:ext uri="{FF2B5EF4-FFF2-40B4-BE49-F238E27FC236}">
                <a16:creationId xmlns:a16="http://schemas.microsoft.com/office/drawing/2014/main" id="{0A4E987E-85DC-5CC7-52AD-E6CB078F9AA8}"/>
              </a:ext>
            </a:extLst>
          </p:cNvPr>
          <p:cNvSpPr txBox="1"/>
          <p:nvPr/>
        </p:nvSpPr>
        <p:spPr>
          <a:xfrm>
            <a:off x="3081436" y="1993915"/>
            <a:ext cx="213989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832DC"/>
                </a:solidFill>
                <a:effectLst/>
                <a:uLnTx/>
                <a:uFillTx/>
                <a:latin typeface="Helvetica" pitchFamily="2" charset="0"/>
                <a:ea typeface="+mn-ea"/>
                <a:cs typeface="+mn-cs"/>
              </a:rPr>
              <a:t>270</a:t>
            </a:r>
            <a:endParaRPr kumimoji="0" lang="en-US" sz="1800" b="0" i="0" u="none" strike="noStrike" kern="1200" cap="none" spc="0" normalizeH="0" baseline="0" noProof="0">
              <a:ln>
                <a:noFill/>
              </a:ln>
              <a:solidFill>
                <a:srgbClr val="2832DC"/>
              </a:solidFill>
              <a:effectLst/>
              <a:uLnTx/>
              <a:uFillTx/>
              <a:latin typeface="Helvetica Light" panose="020B0403020202020204" pitchFamily="34" charset="0"/>
              <a:ea typeface="+mn-ea"/>
              <a:cs typeface="+mn-cs"/>
            </a:endParaRPr>
          </a:p>
        </p:txBody>
      </p:sp>
      <p:sp>
        <p:nvSpPr>
          <p:cNvPr id="156" name="TextBox 155">
            <a:extLst>
              <a:ext uri="{FF2B5EF4-FFF2-40B4-BE49-F238E27FC236}">
                <a16:creationId xmlns:a16="http://schemas.microsoft.com/office/drawing/2014/main" id="{F1C3ECB1-D4D0-522A-0BFE-6EEA8C0EF44D}"/>
              </a:ext>
            </a:extLst>
          </p:cNvPr>
          <p:cNvSpPr txBox="1"/>
          <p:nvPr/>
        </p:nvSpPr>
        <p:spPr>
          <a:xfrm>
            <a:off x="3081436" y="2857505"/>
            <a:ext cx="186741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832DC"/>
                </a:solidFill>
                <a:effectLst/>
                <a:uLnTx/>
                <a:uFillTx/>
                <a:latin typeface="Helvetica" pitchFamily="2" charset="0"/>
                <a:ea typeface="+mn-ea"/>
                <a:cs typeface="+mn-cs"/>
              </a:rPr>
              <a:t>300</a:t>
            </a:r>
            <a:endParaRPr kumimoji="0" lang="en-US" sz="1800" b="0" i="0" u="none" strike="noStrike" kern="1200" cap="none" spc="0" normalizeH="0" baseline="0" noProof="0">
              <a:ln>
                <a:noFill/>
              </a:ln>
              <a:solidFill>
                <a:srgbClr val="2832DC"/>
              </a:solidFill>
              <a:effectLst/>
              <a:uLnTx/>
              <a:uFillTx/>
              <a:latin typeface="Helvetica Light" panose="020B0403020202020204" pitchFamily="34" charset="0"/>
              <a:ea typeface="+mn-ea"/>
              <a:cs typeface="+mn-cs"/>
            </a:endParaRPr>
          </a:p>
        </p:txBody>
      </p:sp>
      <p:sp>
        <p:nvSpPr>
          <p:cNvPr id="157" name="TextBox 156">
            <a:extLst>
              <a:ext uri="{FF2B5EF4-FFF2-40B4-BE49-F238E27FC236}">
                <a16:creationId xmlns:a16="http://schemas.microsoft.com/office/drawing/2014/main" id="{15E34570-C604-9916-8B6F-B6E456A6A99E}"/>
              </a:ext>
            </a:extLst>
          </p:cNvPr>
          <p:cNvSpPr txBox="1"/>
          <p:nvPr/>
        </p:nvSpPr>
        <p:spPr>
          <a:xfrm>
            <a:off x="3081436" y="3673934"/>
            <a:ext cx="195540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832DC"/>
                </a:solidFill>
                <a:effectLst/>
                <a:uLnTx/>
                <a:uFillTx/>
                <a:latin typeface="Helvetica" pitchFamily="2" charset="0"/>
                <a:ea typeface="+mn-ea"/>
                <a:cs typeface="+mn-cs"/>
              </a:rPr>
              <a:t>130</a:t>
            </a:r>
            <a:endParaRPr kumimoji="0" lang="en-US" sz="1800" b="0" i="0" u="none" strike="noStrike" kern="1200" cap="none" spc="0" normalizeH="0" baseline="0" noProof="0">
              <a:ln>
                <a:noFill/>
              </a:ln>
              <a:solidFill>
                <a:srgbClr val="2832DC"/>
              </a:solidFill>
              <a:effectLst/>
              <a:uLnTx/>
              <a:uFillTx/>
              <a:latin typeface="Helvetica Light" panose="020B0403020202020204" pitchFamily="34" charset="0"/>
              <a:ea typeface="+mn-ea"/>
              <a:cs typeface="+mn-cs"/>
            </a:endParaRPr>
          </a:p>
        </p:txBody>
      </p:sp>
      <p:sp>
        <p:nvSpPr>
          <p:cNvPr id="158" name="TextBox 157">
            <a:extLst>
              <a:ext uri="{FF2B5EF4-FFF2-40B4-BE49-F238E27FC236}">
                <a16:creationId xmlns:a16="http://schemas.microsoft.com/office/drawing/2014/main" id="{581E4237-5130-9B2C-611F-275F940CFAD0}"/>
              </a:ext>
            </a:extLst>
          </p:cNvPr>
          <p:cNvSpPr txBox="1"/>
          <p:nvPr/>
        </p:nvSpPr>
        <p:spPr>
          <a:xfrm>
            <a:off x="3081436" y="5398435"/>
            <a:ext cx="200624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832DC"/>
                </a:solidFill>
                <a:effectLst/>
                <a:uLnTx/>
                <a:uFillTx/>
                <a:latin typeface="Helvetica" pitchFamily="2" charset="0"/>
                <a:ea typeface="+mn-ea"/>
                <a:cs typeface="+mn-cs"/>
              </a:rPr>
              <a:t>2,650</a:t>
            </a:r>
            <a:endParaRPr kumimoji="0" lang="en-US" sz="1800" b="0" i="0" u="none" strike="noStrike" kern="1200" cap="none" spc="0" normalizeH="0" baseline="0" noProof="0">
              <a:ln>
                <a:noFill/>
              </a:ln>
              <a:solidFill>
                <a:srgbClr val="2832DC"/>
              </a:solidFill>
              <a:effectLst/>
              <a:uLnTx/>
              <a:uFillTx/>
              <a:latin typeface="Helvetica Light" panose="020B0403020202020204" pitchFamily="34" charset="0"/>
              <a:ea typeface="+mn-ea"/>
              <a:cs typeface="+mn-cs"/>
            </a:endParaRPr>
          </a:p>
        </p:txBody>
      </p:sp>
      <p:sp>
        <p:nvSpPr>
          <p:cNvPr id="159" name="TextBox 158">
            <a:extLst>
              <a:ext uri="{FF2B5EF4-FFF2-40B4-BE49-F238E27FC236}">
                <a16:creationId xmlns:a16="http://schemas.microsoft.com/office/drawing/2014/main" id="{B76BE241-66E1-7D09-5702-8812DF7A32C3}"/>
              </a:ext>
            </a:extLst>
          </p:cNvPr>
          <p:cNvSpPr txBox="1"/>
          <p:nvPr/>
        </p:nvSpPr>
        <p:spPr>
          <a:xfrm>
            <a:off x="3023580" y="1158855"/>
            <a:ext cx="174928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rPr>
              <a:t>Market siz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rPr>
              <a:t>(BnNOK)*</a:t>
            </a:r>
            <a:endParaRPr kumimoji="0" lang="en-NO" sz="14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endParaRPr>
          </a:p>
        </p:txBody>
      </p:sp>
      <p:sp>
        <p:nvSpPr>
          <p:cNvPr id="160" name="TextBox 159">
            <a:extLst>
              <a:ext uri="{FF2B5EF4-FFF2-40B4-BE49-F238E27FC236}">
                <a16:creationId xmlns:a16="http://schemas.microsoft.com/office/drawing/2014/main" id="{4457A65C-E928-9D30-9983-0893BB91CC4D}"/>
              </a:ext>
            </a:extLst>
          </p:cNvPr>
          <p:cNvSpPr txBox="1"/>
          <p:nvPr/>
        </p:nvSpPr>
        <p:spPr>
          <a:xfrm>
            <a:off x="0" y="6135839"/>
            <a:ext cx="662940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rPr>
              <a:t>*Source: </a:t>
            </a:r>
            <a:r>
              <a:rPr kumimoji="0" lang="en-GB" sz="800" b="0" i="0" u="none" strike="noStrike" kern="1200" cap="none" spc="0" normalizeH="0" baseline="0" noProof="0" err="1">
                <a:ln>
                  <a:noFill/>
                </a:ln>
                <a:solidFill>
                  <a:prstClr val="black"/>
                </a:solidFill>
                <a:effectLst/>
                <a:uLnTx/>
                <a:uFillTx/>
                <a:latin typeface="Helvetica Light" panose="020B0403020202020204" pitchFamily="34" charset="0"/>
                <a:ea typeface="+mn-ea"/>
                <a:cs typeface="+mn-cs"/>
              </a:rPr>
              <a:t>IGD</a:t>
            </a:r>
            <a:endParaRPr kumimoji="0" lang="en-GB" sz="800" b="0" i="0" u="none" strike="noStrike" kern="1200" cap="none" spc="0" normalizeH="0" baseline="0" noProof="0">
              <a:ln>
                <a:noFill/>
              </a:ln>
              <a:solidFill>
                <a:prstClr val="black"/>
              </a:solidFill>
              <a:effectLst/>
              <a:uLnTx/>
              <a:uFillTx/>
              <a:latin typeface="Helvetica"/>
              <a:ea typeface="+mn-ea"/>
              <a:cs typeface="+mn-cs"/>
            </a:endParaRPr>
          </a:p>
        </p:txBody>
      </p:sp>
      <p:sp>
        <p:nvSpPr>
          <p:cNvPr id="6" name="Rectangle 5">
            <a:extLst>
              <a:ext uri="{FF2B5EF4-FFF2-40B4-BE49-F238E27FC236}">
                <a16:creationId xmlns:a16="http://schemas.microsoft.com/office/drawing/2014/main" id="{20C45C7C-A7BC-66C4-86EB-CADDE6B63DED}"/>
              </a:ext>
            </a:extLst>
          </p:cNvPr>
          <p:cNvSpPr/>
          <p:nvPr/>
        </p:nvSpPr>
        <p:spPr>
          <a:xfrm rot="16200000">
            <a:off x="-26386" y="2733639"/>
            <a:ext cx="2501289" cy="5534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O" sz="1600" b="0" i="0" u="none" strike="noStrike" kern="1200" cap="none" spc="0" normalizeH="0" baseline="0" noProof="0">
                <a:ln>
                  <a:noFill/>
                </a:ln>
                <a:solidFill>
                  <a:prstClr val="white"/>
                </a:solidFill>
                <a:effectLst/>
                <a:uLnTx/>
                <a:uFillTx/>
                <a:latin typeface="Helvetica Light" panose="020B0403020202020204"/>
              </a:rPr>
              <a:t>Traditional markets</a:t>
            </a:r>
          </a:p>
        </p:txBody>
      </p:sp>
      <p:sp>
        <p:nvSpPr>
          <p:cNvPr id="8" name="Rectangle 7">
            <a:extLst>
              <a:ext uri="{FF2B5EF4-FFF2-40B4-BE49-F238E27FC236}">
                <a16:creationId xmlns:a16="http://schemas.microsoft.com/office/drawing/2014/main" id="{822973F3-9AE8-EDFB-80B9-323A4F28F16F}"/>
              </a:ext>
            </a:extLst>
          </p:cNvPr>
          <p:cNvSpPr/>
          <p:nvPr/>
        </p:nvSpPr>
        <p:spPr>
          <a:xfrm rot="16200000">
            <a:off x="394257" y="4890946"/>
            <a:ext cx="1660008" cy="553399"/>
          </a:xfrm>
          <a:prstGeom prst="rect">
            <a:avLst/>
          </a:prstGeom>
          <a:solidFill>
            <a:srgbClr val="2832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O" sz="1600" b="0" i="0" u="none" strike="noStrike" kern="1200" cap="none" spc="0" normalizeH="0" baseline="0" noProof="0">
                <a:ln>
                  <a:noFill/>
                </a:ln>
                <a:solidFill>
                  <a:prstClr val="white"/>
                </a:solidFill>
                <a:effectLst/>
                <a:uLnTx/>
                <a:uFillTx/>
                <a:latin typeface="Helvetica Light" panose="020B0403020202020204"/>
              </a:rPr>
              <a:t>Future key  markets</a:t>
            </a:r>
          </a:p>
        </p:txBody>
      </p:sp>
    </p:spTree>
    <p:extLst>
      <p:ext uri="{BB962C8B-B14F-4D97-AF65-F5344CB8AC3E}">
        <p14:creationId xmlns:p14="http://schemas.microsoft.com/office/powerpoint/2010/main" val="1990927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Picture 7" descr="A person using a phone to check the price of bananas&#10;&#10;Description automatically generated">
            <a:extLst>
              <a:ext uri="{FF2B5EF4-FFF2-40B4-BE49-F238E27FC236}">
                <a16:creationId xmlns:a16="http://schemas.microsoft.com/office/drawing/2014/main" id="{1A987F49-5A3E-7C3F-7D37-D795F1D1EE55}"/>
              </a:ext>
            </a:extLst>
          </p:cNvPr>
          <p:cNvPicPr>
            <a:picLocks noChangeAspect="1"/>
          </p:cNvPicPr>
          <p:nvPr/>
        </p:nvPicPr>
        <p:blipFill rotWithShape="1">
          <a:blip r:embed="rId4" cstate="screen">
            <a:alphaModFix amt="28000"/>
            <a:extLst>
              <a:ext uri="{28A0092B-C50C-407E-A947-70E740481C1C}">
                <a14:useLocalDpi xmlns:a14="http://schemas.microsoft.com/office/drawing/2010/main"/>
              </a:ext>
            </a:extLst>
          </a:blip>
          <a:srcRect/>
          <a:stretch/>
        </p:blipFill>
        <p:spPr>
          <a:xfrm>
            <a:off x="0" y="0"/>
            <a:ext cx="12192000" cy="6858000"/>
          </a:xfrm>
          <a:prstGeom prst="rect">
            <a:avLst/>
          </a:prstGeom>
        </p:spPr>
      </p:pic>
      <p:graphicFrame>
        <p:nvGraphicFramePr>
          <p:cNvPr id="3" name="think-cell data - do not delete" hidden="1">
            <a:extLst>
              <a:ext uri="{FF2B5EF4-FFF2-40B4-BE49-F238E27FC236}">
                <a16:creationId xmlns:a16="http://schemas.microsoft.com/office/drawing/2014/main" id="{D6273423-96C6-11CB-7B42-9E1390301117}"/>
              </a:ext>
            </a:extLst>
          </p:cNvPr>
          <p:cNvGraphicFramePr>
            <a:graphicFrameLocks noChangeAspect="1"/>
          </p:cNvGraphicFramePr>
          <p:nvPr>
            <p:custDataLst>
              <p:tags r:id="rId1"/>
            </p:custDataLst>
            <p:extLst>
              <p:ext uri="{D42A27DB-BD31-4B8C-83A1-F6EECF244321}">
                <p14:modId xmlns:p14="http://schemas.microsoft.com/office/powerpoint/2010/main" val="12193663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think-cell data - do not delete" hidden="1">
                        <a:extLst>
                          <a:ext uri="{FF2B5EF4-FFF2-40B4-BE49-F238E27FC236}">
                            <a16:creationId xmlns:a16="http://schemas.microsoft.com/office/drawing/2014/main" id="{D6273423-96C6-11CB-7B42-9E139030111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E7D565D-D5B7-7BE4-AE66-3DA2EE6E3A92}"/>
              </a:ext>
            </a:extLst>
          </p:cNvPr>
          <p:cNvSpPr>
            <a:spLocks noGrp="1"/>
          </p:cNvSpPr>
          <p:nvPr>
            <p:ph type="title"/>
          </p:nvPr>
        </p:nvSpPr>
        <p:spPr>
          <a:xfrm>
            <a:off x="1218623" y="3934597"/>
            <a:ext cx="10129315" cy="1325563"/>
          </a:xfrm>
        </p:spPr>
        <p:txBody>
          <a:bodyPr vert="horz" anchor="b"/>
          <a:lstStyle/>
          <a:p>
            <a:r>
              <a:rPr lang="en-US" sz="6000"/>
              <a:t>Deep dive on</a:t>
            </a:r>
            <a:br>
              <a:rPr lang="en-US" sz="6000"/>
            </a:br>
            <a:r>
              <a:rPr lang="en-US" sz="6000"/>
              <a:t>Scandinavia, UK and Spain </a:t>
            </a:r>
          </a:p>
        </p:txBody>
      </p:sp>
      <p:cxnSp>
        <p:nvCxnSpPr>
          <p:cNvPr id="12" name="Straight Connector 11">
            <a:extLst>
              <a:ext uri="{FF2B5EF4-FFF2-40B4-BE49-F238E27FC236}">
                <a16:creationId xmlns:a16="http://schemas.microsoft.com/office/drawing/2014/main" id="{4C8E684F-E500-E764-5809-EEAB2CB1D323}"/>
              </a:ext>
            </a:extLst>
          </p:cNvPr>
          <p:cNvCxnSpPr>
            <a:cxnSpLocks/>
          </p:cNvCxnSpPr>
          <p:nvPr/>
        </p:nvCxnSpPr>
        <p:spPr>
          <a:xfrm>
            <a:off x="1315186" y="5260160"/>
            <a:ext cx="85977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Bilde 3">
            <a:extLst>
              <a:ext uri="{FF2B5EF4-FFF2-40B4-BE49-F238E27FC236}">
                <a16:creationId xmlns:a16="http://schemas.microsoft.com/office/drawing/2014/main" id="{E812B8D3-7E6C-1007-1772-81AC0AD1ECE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315186" y="5601342"/>
            <a:ext cx="2737020" cy="478520"/>
          </a:xfrm>
          <a:prstGeom prst="rect">
            <a:avLst/>
          </a:prstGeom>
        </p:spPr>
      </p:pic>
    </p:spTree>
    <p:extLst>
      <p:ext uri="{BB962C8B-B14F-4D97-AF65-F5344CB8AC3E}">
        <p14:creationId xmlns:p14="http://schemas.microsoft.com/office/powerpoint/2010/main" val="15939070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594A05CF-2D37-9C85-B887-07C229A051BC}"/>
              </a:ext>
            </a:extLst>
          </p:cNvPr>
          <p:cNvSpPr/>
          <p:nvPr/>
        </p:nvSpPr>
        <p:spPr>
          <a:xfrm>
            <a:off x="880425" y="1401746"/>
            <a:ext cx="3431305" cy="4718211"/>
          </a:xfrm>
          <a:prstGeom prst="rect">
            <a:avLst/>
          </a:prstGeom>
          <a:solidFill>
            <a:srgbClr val="E9EAFB"/>
          </a:solidFill>
          <a:ln>
            <a:noFill/>
          </a:ln>
          <a:effectLst>
            <a:outerShdw blurRad="215900" sx="101000" sy="101000" algn="ctr"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Helvetica"/>
              <a:ea typeface="+mn-ea"/>
              <a:cs typeface="+mn-cs"/>
            </a:endParaRPr>
          </a:p>
        </p:txBody>
      </p:sp>
      <p:sp>
        <p:nvSpPr>
          <p:cNvPr id="28" name="Rectangle 27">
            <a:extLst>
              <a:ext uri="{FF2B5EF4-FFF2-40B4-BE49-F238E27FC236}">
                <a16:creationId xmlns:a16="http://schemas.microsoft.com/office/drawing/2014/main" id="{B7068C3C-014C-67E3-45C6-0C8FD593754B}"/>
              </a:ext>
            </a:extLst>
          </p:cNvPr>
          <p:cNvSpPr/>
          <p:nvPr/>
        </p:nvSpPr>
        <p:spPr>
          <a:xfrm>
            <a:off x="4570449" y="1401746"/>
            <a:ext cx="3431305" cy="4718211"/>
          </a:xfrm>
          <a:prstGeom prst="rect">
            <a:avLst/>
          </a:prstGeom>
          <a:solidFill>
            <a:srgbClr val="E9EAFB"/>
          </a:solidFill>
          <a:ln>
            <a:noFill/>
          </a:ln>
          <a:effectLst>
            <a:outerShdw blurRad="215900" sx="101000" sy="101000" algn="ctr"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Helvetica"/>
              <a:ea typeface="+mn-ea"/>
              <a:cs typeface="+mn-cs"/>
            </a:endParaRPr>
          </a:p>
        </p:txBody>
      </p:sp>
      <p:sp>
        <p:nvSpPr>
          <p:cNvPr id="21" name="Rectangle 20">
            <a:extLst>
              <a:ext uri="{FF2B5EF4-FFF2-40B4-BE49-F238E27FC236}">
                <a16:creationId xmlns:a16="http://schemas.microsoft.com/office/drawing/2014/main" id="{FDE08B55-2D98-584E-872B-29C14BD104F8}"/>
              </a:ext>
            </a:extLst>
          </p:cNvPr>
          <p:cNvSpPr/>
          <p:nvPr/>
        </p:nvSpPr>
        <p:spPr>
          <a:xfrm>
            <a:off x="8260472" y="1401746"/>
            <a:ext cx="3431305" cy="4718211"/>
          </a:xfrm>
          <a:prstGeom prst="rect">
            <a:avLst/>
          </a:prstGeom>
          <a:solidFill>
            <a:srgbClr val="E9EAFB"/>
          </a:solidFill>
          <a:ln>
            <a:noFill/>
          </a:ln>
          <a:effectLst>
            <a:outerShdw blurRad="215900" sx="101000" sy="101000" algn="ctr"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Helvetica"/>
              <a:ea typeface="+mn-ea"/>
              <a:cs typeface="+mn-cs"/>
            </a:endParaRPr>
          </a:p>
        </p:txBody>
      </p:sp>
      <p:graphicFrame>
        <p:nvGraphicFramePr>
          <p:cNvPr id="24" name="think-cell data - do not delete" hidden="1">
            <a:extLst>
              <a:ext uri="{FF2B5EF4-FFF2-40B4-BE49-F238E27FC236}">
                <a16:creationId xmlns:a16="http://schemas.microsoft.com/office/drawing/2014/main" id="{C7F32C53-B6E1-3B95-29D2-C123AEF2BA02}"/>
              </a:ext>
            </a:extLst>
          </p:cNvPr>
          <p:cNvGraphicFramePr>
            <a:graphicFrameLocks noChangeAspect="1"/>
          </p:cNvGraphicFramePr>
          <p:nvPr>
            <p:custDataLst>
              <p:tags r:id="rId1"/>
            </p:custDataLst>
            <p:extLst>
              <p:ext uri="{D42A27DB-BD31-4B8C-83A1-F6EECF244321}">
                <p14:modId xmlns:p14="http://schemas.microsoft.com/office/powerpoint/2010/main" val="37624734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4" name="think-cell data - do not delete" hidden="1">
                        <a:extLst>
                          <a:ext uri="{FF2B5EF4-FFF2-40B4-BE49-F238E27FC236}">
                            <a16:creationId xmlns:a16="http://schemas.microsoft.com/office/drawing/2014/main" id="{C7F32C53-B6E1-3B95-29D2-C123AEF2BA0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6" name="Title 1">
            <a:extLst>
              <a:ext uri="{FF2B5EF4-FFF2-40B4-BE49-F238E27FC236}">
                <a16:creationId xmlns:a16="http://schemas.microsoft.com/office/drawing/2014/main" id="{094962E9-5526-B8E8-D984-93E533A87FE9}"/>
              </a:ext>
            </a:extLst>
          </p:cNvPr>
          <p:cNvSpPr>
            <a:spLocks noGrp="1"/>
          </p:cNvSpPr>
          <p:nvPr>
            <p:ph type="title"/>
          </p:nvPr>
        </p:nvSpPr>
        <p:spPr>
          <a:xfrm>
            <a:off x="741777" y="365126"/>
            <a:ext cx="10671895" cy="1036620"/>
          </a:xfrm>
        </p:spPr>
        <p:txBody>
          <a:bodyPr vert="horz">
            <a:normAutofit/>
          </a:bodyPr>
          <a:lstStyle/>
          <a:p>
            <a:r>
              <a:rPr lang="en-GB" sz="3200"/>
              <a:t>Deep dive on selected core markets </a:t>
            </a:r>
          </a:p>
        </p:txBody>
      </p:sp>
      <p:sp>
        <p:nvSpPr>
          <p:cNvPr id="35" name="Rectangle 34">
            <a:extLst>
              <a:ext uri="{FF2B5EF4-FFF2-40B4-BE49-F238E27FC236}">
                <a16:creationId xmlns:a16="http://schemas.microsoft.com/office/drawing/2014/main" id="{BC99F652-4504-E46C-301D-D0DEB0488682}"/>
              </a:ext>
            </a:extLst>
          </p:cNvPr>
          <p:cNvSpPr/>
          <p:nvPr/>
        </p:nvSpPr>
        <p:spPr>
          <a:xfrm>
            <a:off x="8323973" y="5503879"/>
            <a:ext cx="3292824" cy="537883"/>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Helvetica"/>
                <a:ea typeface="+mn-ea"/>
                <a:cs typeface="+mn-cs"/>
              </a:rPr>
              <a:t>Spain </a:t>
            </a:r>
          </a:p>
        </p:txBody>
      </p:sp>
      <p:sp>
        <p:nvSpPr>
          <p:cNvPr id="30" name="Rectangle 29">
            <a:extLst>
              <a:ext uri="{FF2B5EF4-FFF2-40B4-BE49-F238E27FC236}">
                <a16:creationId xmlns:a16="http://schemas.microsoft.com/office/drawing/2014/main" id="{01C85BDD-5E8B-DF8D-608D-CFA819129E05}"/>
              </a:ext>
            </a:extLst>
          </p:cNvPr>
          <p:cNvSpPr/>
          <p:nvPr/>
        </p:nvSpPr>
        <p:spPr>
          <a:xfrm>
            <a:off x="4627794" y="5503879"/>
            <a:ext cx="3292824" cy="537883"/>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Helvetica"/>
                <a:ea typeface="+mn-ea"/>
                <a:cs typeface="+mn-cs"/>
              </a:rPr>
              <a:t>UK</a:t>
            </a:r>
          </a:p>
        </p:txBody>
      </p:sp>
      <p:sp>
        <p:nvSpPr>
          <p:cNvPr id="41" name="Rectangle 40">
            <a:extLst>
              <a:ext uri="{FF2B5EF4-FFF2-40B4-BE49-F238E27FC236}">
                <a16:creationId xmlns:a16="http://schemas.microsoft.com/office/drawing/2014/main" id="{DC924E23-2D98-A240-EBA1-E50CC6DF43D9}"/>
              </a:ext>
            </a:extLst>
          </p:cNvPr>
          <p:cNvSpPr/>
          <p:nvPr/>
        </p:nvSpPr>
        <p:spPr>
          <a:xfrm>
            <a:off x="950470" y="5503879"/>
            <a:ext cx="3292824" cy="537883"/>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Helvetica"/>
                <a:ea typeface="+mn-ea"/>
                <a:cs typeface="+mn-cs"/>
              </a:rPr>
              <a:t>Scandinavia</a:t>
            </a:r>
          </a:p>
        </p:txBody>
      </p:sp>
      <p:cxnSp>
        <p:nvCxnSpPr>
          <p:cNvPr id="43" name="Straight Connector 42">
            <a:extLst>
              <a:ext uri="{FF2B5EF4-FFF2-40B4-BE49-F238E27FC236}">
                <a16:creationId xmlns:a16="http://schemas.microsoft.com/office/drawing/2014/main" id="{91F7FBDE-12AF-A33B-2991-5C92294BCE59}"/>
              </a:ext>
            </a:extLst>
          </p:cNvPr>
          <p:cNvCxnSpPr/>
          <p:nvPr/>
        </p:nvCxnSpPr>
        <p:spPr>
          <a:xfrm>
            <a:off x="867725" y="1371600"/>
            <a:ext cx="3437849" cy="0"/>
          </a:xfrm>
          <a:prstGeom prst="line">
            <a:avLst/>
          </a:prstGeom>
          <a:ln w="12700">
            <a:solidFill>
              <a:srgbClr val="2832DC"/>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BF499D9-8633-82D7-2283-F8EAFFC43BE7}"/>
              </a:ext>
            </a:extLst>
          </p:cNvPr>
          <p:cNvCxnSpPr/>
          <p:nvPr/>
        </p:nvCxnSpPr>
        <p:spPr>
          <a:xfrm>
            <a:off x="4563425" y="1371600"/>
            <a:ext cx="3437849" cy="0"/>
          </a:xfrm>
          <a:prstGeom prst="line">
            <a:avLst/>
          </a:prstGeom>
          <a:ln w="12700">
            <a:solidFill>
              <a:srgbClr val="2832DC"/>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0EDE1A7-5802-2D69-1812-AA3921434F12}"/>
              </a:ext>
            </a:extLst>
          </p:cNvPr>
          <p:cNvCxnSpPr/>
          <p:nvPr/>
        </p:nvCxnSpPr>
        <p:spPr>
          <a:xfrm>
            <a:off x="8246425" y="1371600"/>
            <a:ext cx="3437849" cy="0"/>
          </a:xfrm>
          <a:prstGeom prst="line">
            <a:avLst/>
          </a:prstGeom>
          <a:ln w="12700">
            <a:solidFill>
              <a:srgbClr val="2832DC"/>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29877AD0-5EE5-A44C-B072-CB53DCF30AE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731332" y="1087492"/>
            <a:ext cx="643067" cy="643067"/>
          </a:xfrm>
          <a:prstGeom prst="rect">
            <a:avLst/>
          </a:prstGeom>
        </p:spPr>
      </p:pic>
      <p:pic>
        <p:nvPicPr>
          <p:cNvPr id="29" name="Picture 28">
            <a:extLst>
              <a:ext uri="{FF2B5EF4-FFF2-40B4-BE49-F238E27FC236}">
                <a16:creationId xmlns:a16="http://schemas.microsoft.com/office/drawing/2014/main" id="{7CDC7172-4D78-8549-8A4C-ED0700AD2B8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820962" y="1060782"/>
            <a:ext cx="576462" cy="576462"/>
          </a:xfrm>
          <a:prstGeom prst="rect">
            <a:avLst/>
          </a:prstGeom>
        </p:spPr>
      </p:pic>
      <p:pic>
        <p:nvPicPr>
          <p:cNvPr id="32" name="Picture 31">
            <a:extLst>
              <a:ext uri="{FF2B5EF4-FFF2-40B4-BE49-F238E27FC236}">
                <a16:creationId xmlns:a16="http://schemas.microsoft.com/office/drawing/2014/main" id="{C39E968B-D350-E242-9138-0129B3FBAD0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092071" y="1081509"/>
            <a:ext cx="576462" cy="576462"/>
          </a:xfrm>
          <a:prstGeom prst="rect">
            <a:avLst/>
          </a:prstGeom>
        </p:spPr>
      </p:pic>
      <p:pic>
        <p:nvPicPr>
          <p:cNvPr id="34" name="Picture 33">
            <a:extLst>
              <a:ext uri="{FF2B5EF4-FFF2-40B4-BE49-F238E27FC236}">
                <a16:creationId xmlns:a16="http://schemas.microsoft.com/office/drawing/2014/main" id="{FB3B741F-9BD9-6089-9EAF-D1967C7ADB0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941547" y="1107263"/>
            <a:ext cx="576462" cy="576462"/>
          </a:xfrm>
          <a:prstGeom prst="rect">
            <a:avLst/>
          </a:prstGeom>
        </p:spPr>
      </p:pic>
      <p:sp>
        <p:nvSpPr>
          <p:cNvPr id="4" name="Freeform 3">
            <a:extLst>
              <a:ext uri="{FF2B5EF4-FFF2-40B4-BE49-F238E27FC236}">
                <a16:creationId xmlns:a16="http://schemas.microsoft.com/office/drawing/2014/main" id="{8960DF60-C07B-2816-8963-815180471F83}"/>
              </a:ext>
            </a:extLst>
          </p:cNvPr>
          <p:cNvSpPr/>
          <p:nvPr/>
        </p:nvSpPr>
        <p:spPr>
          <a:xfrm>
            <a:off x="8749310" y="2452925"/>
            <a:ext cx="2562265" cy="2155792"/>
          </a:xfrm>
          <a:custGeom>
            <a:avLst/>
            <a:gdLst>
              <a:gd name="connsiteX0" fmla="*/ 257748 w 258219"/>
              <a:gd name="connsiteY0" fmla="*/ 39005 h 217256"/>
              <a:gd name="connsiteX1" fmla="*/ 235588 w 258219"/>
              <a:gd name="connsiteY1" fmla="*/ 38309 h 217256"/>
              <a:gd name="connsiteX2" fmla="*/ 209990 w 258219"/>
              <a:gd name="connsiteY2" fmla="*/ 31436 h 217256"/>
              <a:gd name="connsiteX3" fmla="*/ 199908 w 258219"/>
              <a:gd name="connsiteY3" fmla="*/ 28836 h 217256"/>
              <a:gd name="connsiteX4" fmla="*/ 182858 w 258219"/>
              <a:gd name="connsiteY4" fmla="*/ 30554 h 217256"/>
              <a:gd name="connsiteX5" fmla="*/ 161906 w 258219"/>
              <a:gd name="connsiteY5" fmla="*/ 19363 h 217256"/>
              <a:gd name="connsiteX6" fmla="*/ 149641 w 258219"/>
              <a:gd name="connsiteY6" fmla="*/ 12630 h 217256"/>
              <a:gd name="connsiteX7" fmla="*/ 112335 w 258219"/>
              <a:gd name="connsiteY7" fmla="*/ 8126 h 217256"/>
              <a:gd name="connsiteX8" fmla="*/ 41208 w 258219"/>
              <a:gd name="connsiteY8" fmla="*/ 7430 h 217256"/>
              <a:gd name="connsiteX9" fmla="*/ 15052 w 258219"/>
              <a:gd name="connsiteY9" fmla="*/ 0 h 217256"/>
              <a:gd name="connsiteX10" fmla="*/ 0 w 258219"/>
              <a:gd name="connsiteY10" fmla="*/ 12027 h 217256"/>
              <a:gd name="connsiteX11" fmla="*/ 976 w 258219"/>
              <a:gd name="connsiteY11" fmla="*/ 23775 h 217256"/>
              <a:gd name="connsiteX12" fmla="*/ 9477 w 258219"/>
              <a:gd name="connsiteY12" fmla="*/ 33247 h 217256"/>
              <a:gd name="connsiteX13" fmla="*/ 11847 w 258219"/>
              <a:gd name="connsiteY13" fmla="*/ 51125 h 217256"/>
              <a:gd name="connsiteX14" fmla="*/ 11382 w 258219"/>
              <a:gd name="connsiteY14" fmla="*/ 52611 h 217256"/>
              <a:gd name="connsiteX15" fmla="*/ 11754 w 258219"/>
              <a:gd name="connsiteY15" fmla="*/ 54096 h 217256"/>
              <a:gd name="connsiteX16" fmla="*/ 22997 w 258219"/>
              <a:gd name="connsiteY16" fmla="*/ 54607 h 217256"/>
              <a:gd name="connsiteX17" fmla="*/ 31545 w 258219"/>
              <a:gd name="connsiteY17" fmla="*/ 54607 h 217256"/>
              <a:gd name="connsiteX18" fmla="*/ 44739 w 258219"/>
              <a:gd name="connsiteY18" fmla="*/ 57161 h 217256"/>
              <a:gd name="connsiteX19" fmla="*/ 50174 w 258219"/>
              <a:gd name="connsiteY19" fmla="*/ 66634 h 217256"/>
              <a:gd name="connsiteX20" fmla="*/ 36191 w 258219"/>
              <a:gd name="connsiteY20" fmla="*/ 80379 h 217256"/>
              <a:gd name="connsiteX21" fmla="*/ 37770 w 258219"/>
              <a:gd name="connsiteY21" fmla="*/ 102714 h 217256"/>
              <a:gd name="connsiteX22" fmla="*/ 33914 w 258219"/>
              <a:gd name="connsiteY22" fmla="*/ 119059 h 217256"/>
              <a:gd name="connsiteX23" fmla="*/ 28479 w 258219"/>
              <a:gd name="connsiteY23" fmla="*/ 128485 h 217256"/>
              <a:gd name="connsiteX24" fmla="*/ 34704 w 258219"/>
              <a:gd name="connsiteY24" fmla="*/ 141394 h 217256"/>
              <a:gd name="connsiteX25" fmla="*/ 29268 w 258219"/>
              <a:gd name="connsiteY25" fmla="*/ 154303 h 217256"/>
              <a:gd name="connsiteX26" fmla="*/ 33914 w 258219"/>
              <a:gd name="connsiteY26" fmla="*/ 166329 h 217256"/>
              <a:gd name="connsiteX27" fmla="*/ 25366 w 258219"/>
              <a:gd name="connsiteY27" fmla="*/ 180956 h 217256"/>
              <a:gd name="connsiteX28" fmla="*/ 28479 w 258219"/>
              <a:gd name="connsiteY28" fmla="*/ 188711 h 217256"/>
              <a:gd name="connsiteX29" fmla="*/ 39954 w 258219"/>
              <a:gd name="connsiteY29" fmla="*/ 189639 h 217256"/>
              <a:gd name="connsiteX30" fmla="*/ 66109 w 258219"/>
              <a:gd name="connsiteY30" fmla="*/ 217175 h 217256"/>
              <a:gd name="connsiteX31" fmla="*/ 71220 w 258219"/>
              <a:gd name="connsiteY31" fmla="*/ 209421 h 217256"/>
              <a:gd name="connsiteX32" fmla="*/ 83671 w 258219"/>
              <a:gd name="connsiteY32" fmla="*/ 208724 h 217256"/>
              <a:gd name="connsiteX33" fmla="*/ 103415 w 258219"/>
              <a:gd name="connsiteY33" fmla="*/ 200273 h 217256"/>
              <a:gd name="connsiteX34" fmla="*/ 130825 w 258219"/>
              <a:gd name="connsiteY34" fmla="*/ 199205 h 217256"/>
              <a:gd name="connsiteX35" fmla="*/ 146435 w 258219"/>
              <a:gd name="connsiteY35" fmla="*/ 190754 h 217256"/>
              <a:gd name="connsiteX36" fmla="*/ 163346 w 258219"/>
              <a:gd name="connsiteY36" fmla="*/ 178031 h 217256"/>
              <a:gd name="connsiteX37" fmla="*/ 171337 w 258219"/>
              <a:gd name="connsiteY37" fmla="*/ 161082 h 217256"/>
              <a:gd name="connsiteX38" fmla="*/ 187272 w 258219"/>
              <a:gd name="connsiteY38" fmla="*/ 142694 h 217256"/>
              <a:gd name="connsiteX39" fmla="*/ 187597 w 258219"/>
              <a:gd name="connsiteY39" fmla="*/ 107729 h 217256"/>
              <a:gd name="connsiteX40" fmla="*/ 205437 w 258219"/>
              <a:gd name="connsiteY40" fmla="*/ 84418 h 217256"/>
              <a:gd name="connsiteX41" fmla="*/ 225228 w 258219"/>
              <a:gd name="connsiteY41" fmla="*/ 72763 h 217256"/>
              <a:gd name="connsiteX42" fmla="*/ 248828 w 258219"/>
              <a:gd name="connsiteY42" fmla="*/ 59019 h 217256"/>
              <a:gd name="connsiteX43" fmla="*/ 257795 w 258219"/>
              <a:gd name="connsiteY43" fmla="*/ 39052 h 21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58219" h="217256">
                <a:moveTo>
                  <a:pt x="257748" y="39005"/>
                </a:moveTo>
                <a:cubicBezTo>
                  <a:pt x="250083" y="38820"/>
                  <a:pt x="241488" y="39748"/>
                  <a:pt x="235588" y="38309"/>
                </a:cubicBezTo>
                <a:cubicBezTo>
                  <a:pt x="228619" y="36591"/>
                  <a:pt x="213846" y="35755"/>
                  <a:pt x="209990" y="31436"/>
                </a:cubicBezTo>
                <a:cubicBezTo>
                  <a:pt x="206087" y="27164"/>
                  <a:pt x="199908" y="23728"/>
                  <a:pt x="199908" y="28836"/>
                </a:cubicBezTo>
                <a:cubicBezTo>
                  <a:pt x="199908" y="33944"/>
                  <a:pt x="189037" y="34873"/>
                  <a:pt x="182858" y="30554"/>
                </a:cubicBezTo>
                <a:cubicBezTo>
                  <a:pt x="176633" y="26236"/>
                  <a:pt x="166551" y="22846"/>
                  <a:pt x="161906" y="19363"/>
                </a:cubicBezTo>
                <a:cubicBezTo>
                  <a:pt x="159443" y="17552"/>
                  <a:pt x="154426" y="15277"/>
                  <a:pt x="149641" y="12630"/>
                </a:cubicBezTo>
                <a:cubicBezTo>
                  <a:pt x="143183" y="14023"/>
                  <a:pt x="124600" y="6454"/>
                  <a:pt x="112335" y="8126"/>
                </a:cubicBezTo>
                <a:cubicBezTo>
                  <a:pt x="99234" y="9891"/>
                  <a:pt x="57468" y="5990"/>
                  <a:pt x="41208" y="7430"/>
                </a:cubicBezTo>
                <a:cubicBezTo>
                  <a:pt x="24948" y="8823"/>
                  <a:pt x="23972" y="0"/>
                  <a:pt x="15052" y="0"/>
                </a:cubicBezTo>
                <a:cubicBezTo>
                  <a:pt x="6876" y="0"/>
                  <a:pt x="9385" y="10076"/>
                  <a:pt x="0" y="12027"/>
                </a:cubicBezTo>
                <a:cubicBezTo>
                  <a:pt x="1301" y="15741"/>
                  <a:pt x="1533" y="19828"/>
                  <a:pt x="976" y="23775"/>
                </a:cubicBezTo>
                <a:cubicBezTo>
                  <a:pt x="4228" y="26468"/>
                  <a:pt x="6597" y="29161"/>
                  <a:pt x="9477" y="33247"/>
                </a:cubicBezTo>
                <a:cubicBezTo>
                  <a:pt x="13055" y="38309"/>
                  <a:pt x="13194" y="45320"/>
                  <a:pt x="11847" y="51125"/>
                </a:cubicBezTo>
                <a:cubicBezTo>
                  <a:pt x="11707" y="51635"/>
                  <a:pt x="11521" y="52146"/>
                  <a:pt x="11382" y="52611"/>
                </a:cubicBezTo>
                <a:cubicBezTo>
                  <a:pt x="11568" y="53121"/>
                  <a:pt x="11661" y="53586"/>
                  <a:pt x="11754" y="54096"/>
                </a:cubicBezTo>
                <a:cubicBezTo>
                  <a:pt x="14541" y="55443"/>
                  <a:pt x="19698" y="54607"/>
                  <a:pt x="22997" y="54607"/>
                </a:cubicBezTo>
                <a:cubicBezTo>
                  <a:pt x="27642" y="54607"/>
                  <a:pt x="26109" y="58926"/>
                  <a:pt x="31545" y="54607"/>
                </a:cubicBezTo>
                <a:cubicBezTo>
                  <a:pt x="36981" y="50289"/>
                  <a:pt x="44739" y="52007"/>
                  <a:pt x="44739" y="57161"/>
                </a:cubicBezTo>
                <a:cubicBezTo>
                  <a:pt x="44739" y="62315"/>
                  <a:pt x="56400" y="59715"/>
                  <a:pt x="50174" y="66634"/>
                </a:cubicBezTo>
                <a:cubicBezTo>
                  <a:pt x="43949" y="73506"/>
                  <a:pt x="36191" y="75224"/>
                  <a:pt x="36191" y="80379"/>
                </a:cubicBezTo>
                <a:cubicBezTo>
                  <a:pt x="36191" y="85533"/>
                  <a:pt x="43159" y="96677"/>
                  <a:pt x="37770" y="102714"/>
                </a:cubicBezTo>
                <a:cubicBezTo>
                  <a:pt x="32335" y="108704"/>
                  <a:pt x="39303" y="119059"/>
                  <a:pt x="33914" y="119059"/>
                </a:cubicBezTo>
                <a:cubicBezTo>
                  <a:pt x="28525" y="119059"/>
                  <a:pt x="22253" y="121613"/>
                  <a:pt x="28479" y="128485"/>
                </a:cubicBezTo>
                <a:cubicBezTo>
                  <a:pt x="34704" y="135357"/>
                  <a:pt x="39350" y="141394"/>
                  <a:pt x="34704" y="141394"/>
                </a:cubicBezTo>
                <a:cubicBezTo>
                  <a:pt x="30058" y="141394"/>
                  <a:pt x="26946" y="151702"/>
                  <a:pt x="29268" y="154303"/>
                </a:cubicBezTo>
                <a:cubicBezTo>
                  <a:pt x="31591" y="156857"/>
                  <a:pt x="42463" y="164611"/>
                  <a:pt x="33914" y="166329"/>
                </a:cubicBezTo>
                <a:cubicBezTo>
                  <a:pt x="25366" y="168047"/>
                  <a:pt x="25366" y="175755"/>
                  <a:pt x="25366" y="180956"/>
                </a:cubicBezTo>
                <a:cubicBezTo>
                  <a:pt x="25366" y="182860"/>
                  <a:pt x="26760" y="185785"/>
                  <a:pt x="28479" y="188711"/>
                </a:cubicBezTo>
                <a:cubicBezTo>
                  <a:pt x="32427" y="187921"/>
                  <a:pt x="36330" y="187782"/>
                  <a:pt x="39954" y="189639"/>
                </a:cubicBezTo>
                <a:cubicBezTo>
                  <a:pt x="48874" y="194237"/>
                  <a:pt x="54031" y="218847"/>
                  <a:pt x="66109" y="217175"/>
                </a:cubicBezTo>
                <a:cubicBezTo>
                  <a:pt x="71220" y="216479"/>
                  <a:pt x="68665" y="212207"/>
                  <a:pt x="71220" y="209421"/>
                </a:cubicBezTo>
                <a:cubicBezTo>
                  <a:pt x="73775" y="206588"/>
                  <a:pt x="78560" y="208724"/>
                  <a:pt x="83671" y="208724"/>
                </a:cubicBezTo>
                <a:cubicBezTo>
                  <a:pt x="88781" y="208724"/>
                  <a:pt x="91336" y="200598"/>
                  <a:pt x="103415" y="200273"/>
                </a:cubicBezTo>
                <a:cubicBezTo>
                  <a:pt x="115541" y="199902"/>
                  <a:pt x="123206" y="198834"/>
                  <a:pt x="130825" y="199205"/>
                </a:cubicBezTo>
                <a:cubicBezTo>
                  <a:pt x="138491" y="199530"/>
                  <a:pt x="144530" y="196744"/>
                  <a:pt x="146435" y="190754"/>
                </a:cubicBezTo>
                <a:cubicBezTo>
                  <a:pt x="148340" y="184764"/>
                  <a:pt x="154705" y="179470"/>
                  <a:pt x="163346" y="178031"/>
                </a:cubicBezTo>
                <a:cubicBezTo>
                  <a:pt x="171941" y="176638"/>
                  <a:pt x="170686" y="166701"/>
                  <a:pt x="171337" y="161082"/>
                </a:cubicBezTo>
                <a:cubicBezTo>
                  <a:pt x="171987" y="155464"/>
                  <a:pt x="186342" y="146966"/>
                  <a:pt x="187272" y="142694"/>
                </a:cubicBezTo>
                <a:cubicBezTo>
                  <a:pt x="188247" y="138468"/>
                  <a:pt x="178956" y="122216"/>
                  <a:pt x="187597" y="107729"/>
                </a:cubicBezTo>
                <a:cubicBezTo>
                  <a:pt x="196191" y="93241"/>
                  <a:pt x="205437" y="92544"/>
                  <a:pt x="205437" y="84418"/>
                </a:cubicBezTo>
                <a:cubicBezTo>
                  <a:pt x="205437" y="76989"/>
                  <a:pt x="214357" y="74203"/>
                  <a:pt x="225228" y="72763"/>
                </a:cubicBezTo>
                <a:cubicBezTo>
                  <a:pt x="236052" y="71370"/>
                  <a:pt x="239583" y="63244"/>
                  <a:pt x="248828" y="59019"/>
                </a:cubicBezTo>
                <a:cubicBezTo>
                  <a:pt x="256587" y="55443"/>
                  <a:pt x="259374" y="49128"/>
                  <a:pt x="257795" y="39052"/>
                </a:cubicBezTo>
                <a:close/>
              </a:path>
            </a:pathLst>
          </a:custGeom>
          <a:solidFill>
            <a:schemeClr val="accent1">
              <a:lumMod val="75000"/>
              <a:alpha val="70128"/>
            </a:schemeClr>
          </a:solidFill>
          <a:ln w="635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nvGrpSpPr>
          <p:cNvPr id="5" name="Group 4">
            <a:extLst>
              <a:ext uri="{FF2B5EF4-FFF2-40B4-BE49-F238E27FC236}">
                <a16:creationId xmlns:a16="http://schemas.microsoft.com/office/drawing/2014/main" id="{74303D11-3AC9-B0A4-6FDA-D78687DDE0CD}"/>
              </a:ext>
            </a:extLst>
          </p:cNvPr>
          <p:cNvGrpSpPr/>
          <p:nvPr/>
        </p:nvGrpSpPr>
        <p:grpSpPr>
          <a:xfrm>
            <a:off x="1274393" y="1769503"/>
            <a:ext cx="3031181" cy="3318994"/>
            <a:chOff x="8544473" y="2766969"/>
            <a:chExt cx="2139584" cy="2342739"/>
          </a:xfrm>
          <a:solidFill>
            <a:schemeClr val="accent1">
              <a:lumMod val="75000"/>
              <a:alpha val="70000"/>
            </a:schemeClr>
          </a:solidFill>
        </p:grpSpPr>
        <p:sp>
          <p:nvSpPr>
            <p:cNvPr id="6" name="Freeform 5">
              <a:extLst>
                <a:ext uri="{FF2B5EF4-FFF2-40B4-BE49-F238E27FC236}">
                  <a16:creationId xmlns:a16="http://schemas.microsoft.com/office/drawing/2014/main" id="{AEC5863B-7E37-DEBE-AAB6-1C44D3C5F110}"/>
                </a:ext>
              </a:extLst>
            </p:cNvPr>
            <p:cNvSpPr/>
            <p:nvPr/>
          </p:nvSpPr>
          <p:spPr>
            <a:xfrm>
              <a:off x="9062964" y="3119515"/>
              <a:ext cx="1038375" cy="1990193"/>
            </a:xfrm>
            <a:custGeom>
              <a:avLst/>
              <a:gdLst>
                <a:gd name="connsiteX0" fmla="*/ 266042 w 268922"/>
                <a:gd name="connsiteY0" fmla="*/ 119253 h 515427"/>
                <a:gd name="connsiteX1" fmla="*/ 261908 w 268922"/>
                <a:gd name="connsiteY1" fmla="*/ 106808 h 515427"/>
                <a:gd name="connsiteX2" fmla="*/ 262930 w 268922"/>
                <a:gd name="connsiteY2" fmla="*/ 86377 h 515427"/>
                <a:gd name="connsiteX3" fmla="*/ 257819 w 268922"/>
                <a:gd name="connsiteY3" fmla="*/ 64831 h 515427"/>
                <a:gd name="connsiteX4" fmla="*/ 256797 w 268922"/>
                <a:gd name="connsiteY4" fmla="*/ 42124 h 515427"/>
                <a:gd name="connsiteX5" fmla="*/ 226042 w 268922"/>
                <a:gd name="connsiteY5" fmla="*/ 21693 h 515427"/>
                <a:gd name="connsiteX6" fmla="*/ 200444 w 268922"/>
                <a:gd name="connsiteY6" fmla="*/ 1262 h 515427"/>
                <a:gd name="connsiteX7" fmla="*/ 188132 w 268922"/>
                <a:gd name="connsiteY7" fmla="*/ 19418 h 515427"/>
                <a:gd name="connsiteX8" fmla="*/ 173777 w 268922"/>
                <a:gd name="connsiteY8" fmla="*/ 23968 h 515427"/>
                <a:gd name="connsiteX9" fmla="*/ 151245 w 268922"/>
                <a:gd name="connsiteY9" fmla="*/ 19418 h 515427"/>
                <a:gd name="connsiteX10" fmla="*/ 146135 w 268922"/>
                <a:gd name="connsiteY10" fmla="*/ 36413 h 515427"/>
                <a:gd name="connsiteX11" fmla="*/ 129735 w 268922"/>
                <a:gd name="connsiteY11" fmla="*/ 43192 h 515427"/>
                <a:gd name="connsiteX12" fmla="*/ 113335 w 268922"/>
                <a:gd name="connsiteY12" fmla="*/ 56798 h 515427"/>
                <a:gd name="connsiteX13" fmla="*/ 107203 w 268922"/>
                <a:gd name="connsiteY13" fmla="*/ 73839 h 515427"/>
                <a:gd name="connsiteX14" fmla="*/ 102093 w 268922"/>
                <a:gd name="connsiteY14" fmla="*/ 86330 h 515427"/>
                <a:gd name="connsiteX15" fmla="*/ 90803 w 268922"/>
                <a:gd name="connsiteY15" fmla="*/ 104486 h 515427"/>
                <a:gd name="connsiteX16" fmla="*/ 86715 w 268922"/>
                <a:gd name="connsiteY16" fmla="*/ 118092 h 515427"/>
                <a:gd name="connsiteX17" fmla="*/ 70315 w 268922"/>
                <a:gd name="connsiteY17" fmla="*/ 122596 h 515427"/>
                <a:gd name="connsiteX18" fmla="*/ 69293 w 268922"/>
                <a:gd name="connsiteY18" fmla="*/ 144188 h 515427"/>
                <a:gd name="connsiteX19" fmla="*/ 54938 w 268922"/>
                <a:gd name="connsiteY19" fmla="*/ 174788 h 515427"/>
                <a:gd name="connsiteX20" fmla="*/ 60048 w 268922"/>
                <a:gd name="connsiteY20" fmla="*/ 187279 h 515427"/>
                <a:gd name="connsiteX21" fmla="*/ 60048 w 268922"/>
                <a:gd name="connsiteY21" fmla="*/ 200885 h 515427"/>
                <a:gd name="connsiteX22" fmla="*/ 45693 w 268922"/>
                <a:gd name="connsiteY22" fmla="*/ 202046 h 515427"/>
                <a:gd name="connsiteX23" fmla="*/ 24183 w 268922"/>
                <a:gd name="connsiteY23" fmla="*/ 217926 h 515427"/>
                <a:gd name="connsiteX24" fmla="*/ 22139 w 268922"/>
                <a:gd name="connsiteY24" fmla="*/ 241747 h 515427"/>
                <a:gd name="connsiteX25" fmla="*/ 22139 w 268922"/>
                <a:gd name="connsiteY25" fmla="*/ 265568 h 515427"/>
                <a:gd name="connsiteX26" fmla="*/ 21117 w 268922"/>
                <a:gd name="connsiteY26" fmla="*/ 288275 h 515427"/>
                <a:gd name="connsiteX27" fmla="*/ 35472 w 268922"/>
                <a:gd name="connsiteY27" fmla="*/ 305270 h 515427"/>
                <a:gd name="connsiteX28" fmla="*/ 27249 w 268922"/>
                <a:gd name="connsiteY28" fmla="*/ 317761 h 515427"/>
                <a:gd name="connsiteX29" fmla="*/ 28271 w 268922"/>
                <a:gd name="connsiteY29" fmla="*/ 329091 h 515427"/>
                <a:gd name="connsiteX30" fmla="*/ 29293 w 268922"/>
                <a:gd name="connsiteY30" fmla="*/ 351798 h 515427"/>
                <a:gd name="connsiteX31" fmla="*/ 14938 w 268922"/>
                <a:gd name="connsiteY31" fmla="*/ 357463 h 515427"/>
                <a:gd name="connsiteX32" fmla="*/ 11871 w 268922"/>
                <a:gd name="connsiteY32" fmla="*/ 376780 h 515427"/>
                <a:gd name="connsiteX33" fmla="*/ 6761 w 268922"/>
                <a:gd name="connsiteY33" fmla="*/ 392660 h 515427"/>
                <a:gd name="connsiteX34" fmla="*/ 25 w 268922"/>
                <a:gd name="connsiteY34" fmla="*/ 391592 h 515427"/>
                <a:gd name="connsiteX35" fmla="*/ 25 w 268922"/>
                <a:gd name="connsiteY35" fmla="*/ 393821 h 515427"/>
                <a:gd name="connsiteX36" fmla="*/ 9595 w 268922"/>
                <a:gd name="connsiteY36" fmla="*/ 417828 h 515427"/>
                <a:gd name="connsiteX37" fmla="*/ 17261 w 268922"/>
                <a:gd name="connsiteY37" fmla="*/ 442578 h 515427"/>
                <a:gd name="connsiteX38" fmla="*/ 28085 w 268922"/>
                <a:gd name="connsiteY38" fmla="*/ 464123 h 515427"/>
                <a:gd name="connsiteX39" fmla="*/ 32545 w 268922"/>
                <a:gd name="connsiteY39" fmla="*/ 482140 h 515427"/>
                <a:gd name="connsiteX40" fmla="*/ 38585 w 268922"/>
                <a:gd name="connsiteY40" fmla="*/ 493099 h 515427"/>
                <a:gd name="connsiteX41" fmla="*/ 38910 w 268922"/>
                <a:gd name="connsiteY41" fmla="*/ 513251 h 515427"/>
                <a:gd name="connsiteX42" fmla="*/ 55821 w 268922"/>
                <a:gd name="connsiteY42" fmla="*/ 512926 h 515427"/>
                <a:gd name="connsiteX43" fmla="*/ 63765 w 268922"/>
                <a:gd name="connsiteY43" fmla="*/ 498810 h 515427"/>
                <a:gd name="connsiteX44" fmla="*/ 70455 w 268922"/>
                <a:gd name="connsiteY44" fmla="*/ 491055 h 515427"/>
                <a:gd name="connsiteX45" fmla="*/ 88295 w 268922"/>
                <a:gd name="connsiteY45" fmla="*/ 489244 h 515427"/>
                <a:gd name="connsiteX46" fmla="*/ 100745 w 268922"/>
                <a:gd name="connsiteY46" fmla="*/ 478286 h 515427"/>
                <a:gd name="connsiteX47" fmla="*/ 108411 w 268922"/>
                <a:gd name="connsiteY47" fmla="*/ 481815 h 515427"/>
                <a:gd name="connsiteX48" fmla="*/ 120536 w 268922"/>
                <a:gd name="connsiteY48" fmla="*/ 459248 h 515427"/>
                <a:gd name="connsiteX49" fmla="*/ 112871 w 268922"/>
                <a:gd name="connsiteY49" fmla="*/ 460641 h 515427"/>
                <a:gd name="connsiteX50" fmla="*/ 112546 w 268922"/>
                <a:gd name="connsiteY50" fmla="*/ 444064 h 515427"/>
                <a:gd name="connsiteX51" fmla="*/ 116030 w 268922"/>
                <a:gd name="connsiteY51" fmla="*/ 410166 h 515427"/>
                <a:gd name="connsiteX52" fmla="*/ 128155 w 268922"/>
                <a:gd name="connsiteY52" fmla="*/ 395679 h 515427"/>
                <a:gd name="connsiteX53" fmla="*/ 147621 w 268922"/>
                <a:gd name="connsiteY53" fmla="*/ 375572 h 515427"/>
                <a:gd name="connsiteX54" fmla="*/ 160351 w 268922"/>
                <a:gd name="connsiteY54" fmla="*/ 356163 h 515427"/>
                <a:gd name="connsiteX55" fmla="*/ 139956 w 268922"/>
                <a:gd name="connsiteY55" fmla="*/ 331088 h 515427"/>
                <a:gd name="connsiteX56" fmla="*/ 124671 w 268922"/>
                <a:gd name="connsiteY56" fmla="*/ 326491 h 515427"/>
                <a:gd name="connsiteX57" fmla="*/ 122116 w 268922"/>
                <a:gd name="connsiteY57" fmla="*/ 299651 h 515427"/>
                <a:gd name="connsiteX58" fmla="*/ 129503 w 268922"/>
                <a:gd name="connsiteY58" fmla="*/ 279685 h 515427"/>
                <a:gd name="connsiteX59" fmla="*/ 130385 w 268922"/>
                <a:gd name="connsiteY59" fmla="*/ 258092 h 515427"/>
                <a:gd name="connsiteX60" fmla="*/ 148969 w 268922"/>
                <a:gd name="connsiteY60" fmla="*/ 236361 h 515427"/>
                <a:gd name="connsiteX61" fmla="*/ 157656 w 268922"/>
                <a:gd name="connsiteY61" fmla="*/ 230789 h 515427"/>
                <a:gd name="connsiteX62" fmla="*/ 161001 w 268922"/>
                <a:gd name="connsiteY62" fmla="*/ 228281 h 515427"/>
                <a:gd name="connsiteX63" fmla="*/ 167134 w 268922"/>
                <a:gd name="connsiteY63" fmla="*/ 224799 h 515427"/>
                <a:gd name="connsiteX64" fmla="*/ 174009 w 268922"/>
                <a:gd name="connsiteY64" fmla="*/ 208500 h 515427"/>
                <a:gd name="connsiteX65" fmla="*/ 177122 w 268922"/>
                <a:gd name="connsiteY65" fmla="*/ 205389 h 515427"/>
                <a:gd name="connsiteX66" fmla="*/ 190455 w 268922"/>
                <a:gd name="connsiteY66" fmla="*/ 198981 h 515427"/>
                <a:gd name="connsiteX67" fmla="*/ 194358 w 268922"/>
                <a:gd name="connsiteY67" fmla="*/ 193780 h 515427"/>
                <a:gd name="connsiteX68" fmla="*/ 203185 w 268922"/>
                <a:gd name="connsiteY68" fmla="*/ 188440 h 515427"/>
                <a:gd name="connsiteX69" fmla="*/ 209410 w 268922"/>
                <a:gd name="connsiteY69" fmla="*/ 172049 h 515427"/>
                <a:gd name="connsiteX70" fmla="*/ 212337 w 268922"/>
                <a:gd name="connsiteY70" fmla="*/ 164666 h 515427"/>
                <a:gd name="connsiteX71" fmla="*/ 220607 w 268922"/>
                <a:gd name="connsiteY71" fmla="*/ 145256 h 515427"/>
                <a:gd name="connsiteX72" fmla="*/ 234637 w 268922"/>
                <a:gd name="connsiteY72" fmla="*/ 132904 h 515427"/>
                <a:gd name="connsiteX73" fmla="*/ 257262 w 268922"/>
                <a:gd name="connsiteY73" fmla="*/ 130443 h 515427"/>
                <a:gd name="connsiteX74" fmla="*/ 268923 w 268922"/>
                <a:gd name="connsiteY74" fmla="*/ 131001 h 515427"/>
                <a:gd name="connsiteX75" fmla="*/ 265903 w 268922"/>
                <a:gd name="connsiteY75" fmla="*/ 119206 h 51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68922" h="515427">
                  <a:moveTo>
                    <a:pt x="266042" y="119253"/>
                  </a:moveTo>
                  <a:cubicBezTo>
                    <a:pt x="262976" y="115863"/>
                    <a:pt x="256844" y="106808"/>
                    <a:pt x="261908" y="106808"/>
                  </a:cubicBezTo>
                  <a:cubicBezTo>
                    <a:pt x="266972" y="106808"/>
                    <a:pt x="269062" y="89813"/>
                    <a:pt x="262930" y="86377"/>
                  </a:cubicBezTo>
                  <a:cubicBezTo>
                    <a:pt x="256797" y="82987"/>
                    <a:pt x="262930" y="68221"/>
                    <a:pt x="257819" y="64831"/>
                  </a:cubicBezTo>
                  <a:cubicBezTo>
                    <a:pt x="252709" y="61441"/>
                    <a:pt x="255775" y="50065"/>
                    <a:pt x="256797" y="42124"/>
                  </a:cubicBezTo>
                  <a:cubicBezTo>
                    <a:pt x="257819" y="34184"/>
                    <a:pt x="237331" y="27358"/>
                    <a:pt x="226042" y="21693"/>
                  </a:cubicBezTo>
                  <a:cubicBezTo>
                    <a:pt x="214800" y="16028"/>
                    <a:pt x="209642" y="6927"/>
                    <a:pt x="200444" y="1262"/>
                  </a:cubicBezTo>
                  <a:cubicBezTo>
                    <a:pt x="191245" y="-4403"/>
                    <a:pt x="188132" y="10317"/>
                    <a:pt x="188132" y="19418"/>
                  </a:cubicBezTo>
                  <a:cubicBezTo>
                    <a:pt x="188132" y="28519"/>
                    <a:pt x="179956" y="29634"/>
                    <a:pt x="173777" y="23968"/>
                  </a:cubicBezTo>
                  <a:cubicBezTo>
                    <a:pt x="167645" y="18303"/>
                    <a:pt x="160444" y="23968"/>
                    <a:pt x="151245" y="19418"/>
                  </a:cubicBezTo>
                  <a:cubicBezTo>
                    <a:pt x="142046" y="14867"/>
                    <a:pt x="146135" y="29634"/>
                    <a:pt x="146135" y="36413"/>
                  </a:cubicBezTo>
                  <a:cubicBezTo>
                    <a:pt x="146135" y="43192"/>
                    <a:pt x="135867" y="43192"/>
                    <a:pt x="129735" y="43192"/>
                  </a:cubicBezTo>
                  <a:cubicBezTo>
                    <a:pt x="123603" y="43192"/>
                    <a:pt x="113335" y="48857"/>
                    <a:pt x="113335" y="56798"/>
                  </a:cubicBezTo>
                  <a:cubicBezTo>
                    <a:pt x="113335" y="64738"/>
                    <a:pt x="104137" y="69289"/>
                    <a:pt x="107203" y="73839"/>
                  </a:cubicBezTo>
                  <a:cubicBezTo>
                    <a:pt x="110269" y="78344"/>
                    <a:pt x="106181" y="82894"/>
                    <a:pt x="102093" y="86330"/>
                  </a:cubicBezTo>
                  <a:cubicBezTo>
                    <a:pt x="98004" y="89720"/>
                    <a:pt x="93916" y="101050"/>
                    <a:pt x="90803" y="104486"/>
                  </a:cubicBezTo>
                  <a:cubicBezTo>
                    <a:pt x="87737" y="107876"/>
                    <a:pt x="92848" y="113541"/>
                    <a:pt x="86715" y="118092"/>
                  </a:cubicBezTo>
                  <a:cubicBezTo>
                    <a:pt x="80583" y="122596"/>
                    <a:pt x="73382" y="119206"/>
                    <a:pt x="70315" y="122596"/>
                  </a:cubicBezTo>
                  <a:cubicBezTo>
                    <a:pt x="67249" y="125986"/>
                    <a:pt x="70315" y="133972"/>
                    <a:pt x="69293" y="144188"/>
                  </a:cubicBezTo>
                  <a:cubicBezTo>
                    <a:pt x="68271" y="154357"/>
                    <a:pt x="61070" y="165734"/>
                    <a:pt x="54938" y="174788"/>
                  </a:cubicBezTo>
                  <a:cubicBezTo>
                    <a:pt x="48805" y="183890"/>
                    <a:pt x="56982" y="186165"/>
                    <a:pt x="60048" y="187279"/>
                  </a:cubicBezTo>
                  <a:cubicBezTo>
                    <a:pt x="63114" y="188440"/>
                    <a:pt x="63114" y="194105"/>
                    <a:pt x="60048" y="200885"/>
                  </a:cubicBezTo>
                  <a:cubicBezTo>
                    <a:pt x="56982" y="207711"/>
                    <a:pt x="49781" y="203160"/>
                    <a:pt x="45693" y="202046"/>
                  </a:cubicBezTo>
                  <a:cubicBezTo>
                    <a:pt x="41604" y="200885"/>
                    <a:pt x="30315" y="206550"/>
                    <a:pt x="24183" y="217926"/>
                  </a:cubicBezTo>
                  <a:cubicBezTo>
                    <a:pt x="18050" y="229256"/>
                    <a:pt x="20094" y="236082"/>
                    <a:pt x="22139" y="241747"/>
                  </a:cubicBezTo>
                  <a:cubicBezTo>
                    <a:pt x="24183" y="247412"/>
                    <a:pt x="17028" y="254238"/>
                    <a:pt x="22139" y="265568"/>
                  </a:cubicBezTo>
                  <a:cubicBezTo>
                    <a:pt x="27249" y="276898"/>
                    <a:pt x="20094" y="279174"/>
                    <a:pt x="21117" y="288275"/>
                  </a:cubicBezTo>
                  <a:cubicBezTo>
                    <a:pt x="22139" y="297330"/>
                    <a:pt x="34450" y="296215"/>
                    <a:pt x="35472" y="305270"/>
                  </a:cubicBezTo>
                  <a:cubicBezTo>
                    <a:pt x="36494" y="314325"/>
                    <a:pt x="31384" y="317761"/>
                    <a:pt x="27249" y="317761"/>
                  </a:cubicBezTo>
                  <a:cubicBezTo>
                    <a:pt x="23114" y="317761"/>
                    <a:pt x="24183" y="326816"/>
                    <a:pt x="28271" y="329091"/>
                  </a:cubicBezTo>
                  <a:cubicBezTo>
                    <a:pt x="32359" y="331366"/>
                    <a:pt x="31337" y="347247"/>
                    <a:pt x="29293" y="351798"/>
                  </a:cubicBezTo>
                  <a:cubicBezTo>
                    <a:pt x="27249" y="356348"/>
                    <a:pt x="13915" y="351798"/>
                    <a:pt x="14938" y="357463"/>
                  </a:cubicBezTo>
                  <a:cubicBezTo>
                    <a:pt x="15960" y="363128"/>
                    <a:pt x="11871" y="372229"/>
                    <a:pt x="11871" y="376780"/>
                  </a:cubicBezTo>
                  <a:cubicBezTo>
                    <a:pt x="11871" y="381330"/>
                    <a:pt x="10849" y="396050"/>
                    <a:pt x="6761" y="392660"/>
                  </a:cubicBezTo>
                  <a:cubicBezTo>
                    <a:pt x="5135" y="391314"/>
                    <a:pt x="2580" y="391221"/>
                    <a:pt x="25" y="391592"/>
                  </a:cubicBezTo>
                  <a:cubicBezTo>
                    <a:pt x="25" y="392289"/>
                    <a:pt x="25" y="392985"/>
                    <a:pt x="25" y="393821"/>
                  </a:cubicBezTo>
                  <a:cubicBezTo>
                    <a:pt x="-301" y="402644"/>
                    <a:pt x="2580" y="411466"/>
                    <a:pt x="9595" y="417828"/>
                  </a:cubicBezTo>
                  <a:cubicBezTo>
                    <a:pt x="16610" y="424189"/>
                    <a:pt x="11175" y="433709"/>
                    <a:pt x="17261" y="442578"/>
                  </a:cubicBezTo>
                  <a:cubicBezTo>
                    <a:pt x="23300" y="451400"/>
                    <a:pt x="21395" y="457762"/>
                    <a:pt x="28085" y="464123"/>
                  </a:cubicBezTo>
                  <a:cubicBezTo>
                    <a:pt x="34775" y="470485"/>
                    <a:pt x="35425" y="474014"/>
                    <a:pt x="32545" y="482140"/>
                  </a:cubicBezTo>
                  <a:cubicBezTo>
                    <a:pt x="29665" y="490266"/>
                    <a:pt x="38306" y="488130"/>
                    <a:pt x="38585" y="493099"/>
                  </a:cubicBezTo>
                  <a:cubicBezTo>
                    <a:pt x="38910" y="498067"/>
                    <a:pt x="36680" y="508283"/>
                    <a:pt x="38910" y="513251"/>
                  </a:cubicBezTo>
                  <a:cubicBezTo>
                    <a:pt x="41140" y="518173"/>
                    <a:pt x="45600" y="513251"/>
                    <a:pt x="55821" y="512926"/>
                  </a:cubicBezTo>
                  <a:cubicBezTo>
                    <a:pt x="65995" y="512555"/>
                    <a:pt x="63486" y="505497"/>
                    <a:pt x="63765" y="498810"/>
                  </a:cubicBezTo>
                  <a:cubicBezTo>
                    <a:pt x="64090" y="492123"/>
                    <a:pt x="69200" y="495281"/>
                    <a:pt x="70455" y="491055"/>
                  </a:cubicBezTo>
                  <a:cubicBezTo>
                    <a:pt x="71709" y="486830"/>
                    <a:pt x="81001" y="485762"/>
                    <a:pt x="88295" y="489244"/>
                  </a:cubicBezTo>
                  <a:cubicBezTo>
                    <a:pt x="95635" y="492774"/>
                    <a:pt x="99445" y="486783"/>
                    <a:pt x="100745" y="478286"/>
                  </a:cubicBezTo>
                  <a:cubicBezTo>
                    <a:pt x="102000" y="469835"/>
                    <a:pt x="106135" y="480050"/>
                    <a:pt x="108411" y="481815"/>
                  </a:cubicBezTo>
                  <a:cubicBezTo>
                    <a:pt x="110641" y="483579"/>
                    <a:pt x="117331" y="468767"/>
                    <a:pt x="120536" y="459248"/>
                  </a:cubicBezTo>
                  <a:cubicBezTo>
                    <a:pt x="123742" y="449729"/>
                    <a:pt x="120211" y="451493"/>
                    <a:pt x="112871" y="460641"/>
                  </a:cubicBezTo>
                  <a:cubicBezTo>
                    <a:pt x="105531" y="469835"/>
                    <a:pt x="109665" y="451493"/>
                    <a:pt x="112546" y="444064"/>
                  </a:cubicBezTo>
                  <a:cubicBezTo>
                    <a:pt x="115426" y="436634"/>
                    <a:pt x="115101" y="415088"/>
                    <a:pt x="116030" y="410166"/>
                  </a:cubicBezTo>
                  <a:cubicBezTo>
                    <a:pt x="117005" y="405244"/>
                    <a:pt x="118910" y="397814"/>
                    <a:pt x="128155" y="395679"/>
                  </a:cubicBezTo>
                  <a:cubicBezTo>
                    <a:pt x="137401" y="393542"/>
                    <a:pt x="149526" y="380866"/>
                    <a:pt x="147621" y="375572"/>
                  </a:cubicBezTo>
                  <a:cubicBezTo>
                    <a:pt x="145716" y="370279"/>
                    <a:pt x="160351" y="361456"/>
                    <a:pt x="160351" y="356163"/>
                  </a:cubicBezTo>
                  <a:cubicBezTo>
                    <a:pt x="160351" y="350869"/>
                    <a:pt x="145020" y="334617"/>
                    <a:pt x="139956" y="331088"/>
                  </a:cubicBezTo>
                  <a:cubicBezTo>
                    <a:pt x="134845" y="327559"/>
                    <a:pt x="123695" y="330391"/>
                    <a:pt x="124671" y="326491"/>
                  </a:cubicBezTo>
                  <a:cubicBezTo>
                    <a:pt x="125600" y="322590"/>
                    <a:pt x="123370" y="307406"/>
                    <a:pt x="122116" y="299651"/>
                  </a:cubicBezTo>
                  <a:cubicBezTo>
                    <a:pt x="121047" y="293011"/>
                    <a:pt x="127505" y="286185"/>
                    <a:pt x="129503" y="279685"/>
                  </a:cubicBezTo>
                  <a:cubicBezTo>
                    <a:pt x="126344" y="272812"/>
                    <a:pt x="126297" y="264408"/>
                    <a:pt x="130385" y="258092"/>
                  </a:cubicBezTo>
                  <a:cubicBezTo>
                    <a:pt x="135682" y="250013"/>
                    <a:pt x="142557" y="243512"/>
                    <a:pt x="148969" y="236361"/>
                  </a:cubicBezTo>
                  <a:cubicBezTo>
                    <a:pt x="151431" y="233621"/>
                    <a:pt x="154404" y="231810"/>
                    <a:pt x="157656" y="230789"/>
                  </a:cubicBezTo>
                  <a:cubicBezTo>
                    <a:pt x="158585" y="229814"/>
                    <a:pt x="159654" y="228885"/>
                    <a:pt x="161001" y="228281"/>
                  </a:cubicBezTo>
                  <a:cubicBezTo>
                    <a:pt x="163649" y="227120"/>
                    <a:pt x="165461" y="225960"/>
                    <a:pt x="167134" y="224799"/>
                  </a:cubicBezTo>
                  <a:cubicBezTo>
                    <a:pt x="167134" y="218901"/>
                    <a:pt x="169782" y="212679"/>
                    <a:pt x="174009" y="208500"/>
                  </a:cubicBezTo>
                  <a:lnTo>
                    <a:pt x="177122" y="205389"/>
                  </a:lnTo>
                  <a:cubicBezTo>
                    <a:pt x="180839" y="201721"/>
                    <a:pt x="185485" y="199770"/>
                    <a:pt x="190455" y="198981"/>
                  </a:cubicBezTo>
                  <a:cubicBezTo>
                    <a:pt x="191571" y="197031"/>
                    <a:pt x="192871" y="195220"/>
                    <a:pt x="194358" y="193780"/>
                  </a:cubicBezTo>
                  <a:cubicBezTo>
                    <a:pt x="196774" y="191412"/>
                    <a:pt x="199886" y="189601"/>
                    <a:pt x="203185" y="188440"/>
                  </a:cubicBezTo>
                  <a:cubicBezTo>
                    <a:pt x="203185" y="182404"/>
                    <a:pt x="205275" y="176414"/>
                    <a:pt x="209410" y="172049"/>
                  </a:cubicBezTo>
                  <a:cubicBezTo>
                    <a:pt x="208853" y="169588"/>
                    <a:pt x="209410" y="167127"/>
                    <a:pt x="212337" y="164666"/>
                  </a:cubicBezTo>
                  <a:cubicBezTo>
                    <a:pt x="221582" y="156911"/>
                    <a:pt x="213917" y="148042"/>
                    <a:pt x="220607" y="145256"/>
                  </a:cubicBezTo>
                  <a:cubicBezTo>
                    <a:pt x="227297" y="142423"/>
                    <a:pt x="229852" y="138569"/>
                    <a:pt x="234637" y="132904"/>
                  </a:cubicBezTo>
                  <a:cubicBezTo>
                    <a:pt x="239422" y="127239"/>
                    <a:pt x="245787" y="132533"/>
                    <a:pt x="257262" y="130443"/>
                  </a:cubicBezTo>
                  <a:cubicBezTo>
                    <a:pt x="261443" y="129654"/>
                    <a:pt x="265299" y="130072"/>
                    <a:pt x="268923" y="131001"/>
                  </a:cubicBezTo>
                  <a:cubicBezTo>
                    <a:pt x="268412" y="125382"/>
                    <a:pt x="267297" y="120785"/>
                    <a:pt x="265903" y="119206"/>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7" name="Freeform 6">
              <a:extLst>
                <a:ext uri="{FF2B5EF4-FFF2-40B4-BE49-F238E27FC236}">
                  <a16:creationId xmlns:a16="http://schemas.microsoft.com/office/drawing/2014/main" id="{E8B546B7-A8CE-AC68-A29C-5E40BA714368}"/>
                </a:ext>
              </a:extLst>
            </p:cNvPr>
            <p:cNvSpPr/>
            <p:nvPr/>
          </p:nvSpPr>
          <p:spPr>
            <a:xfrm>
              <a:off x="8544473" y="2766969"/>
              <a:ext cx="2139584" cy="1981023"/>
            </a:xfrm>
            <a:custGeom>
              <a:avLst/>
              <a:gdLst>
                <a:gd name="connsiteX0" fmla="*/ 537745 w 554117"/>
                <a:gd name="connsiteY0" fmla="*/ 59643 h 513052"/>
                <a:gd name="connsiteX1" fmla="*/ 528175 w 554117"/>
                <a:gd name="connsiteY1" fmla="*/ 58575 h 513052"/>
                <a:gd name="connsiteX2" fmla="*/ 514145 w 554117"/>
                <a:gd name="connsiteY2" fmla="*/ 46549 h 513052"/>
                <a:gd name="connsiteX3" fmla="*/ 525016 w 554117"/>
                <a:gd name="connsiteY3" fmla="*/ 47617 h 513052"/>
                <a:gd name="connsiteX4" fmla="*/ 539371 w 554117"/>
                <a:gd name="connsiteY4" fmla="*/ 42694 h 513052"/>
                <a:gd name="connsiteX5" fmla="*/ 554052 w 554117"/>
                <a:gd name="connsiteY5" fmla="*/ 36333 h 513052"/>
                <a:gd name="connsiteX6" fmla="*/ 542902 w 554117"/>
                <a:gd name="connsiteY6" fmla="*/ 24306 h 513052"/>
                <a:gd name="connsiteX7" fmla="*/ 526642 w 554117"/>
                <a:gd name="connsiteY7" fmla="*/ 18316 h 513052"/>
                <a:gd name="connsiteX8" fmla="*/ 515167 w 554117"/>
                <a:gd name="connsiteY8" fmla="*/ 12326 h 513052"/>
                <a:gd name="connsiteX9" fmla="*/ 510800 w 554117"/>
                <a:gd name="connsiteY9" fmla="*/ 11119 h 513052"/>
                <a:gd name="connsiteX10" fmla="*/ 503738 w 554117"/>
                <a:gd name="connsiteY10" fmla="*/ 14416 h 513052"/>
                <a:gd name="connsiteX11" fmla="*/ 498256 w 554117"/>
                <a:gd name="connsiteY11" fmla="*/ 25003 h 513052"/>
                <a:gd name="connsiteX12" fmla="*/ 493146 w 554117"/>
                <a:gd name="connsiteY12" fmla="*/ 27139 h 513052"/>
                <a:gd name="connsiteX13" fmla="*/ 493750 w 554117"/>
                <a:gd name="connsiteY13" fmla="*/ 14741 h 513052"/>
                <a:gd name="connsiteX14" fmla="*/ 491752 w 554117"/>
                <a:gd name="connsiteY14" fmla="*/ 14091 h 513052"/>
                <a:gd name="connsiteX15" fmla="*/ 483994 w 554117"/>
                <a:gd name="connsiteY15" fmla="*/ 11583 h 513052"/>
                <a:gd name="connsiteX16" fmla="*/ 482879 w 554117"/>
                <a:gd name="connsiteY16" fmla="*/ 11305 h 513052"/>
                <a:gd name="connsiteX17" fmla="*/ 480834 w 554117"/>
                <a:gd name="connsiteY17" fmla="*/ 11165 h 513052"/>
                <a:gd name="connsiteX18" fmla="*/ 472611 w 554117"/>
                <a:gd name="connsiteY18" fmla="*/ 11258 h 513052"/>
                <a:gd name="connsiteX19" fmla="*/ 473448 w 554117"/>
                <a:gd name="connsiteY19" fmla="*/ 13673 h 513052"/>
                <a:gd name="connsiteX20" fmla="*/ 460672 w 554117"/>
                <a:gd name="connsiteY20" fmla="*/ 32386 h 513052"/>
                <a:gd name="connsiteX21" fmla="*/ 460997 w 554117"/>
                <a:gd name="connsiteY21" fmla="*/ 12280 h 513052"/>
                <a:gd name="connsiteX22" fmla="*/ 460997 w 554117"/>
                <a:gd name="connsiteY22" fmla="*/ 12094 h 513052"/>
                <a:gd name="connsiteX23" fmla="*/ 455422 w 554117"/>
                <a:gd name="connsiteY23" fmla="*/ 11072 h 513052"/>
                <a:gd name="connsiteX24" fmla="*/ 447292 w 554117"/>
                <a:gd name="connsiteY24" fmla="*/ 20406 h 513052"/>
                <a:gd name="connsiteX25" fmla="*/ 426572 w 554117"/>
                <a:gd name="connsiteY25" fmla="*/ 43019 h 513052"/>
                <a:gd name="connsiteX26" fmla="*/ 430381 w 554117"/>
                <a:gd name="connsiteY26" fmla="*/ 27835 h 513052"/>
                <a:gd name="connsiteX27" fmla="*/ 444411 w 554117"/>
                <a:gd name="connsiteY27" fmla="*/ 9447 h 513052"/>
                <a:gd name="connsiteX28" fmla="*/ 448035 w 554117"/>
                <a:gd name="connsiteY28" fmla="*/ 7172 h 513052"/>
                <a:gd name="connsiteX29" fmla="*/ 442274 w 554117"/>
                <a:gd name="connsiteY29" fmla="*/ 439 h 513052"/>
                <a:gd name="connsiteX30" fmla="*/ 441856 w 554117"/>
                <a:gd name="connsiteY30" fmla="*/ 300 h 513052"/>
                <a:gd name="connsiteX31" fmla="*/ 430056 w 554117"/>
                <a:gd name="connsiteY31" fmla="*/ 10887 h 513052"/>
                <a:gd name="connsiteX32" fmla="*/ 420393 w 554117"/>
                <a:gd name="connsiteY32" fmla="*/ 9494 h 513052"/>
                <a:gd name="connsiteX33" fmla="*/ 411752 w 554117"/>
                <a:gd name="connsiteY33" fmla="*/ 12465 h 513052"/>
                <a:gd name="connsiteX34" fmla="*/ 410962 w 554117"/>
                <a:gd name="connsiteY34" fmla="*/ 17945 h 513052"/>
                <a:gd name="connsiteX35" fmla="*/ 406177 w 554117"/>
                <a:gd name="connsiteY35" fmla="*/ 21474 h 513052"/>
                <a:gd name="connsiteX36" fmla="*/ 391217 w 554117"/>
                <a:gd name="connsiteY36" fmla="*/ 27139 h 513052"/>
                <a:gd name="connsiteX37" fmla="*/ 386107 w 554117"/>
                <a:gd name="connsiteY37" fmla="*/ 36333 h 513052"/>
                <a:gd name="connsiteX38" fmla="*/ 383877 w 554117"/>
                <a:gd name="connsiteY38" fmla="*/ 50124 h 513052"/>
                <a:gd name="connsiteX39" fmla="*/ 375886 w 554117"/>
                <a:gd name="connsiteY39" fmla="*/ 34568 h 513052"/>
                <a:gd name="connsiteX40" fmla="*/ 380346 w 554117"/>
                <a:gd name="connsiteY40" fmla="*/ 25374 h 513052"/>
                <a:gd name="connsiteX41" fmla="*/ 391078 w 554117"/>
                <a:gd name="connsiteY41" fmla="*/ 16087 h 513052"/>
                <a:gd name="connsiteX42" fmla="*/ 376118 w 554117"/>
                <a:gd name="connsiteY42" fmla="*/ 21056 h 513052"/>
                <a:gd name="connsiteX43" fmla="*/ 362274 w 554117"/>
                <a:gd name="connsiteY43" fmla="*/ 20499 h 513052"/>
                <a:gd name="connsiteX44" fmla="*/ 367895 w 554117"/>
                <a:gd name="connsiteY44" fmla="*/ 34893 h 513052"/>
                <a:gd name="connsiteX45" fmla="*/ 361809 w 554117"/>
                <a:gd name="connsiteY45" fmla="*/ 39862 h 513052"/>
                <a:gd name="connsiteX46" fmla="*/ 345549 w 554117"/>
                <a:gd name="connsiteY46" fmla="*/ 40187 h 513052"/>
                <a:gd name="connsiteX47" fmla="*/ 357675 w 554117"/>
                <a:gd name="connsiteY47" fmla="*/ 52214 h 513052"/>
                <a:gd name="connsiteX48" fmla="*/ 347454 w 554117"/>
                <a:gd name="connsiteY48" fmla="*/ 50774 h 513052"/>
                <a:gd name="connsiteX49" fmla="*/ 335979 w 554117"/>
                <a:gd name="connsiteY49" fmla="*/ 43019 h 513052"/>
                <a:gd name="connsiteX50" fmla="*/ 328964 w 554117"/>
                <a:gd name="connsiteY50" fmla="*/ 47617 h 513052"/>
                <a:gd name="connsiteX51" fmla="*/ 334074 w 554117"/>
                <a:gd name="connsiteY51" fmla="*/ 63172 h 513052"/>
                <a:gd name="connsiteX52" fmla="*/ 326734 w 554117"/>
                <a:gd name="connsiteY52" fmla="*/ 58250 h 513052"/>
                <a:gd name="connsiteX53" fmla="*/ 314608 w 554117"/>
                <a:gd name="connsiteY53" fmla="*/ 57182 h 513052"/>
                <a:gd name="connsiteX54" fmla="*/ 313029 w 554117"/>
                <a:gd name="connsiteY54" fmla="*/ 43391 h 513052"/>
                <a:gd name="connsiteX55" fmla="*/ 298023 w 554117"/>
                <a:gd name="connsiteY55" fmla="*/ 44830 h 513052"/>
                <a:gd name="connsiteX56" fmla="*/ 291983 w 554117"/>
                <a:gd name="connsiteY56" fmla="*/ 51517 h 513052"/>
                <a:gd name="connsiteX57" fmla="*/ 290032 w 554117"/>
                <a:gd name="connsiteY57" fmla="*/ 62476 h 513052"/>
                <a:gd name="connsiteX58" fmla="*/ 283017 w 554117"/>
                <a:gd name="connsiteY58" fmla="*/ 68141 h 513052"/>
                <a:gd name="connsiteX59" fmla="*/ 275351 w 554117"/>
                <a:gd name="connsiteY59" fmla="*/ 69209 h 513052"/>
                <a:gd name="connsiteX60" fmla="*/ 260671 w 554117"/>
                <a:gd name="connsiteY60" fmla="*/ 71345 h 513052"/>
                <a:gd name="connsiteX61" fmla="*/ 249521 w 554117"/>
                <a:gd name="connsiteY61" fmla="*/ 87597 h 513052"/>
                <a:gd name="connsiteX62" fmla="*/ 263226 w 554117"/>
                <a:gd name="connsiteY62" fmla="*/ 86529 h 513052"/>
                <a:gd name="connsiteX63" fmla="*/ 266106 w 554117"/>
                <a:gd name="connsiteY63" fmla="*/ 94980 h 513052"/>
                <a:gd name="connsiteX64" fmla="*/ 264201 w 554117"/>
                <a:gd name="connsiteY64" fmla="*/ 101342 h 513052"/>
                <a:gd name="connsiteX65" fmla="*/ 253051 w 554117"/>
                <a:gd name="connsiteY65" fmla="*/ 102735 h 513052"/>
                <a:gd name="connsiteX66" fmla="*/ 243481 w 554117"/>
                <a:gd name="connsiteY66" fmla="*/ 96373 h 513052"/>
                <a:gd name="connsiteX67" fmla="*/ 231681 w 554117"/>
                <a:gd name="connsiteY67" fmla="*/ 102735 h 513052"/>
                <a:gd name="connsiteX68" fmla="*/ 236791 w 554117"/>
                <a:gd name="connsiteY68" fmla="*/ 82953 h 513052"/>
                <a:gd name="connsiteX69" fmla="*/ 224062 w 554117"/>
                <a:gd name="connsiteY69" fmla="*/ 94237 h 513052"/>
                <a:gd name="connsiteX70" fmla="*/ 210357 w 554117"/>
                <a:gd name="connsiteY70" fmla="*/ 105892 h 513052"/>
                <a:gd name="connsiteX71" fmla="*/ 201112 w 554117"/>
                <a:gd name="connsiteY71" fmla="*/ 118615 h 513052"/>
                <a:gd name="connsiteX72" fmla="*/ 174631 w 554117"/>
                <a:gd name="connsiteY72" fmla="*/ 134867 h 513052"/>
                <a:gd name="connsiteX73" fmla="*/ 181971 w 554117"/>
                <a:gd name="connsiteY73" fmla="*/ 135564 h 513052"/>
                <a:gd name="connsiteX74" fmla="*/ 197906 w 554117"/>
                <a:gd name="connsiteY74" fmla="*/ 126741 h 513052"/>
                <a:gd name="connsiteX75" fmla="*/ 218951 w 554117"/>
                <a:gd name="connsiteY75" fmla="*/ 118244 h 513052"/>
                <a:gd name="connsiteX76" fmla="*/ 231681 w 554117"/>
                <a:gd name="connsiteY76" fmla="*/ 116154 h 513052"/>
                <a:gd name="connsiteX77" fmla="*/ 245061 w 554117"/>
                <a:gd name="connsiteY77" fmla="*/ 115086 h 513052"/>
                <a:gd name="connsiteX78" fmla="*/ 243156 w 554117"/>
                <a:gd name="connsiteY78" fmla="*/ 127809 h 513052"/>
                <a:gd name="connsiteX79" fmla="*/ 237116 w 554117"/>
                <a:gd name="connsiteY79" fmla="*/ 131663 h 513052"/>
                <a:gd name="connsiteX80" fmla="*/ 228475 w 554117"/>
                <a:gd name="connsiteY80" fmla="*/ 127066 h 513052"/>
                <a:gd name="connsiteX81" fmla="*/ 218301 w 554117"/>
                <a:gd name="connsiteY81" fmla="*/ 136957 h 513052"/>
                <a:gd name="connsiteX82" fmla="*/ 209706 w 554117"/>
                <a:gd name="connsiteY82" fmla="*/ 154277 h 513052"/>
                <a:gd name="connsiteX83" fmla="*/ 201762 w 554117"/>
                <a:gd name="connsiteY83" fmla="*/ 161707 h 513052"/>
                <a:gd name="connsiteX84" fmla="*/ 181971 w 554117"/>
                <a:gd name="connsiteY84" fmla="*/ 191704 h 513052"/>
                <a:gd name="connsiteX85" fmla="*/ 178440 w 554117"/>
                <a:gd name="connsiteY85" fmla="*/ 209395 h 513052"/>
                <a:gd name="connsiteX86" fmla="*/ 161529 w 554117"/>
                <a:gd name="connsiteY86" fmla="*/ 212553 h 513052"/>
                <a:gd name="connsiteX87" fmla="*/ 158649 w 554117"/>
                <a:gd name="connsiteY87" fmla="*/ 234470 h 513052"/>
                <a:gd name="connsiteX88" fmla="*/ 158649 w 554117"/>
                <a:gd name="connsiteY88" fmla="*/ 250722 h 513052"/>
                <a:gd name="connsiteX89" fmla="*/ 145269 w 554117"/>
                <a:gd name="connsiteY89" fmla="*/ 252812 h 513052"/>
                <a:gd name="connsiteX90" fmla="*/ 130263 w 554117"/>
                <a:gd name="connsiteY90" fmla="*/ 258105 h 513052"/>
                <a:gd name="connsiteX91" fmla="*/ 142389 w 554117"/>
                <a:gd name="connsiteY91" fmla="*/ 272918 h 513052"/>
                <a:gd name="connsiteX92" fmla="*/ 135699 w 554117"/>
                <a:gd name="connsiteY92" fmla="*/ 276075 h 513052"/>
                <a:gd name="connsiteX93" fmla="*/ 127662 w 554117"/>
                <a:gd name="connsiteY93" fmla="*/ 277468 h 513052"/>
                <a:gd name="connsiteX94" fmla="*/ 126686 w 554117"/>
                <a:gd name="connsiteY94" fmla="*/ 284434 h 513052"/>
                <a:gd name="connsiteX95" fmla="*/ 78230 w 554117"/>
                <a:gd name="connsiteY95" fmla="*/ 330776 h 513052"/>
                <a:gd name="connsiteX96" fmla="*/ 61924 w 554117"/>
                <a:gd name="connsiteY96" fmla="*/ 332261 h 513052"/>
                <a:gd name="connsiteX97" fmla="*/ 54909 w 554117"/>
                <a:gd name="connsiteY97" fmla="*/ 333794 h 513052"/>
                <a:gd name="connsiteX98" fmla="*/ 49009 w 554117"/>
                <a:gd name="connsiteY98" fmla="*/ 340805 h 513052"/>
                <a:gd name="connsiteX99" fmla="*/ 49334 w 554117"/>
                <a:gd name="connsiteY99" fmla="*/ 342616 h 513052"/>
                <a:gd name="connsiteX100" fmla="*/ 57232 w 554117"/>
                <a:gd name="connsiteY100" fmla="*/ 347028 h 513052"/>
                <a:gd name="connsiteX101" fmla="*/ 49520 w 554117"/>
                <a:gd name="connsiteY101" fmla="*/ 349303 h 513052"/>
                <a:gd name="connsiteX102" fmla="*/ 43016 w 554117"/>
                <a:gd name="connsiteY102" fmla="*/ 361933 h 513052"/>
                <a:gd name="connsiteX103" fmla="*/ 15373 w 554117"/>
                <a:gd name="connsiteY103" fmla="*/ 376978 h 513052"/>
                <a:gd name="connsiteX104" fmla="*/ 18486 w 554117"/>
                <a:gd name="connsiteY104" fmla="*/ 395784 h 513052"/>
                <a:gd name="connsiteX105" fmla="*/ 9055 w 554117"/>
                <a:gd name="connsiteY105" fmla="*/ 419884 h 513052"/>
                <a:gd name="connsiteX106" fmla="*/ 1900 w 554117"/>
                <a:gd name="connsiteY106" fmla="*/ 426849 h 513052"/>
                <a:gd name="connsiteX107" fmla="*/ 1436 w 554117"/>
                <a:gd name="connsiteY107" fmla="*/ 435347 h 513052"/>
                <a:gd name="connsiteX108" fmla="*/ 12585 w 554117"/>
                <a:gd name="connsiteY108" fmla="*/ 439201 h 513052"/>
                <a:gd name="connsiteX109" fmla="*/ 27870 w 554117"/>
                <a:gd name="connsiteY109" fmla="*/ 432839 h 513052"/>
                <a:gd name="connsiteX110" fmla="*/ 31680 w 554117"/>
                <a:gd name="connsiteY110" fmla="*/ 440269 h 513052"/>
                <a:gd name="connsiteX111" fmla="*/ 20530 w 554117"/>
                <a:gd name="connsiteY111" fmla="*/ 450159 h 513052"/>
                <a:gd name="connsiteX112" fmla="*/ 11935 w 554117"/>
                <a:gd name="connsiteY112" fmla="*/ 447698 h 513052"/>
                <a:gd name="connsiteX113" fmla="*/ 4595 w 554117"/>
                <a:gd name="connsiteY113" fmla="*/ 454756 h 513052"/>
                <a:gd name="connsiteX114" fmla="*/ 3015 w 554117"/>
                <a:gd name="connsiteY114" fmla="*/ 468872 h 513052"/>
                <a:gd name="connsiteX115" fmla="*/ 15141 w 554117"/>
                <a:gd name="connsiteY115" fmla="*/ 467108 h 513052"/>
                <a:gd name="connsiteX116" fmla="*/ 26616 w 554117"/>
                <a:gd name="connsiteY116" fmla="*/ 468547 h 513052"/>
                <a:gd name="connsiteX117" fmla="*/ 21227 w 554117"/>
                <a:gd name="connsiteY117" fmla="*/ 478067 h 513052"/>
                <a:gd name="connsiteX118" fmla="*/ 13840 w 554117"/>
                <a:gd name="connsiteY118" fmla="*/ 483685 h 513052"/>
                <a:gd name="connsiteX119" fmla="*/ 19275 w 554117"/>
                <a:gd name="connsiteY119" fmla="*/ 489257 h 513052"/>
                <a:gd name="connsiteX120" fmla="*/ 19415 w 554117"/>
                <a:gd name="connsiteY120" fmla="*/ 489257 h 513052"/>
                <a:gd name="connsiteX121" fmla="*/ 20019 w 554117"/>
                <a:gd name="connsiteY121" fmla="*/ 489629 h 513052"/>
                <a:gd name="connsiteX122" fmla="*/ 25361 w 554117"/>
                <a:gd name="connsiteY122" fmla="*/ 492693 h 513052"/>
                <a:gd name="connsiteX123" fmla="*/ 40693 w 554117"/>
                <a:gd name="connsiteY123" fmla="*/ 503745 h 513052"/>
                <a:gd name="connsiteX124" fmla="*/ 45245 w 554117"/>
                <a:gd name="connsiteY124" fmla="*/ 510478 h 513052"/>
                <a:gd name="connsiteX125" fmla="*/ 60112 w 554117"/>
                <a:gd name="connsiteY125" fmla="*/ 512707 h 513052"/>
                <a:gd name="connsiteX126" fmla="*/ 100298 w 554117"/>
                <a:gd name="connsiteY126" fmla="*/ 479877 h 513052"/>
                <a:gd name="connsiteX127" fmla="*/ 115304 w 554117"/>
                <a:gd name="connsiteY127" fmla="*/ 476348 h 513052"/>
                <a:gd name="connsiteX128" fmla="*/ 120739 w 554117"/>
                <a:gd name="connsiteY128" fmla="*/ 459075 h 513052"/>
                <a:gd name="connsiteX129" fmla="*/ 129334 w 554117"/>
                <a:gd name="connsiteY129" fmla="*/ 472123 h 513052"/>
                <a:gd name="connsiteX130" fmla="*/ 134445 w 554117"/>
                <a:gd name="connsiteY130" fmla="*/ 482942 h 513052"/>
                <a:gd name="connsiteX131" fmla="*/ 141181 w 554117"/>
                <a:gd name="connsiteY131" fmla="*/ 484010 h 513052"/>
                <a:gd name="connsiteX132" fmla="*/ 146291 w 554117"/>
                <a:gd name="connsiteY132" fmla="*/ 468129 h 513052"/>
                <a:gd name="connsiteX133" fmla="*/ 149357 w 554117"/>
                <a:gd name="connsiteY133" fmla="*/ 448813 h 513052"/>
                <a:gd name="connsiteX134" fmla="*/ 163713 w 554117"/>
                <a:gd name="connsiteY134" fmla="*/ 443148 h 513052"/>
                <a:gd name="connsiteX135" fmla="*/ 162691 w 554117"/>
                <a:gd name="connsiteY135" fmla="*/ 420441 h 513052"/>
                <a:gd name="connsiteX136" fmla="*/ 161669 w 554117"/>
                <a:gd name="connsiteY136" fmla="*/ 409111 h 513052"/>
                <a:gd name="connsiteX137" fmla="*/ 169892 w 554117"/>
                <a:gd name="connsiteY137" fmla="*/ 396620 h 513052"/>
                <a:gd name="connsiteX138" fmla="*/ 155536 w 554117"/>
                <a:gd name="connsiteY138" fmla="*/ 379625 h 513052"/>
                <a:gd name="connsiteX139" fmla="*/ 156559 w 554117"/>
                <a:gd name="connsiteY139" fmla="*/ 356918 h 513052"/>
                <a:gd name="connsiteX140" fmla="*/ 156559 w 554117"/>
                <a:gd name="connsiteY140" fmla="*/ 333097 h 513052"/>
                <a:gd name="connsiteX141" fmla="*/ 158603 w 554117"/>
                <a:gd name="connsiteY141" fmla="*/ 309276 h 513052"/>
                <a:gd name="connsiteX142" fmla="*/ 180112 w 554117"/>
                <a:gd name="connsiteY142" fmla="*/ 293396 h 513052"/>
                <a:gd name="connsiteX143" fmla="*/ 194468 w 554117"/>
                <a:gd name="connsiteY143" fmla="*/ 292235 h 513052"/>
                <a:gd name="connsiteX144" fmla="*/ 194468 w 554117"/>
                <a:gd name="connsiteY144" fmla="*/ 278629 h 513052"/>
                <a:gd name="connsiteX145" fmla="*/ 189358 w 554117"/>
                <a:gd name="connsiteY145" fmla="*/ 266138 h 513052"/>
                <a:gd name="connsiteX146" fmla="*/ 203713 w 554117"/>
                <a:gd name="connsiteY146" fmla="*/ 235538 h 513052"/>
                <a:gd name="connsiteX147" fmla="*/ 204735 w 554117"/>
                <a:gd name="connsiteY147" fmla="*/ 213946 h 513052"/>
                <a:gd name="connsiteX148" fmla="*/ 221135 w 554117"/>
                <a:gd name="connsiteY148" fmla="*/ 209442 h 513052"/>
                <a:gd name="connsiteX149" fmla="*/ 225223 w 554117"/>
                <a:gd name="connsiteY149" fmla="*/ 195836 h 513052"/>
                <a:gd name="connsiteX150" fmla="*/ 236512 w 554117"/>
                <a:gd name="connsiteY150" fmla="*/ 177680 h 513052"/>
                <a:gd name="connsiteX151" fmla="*/ 241623 w 554117"/>
                <a:gd name="connsiteY151" fmla="*/ 165189 h 513052"/>
                <a:gd name="connsiteX152" fmla="*/ 247755 w 554117"/>
                <a:gd name="connsiteY152" fmla="*/ 148148 h 513052"/>
                <a:gd name="connsiteX153" fmla="*/ 264155 w 554117"/>
                <a:gd name="connsiteY153" fmla="*/ 134542 h 513052"/>
                <a:gd name="connsiteX154" fmla="*/ 280555 w 554117"/>
                <a:gd name="connsiteY154" fmla="*/ 127763 h 513052"/>
                <a:gd name="connsiteX155" fmla="*/ 285665 w 554117"/>
                <a:gd name="connsiteY155" fmla="*/ 110768 h 513052"/>
                <a:gd name="connsiteX156" fmla="*/ 308197 w 554117"/>
                <a:gd name="connsiteY156" fmla="*/ 115318 h 513052"/>
                <a:gd name="connsiteX157" fmla="*/ 322552 w 554117"/>
                <a:gd name="connsiteY157" fmla="*/ 110768 h 513052"/>
                <a:gd name="connsiteX158" fmla="*/ 334864 w 554117"/>
                <a:gd name="connsiteY158" fmla="*/ 92612 h 513052"/>
                <a:gd name="connsiteX159" fmla="*/ 336954 w 554117"/>
                <a:gd name="connsiteY159" fmla="*/ 94051 h 513052"/>
                <a:gd name="connsiteX160" fmla="*/ 351263 w 554117"/>
                <a:gd name="connsiteY160" fmla="*/ 82396 h 513052"/>
                <a:gd name="connsiteX161" fmla="*/ 374818 w 554117"/>
                <a:gd name="connsiteY161" fmla="*/ 101667 h 513052"/>
                <a:gd name="connsiteX162" fmla="*/ 398372 w 554117"/>
                <a:gd name="connsiteY162" fmla="*/ 102781 h 513052"/>
                <a:gd name="connsiteX163" fmla="*/ 414771 w 554117"/>
                <a:gd name="connsiteY163" fmla="*/ 103895 h 513052"/>
                <a:gd name="connsiteX164" fmla="*/ 427083 w 554117"/>
                <a:gd name="connsiteY164" fmla="*/ 107285 h 513052"/>
                <a:gd name="connsiteX165" fmla="*/ 436281 w 554117"/>
                <a:gd name="connsiteY165" fmla="*/ 93680 h 513052"/>
                <a:gd name="connsiteX166" fmla="*/ 440370 w 554117"/>
                <a:gd name="connsiteY166" fmla="*/ 73248 h 513052"/>
                <a:gd name="connsiteX167" fmla="*/ 453656 w 554117"/>
                <a:gd name="connsiteY167" fmla="*/ 57368 h 513052"/>
                <a:gd name="connsiteX168" fmla="*/ 475166 w 554117"/>
                <a:gd name="connsiteY168" fmla="*/ 51703 h 513052"/>
                <a:gd name="connsiteX169" fmla="*/ 492588 w 554117"/>
                <a:gd name="connsiteY169" fmla="*/ 51703 h 513052"/>
                <a:gd name="connsiteX170" fmla="*/ 515120 w 554117"/>
                <a:gd name="connsiteY170" fmla="*/ 68744 h 513052"/>
                <a:gd name="connsiteX171" fmla="*/ 515120 w 554117"/>
                <a:gd name="connsiteY171" fmla="*/ 82071 h 513052"/>
                <a:gd name="connsiteX172" fmla="*/ 525016 w 554117"/>
                <a:gd name="connsiteY172" fmla="*/ 76638 h 513052"/>
                <a:gd name="connsiteX173" fmla="*/ 542856 w 554117"/>
                <a:gd name="connsiteY173" fmla="*/ 67444 h 513052"/>
                <a:gd name="connsiteX174" fmla="*/ 553820 w 554117"/>
                <a:gd name="connsiteY174" fmla="*/ 58900 h 513052"/>
                <a:gd name="connsiteX175" fmla="*/ 537745 w 554117"/>
                <a:gd name="connsiteY175" fmla="*/ 59690 h 513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554117" h="513052">
                  <a:moveTo>
                    <a:pt x="537745" y="59643"/>
                  </a:moveTo>
                  <a:cubicBezTo>
                    <a:pt x="536444" y="64937"/>
                    <a:pt x="527850" y="63869"/>
                    <a:pt x="528175" y="58575"/>
                  </a:cubicBezTo>
                  <a:cubicBezTo>
                    <a:pt x="528500" y="53282"/>
                    <a:pt x="514795" y="49056"/>
                    <a:pt x="514145" y="46549"/>
                  </a:cubicBezTo>
                  <a:cubicBezTo>
                    <a:pt x="513494" y="44087"/>
                    <a:pt x="519905" y="44413"/>
                    <a:pt x="525016" y="47617"/>
                  </a:cubicBezTo>
                  <a:cubicBezTo>
                    <a:pt x="530126" y="50820"/>
                    <a:pt x="533611" y="48685"/>
                    <a:pt x="539371" y="42694"/>
                  </a:cubicBezTo>
                  <a:cubicBezTo>
                    <a:pt x="545132" y="36704"/>
                    <a:pt x="553076" y="41626"/>
                    <a:pt x="554052" y="36333"/>
                  </a:cubicBezTo>
                  <a:cubicBezTo>
                    <a:pt x="555028" y="31039"/>
                    <a:pt x="544807" y="27510"/>
                    <a:pt x="542902" y="24306"/>
                  </a:cubicBezTo>
                  <a:cubicBezTo>
                    <a:pt x="540997" y="21102"/>
                    <a:pt x="533657" y="16877"/>
                    <a:pt x="526642" y="18316"/>
                  </a:cubicBezTo>
                  <a:cubicBezTo>
                    <a:pt x="519627" y="19709"/>
                    <a:pt x="519301" y="16552"/>
                    <a:pt x="515167" y="12326"/>
                  </a:cubicBezTo>
                  <a:cubicBezTo>
                    <a:pt x="514145" y="11258"/>
                    <a:pt x="512565" y="10933"/>
                    <a:pt x="510800" y="11119"/>
                  </a:cubicBezTo>
                  <a:cubicBezTo>
                    <a:pt x="508616" y="12558"/>
                    <a:pt x="506247" y="13719"/>
                    <a:pt x="503738" y="14416"/>
                  </a:cubicBezTo>
                  <a:cubicBezTo>
                    <a:pt x="500672" y="16970"/>
                    <a:pt x="498256" y="20731"/>
                    <a:pt x="498256" y="25003"/>
                  </a:cubicBezTo>
                  <a:cubicBezTo>
                    <a:pt x="498256" y="34893"/>
                    <a:pt x="490265" y="32432"/>
                    <a:pt x="493146" y="27139"/>
                  </a:cubicBezTo>
                  <a:cubicBezTo>
                    <a:pt x="495608" y="22588"/>
                    <a:pt x="491055" y="17295"/>
                    <a:pt x="493750" y="14741"/>
                  </a:cubicBezTo>
                  <a:cubicBezTo>
                    <a:pt x="493099" y="14555"/>
                    <a:pt x="492402" y="14369"/>
                    <a:pt x="491752" y="14091"/>
                  </a:cubicBezTo>
                  <a:cubicBezTo>
                    <a:pt x="489197" y="13069"/>
                    <a:pt x="486688" y="12280"/>
                    <a:pt x="483994" y="11583"/>
                  </a:cubicBezTo>
                  <a:cubicBezTo>
                    <a:pt x="483204" y="11444"/>
                    <a:pt x="482832" y="11351"/>
                    <a:pt x="482879" y="11305"/>
                  </a:cubicBezTo>
                  <a:cubicBezTo>
                    <a:pt x="482182" y="11258"/>
                    <a:pt x="481485" y="11165"/>
                    <a:pt x="480834" y="11165"/>
                  </a:cubicBezTo>
                  <a:cubicBezTo>
                    <a:pt x="478093" y="11026"/>
                    <a:pt x="475352" y="11165"/>
                    <a:pt x="472611" y="11258"/>
                  </a:cubicBezTo>
                  <a:cubicBezTo>
                    <a:pt x="472658" y="12233"/>
                    <a:pt x="472937" y="13069"/>
                    <a:pt x="473448" y="13673"/>
                  </a:cubicBezTo>
                  <a:cubicBezTo>
                    <a:pt x="476328" y="17202"/>
                    <a:pt x="465457" y="32386"/>
                    <a:pt x="460672" y="32386"/>
                  </a:cubicBezTo>
                  <a:cubicBezTo>
                    <a:pt x="455887" y="32386"/>
                    <a:pt x="461322" y="19338"/>
                    <a:pt x="460997" y="12280"/>
                  </a:cubicBezTo>
                  <a:cubicBezTo>
                    <a:pt x="460997" y="12187"/>
                    <a:pt x="460997" y="12187"/>
                    <a:pt x="460997" y="12094"/>
                  </a:cubicBezTo>
                  <a:cubicBezTo>
                    <a:pt x="459046" y="11908"/>
                    <a:pt x="457187" y="11630"/>
                    <a:pt x="455422" y="11072"/>
                  </a:cubicBezTo>
                  <a:cubicBezTo>
                    <a:pt x="453331" y="13023"/>
                    <a:pt x="450637" y="16180"/>
                    <a:pt x="447292" y="20406"/>
                  </a:cubicBezTo>
                  <a:cubicBezTo>
                    <a:pt x="438372" y="31689"/>
                    <a:pt x="431682" y="41952"/>
                    <a:pt x="426572" y="43019"/>
                  </a:cubicBezTo>
                  <a:cubicBezTo>
                    <a:pt x="421461" y="44087"/>
                    <a:pt x="422112" y="32757"/>
                    <a:pt x="430381" y="27835"/>
                  </a:cubicBezTo>
                  <a:cubicBezTo>
                    <a:pt x="438651" y="22867"/>
                    <a:pt x="438976" y="9447"/>
                    <a:pt x="444411" y="9447"/>
                  </a:cubicBezTo>
                  <a:cubicBezTo>
                    <a:pt x="446409" y="9447"/>
                    <a:pt x="447617" y="8472"/>
                    <a:pt x="448035" y="7172"/>
                  </a:cubicBezTo>
                  <a:cubicBezTo>
                    <a:pt x="445759" y="5361"/>
                    <a:pt x="443807" y="3132"/>
                    <a:pt x="442274" y="439"/>
                  </a:cubicBezTo>
                  <a:cubicBezTo>
                    <a:pt x="442135" y="439"/>
                    <a:pt x="441996" y="300"/>
                    <a:pt x="441856" y="300"/>
                  </a:cubicBezTo>
                  <a:cubicBezTo>
                    <a:pt x="433866" y="-1836"/>
                    <a:pt x="432611" y="8054"/>
                    <a:pt x="430056" y="10887"/>
                  </a:cubicBezTo>
                  <a:cubicBezTo>
                    <a:pt x="428662" y="12419"/>
                    <a:pt x="424156" y="10794"/>
                    <a:pt x="420393" y="9494"/>
                  </a:cubicBezTo>
                  <a:cubicBezTo>
                    <a:pt x="417745" y="11072"/>
                    <a:pt x="414771" y="12140"/>
                    <a:pt x="411752" y="12465"/>
                  </a:cubicBezTo>
                  <a:cubicBezTo>
                    <a:pt x="410358" y="13719"/>
                    <a:pt x="409382" y="15298"/>
                    <a:pt x="410962" y="17945"/>
                  </a:cubicBezTo>
                  <a:cubicBezTo>
                    <a:pt x="414167" y="23238"/>
                    <a:pt x="409382" y="27835"/>
                    <a:pt x="406177" y="21474"/>
                  </a:cubicBezTo>
                  <a:cubicBezTo>
                    <a:pt x="402971" y="15112"/>
                    <a:pt x="395027" y="20034"/>
                    <a:pt x="391217" y="27139"/>
                  </a:cubicBezTo>
                  <a:cubicBezTo>
                    <a:pt x="387361" y="34197"/>
                    <a:pt x="382297" y="33825"/>
                    <a:pt x="386107" y="36333"/>
                  </a:cubicBezTo>
                  <a:cubicBezTo>
                    <a:pt x="389916" y="38794"/>
                    <a:pt x="389638" y="48359"/>
                    <a:pt x="383877" y="50124"/>
                  </a:cubicBezTo>
                  <a:cubicBezTo>
                    <a:pt x="378116" y="51889"/>
                    <a:pt x="380346" y="32804"/>
                    <a:pt x="375886" y="34568"/>
                  </a:cubicBezTo>
                  <a:cubicBezTo>
                    <a:pt x="371426" y="36333"/>
                    <a:pt x="374307" y="25374"/>
                    <a:pt x="380346" y="25374"/>
                  </a:cubicBezTo>
                  <a:cubicBezTo>
                    <a:pt x="384852" y="25374"/>
                    <a:pt x="389359" y="19895"/>
                    <a:pt x="391078" y="16087"/>
                  </a:cubicBezTo>
                  <a:cubicBezTo>
                    <a:pt x="386107" y="17852"/>
                    <a:pt x="381229" y="19709"/>
                    <a:pt x="376118" y="21056"/>
                  </a:cubicBezTo>
                  <a:cubicBezTo>
                    <a:pt x="371426" y="22310"/>
                    <a:pt x="366641" y="21985"/>
                    <a:pt x="362274" y="20499"/>
                  </a:cubicBezTo>
                  <a:cubicBezTo>
                    <a:pt x="359347" y="23563"/>
                    <a:pt x="361159" y="30621"/>
                    <a:pt x="367895" y="34893"/>
                  </a:cubicBezTo>
                  <a:cubicBezTo>
                    <a:pt x="376815" y="40558"/>
                    <a:pt x="366316" y="44087"/>
                    <a:pt x="361809" y="39862"/>
                  </a:cubicBezTo>
                  <a:cubicBezTo>
                    <a:pt x="357349" y="35636"/>
                    <a:pt x="350334" y="37726"/>
                    <a:pt x="345549" y="40187"/>
                  </a:cubicBezTo>
                  <a:cubicBezTo>
                    <a:pt x="340764" y="42648"/>
                    <a:pt x="357024" y="49010"/>
                    <a:pt x="357675" y="52214"/>
                  </a:cubicBezTo>
                  <a:cubicBezTo>
                    <a:pt x="358325" y="55371"/>
                    <a:pt x="349359" y="48313"/>
                    <a:pt x="347454" y="50774"/>
                  </a:cubicBezTo>
                  <a:cubicBezTo>
                    <a:pt x="345549" y="53282"/>
                    <a:pt x="336629" y="49010"/>
                    <a:pt x="335979" y="43019"/>
                  </a:cubicBezTo>
                  <a:cubicBezTo>
                    <a:pt x="335328" y="37029"/>
                    <a:pt x="320973" y="45481"/>
                    <a:pt x="328964" y="47617"/>
                  </a:cubicBezTo>
                  <a:cubicBezTo>
                    <a:pt x="336954" y="49753"/>
                    <a:pt x="334074" y="55418"/>
                    <a:pt x="334074" y="63172"/>
                  </a:cubicBezTo>
                  <a:cubicBezTo>
                    <a:pt x="334074" y="70927"/>
                    <a:pt x="324829" y="64937"/>
                    <a:pt x="326734" y="58250"/>
                  </a:cubicBezTo>
                  <a:cubicBezTo>
                    <a:pt x="328638" y="51563"/>
                    <a:pt x="320973" y="52957"/>
                    <a:pt x="314608" y="57182"/>
                  </a:cubicBezTo>
                  <a:cubicBezTo>
                    <a:pt x="308243" y="61408"/>
                    <a:pt x="315584" y="49428"/>
                    <a:pt x="313029" y="43391"/>
                  </a:cubicBezTo>
                  <a:cubicBezTo>
                    <a:pt x="310474" y="37401"/>
                    <a:pt x="304713" y="43391"/>
                    <a:pt x="298023" y="44830"/>
                  </a:cubicBezTo>
                  <a:cubicBezTo>
                    <a:pt x="291333" y="46223"/>
                    <a:pt x="287848" y="46595"/>
                    <a:pt x="291983" y="51517"/>
                  </a:cubicBezTo>
                  <a:cubicBezTo>
                    <a:pt x="296118" y="56439"/>
                    <a:pt x="295514" y="63497"/>
                    <a:pt x="290032" y="62476"/>
                  </a:cubicBezTo>
                  <a:cubicBezTo>
                    <a:pt x="284596" y="61408"/>
                    <a:pt x="282413" y="62476"/>
                    <a:pt x="283017" y="68141"/>
                  </a:cubicBezTo>
                  <a:cubicBezTo>
                    <a:pt x="283667" y="73759"/>
                    <a:pt x="276002" y="74131"/>
                    <a:pt x="275351" y="69209"/>
                  </a:cubicBezTo>
                  <a:cubicBezTo>
                    <a:pt x="274701" y="64287"/>
                    <a:pt x="263876" y="65680"/>
                    <a:pt x="260671" y="71345"/>
                  </a:cubicBezTo>
                  <a:cubicBezTo>
                    <a:pt x="257465" y="76963"/>
                    <a:pt x="248545" y="81235"/>
                    <a:pt x="249521" y="87597"/>
                  </a:cubicBezTo>
                  <a:cubicBezTo>
                    <a:pt x="250450" y="93958"/>
                    <a:pt x="257511" y="84393"/>
                    <a:pt x="263226" y="86529"/>
                  </a:cubicBezTo>
                  <a:cubicBezTo>
                    <a:pt x="268986" y="88665"/>
                    <a:pt x="262900" y="91822"/>
                    <a:pt x="266106" y="94980"/>
                  </a:cubicBezTo>
                  <a:cubicBezTo>
                    <a:pt x="269265" y="98184"/>
                    <a:pt x="268661" y="105939"/>
                    <a:pt x="264201" y="101342"/>
                  </a:cubicBezTo>
                  <a:cubicBezTo>
                    <a:pt x="259741" y="96744"/>
                    <a:pt x="253981" y="95305"/>
                    <a:pt x="253051" y="102735"/>
                  </a:cubicBezTo>
                  <a:cubicBezTo>
                    <a:pt x="252076" y="110164"/>
                    <a:pt x="247337" y="101667"/>
                    <a:pt x="243481" y="96373"/>
                  </a:cubicBezTo>
                  <a:cubicBezTo>
                    <a:pt x="239672" y="91079"/>
                    <a:pt x="235816" y="106264"/>
                    <a:pt x="231681" y="102735"/>
                  </a:cubicBezTo>
                  <a:cubicBezTo>
                    <a:pt x="227546" y="99205"/>
                    <a:pt x="239950" y="88247"/>
                    <a:pt x="236791" y="82953"/>
                  </a:cubicBezTo>
                  <a:cubicBezTo>
                    <a:pt x="233586" y="77660"/>
                    <a:pt x="231356" y="86111"/>
                    <a:pt x="224062" y="94237"/>
                  </a:cubicBezTo>
                  <a:cubicBezTo>
                    <a:pt x="216721" y="102363"/>
                    <a:pt x="206872" y="101992"/>
                    <a:pt x="210357" y="105892"/>
                  </a:cubicBezTo>
                  <a:cubicBezTo>
                    <a:pt x="213841" y="109793"/>
                    <a:pt x="203016" y="111882"/>
                    <a:pt x="201112" y="118615"/>
                  </a:cubicBezTo>
                  <a:cubicBezTo>
                    <a:pt x="199207" y="125348"/>
                    <a:pt x="184201" y="127809"/>
                    <a:pt x="174631" y="134867"/>
                  </a:cubicBezTo>
                  <a:cubicBezTo>
                    <a:pt x="165060" y="141925"/>
                    <a:pt x="176535" y="142297"/>
                    <a:pt x="181971" y="135564"/>
                  </a:cubicBezTo>
                  <a:cubicBezTo>
                    <a:pt x="187406" y="128831"/>
                    <a:pt x="189311" y="132731"/>
                    <a:pt x="197906" y="126741"/>
                  </a:cubicBezTo>
                  <a:cubicBezTo>
                    <a:pt x="206547" y="120751"/>
                    <a:pt x="215746" y="115783"/>
                    <a:pt x="218951" y="118244"/>
                  </a:cubicBezTo>
                  <a:cubicBezTo>
                    <a:pt x="222111" y="120705"/>
                    <a:pt x="227546" y="122516"/>
                    <a:pt x="231681" y="116154"/>
                  </a:cubicBezTo>
                  <a:cubicBezTo>
                    <a:pt x="235816" y="109793"/>
                    <a:pt x="240926" y="111186"/>
                    <a:pt x="245061" y="115086"/>
                  </a:cubicBezTo>
                  <a:cubicBezTo>
                    <a:pt x="249196" y="118987"/>
                    <a:pt x="238046" y="122144"/>
                    <a:pt x="243156" y="127809"/>
                  </a:cubicBezTo>
                  <a:cubicBezTo>
                    <a:pt x="248266" y="133474"/>
                    <a:pt x="237116" y="136632"/>
                    <a:pt x="237116" y="131663"/>
                  </a:cubicBezTo>
                  <a:cubicBezTo>
                    <a:pt x="237116" y="126695"/>
                    <a:pt x="230752" y="122469"/>
                    <a:pt x="228475" y="127066"/>
                  </a:cubicBezTo>
                  <a:cubicBezTo>
                    <a:pt x="226245" y="131663"/>
                    <a:pt x="222436" y="136585"/>
                    <a:pt x="218301" y="136957"/>
                  </a:cubicBezTo>
                  <a:cubicBezTo>
                    <a:pt x="214166" y="137328"/>
                    <a:pt x="209706" y="145780"/>
                    <a:pt x="209706" y="154277"/>
                  </a:cubicBezTo>
                  <a:cubicBezTo>
                    <a:pt x="209706" y="162775"/>
                    <a:pt x="202366" y="154277"/>
                    <a:pt x="201762" y="161707"/>
                  </a:cubicBezTo>
                  <a:cubicBezTo>
                    <a:pt x="201112" y="169136"/>
                    <a:pt x="190891" y="182184"/>
                    <a:pt x="181971" y="191704"/>
                  </a:cubicBezTo>
                  <a:cubicBezTo>
                    <a:pt x="173051" y="201223"/>
                    <a:pt x="181320" y="203359"/>
                    <a:pt x="178440" y="209395"/>
                  </a:cubicBezTo>
                  <a:cubicBezTo>
                    <a:pt x="175560" y="215385"/>
                    <a:pt x="165060" y="210092"/>
                    <a:pt x="161529" y="212553"/>
                  </a:cubicBezTo>
                  <a:cubicBezTo>
                    <a:pt x="157999" y="215060"/>
                    <a:pt x="163434" y="229873"/>
                    <a:pt x="158649" y="234470"/>
                  </a:cubicBezTo>
                  <a:cubicBezTo>
                    <a:pt x="153864" y="239067"/>
                    <a:pt x="158649" y="245428"/>
                    <a:pt x="158649" y="250722"/>
                  </a:cubicBezTo>
                  <a:cubicBezTo>
                    <a:pt x="158649" y="256016"/>
                    <a:pt x="146198" y="247518"/>
                    <a:pt x="145269" y="252812"/>
                  </a:cubicBezTo>
                  <a:cubicBezTo>
                    <a:pt x="144294" y="258105"/>
                    <a:pt x="133469" y="256712"/>
                    <a:pt x="130263" y="258105"/>
                  </a:cubicBezTo>
                  <a:cubicBezTo>
                    <a:pt x="127058" y="259498"/>
                    <a:pt x="136628" y="267996"/>
                    <a:pt x="142389" y="272918"/>
                  </a:cubicBezTo>
                  <a:cubicBezTo>
                    <a:pt x="148103" y="277886"/>
                    <a:pt x="136953" y="281740"/>
                    <a:pt x="135699" y="276075"/>
                  </a:cubicBezTo>
                  <a:cubicBezTo>
                    <a:pt x="134956" y="272825"/>
                    <a:pt x="131982" y="274497"/>
                    <a:pt x="127662" y="277468"/>
                  </a:cubicBezTo>
                  <a:cubicBezTo>
                    <a:pt x="127801" y="279883"/>
                    <a:pt x="127522" y="282298"/>
                    <a:pt x="126686" y="284434"/>
                  </a:cubicBezTo>
                  <a:cubicBezTo>
                    <a:pt x="117441" y="307697"/>
                    <a:pt x="101041" y="320699"/>
                    <a:pt x="78230" y="330776"/>
                  </a:cubicBezTo>
                  <a:cubicBezTo>
                    <a:pt x="72470" y="333329"/>
                    <a:pt x="66895" y="333562"/>
                    <a:pt x="61924" y="332261"/>
                  </a:cubicBezTo>
                  <a:cubicBezTo>
                    <a:pt x="59787" y="333051"/>
                    <a:pt x="57324" y="333422"/>
                    <a:pt x="54909" y="333794"/>
                  </a:cubicBezTo>
                  <a:cubicBezTo>
                    <a:pt x="53469" y="336394"/>
                    <a:pt x="51564" y="338809"/>
                    <a:pt x="49009" y="340805"/>
                  </a:cubicBezTo>
                  <a:cubicBezTo>
                    <a:pt x="49148" y="341409"/>
                    <a:pt x="49241" y="342013"/>
                    <a:pt x="49334" y="342616"/>
                  </a:cubicBezTo>
                  <a:cubicBezTo>
                    <a:pt x="52400" y="343824"/>
                    <a:pt x="56256" y="344892"/>
                    <a:pt x="57232" y="347028"/>
                  </a:cubicBezTo>
                  <a:cubicBezTo>
                    <a:pt x="58347" y="349442"/>
                    <a:pt x="54398" y="349814"/>
                    <a:pt x="49520" y="349303"/>
                  </a:cubicBezTo>
                  <a:cubicBezTo>
                    <a:pt x="48962" y="353993"/>
                    <a:pt x="46871" y="358451"/>
                    <a:pt x="43016" y="361933"/>
                  </a:cubicBezTo>
                  <a:cubicBezTo>
                    <a:pt x="34467" y="369548"/>
                    <a:pt x="25408" y="374610"/>
                    <a:pt x="15373" y="376978"/>
                  </a:cubicBezTo>
                  <a:cubicBezTo>
                    <a:pt x="18950" y="381807"/>
                    <a:pt x="20576" y="388215"/>
                    <a:pt x="18486" y="395784"/>
                  </a:cubicBezTo>
                  <a:cubicBezTo>
                    <a:pt x="16116" y="404328"/>
                    <a:pt x="14305" y="412501"/>
                    <a:pt x="9055" y="419884"/>
                  </a:cubicBezTo>
                  <a:cubicBezTo>
                    <a:pt x="6964" y="422809"/>
                    <a:pt x="4548" y="425084"/>
                    <a:pt x="1900" y="426849"/>
                  </a:cubicBezTo>
                  <a:cubicBezTo>
                    <a:pt x="321" y="428846"/>
                    <a:pt x="-1212" y="431121"/>
                    <a:pt x="1436" y="435347"/>
                  </a:cubicBezTo>
                  <a:cubicBezTo>
                    <a:pt x="6546" y="443473"/>
                    <a:pt x="10356" y="433211"/>
                    <a:pt x="12585" y="439201"/>
                  </a:cubicBezTo>
                  <a:cubicBezTo>
                    <a:pt x="14816" y="445237"/>
                    <a:pt x="20855" y="439897"/>
                    <a:pt x="27870" y="432839"/>
                  </a:cubicBezTo>
                  <a:cubicBezTo>
                    <a:pt x="34885" y="425781"/>
                    <a:pt x="37441" y="440594"/>
                    <a:pt x="31680" y="440269"/>
                  </a:cubicBezTo>
                  <a:cubicBezTo>
                    <a:pt x="25919" y="439944"/>
                    <a:pt x="19229" y="443798"/>
                    <a:pt x="20530" y="450159"/>
                  </a:cubicBezTo>
                  <a:cubicBezTo>
                    <a:pt x="21784" y="456521"/>
                    <a:pt x="11610" y="455453"/>
                    <a:pt x="11935" y="447698"/>
                  </a:cubicBezTo>
                  <a:cubicBezTo>
                    <a:pt x="12261" y="439944"/>
                    <a:pt x="135" y="449091"/>
                    <a:pt x="4595" y="454756"/>
                  </a:cubicBezTo>
                  <a:cubicBezTo>
                    <a:pt x="9055" y="460375"/>
                    <a:pt x="3015" y="463579"/>
                    <a:pt x="3015" y="468872"/>
                  </a:cubicBezTo>
                  <a:cubicBezTo>
                    <a:pt x="3015" y="474166"/>
                    <a:pt x="11610" y="473098"/>
                    <a:pt x="15141" y="467108"/>
                  </a:cubicBezTo>
                  <a:cubicBezTo>
                    <a:pt x="18671" y="461118"/>
                    <a:pt x="24386" y="462511"/>
                    <a:pt x="26616" y="468547"/>
                  </a:cubicBezTo>
                  <a:cubicBezTo>
                    <a:pt x="28846" y="474537"/>
                    <a:pt x="21227" y="469940"/>
                    <a:pt x="21227" y="478067"/>
                  </a:cubicBezTo>
                  <a:cubicBezTo>
                    <a:pt x="21227" y="485171"/>
                    <a:pt x="17556" y="480667"/>
                    <a:pt x="13840" y="483685"/>
                  </a:cubicBezTo>
                  <a:cubicBezTo>
                    <a:pt x="15838" y="485264"/>
                    <a:pt x="17603" y="487168"/>
                    <a:pt x="19275" y="489257"/>
                  </a:cubicBezTo>
                  <a:lnTo>
                    <a:pt x="19415" y="489257"/>
                  </a:lnTo>
                  <a:cubicBezTo>
                    <a:pt x="17185" y="486285"/>
                    <a:pt x="18904" y="488421"/>
                    <a:pt x="20019" y="489629"/>
                  </a:cubicBezTo>
                  <a:cubicBezTo>
                    <a:pt x="21831" y="490604"/>
                    <a:pt x="23550" y="491718"/>
                    <a:pt x="25361" y="492693"/>
                  </a:cubicBezTo>
                  <a:cubicBezTo>
                    <a:pt x="30890" y="495712"/>
                    <a:pt x="36279" y="499241"/>
                    <a:pt x="40693" y="503745"/>
                  </a:cubicBezTo>
                  <a:cubicBezTo>
                    <a:pt x="42690" y="505788"/>
                    <a:pt x="44177" y="508063"/>
                    <a:pt x="45245" y="510478"/>
                  </a:cubicBezTo>
                  <a:cubicBezTo>
                    <a:pt x="49148" y="512335"/>
                    <a:pt x="53794" y="513728"/>
                    <a:pt x="60112" y="512707"/>
                  </a:cubicBezTo>
                  <a:cubicBezTo>
                    <a:pt x="72888" y="510571"/>
                    <a:pt x="97092" y="484474"/>
                    <a:pt x="100298" y="479877"/>
                  </a:cubicBezTo>
                  <a:cubicBezTo>
                    <a:pt x="103504" y="475280"/>
                    <a:pt x="110519" y="480574"/>
                    <a:pt x="115304" y="476348"/>
                  </a:cubicBezTo>
                  <a:cubicBezTo>
                    <a:pt x="120089" y="472123"/>
                    <a:pt x="117209" y="461164"/>
                    <a:pt x="120739" y="459075"/>
                  </a:cubicBezTo>
                  <a:cubicBezTo>
                    <a:pt x="124270" y="456939"/>
                    <a:pt x="126128" y="470730"/>
                    <a:pt x="129334" y="472123"/>
                  </a:cubicBezTo>
                  <a:cubicBezTo>
                    <a:pt x="132214" y="473377"/>
                    <a:pt x="134305" y="475884"/>
                    <a:pt x="134445" y="482942"/>
                  </a:cubicBezTo>
                  <a:cubicBezTo>
                    <a:pt x="137000" y="482571"/>
                    <a:pt x="139555" y="482664"/>
                    <a:pt x="141181" y="484010"/>
                  </a:cubicBezTo>
                  <a:cubicBezTo>
                    <a:pt x="145269" y="487400"/>
                    <a:pt x="146291" y="472680"/>
                    <a:pt x="146291" y="468129"/>
                  </a:cubicBezTo>
                  <a:cubicBezTo>
                    <a:pt x="146291" y="463579"/>
                    <a:pt x="150380" y="454524"/>
                    <a:pt x="149357" y="448813"/>
                  </a:cubicBezTo>
                  <a:cubicBezTo>
                    <a:pt x="148335" y="443148"/>
                    <a:pt x="161669" y="447698"/>
                    <a:pt x="163713" y="443148"/>
                  </a:cubicBezTo>
                  <a:cubicBezTo>
                    <a:pt x="165757" y="438597"/>
                    <a:pt x="166779" y="422716"/>
                    <a:pt x="162691" y="420441"/>
                  </a:cubicBezTo>
                  <a:cubicBezTo>
                    <a:pt x="158603" y="418166"/>
                    <a:pt x="157534" y="409111"/>
                    <a:pt x="161669" y="409111"/>
                  </a:cubicBezTo>
                  <a:cubicBezTo>
                    <a:pt x="165804" y="409111"/>
                    <a:pt x="170867" y="405721"/>
                    <a:pt x="169892" y="396620"/>
                  </a:cubicBezTo>
                  <a:cubicBezTo>
                    <a:pt x="168870" y="387565"/>
                    <a:pt x="156559" y="388680"/>
                    <a:pt x="155536" y="379625"/>
                  </a:cubicBezTo>
                  <a:cubicBezTo>
                    <a:pt x="154514" y="370570"/>
                    <a:pt x="161669" y="368295"/>
                    <a:pt x="156559" y="356918"/>
                  </a:cubicBezTo>
                  <a:cubicBezTo>
                    <a:pt x="151448" y="345588"/>
                    <a:pt x="158603" y="338762"/>
                    <a:pt x="156559" y="333097"/>
                  </a:cubicBezTo>
                  <a:cubicBezTo>
                    <a:pt x="154514" y="327432"/>
                    <a:pt x="152470" y="320606"/>
                    <a:pt x="158603" y="309276"/>
                  </a:cubicBezTo>
                  <a:cubicBezTo>
                    <a:pt x="164735" y="297946"/>
                    <a:pt x="176024" y="292235"/>
                    <a:pt x="180112" y="293396"/>
                  </a:cubicBezTo>
                  <a:cubicBezTo>
                    <a:pt x="184201" y="294510"/>
                    <a:pt x="191402" y="299061"/>
                    <a:pt x="194468" y="292235"/>
                  </a:cubicBezTo>
                  <a:cubicBezTo>
                    <a:pt x="197534" y="285455"/>
                    <a:pt x="197534" y="279744"/>
                    <a:pt x="194468" y="278629"/>
                  </a:cubicBezTo>
                  <a:cubicBezTo>
                    <a:pt x="191402" y="277515"/>
                    <a:pt x="183179" y="275240"/>
                    <a:pt x="189358" y="266138"/>
                  </a:cubicBezTo>
                  <a:cubicBezTo>
                    <a:pt x="195490" y="257084"/>
                    <a:pt x="202691" y="245707"/>
                    <a:pt x="203713" y="235538"/>
                  </a:cubicBezTo>
                  <a:cubicBezTo>
                    <a:pt x="204735" y="225322"/>
                    <a:pt x="201669" y="217382"/>
                    <a:pt x="204735" y="213946"/>
                  </a:cubicBezTo>
                  <a:cubicBezTo>
                    <a:pt x="207801" y="210556"/>
                    <a:pt x="215002" y="213946"/>
                    <a:pt x="221135" y="209442"/>
                  </a:cubicBezTo>
                  <a:cubicBezTo>
                    <a:pt x="227267" y="204891"/>
                    <a:pt x="222157" y="199226"/>
                    <a:pt x="225223" y="195836"/>
                  </a:cubicBezTo>
                  <a:cubicBezTo>
                    <a:pt x="228290" y="192446"/>
                    <a:pt x="232378" y="181070"/>
                    <a:pt x="236512" y="177680"/>
                  </a:cubicBezTo>
                  <a:cubicBezTo>
                    <a:pt x="240601" y="174291"/>
                    <a:pt x="244689" y="169740"/>
                    <a:pt x="241623" y="165189"/>
                  </a:cubicBezTo>
                  <a:cubicBezTo>
                    <a:pt x="238557" y="160639"/>
                    <a:pt x="247755" y="156088"/>
                    <a:pt x="247755" y="148148"/>
                  </a:cubicBezTo>
                  <a:cubicBezTo>
                    <a:pt x="247755" y="140207"/>
                    <a:pt x="257976" y="134542"/>
                    <a:pt x="264155" y="134542"/>
                  </a:cubicBezTo>
                  <a:cubicBezTo>
                    <a:pt x="270334" y="134542"/>
                    <a:pt x="280555" y="134542"/>
                    <a:pt x="280555" y="127763"/>
                  </a:cubicBezTo>
                  <a:cubicBezTo>
                    <a:pt x="280555" y="120983"/>
                    <a:pt x="276466" y="106171"/>
                    <a:pt x="285665" y="110768"/>
                  </a:cubicBezTo>
                  <a:cubicBezTo>
                    <a:pt x="294863" y="115318"/>
                    <a:pt x="302064" y="109607"/>
                    <a:pt x="308197" y="115318"/>
                  </a:cubicBezTo>
                  <a:cubicBezTo>
                    <a:pt x="314329" y="120983"/>
                    <a:pt x="322552" y="119869"/>
                    <a:pt x="322552" y="110768"/>
                  </a:cubicBezTo>
                  <a:cubicBezTo>
                    <a:pt x="322552" y="101667"/>
                    <a:pt x="325619" y="86947"/>
                    <a:pt x="334864" y="92612"/>
                  </a:cubicBezTo>
                  <a:cubicBezTo>
                    <a:pt x="335607" y="93030"/>
                    <a:pt x="336258" y="93541"/>
                    <a:pt x="336954" y="94051"/>
                  </a:cubicBezTo>
                  <a:cubicBezTo>
                    <a:pt x="340021" y="86482"/>
                    <a:pt x="345828" y="81653"/>
                    <a:pt x="351263" y="82396"/>
                  </a:cubicBezTo>
                  <a:cubicBezTo>
                    <a:pt x="359487" y="83557"/>
                    <a:pt x="364597" y="99438"/>
                    <a:pt x="374818" y="101667"/>
                  </a:cubicBezTo>
                  <a:cubicBezTo>
                    <a:pt x="385085" y="103942"/>
                    <a:pt x="395305" y="108492"/>
                    <a:pt x="398372" y="102781"/>
                  </a:cubicBezTo>
                  <a:cubicBezTo>
                    <a:pt x="401438" y="97116"/>
                    <a:pt x="408639" y="106171"/>
                    <a:pt x="414771" y="103895"/>
                  </a:cubicBezTo>
                  <a:cubicBezTo>
                    <a:pt x="420904" y="101620"/>
                    <a:pt x="420904" y="116386"/>
                    <a:pt x="427083" y="107285"/>
                  </a:cubicBezTo>
                  <a:cubicBezTo>
                    <a:pt x="433215" y="98230"/>
                    <a:pt x="426060" y="92519"/>
                    <a:pt x="436281" y="93680"/>
                  </a:cubicBezTo>
                  <a:cubicBezTo>
                    <a:pt x="446549" y="94794"/>
                    <a:pt x="440370" y="81189"/>
                    <a:pt x="440370" y="73248"/>
                  </a:cubicBezTo>
                  <a:cubicBezTo>
                    <a:pt x="440370" y="65308"/>
                    <a:pt x="453656" y="64147"/>
                    <a:pt x="453656" y="57368"/>
                  </a:cubicBezTo>
                  <a:cubicBezTo>
                    <a:pt x="453656" y="50588"/>
                    <a:pt x="472100" y="56207"/>
                    <a:pt x="475166" y="51703"/>
                  </a:cubicBezTo>
                  <a:cubicBezTo>
                    <a:pt x="478233" y="47152"/>
                    <a:pt x="488500" y="43762"/>
                    <a:pt x="492588" y="51703"/>
                  </a:cubicBezTo>
                  <a:cubicBezTo>
                    <a:pt x="496676" y="59643"/>
                    <a:pt x="514098" y="61918"/>
                    <a:pt x="515120" y="68744"/>
                  </a:cubicBezTo>
                  <a:cubicBezTo>
                    <a:pt x="515631" y="72041"/>
                    <a:pt x="515120" y="77242"/>
                    <a:pt x="515120" y="82071"/>
                  </a:cubicBezTo>
                  <a:cubicBezTo>
                    <a:pt x="517954" y="78960"/>
                    <a:pt x="521578" y="76638"/>
                    <a:pt x="525016" y="76638"/>
                  </a:cubicBezTo>
                  <a:cubicBezTo>
                    <a:pt x="531381" y="76638"/>
                    <a:pt x="537095" y="66051"/>
                    <a:pt x="542856" y="67444"/>
                  </a:cubicBezTo>
                  <a:cubicBezTo>
                    <a:pt x="547641" y="68605"/>
                    <a:pt x="552379" y="67723"/>
                    <a:pt x="553820" y="58900"/>
                  </a:cubicBezTo>
                  <a:cubicBezTo>
                    <a:pt x="548663" y="55325"/>
                    <a:pt x="538907" y="54860"/>
                    <a:pt x="537745" y="5969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grpSp>
        <p:nvGrpSpPr>
          <p:cNvPr id="39" name="Graphic 8">
            <a:extLst>
              <a:ext uri="{FF2B5EF4-FFF2-40B4-BE49-F238E27FC236}">
                <a16:creationId xmlns:a16="http://schemas.microsoft.com/office/drawing/2014/main" id="{12DE6B22-231E-15EE-A49B-542D9C38B009}"/>
              </a:ext>
            </a:extLst>
          </p:cNvPr>
          <p:cNvGrpSpPr/>
          <p:nvPr/>
        </p:nvGrpSpPr>
        <p:grpSpPr>
          <a:xfrm>
            <a:off x="5471012" y="2273008"/>
            <a:ext cx="1759109" cy="2447442"/>
            <a:chOff x="4287738" y="2530272"/>
            <a:chExt cx="213729" cy="297362"/>
          </a:xfrm>
          <a:solidFill>
            <a:schemeClr val="accent1">
              <a:lumMod val="75000"/>
              <a:alpha val="70000"/>
            </a:schemeClr>
          </a:solidFill>
        </p:grpSpPr>
        <p:grpSp>
          <p:nvGrpSpPr>
            <p:cNvPr id="67" name="Graphic 8">
              <a:extLst>
                <a:ext uri="{FF2B5EF4-FFF2-40B4-BE49-F238E27FC236}">
                  <a16:creationId xmlns:a16="http://schemas.microsoft.com/office/drawing/2014/main" id="{9BE66C7E-1C09-0B70-E74A-EDB70A24B54E}"/>
                </a:ext>
              </a:extLst>
            </p:cNvPr>
            <p:cNvGrpSpPr/>
            <p:nvPr/>
          </p:nvGrpSpPr>
          <p:grpSpPr>
            <a:xfrm>
              <a:off x="4287738" y="2530272"/>
              <a:ext cx="213729" cy="297362"/>
              <a:chOff x="4287738" y="2530272"/>
              <a:chExt cx="213729" cy="297362"/>
            </a:xfrm>
            <a:grpFill/>
          </p:grpSpPr>
          <p:sp>
            <p:nvSpPr>
              <p:cNvPr id="69" name="Freeform 131">
                <a:extLst>
                  <a:ext uri="{FF2B5EF4-FFF2-40B4-BE49-F238E27FC236}">
                    <a16:creationId xmlns:a16="http://schemas.microsoft.com/office/drawing/2014/main" id="{AD198B45-0D07-05E3-BEDE-B28B14C5DBC4}"/>
                  </a:ext>
                </a:extLst>
              </p:cNvPr>
              <p:cNvSpPr/>
              <p:nvPr/>
            </p:nvSpPr>
            <p:spPr>
              <a:xfrm>
                <a:off x="4308478" y="2551005"/>
                <a:ext cx="15149" cy="17508"/>
              </a:xfrm>
              <a:custGeom>
                <a:avLst/>
                <a:gdLst>
                  <a:gd name="connsiteX0" fmla="*/ 8692 w 15149"/>
                  <a:gd name="connsiteY0" fmla="*/ 0 h 17508"/>
                  <a:gd name="connsiteX1" fmla="*/ 1444 w 15149"/>
                  <a:gd name="connsiteY1" fmla="*/ 17506 h 17508"/>
                  <a:gd name="connsiteX2" fmla="*/ 15150 w 15149"/>
                  <a:gd name="connsiteY2" fmla="*/ 5386 h 17508"/>
                  <a:gd name="connsiteX3" fmla="*/ 8692 w 15149"/>
                  <a:gd name="connsiteY3" fmla="*/ 0 h 17508"/>
                </a:gdLst>
                <a:ahLst/>
                <a:cxnLst>
                  <a:cxn ang="0">
                    <a:pos x="connsiteX0" y="connsiteY0"/>
                  </a:cxn>
                  <a:cxn ang="0">
                    <a:pos x="connsiteX1" y="connsiteY1"/>
                  </a:cxn>
                  <a:cxn ang="0">
                    <a:pos x="connsiteX2" y="connsiteY2"/>
                  </a:cxn>
                  <a:cxn ang="0">
                    <a:pos x="connsiteX3" y="connsiteY3"/>
                  </a:cxn>
                </a:cxnLst>
                <a:rect l="l" t="t" r="r" b="b"/>
                <a:pathLst>
                  <a:path w="15149" h="17508">
                    <a:moveTo>
                      <a:pt x="8692" y="0"/>
                    </a:moveTo>
                    <a:cubicBezTo>
                      <a:pt x="3071" y="6362"/>
                      <a:pt x="-2783" y="17692"/>
                      <a:pt x="1444" y="17506"/>
                    </a:cubicBezTo>
                    <a:cubicBezTo>
                      <a:pt x="6694" y="17274"/>
                      <a:pt x="12408" y="11144"/>
                      <a:pt x="15150" y="5386"/>
                    </a:cubicBezTo>
                    <a:cubicBezTo>
                      <a:pt x="12548" y="3993"/>
                      <a:pt x="10411" y="2182"/>
                      <a:pt x="8692" y="0"/>
                    </a:cubicBezTo>
                    <a:close/>
                  </a:path>
                </a:pathLst>
              </a:custGeom>
              <a:grpFill/>
              <a:ln w="635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70" name="Freeform 133">
                <a:extLst>
                  <a:ext uri="{FF2B5EF4-FFF2-40B4-BE49-F238E27FC236}">
                    <a16:creationId xmlns:a16="http://schemas.microsoft.com/office/drawing/2014/main" id="{5C7357C1-EE76-0033-AADF-34F6B33F3954}"/>
                  </a:ext>
                </a:extLst>
              </p:cNvPr>
              <p:cNvSpPr/>
              <p:nvPr/>
            </p:nvSpPr>
            <p:spPr>
              <a:xfrm>
                <a:off x="4287738" y="2655337"/>
                <a:ext cx="53616" cy="41241"/>
              </a:xfrm>
              <a:custGeom>
                <a:avLst/>
                <a:gdLst>
                  <a:gd name="connsiteX0" fmla="*/ 12428 w 53616"/>
                  <a:gd name="connsiteY0" fmla="*/ 7669 h 41241"/>
                  <a:gd name="connsiteX1" fmla="*/ 6574 w 53616"/>
                  <a:gd name="connsiteY1" fmla="*/ 21274 h 41241"/>
                  <a:gd name="connsiteX2" fmla="*/ 1743 w 53616"/>
                  <a:gd name="connsiteY2" fmla="*/ 35158 h 41241"/>
                  <a:gd name="connsiteX3" fmla="*/ 15262 w 53616"/>
                  <a:gd name="connsiteY3" fmla="*/ 38362 h 41241"/>
                  <a:gd name="connsiteX4" fmla="*/ 27806 w 53616"/>
                  <a:gd name="connsiteY4" fmla="*/ 34090 h 41241"/>
                  <a:gd name="connsiteX5" fmla="*/ 34914 w 53616"/>
                  <a:gd name="connsiteY5" fmla="*/ 41241 h 41241"/>
                  <a:gd name="connsiteX6" fmla="*/ 51546 w 53616"/>
                  <a:gd name="connsiteY6" fmla="*/ 29726 h 41241"/>
                  <a:gd name="connsiteX7" fmla="*/ 39467 w 53616"/>
                  <a:gd name="connsiteY7" fmla="*/ 2886 h 41241"/>
                  <a:gd name="connsiteX8" fmla="*/ 12475 w 53616"/>
                  <a:gd name="connsiteY8" fmla="*/ 7623 h 41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616" h="41241">
                    <a:moveTo>
                      <a:pt x="12428" y="7669"/>
                    </a:moveTo>
                    <a:cubicBezTo>
                      <a:pt x="11034" y="14541"/>
                      <a:pt x="8804" y="19510"/>
                      <a:pt x="6574" y="21274"/>
                    </a:cubicBezTo>
                    <a:cubicBezTo>
                      <a:pt x="3183" y="23968"/>
                      <a:pt x="-3042" y="34090"/>
                      <a:pt x="1743" y="35158"/>
                    </a:cubicBezTo>
                    <a:cubicBezTo>
                      <a:pt x="6574" y="36226"/>
                      <a:pt x="14240" y="44770"/>
                      <a:pt x="15262" y="38362"/>
                    </a:cubicBezTo>
                    <a:cubicBezTo>
                      <a:pt x="16238" y="31954"/>
                      <a:pt x="19583" y="23410"/>
                      <a:pt x="27806" y="34090"/>
                    </a:cubicBezTo>
                    <a:cubicBezTo>
                      <a:pt x="29757" y="36644"/>
                      <a:pt x="32265" y="39059"/>
                      <a:pt x="34914" y="41241"/>
                    </a:cubicBezTo>
                    <a:cubicBezTo>
                      <a:pt x="36261" y="36412"/>
                      <a:pt x="46296" y="35576"/>
                      <a:pt x="51546" y="29726"/>
                    </a:cubicBezTo>
                    <a:cubicBezTo>
                      <a:pt x="57910" y="22667"/>
                      <a:pt x="48386" y="12405"/>
                      <a:pt x="39467" y="2886"/>
                    </a:cubicBezTo>
                    <a:cubicBezTo>
                      <a:pt x="31383" y="-5751"/>
                      <a:pt x="21023" y="7762"/>
                      <a:pt x="12475" y="7623"/>
                    </a:cubicBezTo>
                    <a:close/>
                  </a:path>
                </a:pathLst>
              </a:custGeom>
              <a:grpFill/>
              <a:ln w="635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71" name="Freeform 134">
                <a:extLst>
                  <a:ext uri="{FF2B5EF4-FFF2-40B4-BE49-F238E27FC236}">
                    <a16:creationId xmlns:a16="http://schemas.microsoft.com/office/drawing/2014/main" id="{E3744B8D-8BFB-74E2-16A7-BEC975922533}"/>
                  </a:ext>
                </a:extLst>
              </p:cNvPr>
              <p:cNvSpPr/>
              <p:nvPr/>
            </p:nvSpPr>
            <p:spPr>
              <a:xfrm>
                <a:off x="4317114" y="2530272"/>
                <a:ext cx="184353" cy="297362"/>
              </a:xfrm>
              <a:custGeom>
                <a:avLst/>
                <a:gdLst>
                  <a:gd name="connsiteX0" fmla="*/ 179940 w 184353"/>
                  <a:gd name="connsiteY0" fmla="*/ 213298 h 297362"/>
                  <a:gd name="connsiteX1" fmla="*/ 177246 w 184353"/>
                  <a:gd name="connsiteY1" fmla="*/ 212416 h 297362"/>
                  <a:gd name="connsiteX2" fmla="*/ 163215 w 184353"/>
                  <a:gd name="connsiteY2" fmla="*/ 201782 h 297362"/>
                  <a:gd name="connsiteX3" fmla="*/ 161775 w 184353"/>
                  <a:gd name="connsiteY3" fmla="*/ 203175 h 297362"/>
                  <a:gd name="connsiteX4" fmla="*/ 151229 w 184353"/>
                  <a:gd name="connsiteY4" fmla="*/ 201782 h 297362"/>
                  <a:gd name="connsiteX5" fmla="*/ 150904 w 184353"/>
                  <a:gd name="connsiteY5" fmla="*/ 188688 h 297362"/>
                  <a:gd name="connsiteX6" fmla="*/ 143889 w 184353"/>
                  <a:gd name="connsiteY6" fmla="*/ 175639 h 297362"/>
                  <a:gd name="connsiteX7" fmla="*/ 143935 w 184353"/>
                  <a:gd name="connsiteY7" fmla="*/ 174107 h 297362"/>
                  <a:gd name="connsiteX8" fmla="*/ 133157 w 184353"/>
                  <a:gd name="connsiteY8" fmla="*/ 161709 h 297362"/>
                  <a:gd name="connsiteX9" fmla="*/ 130463 w 184353"/>
                  <a:gd name="connsiteY9" fmla="*/ 155255 h 297362"/>
                  <a:gd name="connsiteX10" fmla="*/ 128651 w 184353"/>
                  <a:gd name="connsiteY10" fmla="*/ 154372 h 297362"/>
                  <a:gd name="connsiteX11" fmla="*/ 117826 w 184353"/>
                  <a:gd name="connsiteY11" fmla="*/ 140488 h 297362"/>
                  <a:gd name="connsiteX12" fmla="*/ 116943 w 184353"/>
                  <a:gd name="connsiteY12" fmla="*/ 134127 h 297362"/>
                  <a:gd name="connsiteX13" fmla="*/ 115410 w 184353"/>
                  <a:gd name="connsiteY13" fmla="*/ 128694 h 297362"/>
                  <a:gd name="connsiteX14" fmla="*/ 103564 w 184353"/>
                  <a:gd name="connsiteY14" fmla="*/ 109702 h 297362"/>
                  <a:gd name="connsiteX15" fmla="*/ 98871 w 184353"/>
                  <a:gd name="connsiteY15" fmla="*/ 105616 h 297362"/>
                  <a:gd name="connsiteX16" fmla="*/ 79405 w 184353"/>
                  <a:gd name="connsiteY16" fmla="*/ 102087 h 297362"/>
                  <a:gd name="connsiteX17" fmla="*/ 84237 w 184353"/>
                  <a:gd name="connsiteY17" fmla="*/ 88946 h 297362"/>
                  <a:gd name="connsiteX18" fmla="*/ 82843 w 184353"/>
                  <a:gd name="connsiteY18" fmla="*/ 81470 h 297362"/>
                  <a:gd name="connsiteX19" fmla="*/ 96966 w 184353"/>
                  <a:gd name="connsiteY19" fmla="*/ 60156 h 297362"/>
                  <a:gd name="connsiteX20" fmla="*/ 101473 w 184353"/>
                  <a:gd name="connsiteY20" fmla="*/ 54631 h 297362"/>
                  <a:gd name="connsiteX21" fmla="*/ 101752 w 184353"/>
                  <a:gd name="connsiteY21" fmla="*/ 54398 h 297362"/>
                  <a:gd name="connsiteX22" fmla="*/ 103610 w 184353"/>
                  <a:gd name="connsiteY22" fmla="*/ 44926 h 297362"/>
                  <a:gd name="connsiteX23" fmla="*/ 63749 w 184353"/>
                  <a:gd name="connsiteY23" fmla="*/ 42790 h 297362"/>
                  <a:gd name="connsiteX24" fmla="*/ 56409 w 184353"/>
                  <a:gd name="connsiteY24" fmla="*/ 35035 h 297362"/>
                  <a:gd name="connsiteX25" fmla="*/ 72669 w 184353"/>
                  <a:gd name="connsiteY25" fmla="*/ 15254 h 297362"/>
                  <a:gd name="connsiteX26" fmla="*/ 75875 w 184353"/>
                  <a:gd name="connsiteY26" fmla="*/ 1138 h 297362"/>
                  <a:gd name="connsiteX27" fmla="*/ 66304 w 184353"/>
                  <a:gd name="connsiteY27" fmla="*/ 10657 h 297362"/>
                  <a:gd name="connsiteX28" fmla="*/ 43029 w 184353"/>
                  <a:gd name="connsiteY28" fmla="*/ 11028 h 297362"/>
                  <a:gd name="connsiteX29" fmla="*/ 39684 w 184353"/>
                  <a:gd name="connsiteY29" fmla="*/ 11028 h 297362"/>
                  <a:gd name="connsiteX30" fmla="*/ 30160 w 184353"/>
                  <a:gd name="connsiteY30" fmla="*/ 25284 h 297362"/>
                  <a:gd name="connsiteX31" fmla="*/ 29649 w 184353"/>
                  <a:gd name="connsiteY31" fmla="*/ 31181 h 297362"/>
                  <a:gd name="connsiteX32" fmla="*/ 20079 w 184353"/>
                  <a:gd name="connsiteY32" fmla="*/ 47433 h 297362"/>
                  <a:gd name="connsiteX33" fmla="*/ 14690 w 184353"/>
                  <a:gd name="connsiteY33" fmla="*/ 54120 h 297362"/>
                  <a:gd name="connsiteX34" fmla="*/ 1635 w 184353"/>
                  <a:gd name="connsiteY34" fmla="*/ 48826 h 297362"/>
                  <a:gd name="connsiteX35" fmla="*/ 17245 w 184353"/>
                  <a:gd name="connsiteY35" fmla="*/ 62989 h 297362"/>
                  <a:gd name="connsiteX36" fmla="*/ 9300 w 184353"/>
                  <a:gd name="connsiteY36" fmla="*/ 80634 h 297362"/>
                  <a:gd name="connsiteX37" fmla="*/ 20776 w 184353"/>
                  <a:gd name="connsiteY37" fmla="*/ 93357 h 297362"/>
                  <a:gd name="connsiteX38" fmla="*/ 2889 w 184353"/>
                  <a:gd name="connsiteY38" fmla="*/ 108170 h 297362"/>
                  <a:gd name="connsiteX39" fmla="*/ 18174 w 184353"/>
                  <a:gd name="connsiteY39" fmla="*/ 102180 h 297362"/>
                  <a:gd name="connsiteX40" fmla="*/ 27094 w 184353"/>
                  <a:gd name="connsiteY40" fmla="*/ 116667 h 297362"/>
                  <a:gd name="connsiteX41" fmla="*/ 39544 w 184353"/>
                  <a:gd name="connsiteY41" fmla="*/ 97954 h 297362"/>
                  <a:gd name="connsiteX42" fmla="*/ 41171 w 184353"/>
                  <a:gd name="connsiteY42" fmla="*/ 114531 h 297362"/>
                  <a:gd name="connsiteX43" fmla="*/ 33505 w 184353"/>
                  <a:gd name="connsiteY43" fmla="*/ 138585 h 297362"/>
                  <a:gd name="connsiteX44" fmla="*/ 64446 w 184353"/>
                  <a:gd name="connsiteY44" fmla="*/ 135427 h 297362"/>
                  <a:gd name="connsiteX45" fmla="*/ 70207 w 184353"/>
                  <a:gd name="connsiteY45" fmla="*/ 142485 h 297362"/>
                  <a:gd name="connsiteX46" fmla="*/ 73737 w 184353"/>
                  <a:gd name="connsiteY46" fmla="*/ 157344 h 297362"/>
                  <a:gd name="connsiteX47" fmla="*/ 79452 w 184353"/>
                  <a:gd name="connsiteY47" fmla="*/ 166167 h 297362"/>
                  <a:gd name="connsiteX48" fmla="*/ 77547 w 184353"/>
                  <a:gd name="connsiteY48" fmla="*/ 187712 h 297362"/>
                  <a:gd name="connsiteX49" fmla="*/ 55526 w 184353"/>
                  <a:gd name="connsiteY49" fmla="*/ 188780 h 297362"/>
                  <a:gd name="connsiteX50" fmla="*/ 48836 w 184353"/>
                  <a:gd name="connsiteY50" fmla="*/ 192634 h 297362"/>
                  <a:gd name="connsiteX51" fmla="*/ 42471 w 184353"/>
                  <a:gd name="connsiteY51" fmla="*/ 207494 h 297362"/>
                  <a:gd name="connsiteX52" fmla="*/ 55201 w 184353"/>
                  <a:gd name="connsiteY52" fmla="*/ 216688 h 297362"/>
                  <a:gd name="connsiteX53" fmla="*/ 34481 w 184353"/>
                  <a:gd name="connsiteY53" fmla="*/ 232940 h 297362"/>
                  <a:gd name="connsiteX54" fmla="*/ 42750 w 184353"/>
                  <a:gd name="connsiteY54" fmla="*/ 242830 h 297362"/>
                  <a:gd name="connsiteX55" fmla="*/ 55526 w 184353"/>
                  <a:gd name="connsiteY55" fmla="*/ 245988 h 297362"/>
                  <a:gd name="connsiteX56" fmla="*/ 78151 w 184353"/>
                  <a:gd name="connsiteY56" fmla="*/ 249517 h 297362"/>
                  <a:gd name="connsiteX57" fmla="*/ 80056 w 184353"/>
                  <a:gd name="connsiteY57" fmla="*/ 255507 h 297362"/>
                  <a:gd name="connsiteX58" fmla="*/ 56130 w 184353"/>
                  <a:gd name="connsiteY58" fmla="*/ 259036 h 297362"/>
                  <a:gd name="connsiteX59" fmla="*/ 28720 w 184353"/>
                  <a:gd name="connsiteY59" fmla="*/ 296463 h 297362"/>
                  <a:gd name="connsiteX60" fmla="*/ 44655 w 184353"/>
                  <a:gd name="connsiteY60" fmla="*/ 286572 h 297362"/>
                  <a:gd name="connsiteX61" fmla="*/ 54597 w 184353"/>
                  <a:gd name="connsiteY61" fmla="*/ 286758 h 297362"/>
                  <a:gd name="connsiteX62" fmla="*/ 63331 w 184353"/>
                  <a:gd name="connsiteY62" fmla="*/ 277935 h 297362"/>
                  <a:gd name="connsiteX63" fmla="*/ 81450 w 184353"/>
                  <a:gd name="connsiteY63" fmla="*/ 275613 h 297362"/>
                  <a:gd name="connsiteX64" fmla="*/ 85073 w 184353"/>
                  <a:gd name="connsiteY64" fmla="*/ 277006 h 297362"/>
                  <a:gd name="connsiteX65" fmla="*/ 85770 w 184353"/>
                  <a:gd name="connsiteY65" fmla="*/ 277053 h 297362"/>
                  <a:gd name="connsiteX66" fmla="*/ 102681 w 184353"/>
                  <a:gd name="connsiteY66" fmla="*/ 271759 h 297362"/>
                  <a:gd name="connsiteX67" fmla="*/ 119916 w 184353"/>
                  <a:gd name="connsiteY67" fmla="*/ 276356 h 297362"/>
                  <a:gd name="connsiteX68" fmla="*/ 144168 w 184353"/>
                  <a:gd name="connsiteY68" fmla="*/ 271388 h 297362"/>
                  <a:gd name="connsiteX69" fmla="*/ 174133 w 184353"/>
                  <a:gd name="connsiteY69" fmla="*/ 257597 h 297362"/>
                  <a:gd name="connsiteX70" fmla="*/ 164888 w 184353"/>
                  <a:gd name="connsiteY70" fmla="*/ 252675 h 297362"/>
                  <a:gd name="connsiteX71" fmla="*/ 166467 w 184353"/>
                  <a:gd name="connsiteY71" fmla="*/ 238559 h 297362"/>
                  <a:gd name="connsiteX72" fmla="*/ 184354 w 184353"/>
                  <a:gd name="connsiteY72" fmla="*/ 215620 h 297362"/>
                  <a:gd name="connsiteX73" fmla="*/ 184354 w 184353"/>
                  <a:gd name="connsiteY73" fmla="*/ 215620 h 297362"/>
                  <a:gd name="connsiteX74" fmla="*/ 179847 w 184353"/>
                  <a:gd name="connsiteY74" fmla="*/ 213391 h 297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84353" h="297362">
                    <a:moveTo>
                      <a:pt x="179940" y="213298"/>
                    </a:moveTo>
                    <a:cubicBezTo>
                      <a:pt x="179058" y="212973"/>
                      <a:pt x="178175" y="212648"/>
                      <a:pt x="177246" y="212416"/>
                    </a:cubicBezTo>
                    <a:cubicBezTo>
                      <a:pt x="171253" y="210837"/>
                      <a:pt x="166514" y="206844"/>
                      <a:pt x="163215" y="201782"/>
                    </a:cubicBezTo>
                    <a:cubicBezTo>
                      <a:pt x="162565" y="202107"/>
                      <a:pt x="162007" y="202525"/>
                      <a:pt x="161775" y="203175"/>
                    </a:cubicBezTo>
                    <a:cubicBezTo>
                      <a:pt x="159545" y="208840"/>
                      <a:pt x="154760" y="208144"/>
                      <a:pt x="151229" y="201782"/>
                    </a:cubicBezTo>
                    <a:cubicBezTo>
                      <a:pt x="147745" y="195421"/>
                      <a:pt x="154435" y="189384"/>
                      <a:pt x="150904" y="188688"/>
                    </a:cubicBezTo>
                    <a:cubicBezTo>
                      <a:pt x="147373" y="187991"/>
                      <a:pt x="142913" y="179122"/>
                      <a:pt x="143889" y="175639"/>
                    </a:cubicBezTo>
                    <a:cubicBezTo>
                      <a:pt x="143982" y="175314"/>
                      <a:pt x="143982" y="174757"/>
                      <a:pt x="143935" y="174107"/>
                    </a:cubicBezTo>
                    <a:cubicBezTo>
                      <a:pt x="139754" y="170485"/>
                      <a:pt x="136316" y="166213"/>
                      <a:pt x="133157" y="161709"/>
                    </a:cubicBezTo>
                    <a:cubicBezTo>
                      <a:pt x="131810" y="159759"/>
                      <a:pt x="130973" y="157576"/>
                      <a:pt x="130463" y="155255"/>
                    </a:cubicBezTo>
                    <a:lnTo>
                      <a:pt x="128651" y="154372"/>
                    </a:lnTo>
                    <a:cubicBezTo>
                      <a:pt x="123215" y="151679"/>
                      <a:pt x="119638" y="146060"/>
                      <a:pt x="117826" y="140488"/>
                    </a:cubicBezTo>
                    <a:cubicBezTo>
                      <a:pt x="117129" y="138399"/>
                      <a:pt x="116897" y="136263"/>
                      <a:pt x="116943" y="134127"/>
                    </a:cubicBezTo>
                    <a:cubicBezTo>
                      <a:pt x="116339" y="132362"/>
                      <a:pt x="115828" y="130551"/>
                      <a:pt x="115410" y="128694"/>
                    </a:cubicBezTo>
                    <a:cubicBezTo>
                      <a:pt x="108720" y="124840"/>
                      <a:pt x="104260" y="117782"/>
                      <a:pt x="103564" y="109702"/>
                    </a:cubicBezTo>
                    <a:cubicBezTo>
                      <a:pt x="101984" y="108913"/>
                      <a:pt x="100358" y="107752"/>
                      <a:pt x="98871" y="105616"/>
                    </a:cubicBezTo>
                    <a:cubicBezTo>
                      <a:pt x="93436" y="97861"/>
                      <a:pt x="84190" y="101715"/>
                      <a:pt x="79405" y="102087"/>
                    </a:cubicBezTo>
                    <a:cubicBezTo>
                      <a:pt x="75224" y="102365"/>
                      <a:pt x="78337" y="94657"/>
                      <a:pt x="84237" y="88946"/>
                    </a:cubicBezTo>
                    <a:cubicBezTo>
                      <a:pt x="83447" y="86531"/>
                      <a:pt x="82936" y="83977"/>
                      <a:pt x="82843" y="81470"/>
                    </a:cubicBezTo>
                    <a:cubicBezTo>
                      <a:pt x="82425" y="72554"/>
                      <a:pt x="88697" y="63871"/>
                      <a:pt x="96966" y="60156"/>
                    </a:cubicBezTo>
                    <a:cubicBezTo>
                      <a:pt x="98314" y="58160"/>
                      <a:pt x="99754" y="56209"/>
                      <a:pt x="101473" y="54631"/>
                    </a:cubicBezTo>
                    <a:cubicBezTo>
                      <a:pt x="101566" y="54538"/>
                      <a:pt x="101659" y="54491"/>
                      <a:pt x="101752" y="54398"/>
                    </a:cubicBezTo>
                    <a:cubicBezTo>
                      <a:pt x="102913" y="50080"/>
                      <a:pt x="103610" y="46551"/>
                      <a:pt x="103610" y="44926"/>
                    </a:cubicBezTo>
                    <a:cubicBezTo>
                      <a:pt x="103610" y="38936"/>
                      <a:pt x="70114" y="39261"/>
                      <a:pt x="63749" y="42790"/>
                    </a:cubicBezTo>
                    <a:cubicBezTo>
                      <a:pt x="57384" y="46319"/>
                      <a:pt x="51020" y="37496"/>
                      <a:pt x="56409" y="35035"/>
                    </a:cubicBezTo>
                    <a:cubicBezTo>
                      <a:pt x="61844" y="32574"/>
                      <a:pt x="73319" y="20222"/>
                      <a:pt x="72669" y="15254"/>
                    </a:cubicBezTo>
                    <a:cubicBezTo>
                      <a:pt x="72018" y="10332"/>
                      <a:pt x="80660" y="5735"/>
                      <a:pt x="75875" y="1138"/>
                    </a:cubicBezTo>
                    <a:cubicBezTo>
                      <a:pt x="71090" y="-3459"/>
                      <a:pt x="70439" y="7128"/>
                      <a:pt x="66304" y="10657"/>
                    </a:cubicBezTo>
                    <a:cubicBezTo>
                      <a:pt x="62169" y="14186"/>
                      <a:pt x="52924" y="13118"/>
                      <a:pt x="43029" y="11028"/>
                    </a:cubicBezTo>
                    <a:cubicBezTo>
                      <a:pt x="41821" y="10750"/>
                      <a:pt x="40706" y="10796"/>
                      <a:pt x="39684" y="11028"/>
                    </a:cubicBezTo>
                    <a:cubicBezTo>
                      <a:pt x="38476" y="16786"/>
                      <a:pt x="35270" y="22033"/>
                      <a:pt x="30160" y="25284"/>
                    </a:cubicBezTo>
                    <a:cubicBezTo>
                      <a:pt x="29742" y="27513"/>
                      <a:pt x="29602" y="29602"/>
                      <a:pt x="29649" y="31181"/>
                    </a:cubicBezTo>
                    <a:cubicBezTo>
                      <a:pt x="29974" y="37868"/>
                      <a:pt x="18174" y="41768"/>
                      <a:pt x="20079" y="47433"/>
                    </a:cubicBezTo>
                    <a:cubicBezTo>
                      <a:pt x="21984" y="53098"/>
                      <a:pt x="17849" y="57324"/>
                      <a:pt x="14690" y="54120"/>
                    </a:cubicBezTo>
                    <a:cubicBezTo>
                      <a:pt x="11531" y="50962"/>
                      <a:pt x="8000" y="43161"/>
                      <a:pt x="1635" y="48826"/>
                    </a:cubicBezTo>
                    <a:cubicBezTo>
                      <a:pt x="-4730" y="54491"/>
                      <a:pt x="8975" y="61921"/>
                      <a:pt x="17245" y="62989"/>
                    </a:cubicBezTo>
                    <a:cubicBezTo>
                      <a:pt x="25561" y="64057"/>
                      <a:pt x="10880" y="70743"/>
                      <a:pt x="9300" y="80634"/>
                    </a:cubicBezTo>
                    <a:cubicBezTo>
                      <a:pt x="7721" y="90525"/>
                      <a:pt x="20125" y="86299"/>
                      <a:pt x="20776" y="93357"/>
                    </a:cubicBezTo>
                    <a:cubicBezTo>
                      <a:pt x="21426" y="100415"/>
                      <a:pt x="2889" y="101483"/>
                      <a:pt x="2889" y="108170"/>
                    </a:cubicBezTo>
                    <a:cubicBezTo>
                      <a:pt x="2889" y="114856"/>
                      <a:pt x="13435" y="105012"/>
                      <a:pt x="18174" y="102180"/>
                    </a:cubicBezTo>
                    <a:cubicBezTo>
                      <a:pt x="22959" y="99347"/>
                      <a:pt x="15619" y="118757"/>
                      <a:pt x="27094" y="116667"/>
                    </a:cubicBezTo>
                    <a:cubicBezTo>
                      <a:pt x="38569" y="114531"/>
                      <a:pt x="35363" y="97258"/>
                      <a:pt x="39544" y="97954"/>
                    </a:cubicBezTo>
                    <a:cubicBezTo>
                      <a:pt x="43679" y="98651"/>
                      <a:pt x="37640" y="107148"/>
                      <a:pt x="41171" y="114531"/>
                    </a:cubicBezTo>
                    <a:cubicBezTo>
                      <a:pt x="44655" y="121961"/>
                      <a:pt x="32855" y="133245"/>
                      <a:pt x="33505" y="138585"/>
                    </a:cubicBezTo>
                    <a:cubicBezTo>
                      <a:pt x="34155" y="143878"/>
                      <a:pt x="57106" y="143878"/>
                      <a:pt x="64446" y="135427"/>
                    </a:cubicBezTo>
                    <a:cubicBezTo>
                      <a:pt x="71786" y="126929"/>
                      <a:pt x="75271" y="136124"/>
                      <a:pt x="70207" y="142485"/>
                    </a:cubicBezTo>
                    <a:cubicBezTo>
                      <a:pt x="65096" y="148847"/>
                      <a:pt x="67326" y="154837"/>
                      <a:pt x="73737" y="157344"/>
                    </a:cubicBezTo>
                    <a:cubicBezTo>
                      <a:pt x="80102" y="159805"/>
                      <a:pt x="82332" y="160502"/>
                      <a:pt x="79452" y="166167"/>
                    </a:cubicBezTo>
                    <a:cubicBezTo>
                      <a:pt x="76572" y="171832"/>
                      <a:pt x="79127" y="182419"/>
                      <a:pt x="77547" y="187712"/>
                    </a:cubicBezTo>
                    <a:cubicBezTo>
                      <a:pt x="75968" y="193006"/>
                      <a:pt x="56176" y="192310"/>
                      <a:pt x="55526" y="188780"/>
                    </a:cubicBezTo>
                    <a:cubicBezTo>
                      <a:pt x="54875" y="185251"/>
                      <a:pt x="46606" y="187712"/>
                      <a:pt x="48836" y="192634"/>
                    </a:cubicBezTo>
                    <a:cubicBezTo>
                      <a:pt x="51066" y="197603"/>
                      <a:pt x="41821" y="202897"/>
                      <a:pt x="42471" y="207494"/>
                    </a:cubicBezTo>
                    <a:cubicBezTo>
                      <a:pt x="43122" y="212091"/>
                      <a:pt x="54922" y="211023"/>
                      <a:pt x="55201" y="216688"/>
                    </a:cubicBezTo>
                    <a:cubicBezTo>
                      <a:pt x="55526" y="222306"/>
                      <a:pt x="46606" y="229039"/>
                      <a:pt x="34481" y="232940"/>
                    </a:cubicBezTo>
                    <a:cubicBezTo>
                      <a:pt x="22355" y="236794"/>
                      <a:pt x="37036" y="247428"/>
                      <a:pt x="42750" y="242830"/>
                    </a:cubicBezTo>
                    <a:cubicBezTo>
                      <a:pt x="48465" y="238233"/>
                      <a:pt x="47210" y="245988"/>
                      <a:pt x="55526" y="245988"/>
                    </a:cubicBezTo>
                    <a:cubicBezTo>
                      <a:pt x="63842" y="245988"/>
                      <a:pt x="68906" y="253418"/>
                      <a:pt x="78151" y="249517"/>
                    </a:cubicBezTo>
                    <a:cubicBezTo>
                      <a:pt x="87396" y="245617"/>
                      <a:pt x="87071" y="249517"/>
                      <a:pt x="80056" y="255507"/>
                    </a:cubicBezTo>
                    <a:cubicBezTo>
                      <a:pt x="73041" y="261497"/>
                      <a:pt x="62541" y="255182"/>
                      <a:pt x="56130" y="259036"/>
                    </a:cubicBezTo>
                    <a:cubicBezTo>
                      <a:pt x="49765" y="262890"/>
                      <a:pt x="23795" y="289869"/>
                      <a:pt x="28720" y="296463"/>
                    </a:cubicBezTo>
                    <a:cubicBezTo>
                      <a:pt x="31600" y="300317"/>
                      <a:pt x="35410" y="290798"/>
                      <a:pt x="44655" y="286572"/>
                    </a:cubicBezTo>
                    <a:cubicBezTo>
                      <a:pt x="49580" y="284297"/>
                      <a:pt x="52320" y="285272"/>
                      <a:pt x="54597" y="286758"/>
                    </a:cubicBezTo>
                    <a:cubicBezTo>
                      <a:pt x="56687" y="283182"/>
                      <a:pt x="59847" y="280164"/>
                      <a:pt x="63331" y="277935"/>
                    </a:cubicBezTo>
                    <a:cubicBezTo>
                      <a:pt x="68348" y="274778"/>
                      <a:pt x="75828" y="274081"/>
                      <a:pt x="81450" y="275613"/>
                    </a:cubicBezTo>
                    <a:cubicBezTo>
                      <a:pt x="82611" y="275938"/>
                      <a:pt x="83865" y="276403"/>
                      <a:pt x="85073" y="277006"/>
                    </a:cubicBezTo>
                    <a:cubicBezTo>
                      <a:pt x="85306" y="277006"/>
                      <a:pt x="85538" y="277006"/>
                      <a:pt x="85770" y="277053"/>
                    </a:cubicBezTo>
                    <a:cubicBezTo>
                      <a:pt x="93436" y="278446"/>
                      <a:pt x="98871" y="275288"/>
                      <a:pt x="102681" y="271759"/>
                    </a:cubicBezTo>
                    <a:cubicBezTo>
                      <a:pt x="106490" y="268230"/>
                      <a:pt x="116711" y="278817"/>
                      <a:pt x="119916" y="276356"/>
                    </a:cubicBezTo>
                    <a:cubicBezTo>
                      <a:pt x="123076" y="273895"/>
                      <a:pt x="137152" y="271063"/>
                      <a:pt x="144168" y="271388"/>
                    </a:cubicBezTo>
                    <a:cubicBezTo>
                      <a:pt x="151183" y="271759"/>
                      <a:pt x="169348" y="262565"/>
                      <a:pt x="174133" y="257597"/>
                    </a:cubicBezTo>
                    <a:cubicBezTo>
                      <a:pt x="178918" y="252675"/>
                      <a:pt x="171253" y="251607"/>
                      <a:pt x="164888" y="252675"/>
                    </a:cubicBezTo>
                    <a:cubicBezTo>
                      <a:pt x="158523" y="253743"/>
                      <a:pt x="159777" y="245617"/>
                      <a:pt x="166467" y="238559"/>
                    </a:cubicBezTo>
                    <a:cubicBezTo>
                      <a:pt x="173157" y="231500"/>
                      <a:pt x="183703" y="226207"/>
                      <a:pt x="184354" y="215620"/>
                    </a:cubicBezTo>
                    <a:lnTo>
                      <a:pt x="184354" y="215620"/>
                    </a:lnTo>
                    <a:cubicBezTo>
                      <a:pt x="182867" y="214830"/>
                      <a:pt x="181380" y="214087"/>
                      <a:pt x="179847" y="213391"/>
                    </a:cubicBezTo>
                    <a:close/>
                  </a:path>
                </a:pathLst>
              </a:custGeom>
              <a:grpFill/>
              <a:ln w="635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sp>
          <p:nvSpPr>
            <p:cNvPr id="68" name="Freeform 130">
              <a:extLst>
                <a:ext uri="{FF2B5EF4-FFF2-40B4-BE49-F238E27FC236}">
                  <a16:creationId xmlns:a16="http://schemas.microsoft.com/office/drawing/2014/main" id="{BABB5025-C8C5-D2A4-4C84-EA2159694D9F}"/>
                </a:ext>
              </a:extLst>
            </p:cNvPr>
            <p:cNvSpPr/>
            <p:nvPr/>
          </p:nvSpPr>
          <p:spPr>
            <a:xfrm>
              <a:off x="4308478" y="2551005"/>
              <a:ext cx="15149" cy="17508"/>
            </a:xfrm>
            <a:custGeom>
              <a:avLst/>
              <a:gdLst>
                <a:gd name="connsiteX0" fmla="*/ 8692 w 15149"/>
                <a:gd name="connsiteY0" fmla="*/ 0 h 17508"/>
                <a:gd name="connsiteX1" fmla="*/ 1444 w 15149"/>
                <a:gd name="connsiteY1" fmla="*/ 17506 h 17508"/>
                <a:gd name="connsiteX2" fmla="*/ 15150 w 15149"/>
                <a:gd name="connsiteY2" fmla="*/ 5386 h 17508"/>
                <a:gd name="connsiteX3" fmla="*/ 8692 w 15149"/>
                <a:gd name="connsiteY3" fmla="*/ 0 h 17508"/>
              </a:gdLst>
              <a:ahLst/>
              <a:cxnLst>
                <a:cxn ang="0">
                  <a:pos x="connsiteX0" y="connsiteY0"/>
                </a:cxn>
                <a:cxn ang="0">
                  <a:pos x="connsiteX1" y="connsiteY1"/>
                </a:cxn>
                <a:cxn ang="0">
                  <a:pos x="connsiteX2" y="connsiteY2"/>
                </a:cxn>
                <a:cxn ang="0">
                  <a:pos x="connsiteX3" y="connsiteY3"/>
                </a:cxn>
              </a:cxnLst>
              <a:rect l="l" t="t" r="r" b="b"/>
              <a:pathLst>
                <a:path w="15149" h="17508">
                  <a:moveTo>
                    <a:pt x="8692" y="0"/>
                  </a:moveTo>
                  <a:cubicBezTo>
                    <a:pt x="3071" y="6362"/>
                    <a:pt x="-2783" y="17692"/>
                    <a:pt x="1444" y="17506"/>
                  </a:cubicBezTo>
                  <a:cubicBezTo>
                    <a:pt x="6694" y="17274"/>
                    <a:pt x="12408" y="11144"/>
                    <a:pt x="15150" y="5386"/>
                  </a:cubicBezTo>
                  <a:cubicBezTo>
                    <a:pt x="12548" y="3993"/>
                    <a:pt x="10411" y="2182"/>
                    <a:pt x="8692" y="0"/>
                  </a:cubicBezTo>
                  <a:close/>
                </a:path>
              </a:pathLst>
            </a:custGeom>
            <a:grpFill/>
            <a:ln w="635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spTree>
    <p:extLst>
      <p:ext uri="{BB962C8B-B14F-4D97-AF65-F5344CB8AC3E}">
        <p14:creationId xmlns:p14="http://schemas.microsoft.com/office/powerpoint/2010/main" val="24088831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building with lockers in front of it&#10;&#10;Description automatically generated">
            <a:extLst>
              <a:ext uri="{FF2B5EF4-FFF2-40B4-BE49-F238E27FC236}">
                <a16:creationId xmlns:a16="http://schemas.microsoft.com/office/drawing/2014/main" id="{4590EB1E-4791-242B-4E01-445103D65286}"/>
              </a:ext>
            </a:extLst>
          </p:cNvPr>
          <p:cNvPicPr>
            <a:picLocks noChangeAspect="1"/>
          </p:cNvPicPr>
          <p:nvPr/>
        </p:nvPicPr>
        <p:blipFill rotWithShape="1">
          <a:blip r:embed="rId3" cstate="screen">
            <a:alphaModFix amt="24000"/>
            <a:extLst>
              <a:ext uri="{28A0092B-C50C-407E-A947-70E740481C1C}">
                <a14:useLocalDpi xmlns:a14="http://schemas.microsoft.com/office/drawing/2010/main"/>
              </a:ext>
            </a:extLst>
          </a:blip>
          <a:srcRect/>
          <a:stretch/>
        </p:blipFill>
        <p:spPr>
          <a:xfrm>
            <a:off x="0" y="0"/>
            <a:ext cx="12192000" cy="6858000"/>
          </a:xfrm>
          <a:prstGeom prst="rect">
            <a:avLst/>
          </a:prstGeom>
        </p:spPr>
      </p:pic>
      <p:graphicFrame>
        <p:nvGraphicFramePr>
          <p:cNvPr id="3" name="think-cell data - do not delete" hidden="1">
            <a:extLst>
              <a:ext uri="{FF2B5EF4-FFF2-40B4-BE49-F238E27FC236}">
                <a16:creationId xmlns:a16="http://schemas.microsoft.com/office/drawing/2014/main" id="{7671BB0A-FE7C-719D-597A-B4EB0C6E021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7671BB0A-FE7C-719D-597A-B4EB0C6E021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31F06077-752C-07E8-8179-979719D4AC4F}"/>
              </a:ext>
            </a:extLst>
          </p:cNvPr>
          <p:cNvSpPr>
            <a:spLocks noGrp="1"/>
          </p:cNvSpPr>
          <p:nvPr>
            <p:ph type="title"/>
          </p:nvPr>
        </p:nvSpPr>
        <p:spPr>
          <a:xfrm>
            <a:off x="1227692" y="2621545"/>
            <a:ext cx="8394291" cy="2638615"/>
          </a:xfrm>
          <a:prstGeom prst="rect">
            <a:avLst/>
          </a:prstGeom>
        </p:spPr>
        <p:txBody>
          <a:bodyPr vert="horz" lIns="91440" tIns="45720" rIns="91440" bIns="45720" anchor="b">
            <a:normAutofit/>
          </a:bodyPr>
          <a:lstStyle>
            <a:lvl1pPr>
              <a:defRPr sz="4000" b="0" i="0">
                <a:solidFill>
                  <a:schemeClr val="bg1"/>
                </a:solidFill>
                <a:latin typeface="Helvetica Light" panose="020B0403020202020204" pitchFamily="34" charset="0"/>
              </a:defRPr>
            </a:lvl1pPr>
          </a:lstStyle>
          <a:p>
            <a:r>
              <a:rPr lang="en-US" sz="6600"/>
              <a:t>Scandinavia </a:t>
            </a:r>
          </a:p>
        </p:txBody>
      </p:sp>
      <p:cxnSp>
        <p:nvCxnSpPr>
          <p:cNvPr id="10" name="Straight Connector 9">
            <a:extLst>
              <a:ext uri="{FF2B5EF4-FFF2-40B4-BE49-F238E27FC236}">
                <a16:creationId xmlns:a16="http://schemas.microsoft.com/office/drawing/2014/main" id="{19C55B9A-411C-CCD2-7C44-86752FEDAFEE}"/>
              </a:ext>
            </a:extLst>
          </p:cNvPr>
          <p:cNvCxnSpPr>
            <a:cxnSpLocks/>
          </p:cNvCxnSpPr>
          <p:nvPr/>
        </p:nvCxnSpPr>
        <p:spPr>
          <a:xfrm>
            <a:off x="1315186" y="5260160"/>
            <a:ext cx="85977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Bilde 3">
            <a:extLst>
              <a:ext uri="{FF2B5EF4-FFF2-40B4-BE49-F238E27FC236}">
                <a16:creationId xmlns:a16="http://schemas.microsoft.com/office/drawing/2014/main" id="{1CFE7C1A-03C1-DA39-0257-9C11128F2B8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315186" y="5601342"/>
            <a:ext cx="2737020" cy="478520"/>
          </a:xfrm>
          <a:prstGeom prst="rect">
            <a:avLst/>
          </a:prstGeom>
        </p:spPr>
      </p:pic>
    </p:spTree>
    <p:extLst>
      <p:ext uri="{BB962C8B-B14F-4D97-AF65-F5344CB8AC3E}">
        <p14:creationId xmlns:p14="http://schemas.microsoft.com/office/powerpoint/2010/main" val="29571789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96009554-DF5C-00B1-52AA-BCDCDD847172}"/>
              </a:ext>
            </a:extLst>
          </p:cNvPr>
          <p:cNvSpPr/>
          <p:nvPr/>
        </p:nvSpPr>
        <p:spPr>
          <a:xfrm>
            <a:off x="8683816" y="6352"/>
            <a:ext cx="3528000" cy="6393872"/>
          </a:xfrm>
          <a:prstGeom prst="rect">
            <a:avLst/>
          </a:prstGeom>
          <a:solidFill>
            <a:schemeClr val="accent4">
              <a:lumMod val="20000"/>
              <a:lumOff val="80000"/>
              <a:alpha val="6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45" name="Picture 44" descr="A person shopping in a grocery store&#10;&#10;Description automatically generated">
            <a:extLst>
              <a:ext uri="{FF2B5EF4-FFF2-40B4-BE49-F238E27FC236}">
                <a16:creationId xmlns:a16="http://schemas.microsoft.com/office/drawing/2014/main" id="{0EC0F512-C896-DE4E-E217-BB1F25A20A75}"/>
              </a:ext>
            </a:extLst>
          </p:cNvPr>
          <p:cNvPicPr>
            <a:picLocks/>
          </p:cNvPicPr>
          <p:nvPr/>
        </p:nvPicPr>
        <p:blipFill rotWithShape="1">
          <a:blip r:embed="rId4" cstate="email">
            <a:extLst>
              <a:ext uri="{28A0092B-C50C-407E-A947-70E740481C1C}">
                <a14:useLocalDpi xmlns:a14="http://schemas.microsoft.com/office/drawing/2010/main"/>
              </a:ext>
            </a:extLst>
          </a:blip>
          <a:srcRect/>
          <a:stretch/>
        </p:blipFill>
        <p:spPr>
          <a:xfrm>
            <a:off x="8683816" y="0"/>
            <a:ext cx="3528000" cy="4884615"/>
          </a:xfrm>
          <a:prstGeom prst="rect">
            <a:avLst/>
          </a:prstGeom>
        </p:spPr>
      </p:pic>
      <p:graphicFrame>
        <p:nvGraphicFramePr>
          <p:cNvPr id="13" name="Objekt 12" hidden="1">
            <a:extLst>
              <a:ext uri="{FF2B5EF4-FFF2-40B4-BE49-F238E27FC236}">
                <a16:creationId xmlns:a16="http://schemas.microsoft.com/office/drawing/2014/main" id="{A7744FB2-1F93-893A-E7E6-1B2E9E31EB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1" imgH="409" progId="TCLayout.ActiveDocument.1">
                  <p:embed/>
                </p:oleObj>
              </mc:Choice>
              <mc:Fallback>
                <p:oleObj name="think-cell Slide" r:id="rId5" imgW="411" imgH="409" progId="TCLayout.ActiveDocument.1">
                  <p:embed/>
                  <p:pic>
                    <p:nvPicPr>
                      <p:cNvPr id="13" name="Objekt 12" hidden="1">
                        <a:extLst>
                          <a:ext uri="{FF2B5EF4-FFF2-40B4-BE49-F238E27FC236}">
                            <a16:creationId xmlns:a16="http://schemas.microsoft.com/office/drawing/2014/main" id="{A7744FB2-1F93-893A-E7E6-1B2E9E31EBC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Rectangle 35">
            <a:extLst>
              <a:ext uri="{FF2B5EF4-FFF2-40B4-BE49-F238E27FC236}">
                <a16:creationId xmlns:a16="http://schemas.microsoft.com/office/drawing/2014/main" id="{F2A8DBB1-EBDB-52E7-25A9-1144ABA62318}"/>
              </a:ext>
            </a:extLst>
          </p:cNvPr>
          <p:cNvSpPr/>
          <p:nvPr/>
        </p:nvSpPr>
        <p:spPr>
          <a:xfrm>
            <a:off x="4430738" y="6352"/>
            <a:ext cx="4104000" cy="6393872"/>
          </a:xfrm>
          <a:prstGeom prst="rect">
            <a:avLst/>
          </a:prstGeom>
          <a:solidFill>
            <a:schemeClr val="accent4">
              <a:lumMod val="20000"/>
              <a:lumOff val="80000"/>
              <a:alpha val="6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9" name="Text Placeholder 3">
            <a:extLst>
              <a:ext uri="{FF2B5EF4-FFF2-40B4-BE49-F238E27FC236}">
                <a16:creationId xmlns:a16="http://schemas.microsoft.com/office/drawing/2014/main" id="{5846ABC5-F88A-9E6D-944A-1956B0A7AD31}"/>
              </a:ext>
            </a:extLst>
          </p:cNvPr>
          <p:cNvSpPr txBox="1">
            <a:spLocks/>
          </p:cNvSpPr>
          <p:nvPr/>
        </p:nvSpPr>
        <p:spPr>
          <a:xfrm>
            <a:off x="6757462" y="5564326"/>
            <a:ext cx="1671218" cy="489914"/>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2832DC"/>
                </a:solidFill>
                <a:effectLst/>
                <a:uLnTx/>
                <a:uFillTx/>
                <a:latin typeface="Helvetica" pitchFamily="2" charset="0"/>
                <a:ea typeface="+mn-ea"/>
                <a:cs typeface="+mn-cs"/>
              </a:rPr>
              <a:t>Boosting margins </a:t>
            </a:r>
          </a:p>
        </p:txBody>
      </p:sp>
      <p:sp>
        <p:nvSpPr>
          <p:cNvPr id="15" name="Text Placeholder 3">
            <a:extLst>
              <a:ext uri="{FF2B5EF4-FFF2-40B4-BE49-F238E27FC236}">
                <a16:creationId xmlns:a16="http://schemas.microsoft.com/office/drawing/2014/main" id="{764359FF-94FC-5A26-3357-15C3A404F9B1}"/>
              </a:ext>
            </a:extLst>
          </p:cNvPr>
          <p:cNvSpPr txBox="1">
            <a:spLocks/>
          </p:cNvSpPr>
          <p:nvPr/>
        </p:nvSpPr>
        <p:spPr>
          <a:xfrm>
            <a:off x="4663936" y="5421556"/>
            <a:ext cx="1671218" cy="775455"/>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2832DC"/>
                </a:solidFill>
                <a:effectLst/>
                <a:uLnTx/>
                <a:uFillTx/>
                <a:latin typeface="Helvetica" pitchFamily="2" charset="0"/>
                <a:ea typeface="+mn-ea"/>
                <a:cs typeface="+mn-cs"/>
              </a:rPr>
              <a:t>Driving </a:t>
            </a:r>
            <a:br>
              <a:rPr kumimoji="0" lang="en-GB" sz="1600" b="1" i="0" u="none" strike="noStrike" kern="1200" cap="none" spc="0" normalizeH="0" baseline="0" noProof="0">
                <a:ln>
                  <a:noFill/>
                </a:ln>
                <a:solidFill>
                  <a:srgbClr val="2832DC"/>
                </a:solidFill>
                <a:effectLst/>
                <a:uLnTx/>
                <a:uFillTx/>
                <a:latin typeface="Helvetica" pitchFamily="2" charset="0"/>
                <a:ea typeface="+mn-ea"/>
                <a:cs typeface="+mn-cs"/>
              </a:rPr>
            </a:br>
            <a:r>
              <a:rPr lang="en-GB" sz="1600" b="1">
                <a:solidFill>
                  <a:srgbClr val="2832DC"/>
                </a:solidFill>
                <a:latin typeface="Helvetica" pitchFamily="2" charset="0"/>
              </a:rPr>
              <a:t>e</a:t>
            </a:r>
            <a:r>
              <a:rPr kumimoji="0" lang="en-GB" sz="1600" b="1" i="0" u="none" strike="noStrike" kern="1200" cap="none" spc="0" normalizeH="0" baseline="0" noProof="0" err="1">
                <a:ln>
                  <a:noFill/>
                </a:ln>
                <a:solidFill>
                  <a:srgbClr val="2832DC"/>
                </a:solidFill>
                <a:effectLst/>
                <a:uLnTx/>
                <a:uFillTx/>
                <a:latin typeface="Helvetica" pitchFamily="2" charset="0"/>
                <a:ea typeface="+mn-ea"/>
                <a:cs typeface="+mn-cs"/>
              </a:rPr>
              <a:t>fficiency</a:t>
            </a:r>
            <a:br>
              <a:rPr kumimoji="0" lang="en-GB" sz="1600" b="1" i="0" u="none" strike="noStrike" kern="1200" cap="none" spc="0" normalizeH="0" baseline="0" noProof="0">
                <a:ln>
                  <a:noFill/>
                </a:ln>
                <a:solidFill>
                  <a:srgbClr val="2832DC"/>
                </a:solidFill>
                <a:effectLst/>
                <a:uLnTx/>
                <a:uFillTx/>
                <a:latin typeface="Helvetica" pitchFamily="2" charset="0"/>
                <a:ea typeface="+mn-ea"/>
                <a:cs typeface="+mn-cs"/>
              </a:rPr>
            </a:br>
            <a:r>
              <a:rPr kumimoji="0" lang="en-GB" sz="1600" b="1" i="0" u="none" strike="noStrike" kern="1200" cap="none" spc="0" normalizeH="0" baseline="0" noProof="0">
                <a:ln>
                  <a:noFill/>
                </a:ln>
                <a:solidFill>
                  <a:srgbClr val="2832DC"/>
                </a:solidFill>
                <a:effectLst/>
                <a:uLnTx/>
                <a:uFillTx/>
                <a:latin typeface="Helvetica" pitchFamily="2" charset="0"/>
                <a:ea typeface="+mn-ea"/>
                <a:cs typeface="+mn-cs"/>
              </a:rPr>
              <a:t>savings</a:t>
            </a:r>
          </a:p>
        </p:txBody>
      </p:sp>
      <p:sp>
        <p:nvSpPr>
          <p:cNvPr id="16" name="Text Placeholder 3">
            <a:extLst>
              <a:ext uri="{FF2B5EF4-FFF2-40B4-BE49-F238E27FC236}">
                <a16:creationId xmlns:a16="http://schemas.microsoft.com/office/drawing/2014/main" id="{89388334-25AF-5B8D-64B9-E4A05D45D321}"/>
              </a:ext>
            </a:extLst>
          </p:cNvPr>
          <p:cNvSpPr txBox="1">
            <a:spLocks/>
          </p:cNvSpPr>
          <p:nvPr/>
        </p:nvSpPr>
        <p:spPr>
          <a:xfrm>
            <a:off x="8713515" y="5437445"/>
            <a:ext cx="3468603" cy="946905"/>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2832DC"/>
                </a:solidFill>
                <a:effectLst/>
                <a:uLnTx/>
                <a:uFillTx/>
                <a:latin typeface="Helvetica" pitchFamily="2" charset="0"/>
                <a:ea typeface="+mn-ea"/>
                <a:cs typeface="+mn-cs"/>
              </a:rPr>
              <a:t>Improving both</a:t>
            </a:r>
            <a:br>
              <a:rPr kumimoji="0" lang="en-GB" sz="1600" b="1" i="0" u="none" strike="noStrike" kern="1200" cap="none" spc="0" normalizeH="0" baseline="0" noProof="0">
                <a:ln>
                  <a:noFill/>
                </a:ln>
                <a:solidFill>
                  <a:srgbClr val="2832DC"/>
                </a:solidFill>
                <a:effectLst/>
                <a:uLnTx/>
                <a:uFillTx/>
                <a:latin typeface="Helvetica" pitchFamily="2" charset="0"/>
                <a:ea typeface="+mn-ea"/>
                <a:cs typeface="+mn-cs"/>
              </a:rPr>
            </a:br>
            <a:r>
              <a:rPr kumimoji="0" lang="en-GB" sz="1600" b="1" i="0" u="none" strike="noStrike" kern="1200" cap="none" spc="0" normalizeH="0" baseline="0" noProof="0">
                <a:ln>
                  <a:noFill/>
                </a:ln>
                <a:solidFill>
                  <a:srgbClr val="2832DC"/>
                </a:solidFill>
                <a:effectLst/>
                <a:uLnTx/>
                <a:uFillTx/>
                <a:latin typeface="Helvetica" pitchFamily="2" charset="0"/>
                <a:ea typeface="+mn-ea"/>
                <a:cs typeface="+mn-cs"/>
              </a:rPr>
              <a:t>the in-store and online experience for shoppers</a:t>
            </a:r>
            <a:endParaRPr kumimoji="0" lang="en-US" sz="1600" b="1" i="0" u="none" strike="noStrike" kern="1200" cap="none" spc="0" normalizeH="0" baseline="0" noProof="0">
              <a:ln>
                <a:noFill/>
              </a:ln>
              <a:solidFill>
                <a:srgbClr val="2832DC"/>
              </a:solidFill>
              <a:effectLst/>
              <a:uLnTx/>
              <a:uFillTx/>
              <a:latin typeface="Helvetica" pitchFamily="2" charset="0"/>
              <a:ea typeface="+mn-ea"/>
              <a:cs typeface="+mn-cs"/>
            </a:endParaRPr>
          </a:p>
        </p:txBody>
      </p:sp>
      <p:sp>
        <p:nvSpPr>
          <p:cNvPr id="50" name="Text Placeholder 3">
            <a:extLst>
              <a:ext uri="{FF2B5EF4-FFF2-40B4-BE49-F238E27FC236}">
                <a16:creationId xmlns:a16="http://schemas.microsoft.com/office/drawing/2014/main" id="{F11C23EE-47DC-541D-1A9F-9B3BB989D509}"/>
              </a:ext>
            </a:extLst>
          </p:cNvPr>
          <p:cNvSpPr txBox="1">
            <a:spLocks/>
          </p:cNvSpPr>
          <p:nvPr/>
        </p:nvSpPr>
        <p:spPr>
          <a:xfrm>
            <a:off x="742568" y="2555410"/>
            <a:ext cx="3575852" cy="3008916"/>
          </a:xfrm>
          <a:prstGeom prst="rect">
            <a:avLst/>
          </a:prstGeom>
        </p:spPr>
        <p:txBody>
          <a:bodyPr lIns="91440" tIns="45720" rIns="91440" bIns="45720"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b="0" i="0" u="none" strike="noStrike" kern="1200" cap="none" spc="0" normalizeH="0" baseline="0" noProof="0">
                <a:ln>
                  <a:noFill/>
                </a:ln>
                <a:solidFill>
                  <a:srgbClr val="1E1E50"/>
                </a:solidFill>
                <a:effectLst/>
                <a:uLnTx/>
                <a:uFillTx/>
                <a:latin typeface="Helvetica Light"/>
                <a:ea typeface="+mn-ea"/>
                <a:cs typeface="+mn-cs"/>
              </a:rPr>
              <a:t>"Retail technology</a:t>
            </a:r>
            <a:br>
              <a:rPr kumimoji="0" lang="en-GB" sz="3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br>
            <a:r>
              <a:rPr kumimoji="0" lang="en-GB" sz="3200" b="0" i="0" u="none" strike="noStrike" kern="1200" cap="none" spc="0" normalizeH="0" baseline="0" noProof="0">
                <a:ln>
                  <a:noFill/>
                </a:ln>
                <a:solidFill>
                  <a:srgbClr val="1E1E50"/>
                </a:solidFill>
                <a:effectLst/>
                <a:uLnTx/>
                <a:uFillTx/>
                <a:latin typeface="Helvetica Light"/>
                <a:ea typeface="+mn-ea"/>
                <a:cs typeface="+mn-cs"/>
              </a:rPr>
              <a:t>in every shopping experience for</a:t>
            </a:r>
            <a:br>
              <a:rPr kumimoji="0" lang="en-GB" sz="3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br>
            <a:r>
              <a:rPr kumimoji="0" lang="en-GB" sz="3200" b="0" i="0" u="none" strike="noStrike" kern="1200" cap="none" spc="0" normalizeH="0" baseline="0" noProof="0">
                <a:ln>
                  <a:noFill/>
                </a:ln>
                <a:solidFill>
                  <a:srgbClr val="1E1E50"/>
                </a:solidFill>
                <a:effectLst/>
                <a:uLnTx/>
                <a:uFillTx/>
                <a:latin typeface="Helvetica Light"/>
                <a:ea typeface="+mn-ea"/>
                <a:cs typeface="+mn-cs"/>
              </a:rPr>
              <a:t>a smarter and</a:t>
            </a:r>
            <a:br>
              <a:rPr kumimoji="0" lang="en-GB" sz="3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br>
            <a:r>
              <a:rPr kumimoji="0" lang="en-GB" sz="3200" b="0" i="0" u="none" strike="noStrike" kern="1200" cap="none" spc="0" normalizeH="0" baseline="0" noProof="0">
                <a:ln>
                  <a:noFill/>
                </a:ln>
                <a:solidFill>
                  <a:srgbClr val="1E1E50"/>
                </a:solidFill>
                <a:effectLst/>
                <a:uLnTx/>
                <a:uFillTx/>
                <a:latin typeface="Helvetica Light"/>
                <a:ea typeface="+mn-ea"/>
                <a:cs typeface="+mn-cs"/>
              </a:rPr>
              <a:t>better life"</a:t>
            </a:r>
          </a:p>
        </p:txBody>
      </p:sp>
      <p:sp>
        <p:nvSpPr>
          <p:cNvPr id="5" name="Rectangle 4">
            <a:extLst>
              <a:ext uri="{FF2B5EF4-FFF2-40B4-BE49-F238E27FC236}">
                <a16:creationId xmlns:a16="http://schemas.microsoft.com/office/drawing/2014/main" id="{E95DD301-9659-29F6-BDEB-39E0831E5D3A}"/>
              </a:ext>
            </a:extLst>
          </p:cNvPr>
          <p:cNvSpPr/>
          <p:nvPr/>
        </p:nvSpPr>
        <p:spPr>
          <a:xfrm>
            <a:off x="667856" y="620610"/>
            <a:ext cx="3051245" cy="759888"/>
          </a:xfrm>
          <a:prstGeom prst="rect">
            <a:avLst/>
          </a:prstGeom>
          <a:solidFill>
            <a:schemeClr val="accent1"/>
          </a:solidFill>
          <a:effectLst/>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E7E6E6">
                  <a:lumMod val="25000"/>
                </a:srgbClr>
              </a:solidFill>
              <a:effectLst/>
              <a:uLnTx/>
              <a:uFillTx/>
              <a:latin typeface="Helvetica Light" panose="020B0403020202020204" pitchFamily="34" charset="0"/>
              <a:ea typeface="Open Sans Light" panose="020B0306030504020204" pitchFamily="34" charset="0"/>
              <a:cs typeface="Open Sans Light" panose="020B0306030504020204" pitchFamily="34" charset="0"/>
            </a:endParaRPr>
          </a:p>
        </p:txBody>
      </p:sp>
      <p:sp>
        <p:nvSpPr>
          <p:cNvPr id="10" name="TextBox 9">
            <a:extLst>
              <a:ext uri="{FF2B5EF4-FFF2-40B4-BE49-F238E27FC236}">
                <a16:creationId xmlns:a16="http://schemas.microsoft.com/office/drawing/2014/main" id="{23838441-7756-44CB-BEDB-9D1F161FC321}"/>
              </a:ext>
            </a:extLst>
          </p:cNvPr>
          <p:cNvSpPr txBox="1"/>
          <p:nvPr/>
        </p:nvSpPr>
        <p:spPr>
          <a:xfrm>
            <a:off x="720105" y="567527"/>
            <a:ext cx="3147382" cy="759888"/>
          </a:xfrm>
          <a:prstGeom prst="rect">
            <a:avLst/>
          </a:prstGeom>
          <a:noFill/>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GB" sz="3600" b="0" i="0" u="none" strike="noStrike" kern="1200" cap="none" spc="0" normalizeH="0" baseline="0" noProof="0">
                <a:ln>
                  <a:noFill/>
                </a:ln>
                <a:solidFill>
                  <a:prstClr val="white"/>
                </a:solidFill>
                <a:effectLst/>
                <a:uLnTx/>
                <a:uFillTx/>
                <a:latin typeface="Helvetica Light" panose="020B0403020202020204" pitchFamily="34" charset="0"/>
                <a:ea typeface="Open Sans Light" panose="020B0306030504020204" pitchFamily="34" charset="0"/>
                <a:cs typeface="Open Sans Light" panose="020B0306030504020204" pitchFamily="34" charset="0"/>
              </a:rPr>
              <a:t>Our purpose:</a:t>
            </a:r>
            <a:endParaRPr kumimoji="0" lang="en-US" sz="3600" b="0" i="0" u="none" strike="noStrike" kern="1200" cap="none" spc="0" normalizeH="0" baseline="0" noProof="0">
              <a:ln>
                <a:noFill/>
              </a:ln>
              <a:solidFill>
                <a:srgbClr val="E7E6E6">
                  <a:lumMod val="25000"/>
                </a:srgbClr>
              </a:solidFill>
              <a:effectLst/>
              <a:uLnTx/>
              <a:uFillTx/>
              <a:latin typeface="Helvetica Light" panose="020B0403020202020204" pitchFamily="34" charset="0"/>
              <a:ea typeface="Open Sans Light" panose="020B0306030504020204" pitchFamily="34" charset="0"/>
              <a:cs typeface="Open Sans Light" panose="020B0306030504020204" pitchFamily="34" charset="0"/>
            </a:endParaRPr>
          </a:p>
        </p:txBody>
      </p:sp>
      <p:pic>
        <p:nvPicPr>
          <p:cNvPr id="2" name="Graphic 1">
            <a:extLst>
              <a:ext uri="{FF2B5EF4-FFF2-40B4-BE49-F238E27FC236}">
                <a16:creationId xmlns:a16="http://schemas.microsoft.com/office/drawing/2014/main" id="{423DBA8D-A888-1EC4-F806-603A068DDBEF}"/>
              </a:ext>
            </a:extLst>
          </p:cNvPr>
          <p:cNvPicPr>
            <a:picLocks noChangeAspect="1"/>
          </p:cNvPicPr>
          <p:nvPr/>
        </p:nvPicPr>
        <p:blipFill rotWithShape="1">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l="20571" t="33462" r="19254" b="33961"/>
          <a:stretch/>
        </p:blipFill>
        <p:spPr>
          <a:xfrm rot="5400000" flipH="1" flipV="1">
            <a:off x="3850890" y="874107"/>
            <a:ext cx="489914" cy="265218"/>
          </a:xfrm>
          <a:prstGeom prst="rect">
            <a:avLst/>
          </a:prstGeom>
        </p:spPr>
      </p:pic>
      <p:pic>
        <p:nvPicPr>
          <p:cNvPr id="26" name="Picture 25" descr="A person and person in green shirts holding boxes&#10;&#10;Description automatically generated">
            <a:extLst>
              <a:ext uri="{FF2B5EF4-FFF2-40B4-BE49-F238E27FC236}">
                <a16:creationId xmlns:a16="http://schemas.microsoft.com/office/drawing/2014/main" id="{A2B67530-B455-1F1C-0814-7943088E758B}"/>
              </a:ext>
            </a:extLst>
          </p:cNvPr>
          <p:cNvPicPr>
            <a:picLocks/>
          </p:cNvPicPr>
          <p:nvPr/>
        </p:nvPicPr>
        <p:blipFill rotWithShape="1">
          <a:blip r:embed="rId9" cstate="email">
            <a:extLst>
              <a:ext uri="{28A0092B-C50C-407E-A947-70E740481C1C}">
                <a14:useLocalDpi xmlns:a14="http://schemas.microsoft.com/office/drawing/2010/main"/>
              </a:ext>
            </a:extLst>
          </a:blip>
          <a:srcRect/>
          <a:stretch/>
        </p:blipFill>
        <p:spPr>
          <a:xfrm>
            <a:off x="4430738" y="0"/>
            <a:ext cx="4104000" cy="4884615"/>
          </a:xfrm>
          <a:prstGeom prst="rect">
            <a:avLst/>
          </a:prstGeom>
        </p:spPr>
      </p:pic>
      <p:sp>
        <p:nvSpPr>
          <p:cNvPr id="31" name="Rectangle 30">
            <a:extLst>
              <a:ext uri="{FF2B5EF4-FFF2-40B4-BE49-F238E27FC236}">
                <a16:creationId xmlns:a16="http://schemas.microsoft.com/office/drawing/2014/main" id="{6E47B8EF-1CA3-C4BC-FFEB-5DDC3D8A8923}"/>
              </a:ext>
            </a:extLst>
          </p:cNvPr>
          <p:cNvSpPr/>
          <p:nvPr/>
        </p:nvSpPr>
        <p:spPr>
          <a:xfrm>
            <a:off x="4430738" y="580027"/>
            <a:ext cx="4104000" cy="759888"/>
          </a:xfrm>
          <a:prstGeom prst="rect">
            <a:avLst/>
          </a:prstGeom>
          <a:solidFill>
            <a:schemeClr val="accent1">
              <a:alpha val="86970"/>
            </a:schemeClr>
          </a:solidFill>
          <a:effectLst/>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E7E6E6">
                  <a:lumMod val="25000"/>
                </a:srgbClr>
              </a:solidFill>
              <a:effectLst/>
              <a:uLnTx/>
              <a:uFillTx/>
              <a:latin typeface="Helvetica Light" panose="020B0403020202020204" pitchFamily="34" charset="0"/>
              <a:ea typeface="Open Sans Light" panose="020B0306030504020204" pitchFamily="34" charset="0"/>
              <a:cs typeface="Open Sans Light" panose="020B0306030504020204" pitchFamily="34" charset="0"/>
            </a:endParaRPr>
          </a:p>
        </p:txBody>
      </p:sp>
      <p:sp>
        <p:nvSpPr>
          <p:cNvPr id="32" name="TextBox 31">
            <a:extLst>
              <a:ext uri="{FF2B5EF4-FFF2-40B4-BE49-F238E27FC236}">
                <a16:creationId xmlns:a16="http://schemas.microsoft.com/office/drawing/2014/main" id="{6E6AB52A-6FDB-3757-D322-CDD8B9EB088A}"/>
              </a:ext>
            </a:extLst>
          </p:cNvPr>
          <p:cNvSpPr txBox="1"/>
          <p:nvPr/>
        </p:nvSpPr>
        <p:spPr>
          <a:xfrm>
            <a:off x="4415362" y="712623"/>
            <a:ext cx="4134752" cy="463204"/>
          </a:xfrm>
          <a:prstGeom prst="rect">
            <a:avLst/>
          </a:prstGeom>
          <a:noFill/>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Helvetica" pitchFamily="2" charset="0"/>
                <a:ea typeface="Open Sans Light" panose="020B0306030504020204" pitchFamily="34" charset="0"/>
                <a:cs typeface="Open Sans Light" panose="020B0306030504020204" pitchFamily="34" charset="0"/>
              </a:rPr>
              <a:t>Impact on grocery retailers</a:t>
            </a:r>
            <a:endParaRPr kumimoji="0" lang="en-US" sz="2000" b="1" i="0" u="none" strike="noStrike" kern="1200" cap="none" spc="0" normalizeH="0" baseline="0" noProof="0">
              <a:ln>
                <a:noFill/>
              </a:ln>
              <a:solidFill>
                <a:srgbClr val="E7E6E6">
                  <a:lumMod val="25000"/>
                </a:srgbClr>
              </a:solidFill>
              <a:effectLst/>
              <a:uLnTx/>
              <a:uFillTx/>
              <a:latin typeface="Helvetica" pitchFamily="2" charset="0"/>
              <a:ea typeface="Open Sans Light" panose="020B0306030504020204" pitchFamily="34" charset="0"/>
              <a:cs typeface="Open Sans Light" panose="020B0306030504020204" pitchFamily="34" charset="0"/>
            </a:endParaRPr>
          </a:p>
        </p:txBody>
      </p:sp>
      <p:grpSp>
        <p:nvGrpSpPr>
          <p:cNvPr id="49" name="Group 48">
            <a:extLst>
              <a:ext uri="{FF2B5EF4-FFF2-40B4-BE49-F238E27FC236}">
                <a16:creationId xmlns:a16="http://schemas.microsoft.com/office/drawing/2014/main" id="{E258114F-BD8D-79D5-5C00-0B5BBA68C7B6}"/>
              </a:ext>
            </a:extLst>
          </p:cNvPr>
          <p:cNvGrpSpPr/>
          <p:nvPr/>
        </p:nvGrpSpPr>
        <p:grpSpPr>
          <a:xfrm>
            <a:off x="10014008" y="4426970"/>
            <a:ext cx="867617" cy="867617"/>
            <a:chOff x="10445905" y="3432435"/>
            <a:chExt cx="867617" cy="867617"/>
          </a:xfrm>
          <a:effectLst>
            <a:outerShdw blurRad="139700" dist="38100" dir="2700000" algn="tl" rotWithShape="0">
              <a:prstClr val="black">
                <a:alpha val="49000"/>
              </a:prstClr>
            </a:outerShdw>
          </a:effectLst>
        </p:grpSpPr>
        <p:sp>
          <p:nvSpPr>
            <p:cNvPr id="44" name="Oval 43">
              <a:extLst>
                <a:ext uri="{FF2B5EF4-FFF2-40B4-BE49-F238E27FC236}">
                  <a16:creationId xmlns:a16="http://schemas.microsoft.com/office/drawing/2014/main" id="{D3D0F0A6-44CA-8416-1A2F-B51728216FCE}"/>
                </a:ext>
              </a:extLst>
            </p:cNvPr>
            <p:cNvSpPr/>
            <p:nvPr/>
          </p:nvSpPr>
          <p:spPr>
            <a:xfrm>
              <a:off x="10445905" y="3432435"/>
              <a:ext cx="867617" cy="867617"/>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27" name="Graphic 26">
              <a:extLst>
                <a:ext uri="{FF2B5EF4-FFF2-40B4-BE49-F238E27FC236}">
                  <a16:creationId xmlns:a16="http://schemas.microsoft.com/office/drawing/2014/main" id="{0FCB386C-C8B6-5B15-E50F-575920563CF6}"/>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571062" y="3557592"/>
              <a:ext cx="617302" cy="617302"/>
            </a:xfrm>
            <a:prstGeom prst="rect">
              <a:avLst/>
            </a:prstGeom>
          </p:spPr>
        </p:pic>
      </p:grpSp>
      <p:grpSp>
        <p:nvGrpSpPr>
          <p:cNvPr id="47" name="Group 46">
            <a:extLst>
              <a:ext uri="{FF2B5EF4-FFF2-40B4-BE49-F238E27FC236}">
                <a16:creationId xmlns:a16="http://schemas.microsoft.com/office/drawing/2014/main" id="{0EDE077B-8A4C-AF20-96BD-1D89E024DE76}"/>
              </a:ext>
            </a:extLst>
          </p:cNvPr>
          <p:cNvGrpSpPr/>
          <p:nvPr/>
        </p:nvGrpSpPr>
        <p:grpSpPr>
          <a:xfrm>
            <a:off x="7153399" y="4426970"/>
            <a:ext cx="867617" cy="867617"/>
            <a:chOff x="5823105" y="3432435"/>
            <a:chExt cx="867617" cy="867617"/>
          </a:xfrm>
          <a:effectLst>
            <a:outerShdw blurRad="146171" dist="38100" dir="2700000" algn="tl" rotWithShape="0">
              <a:prstClr val="black">
                <a:alpha val="49000"/>
              </a:prstClr>
            </a:outerShdw>
          </a:effectLst>
        </p:grpSpPr>
        <p:sp>
          <p:nvSpPr>
            <p:cNvPr id="42" name="Oval 41">
              <a:extLst>
                <a:ext uri="{FF2B5EF4-FFF2-40B4-BE49-F238E27FC236}">
                  <a16:creationId xmlns:a16="http://schemas.microsoft.com/office/drawing/2014/main" id="{305FB365-B1E3-BF2D-7670-F5C0C72EAB38}"/>
                </a:ext>
              </a:extLst>
            </p:cNvPr>
            <p:cNvSpPr/>
            <p:nvPr/>
          </p:nvSpPr>
          <p:spPr>
            <a:xfrm>
              <a:off x="5823105" y="3432435"/>
              <a:ext cx="867617" cy="867617"/>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29" name="Graphic 28">
              <a:extLst>
                <a:ext uri="{FF2B5EF4-FFF2-40B4-BE49-F238E27FC236}">
                  <a16:creationId xmlns:a16="http://schemas.microsoft.com/office/drawing/2014/main" id="{D9293F32-5D46-4F1B-892A-D85B2890B56E}"/>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956370" y="3565700"/>
              <a:ext cx="601087" cy="601087"/>
            </a:xfrm>
            <a:prstGeom prst="rect">
              <a:avLst/>
            </a:prstGeom>
          </p:spPr>
        </p:pic>
      </p:grpSp>
      <p:grpSp>
        <p:nvGrpSpPr>
          <p:cNvPr id="48" name="Group 47">
            <a:extLst>
              <a:ext uri="{FF2B5EF4-FFF2-40B4-BE49-F238E27FC236}">
                <a16:creationId xmlns:a16="http://schemas.microsoft.com/office/drawing/2014/main" id="{5B529E68-1158-F476-B4B9-26BE11EAABD5}"/>
              </a:ext>
            </a:extLst>
          </p:cNvPr>
          <p:cNvGrpSpPr/>
          <p:nvPr/>
        </p:nvGrpSpPr>
        <p:grpSpPr>
          <a:xfrm>
            <a:off x="5068648" y="4426970"/>
            <a:ext cx="867617" cy="867617"/>
            <a:chOff x="8147627" y="3432435"/>
            <a:chExt cx="867617" cy="867617"/>
          </a:xfrm>
          <a:effectLst>
            <a:outerShdw blurRad="147943" dist="38100" dir="2700000" algn="tl" rotWithShape="0">
              <a:prstClr val="black">
                <a:alpha val="49000"/>
              </a:prstClr>
            </a:outerShdw>
          </a:effectLst>
        </p:grpSpPr>
        <p:sp>
          <p:nvSpPr>
            <p:cNvPr id="43" name="Oval 42">
              <a:extLst>
                <a:ext uri="{FF2B5EF4-FFF2-40B4-BE49-F238E27FC236}">
                  <a16:creationId xmlns:a16="http://schemas.microsoft.com/office/drawing/2014/main" id="{B85FD582-3303-07A1-9EA3-2365C714C454}"/>
                </a:ext>
              </a:extLst>
            </p:cNvPr>
            <p:cNvSpPr/>
            <p:nvPr/>
          </p:nvSpPr>
          <p:spPr>
            <a:xfrm>
              <a:off x="8147627" y="3432435"/>
              <a:ext cx="867617" cy="867617"/>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46" name="Graphic 45">
              <a:extLst>
                <a:ext uri="{FF2B5EF4-FFF2-40B4-BE49-F238E27FC236}">
                  <a16:creationId xmlns:a16="http://schemas.microsoft.com/office/drawing/2014/main" id="{48E36C1B-931A-0DEB-B93A-66C84FF7FB0D}"/>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8243378" y="3528187"/>
              <a:ext cx="676113" cy="676113"/>
            </a:xfrm>
            <a:prstGeom prst="rect">
              <a:avLst/>
            </a:prstGeom>
          </p:spPr>
        </p:pic>
      </p:grpSp>
      <p:sp>
        <p:nvSpPr>
          <p:cNvPr id="34" name="Rectangle 33">
            <a:extLst>
              <a:ext uri="{FF2B5EF4-FFF2-40B4-BE49-F238E27FC236}">
                <a16:creationId xmlns:a16="http://schemas.microsoft.com/office/drawing/2014/main" id="{57A8E1A1-09FA-F56A-4CC0-B790D6B6A047}"/>
              </a:ext>
            </a:extLst>
          </p:cNvPr>
          <p:cNvSpPr/>
          <p:nvPr/>
        </p:nvSpPr>
        <p:spPr>
          <a:xfrm>
            <a:off x="8684523" y="580027"/>
            <a:ext cx="3526587" cy="759888"/>
          </a:xfrm>
          <a:prstGeom prst="rect">
            <a:avLst/>
          </a:prstGeom>
          <a:solidFill>
            <a:schemeClr val="accent1">
              <a:alpha val="86970"/>
            </a:schemeClr>
          </a:solidFill>
          <a:effectLst/>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E7E6E6">
                  <a:lumMod val="25000"/>
                </a:srgbClr>
              </a:solidFill>
              <a:effectLst/>
              <a:uLnTx/>
              <a:uFillTx/>
              <a:latin typeface="Helvetica Light" panose="020B0403020202020204" pitchFamily="34" charset="0"/>
              <a:ea typeface="Open Sans Light" panose="020B0306030504020204" pitchFamily="34" charset="0"/>
              <a:cs typeface="Open Sans Light" panose="020B0306030504020204" pitchFamily="34" charset="0"/>
            </a:endParaRPr>
          </a:p>
        </p:txBody>
      </p:sp>
      <p:sp>
        <p:nvSpPr>
          <p:cNvPr id="35" name="TextBox 34">
            <a:extLst>
              <a:ext uri="{FF2B5EF4-FFF2-40B4-BE49-F238E27FC236}">
                <a16:creationId xmlns:a16="http://schemas.microsoft.com/office/drawing/2014/main" id="{3BBA3EE6-FB70-3AAA-2FF5-1C5EC478A010}"/>
              </a:ext>
            </a:extLst>
          </p:cNvPr>
          <p:cNvSpPr txBox="1"/>
          <p:nvPr/>
        </p:nvSpPr>
        <p:spPr>
          <a:xfrm>
            <a:off x="8695468" y="712623"/>
            <a:ext cx="3504697" cy="463204"/>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Helvetica"/>
                <a:ea typeface="Open Sans Light"/>
                <a:cs typeface="Open Sans Light"/>
              </a:rPr>
              <a:t>Impact on end consumers</a:t>
            </a:r>
            <a:endParaRPr kumimoji="0" lang="en-US" sz="2000" b="1" i="0" u="none" strike="noStrike" kern="1200" cap="none" spc="0" normalizeH="0" baseline="0" noProof="0">
              <a:ln>
                <a:noFill/>
              </a:ln>
              <a:solidFill>
                <a:prstClr val="white"/>
              </a:solidFill>
              <a:effectLst/>
              <a:uLnTx/>
              <a:uFillTx/>
              <a:latin typeface="Helvetica"/>
              <a:ea typeface="Open Sans Light"/>
              <a:cs typeface="Open Sans Light"/>
            </a:endParaRPr>
          </a:p>
        </p:txBody>
      </p:sp>
      <p:grpSp>
        <p:nvGrpSpPr>
          <p:cNvPr id="55" name="Group 54">
            <a:extLst>
              <a:ext uri="{FF2B5EF4-FFF2-40B4-BE49-F238E27FC236}">
                <a16:creationId xmlns:a16="http://schemas.microsoft.com/office/drawing/2014/main" id="{0D2B3A76-0862-9F86-3E8B-3A71A957E613}"/>
              </a:ext>
            </a:extLst>
          </p:cNvPr>
          <p:cNvGrpSpPr/>
          <p:nvPr/>
        </p:nvGrpSpPr>
        <p:grpSpPr>
          <a:xfrm>
            <a:off x="6342385" y="5591994"/>
            <a:ext cx="412576" cy="412576"/>
            <a:chOff x="6210300" y="5564326"/>
            <a:chExt cx="468000" cy="468000"/>
          </a:xfrm>
        </p:grpSpPr>
        <p:cxnSp>
          <p:nvCxnSpPr>
            <p:cNvPr id="52" name="Straight Connector 51">
              <a:extLst>
                <a:ext uri="{FF2B5EF4-FFF2-40B4-BE49-F238E27FC236}">
                  <a16:creationId xmlns:a16="http://schemas.microsoft.com/office/drawing/2014/main" id="{1B94497F-6119-BC2F-AB02-48DA8FEE8C16}"/>
                </a:ext>
              </a:extLst>
            </p:cNvPr>
            <p:cNvCxnSpPr>
              <a:cxnSpLocks/>
            </p:cNvCxnSpPr>
            <p:nvPr/>
          </p:nvCxnSpPr>
          <p:spPr>
            <a:xfrm>
              <a:off x="6444300" y="5564326"/>
              <a:ext cx="0" cy="46800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411EF98-E9DD-2C0F-0BDE-C91B52A11A9B}"/>
                </a:ext>
              </a:extLst>
            </p:cNvPr>
            <p:cNvCxnSpPr>
              <a:cxnSpLocks/>
            </p:cNvCxnSpPr>
            <p:nvPr/>
          </p:nvCxnSpPr>
          <p:spPr>
            <a:xfrm>
              <a:off x="6210300" y="5798326"/>
              <a:ext cx="46800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406954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E8827E0-1DA4-039D-9058-31CCBA5BF21A}"/>
              </a:ext>
            </a:extLst>
          </p:cNvPr>
          <p:cNvGraphicFramePr>
            <a:graphicFrameLocks noChangeAspect="1"/>
          </p:cNvGraphicFramePr>
          <p:nvPr>
            <p:custDataLst>
              <p:tags r:id="rId1"/>
            </p:custDataLst>
            <p:extLst>
              <p:ext uri="{D42A27DB-BD31-4B8C-83A1-F6EECF244321}">
                <p14:modId xmlns:p14="http://schemas.microsoft.com/office/powerpoint/2010/main" val="42730767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6E8827E0-1DA4-039D-9058-31CCBA5BF21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31">
            <a:extLst>
              <a:ext uri="{FF2B5EF4-FFF2-40B4-BE49-F238E27FC236}">
                <a16:creationId xmlns:a16="http://schemas.microsoft.com/office/drawing/2014/main" id="{7074EC5B-64A3-29FC-C0E4-321D0E01EB8B}"/>
              </a:ext>
            </a:extLst>
          </p:cNvPr>
          <p:cNvSpPr txBox="1"/>
          <p:nvPr/>
        </p:nvSpPr>
        <p:spPr>
          <a:xfrm>
            <a:off x="4743532" y="1550138"/>
            <a:ext cx="611750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StrongPoint currently serves </a:t>
            </a:r>
            <a:r>
              <a:rPr kumimoji="0" lang="en-GB" sz="1800" b="1" i="0" u="none" strike="noStrike" kern="1200" cap="none" spc="0" normalizeH="0" baseline="0" noProof="0">
                <a:ln>
                  <a:noFill/>
                </a:ln>
                <a:solidFill>
                  <a:srgbClr val="141E50"/>
                </a:solidFill>
                <a:effectLst/>
                <a:uLnTx/>
                <a:uFillTx/>
                <a:latin typeface="Helvetica" pitchFamily="2" charset="0"/>
                <a:ea typeface="+mn-ea"/>
                <a:cs typeface="+mn-cs"/>
              </a:rPr>
              <a:t>all the grocery retailers </a:t>
            </a:r>
            <a:r>
              <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in</a:t>
            </a:r>
            <a:br>
              <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br>
            <a:r>
              <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Norway and Sweden representing</a:t>
            </a:r>
            <a:r>
              <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rPr>
              <a:t> amazing starting point</a:t>
            </a:r>
          </a:p>
        </p:txBody>
      </p:sp>
      <p:sp>
        <p:nvSpPr>
          <p:cNvPr id="7" name="Title 1">
            <a:extLst>
              <a:ext uri="{FF2B5EF4-FFF2-40B4-BE49-F238E27FC236}">
                <a16:creationId xmlns:a16="http://schemas.microsoft.com/office/drawing/2014/main" id="{A5A646B2-592D-437C-FB5B-414B8038F3E5}"/>
              </a:ext>
            </a:extLst>
          </p:cNvPr>
          <p:cNvSpPr>
            <a:spLocks noGrp="1"/>
          </p:cNvSpPr>
          <p:nvPr>
            <p:ph type="title"/>
          </p:nvPr>
        </p:nvSpPr>
        <p:spPr>
          <a:xfrm>
            <a:off x="741777" y="365126"/>
            <a:ext cx="10671895" cy="1036620"/>
          </a:xfrm>
        </p:spPr>
        <p:txBody>
          <a:bodyPr vert="horz">
            <a:normAutofit/>
          </a:bodyPr>
          <a:lstStyle/>
          <a:p>
            <a:r>
              <a:rPr lang="en-GB" sz="4400"/>
              <a:t>Decades of grocery customer trust </a:t>
            </a:r>
          </a:p>
        </p:txBody>
      </p:sp>
      <p:sp>
        <p:nvSpPr>
          <p:cNvPr id="17" name="Rectangle 16">
            <a:extLst>
              <a:ext uri="{FF2B5EF4-FFF2-40B4-BE49-F238E27FC236}">
                <a16:creationId xmlns:a16="http://schemas.microsoft.com/office/drawing/2014/main" id="{DDF63F49-5505-E0E2-3BA5-09510A9D2A61}"/>
              </a:ext>
            </a:extLst>
          </p:cNvPr>
          <p:cNvSpPr/>
          <p:nvPr/>
        </p:nvSpPr>
        <p:spPr>
          <a:xfrm>
            <a:off x="731838" y="1401746"/>
            <a:ext cx="3431305" cy="4718211"/>
          </a:xfrm>
          <a:prstGeom prst="rect">
            <a:avLst/>
          </a:prstGeom>
          <a:solidFill>
            <a:srgbClr val="E9EAFB"/>
          </a:solidFill>
          <a:ln>
            <a:noFill/>
          </a:ln>
          <a:effectLst>
            <a:outerShdw blurRad="215900" sx="101000" sy="101000" algn="ctr"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Helvetica"/>
              <a:ea typeface="+mn-ea"/>
              <a:cs typeface="+mn-cs"/>
            </a:endParaRPr>
          </a:p>
        </p:txBody>
      </p:sp>
      <p:sp>
        <p:nvSpPr>
          <p:cNvPr id="18" name="Rectangle 17">
            <a:extLst>
              <a:ext uri="{FF2B5EF4-FFF2-40B4-BE49-F238E27FC236}">
                <a16:creationId xmlns:a16="http://schemas.microsoft.com/office/drawing/2014/main" id="{814B98F7-D5FF-EFBF-BEB9-AA546205ECAE}"/>
              </a:ext>
            </a:extLst>
          </p:cNvPr>
          <p:cNvSpPr/>
          <p:nvPr/>
        </p:nvSpPr>
        <p:spPr>
          <a:xfrm>
            <a:off x="801883" y="5503879"/>
            <a:ext cx="3292824" cy="537883"/>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Helvetica"/>
                <a:ea typeface="+mn-ea"/>
                <a:cs typeface="+mn-cs"/>
              </a:rPr>
              <a:t>Scandinavia</a:t>
            </a:r>
          </a:p>
        </p:txBody>
      </p:sp>
      <p:cxnSp>
        <p:nvCxnSpPr>
          <p:cNvPr id="19" name="Straight Connector 18">
            <a:extLst>
              <a:ext uri="{FF2B5EF4-FFF2-40B4-BE49-F238E27FC236}">
                <a16:creationId xmlns:a16="http://schemas.microsoft.com/office/drawing/2014/main" id="{5873BA64-5CE1-706A-30AD-0C51A9514E96}"/>
              </a:ext>
            </a:extLst>
          </p:cNvPr>
          <p:cNvCxnSpPr/>
          <p:nvPr/>
        </p:nvCxnSpPr>
        <p:spPr>
          <a:xfrm>
            <a:off x="719138" y="1371600"/>
            <a:ext cx="3437849" cy="0"/>
          </a:xfrm>
          <a:prstGeom prst="line">
            <a:avLst/>
          </a:prstGeom>
          <a:ln w="12700">
            <a:solidFill>
              <a:srgbClr val="2832DC"/>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452280AB-3055-E3F5-84F2-4E48019928F7}"/>
              </a:ext>
            </a:extLst>
          </p:cNvPr>
          <p:cNvGrpSpPr/>
          <p:nvPr/>
        </p:nvGrpSpPr>
        <p:grpSpPr>
          <a:xfrm>
            <a:off x="1794814" y="1060782"/>
            <a:ext cx="1305353" cy="597189"/>
            <a:chOff x="1943484" y="1060782"/>
            <a:chExt cx="1305353" cy="597189"/>
          </a:xfrm>
        </p:grpSpPr>
        <p:pic>
          <p:nvPicPr>
            <p:cNvPr id="21" name="Picture 20">
              <a:extLst>
                <a:ext uri="{FF2B5EF4-FFF2-40B4-BE49-F238E27FC236}">
                  <a16:creationId xmlns:a16="http://schemas.microsoft.com/office/drawing/2014/main" id="{7B4D437A-7A13-A90C-7230-708281520D0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672375" y="1060782"/>
              <a:ext cx="576462" cy="576462"/>
            </a:xfrm>
            <a:prstGeom prst="rect">
              <a:avLst/>
            </a:prstGeom>
          </p:spPr>
        </p:pic>
        <p:pic>
          <p:nvPicPr>
            <p:cNvPr id="22" name="Picture 21">
              <a:extLst>
                <a:ext uri="{FF2B5EF4-FFF2-40B4-BE49-F238E27FC236}">
                  <a16:creationId xmlns:a16="http://schemas.microsoft.com/office/drawing/2014/main" id="{2B664395-6B8F-6512-B59D-0B3B0DA3165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943484" y="1081509"/>
              <a:ext cx="576462" cy="576462"/>
            </a:xfrm>
            <a:prstGeom prst="rect">
              <a:avLst/>
            </a:prstGeom>
          </p:spPr>
        </p:pic>
      </p:grpSp>
      <p:grpSp>
        <p:nvGrpSpPr>
          <p:cNvPr id="23" name="Group 22">
            <a:extLst>
              <a:ext uri="{FF2B5EF4-FFF2-40B4-BE49-F238E27FC236}">
                <a16:creationId xmlns:a16="http://schemas.microsoft.com/office/drawing/2014/main" id="{40265EEC-DC14-14C9-234B-B87C3CC578D9}"/>
              </a:ext>
            </a:extLst>
          </p:cNvPr>
          <p:cNvGrpSpPr/>
          <p:nvPr/>
        </p:nvGrpSpPr>
        <p:grpSpPr>
          <a:xfrm>
            <a:off x="854817" y="1769503"/>
            <a:ext cx="3031181" cy="3318994"/>
            <a:chOff x="8544473" y="2766969"/>
            <a:chExt cx="2139584" cy="2342739"/>
          </a:xfrm>
          <a:solidFill>
            <a:schemeClr val="accent1">
              <a:lumMod val="75000"/>
              <a:alpha val="70000"/>
            </a:schemeClr>
          </a:solidFill>
        </p:grpSpPr>
        <p:sp>
          <p:nvSpPr>
            <p:cNvPr id="24" name="Freeform 23">
              <a:extLst>
                <a:ext uri="{FF2B5EF4-FFF2-40B4-BE49-F238E27FC236}">
                  <a16:creationId xmlns:a16="http://schemas.microsoft.com/office/drawing/2014/main" id="{94D0A30F-6772-2C71-6C23-12D07BF6545D}"/>
                </a:ext>
              </a:extLst>
            </p:cNvPr>
            <p:cNvSpPr/>
            <p:nvPr/>
          </p:nvSpPr>
          <p:spPr>
            <a:xfrm>
              <a:off x="9062964" y="3119515"/>
              <a:ext cx="1038375" cy="1990193"/>
            </a:xfrm>
            <a:custGeom>
              <a:avLst/>
              <a:gdLst>
                <a:gd name="connsiteX0" fmla="*/ 266042 w 268922"/>
                <a:gd name="connsiteY0" fmla="*/ 119253 h 515427"/>
                <a:gd name="connsiteX1" fmla="*/ 261908 w 268922"/>
                <a:gd name="connsiteY1" fmla="*/ 106808 h 515427"/>
                <a:gd name="connsiteX2" fmla="*/ 262930 w 268922"/>
                <a:gd name="connsiteY2" fmla="*/ 86377 h 515427"/>
                <a:gd name="connsiteX3" fmla="*/ 257819 w 268922"/>
                <a:gd name="connsiteY3" fmla="*/ 64831 h 515427"/>
                <a:gd name="connsiteX4" fmla="*/ 256797 w 268922"/>
                <a:gd name="connsiteY4" fmla="*/ 42124 h 515427"/>
                <a:gd name="connsiteX5" fmla="*/ 226042 w 268922"/>
                <a:gd name="connsiteY5" fmla="*/ 21693 h 515427"/>
                <a:gd name="connsiteX6" fmla="*/ 200444 w 268922"/>
                <a:gd name="connsiteY6" fmla="*/ 1262 h 515427"/>
                <a:gd name="connsiteX7" fmla="*/ 188132 w 268922"/>
                <a:gd name="connsiteY7" fmla="*/ 19418 h 515427"/>
                <a:gd name="connsiteX8" fmla="*/ 173777 w 268922"/>
                <a:gd name="connsiteY8" fmla="*/ 23968 h 515427"/>
                <a:gd name="connsiteX9" fmla="*/ 151245 w 268922"/>
                <a:gd name="connsiteY9" fmla="*/ 19418 h 515427"/>
                <a:gd name="connsiteX10" fmla="*/ 146135 w 268922"/>
                <a:gd name="connsiteY10" fmla="*/ 36413 h 515427"/>
                <a:gd name="connsiteX11" fmla="*/ 129735 w 268922"/>
                <a:gd name="connsiteY11" fmla="*/ 43192 h 515427"/>
                <a:gd name="connsiteX12" fmla="*/ 113335 w 268922"/>
                <a:gd name="connsiteY12" fmla="*/ 56798 h 515427"/>
                <a:gd name="connsiteX13" fmla="*/ 107203 w 268922"/>
                <a:gd name="connsiteY13" fmla="*/ 73839 h 515427"/>
                <a:gd name="connsiteX14" fmla="*/ 102093 w 268922"/>
                <a:gd name="connsiteY14" fmla="*/ 86330 h 515427"/>
                <a:gd name="connsiteX15" fmla="*/ 90803 w 268922"/>
                <a:gd name="connsiteY15" fmla="*/ 104486 h 515427"/>
                <a:gd name="connsiteX16" fmla="*/ 86715 w 268922"/>
                <a:gd name="connsiteY16" fmla="*/ 118092 h 515427"/>
                <a:gd name="connsiteX17" fmla="*/ 70315 w 268922"/>
                <a:gd name="connsiteY17" fmla="*/ 122596 h 515427"/>
                <a:gd name="connsiteX18" fmla="*/ 69293 w 268922"/>
                <a:gd name="connsiteY18" fmla="*/ 144188 h 515427"/>
                <a:gd name="connsiteX19" fmla="*/ 54938 w 268922"/>
                <a:gd name="connsiteY19" fmla="*/ 174788 h 515427"/>
                <a:gd name="connsiteX20" fmla="*/ 60048 w 268922"/>
                <a:gd name="connsiteY20" fmla="*/ 187279 h 515427"/>
                <a:gd name="connsiteX21" fmla="*/ 60048 w 268922"/>
                <a:gd name="connsiteY21" fmla="*/ 200885 h 515427"/>
                <a:gd name="connsiteX22" fmla="*/ 45693 w 268922"/>
                <a:gd name="connsiteY22" fmla="*/ 202046 h 515427"/>
                <a:gd name="connsiteX23" fmla="*/ 24183 w 268922"/>
                <a:gd name="connsiteY23" fmla="*/ 217926 h 515427"/>
                <a:gd name="connsiteX24" fmla="*/ 22139 w 268922"/>
                <a:gd name="connsiteY24" fmla="*/ 241747 h 515427"/>
                <a:gd name="connsiteX25" fmla="*/ 22139 w 268922"/>
                <a:gd name="connsiteY25" fmla="*/ 265568 h 515427"/>
                <a:gd name="connsiteX26" fmla="*/ 21117 w 268922"/>
                <a:gd name="connsiteY26" fmla="*/ 288275 h 515427"/>
                <a:gd name="connsiteX27" fmla="*/ 35472 w 268922"/>
                <a:gd name="connsiteY27" fmla="*/ 305270 h 515427"/>
                <a:gd name="connsiteX28" fmla="*/ 27249 w 268922"/>
                <a:gd name="connsiteY28" fmla="*/ 317761 h 515427"/>
                <a:gd name="connsiteX29" fmla="*/ 28271 w 268922"/>
                <a:gd name="connsiteY29" fmla="*/ 329091 h 515427"/>
                <a:gd name="connsiteX30" fmla="*/ 29293 w 268922"/>
                <a:gd name="connsiteY30" fmla="*/ 351798 h 515427"/>
                <a:gd name="connsiteX31" fmla="*/ 14938 w 268922"/>
                <a:gd name="connsiteY31" fmla="*/ 357463 h 515427"/>
                <a:gd name="connsiteX32" fmla="*/ 11871 w 268922"/>
                <a:gd name="connsiteY32" fmla="*/ 376780 h 515427"/>
                <a:gd name="connsiteX33" fmla="*/ 6761 w 268922"/>
                <a:gd name="connsiteY33" fmla="*/ 392660 h 515427"/>
                <a:gd name="connsiteX34" fmla="*/ 25 w 268922"/>
                <a:gd name="connsiteY34" fmla="*/ 391592 h 515427"/>
                <a:gd name="connsiteX35" fmla="*/ 25 w 268922"/>
                <a:gd name="connsiteY35" fmla="*/ 393821 h 515427"/>
                <a:gd name="connsiteX36" fmla="*/ 9595 w 268922"/>
                <a:gd name="connsiteY36" fmla="*/ 417828 h 515427"/>
                <a:gd name="connsiteX37" fmla="*/ 17261 w 268922"/>
                <a:gd name="connsiteY37" fmla="*/ 442578 h 515427"/>
                <a:gd name="connsiteX38" fmla="*/ 28085 w 268922"/>
                <a:gd name="connsiteY38" fmla="*/ 464123 h 515427"/>
                <a:gd name="connsiteX39" fmla="*/ 32545 w 268922"/>
                <a:gd name="connsiteY39" fmla="*/ 482140 h 515427"/>
                <a:gd name="connsiteX40" fmla="*/ 38585 w 268922"/>
                <a:gd name="connsiteY40" fmla="*/ 493099 h 515427"/>
                <a:gd name="connsiteX41" fmla="*/ 38910 w 268922"/>
                <a:gd name="connsiteY41" fmla="*/ 513251 h 515427"/>
                <a:gd name="connsiteX42" fmla="*/ 55821 w 268922"/>
                <a:gd name="connsiteY42" fmla="*/ 512926 h 515427"/>
                <a:gd name="connsiteX43" fmla="*/ 63765 w 268922"/>
                <a:gd name="connsiteY43" fmla="*/ 498810 h 515427"/>
                <a:gd name="connsiteX44" fmla="*/ 70455 w 268922"/>
                <a:gd name="connsiteY44" fmla="*/ 491055 h 515427"/>
                <a:gd name="connsiteX45" fmla="*/ 88295 w 268922"/>
                <a:gd name="connsiteY45" fmla="*/ 489244 h 515427"/>
                <a:gd name="connsiteX46" fmla="*/ 100745 w 268922"/>
                <a:gd name="connsiteY46" fmla="*/ 478286 h 515427"/>
                <a:gd name="connsiteX47" fmla="*/ 108411 w 268922"/>
                <a:gd name="connsiteY47" fmla="*/ 481815 h 515427"/>
                <a:gd name="connsiteX48" fmla="*/ 120536 w 268922"/>
                <a:gd name="connsiteY48" fmla="*/ 459248 h 515427"/>
                <a:gd name="connsiteX49" fmla="*/ 112871 w 268922"/>
                <a:gd name="connsiteY49" fmla="*/ 460641 h 515427"/>
                <a:gd name="connsiteX50" fmla="*/ 112546 w 268922"/>
                <a:gd name="connsiteY50" fmla="*/ 444064 h 515427"/>
                <a:gd name="connsiteX51" fmla="*/ 116030 w 268922"/>
                <a:gd name="connsiteY51" fmla="*/ 410166 h 515427"/>
                <a:gd name="connsiteX52" fmla="*/ 128155 w 268922"/>
                <a:gd name="connsiteY52" fmla="*/ 395679 h 515427"/>
                <a:gd name="connsiteX53" fmla="*/ 147621 w 268922"/>
                <a:gd name="connsiteY53" fmla="*/ 375572 h 515427"/>
                <a:gd name="connsiteX54" fmla="*/ 160351 w 268922"/>
                <a:gd name="connsiteY54" fmla="*/ 356163 h 515427"/>
                <a:gd name="connsiteX55" fmla="*/ 139956 w 268922"/>
                <a:gd name="connsiteY55" fmla="*/ 331088 h 515427"/>
                <a:gd name="connsiteX56" fmla="*/ 124671 w 268922"/>
                <a:gd name="connsiteY56" fmla="*/ 326491 h 515427"/>
                <a:gd name="connsiteX57" fmla="*/ 122116 w 268922"/>
                <a:gd name="connsiteY57" fmla="*/ 299651 h 515427"/>
                <a:gd name="connsiteX58" fmla="*/ 129503 w 268922"/>
                <a:gd name="connsiteY58" fmla="*/ 279685 h 515427"/>
                <a:gd name="connsiteX59" fmla="*/ 130385 w 268922"/>
                <a:gd name="connsiteY59" fmla="*/ 258092 h 515427"/>
                <a:gd name="connsiteX60" fmla="*/ 148969 w 268922"/>
                <a:gd name="connsiteY60" fmla="*/ 236361 h 515427"/>
                <a:gd name="connsiteX61" fmla="*/ 157656 w 268922"/>
                <a:gd name="connsiteY61" fmla="*/ 230789 h 515427"/>
                <a:gd name="connsiteX62" fmla="*/ 161001 w 268922"/>
                <a:gd name="connsiteY62" fmla="*/ 228281 h 515427"/>
                <a:gd name="connsiteX63" fmla="*/ 167134 w 268922"/>
                <a:gd name="connsiteY63" fmla="*/ 224799 h 515427"/>
                <a:gd name="connsiteX64" fmla="*/ 174009 w 268922"/>
                <a:gd name="connsiteY64" fmla="*/ 208500 h 515427"/>
                <a:gd name="connsiteX65" fmla="*/ 177122 w 268922"/>
                <a:gd name="connsiteY65" fmla="*/ 205389 h 515427"/>
                <a:gd name="connsiteX66" fmla="*/ 190455 w 268922"/>
                <a:gd name="connsiteY66" fmla="*/ 198981 h 515427"/>
                <a:gd name="connsiteX67" fmla="*/ 194358 w 268922"/>
                <a:gd name="connsiteY67" fmla="*/ 193780 h 515427"/>
                <a:gd name="connsiteX68" fmla="*/ 203185 w 268922"/>
                <a:gd name="connsiteY68" fmla="*/ 188440 h 515427"/>
                <a:gd name="connsiteX69" fmla="*/ 209410 w 268922"/>
                <a:gd name="connsiteY69" fmla="*/ 172049 h 515427"/>
                <a:gd name="connsiteX70" fmla="*/ 212337 w 268922"/>
                <a:gd name="connsiteY70" fmla="*/ 164666 h 515427"/>
                <a:gd name="connsiteX71" fmla="*/ 220607 w 268922"/>
                <a:gd name="connsiteY71" fmla="*/ 145256 h 515427"/>
                <a:gd name="connsiteX72" fmla="*/ 234637 w 268922"/>
                <a:gd name="connsiteY72" fmla="*/ 132904 h 515427"/>
                <a:gd name="connsiteX73" fmla="*/ 257262 w 268922"/>
                <a:gd name="connsiteY73" fmla="*/ 130443 h 515427"/>
                <a:gd name="connsiteX74" fmla="*/ 268923 w 268922"/>
                <a:gd name="connsiteY74" fmla="*/ 131001 h 515427"/>
                <a:gd name="connsiteX75" fmla="*/ 265903 w 268922"/>
                <a:gd name="connsiteY75" fmla="*/ 119206 h 51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68922" h="515427">
                  <a:moveTo>
                    <a:pt x="266042" y="119253"/>
                  </a:moveTo>
                  <a:cubicBezTo>
                    <a:pt x="262976" y="115863"/>
                    <a:pt x="256844" y="106808"/>
                    <a:pt x="261908" y="106808"/>
                  </a:cubicBezTo>
                  <a:cubicBezTo>
                    <a:pt x="266972" y="106808"/>
                    <a:pt x="269062" y="89813"/>
                    <a:pt x="262930" y="86377"/>
                  </a:cubicBezTo>
                  <a:cubicBezTo>
                    <a:pt x="256797" y="82987"/>
                    <a:pt x="262930" y="68221"/>
                    <a:pt x="257819" y="64831"/>
                  </a:cubicBezTo>
                  <a:cubicBezTo>
                    <a:pt x="252709" y="61441"/>
                    <a:pt x="255775" y="50065"/>
                    <a:pt x="256797" y="42124"/>
                  </a:cubicBezTo>
                  <a:cubicBezTo>
                    <a:pt x="257819" y="34184"/>
                    <a:pt x="237331" y="27358"/>
                    <a:pt x="226042" y="21693"/>
                  </a:cubicBezTo>
                  <a:cubicBezTo>
                    <a:pt x="214800" y="16028"/>
                    <a:pt x="209642" y="6927"/>
                    <a:pt x="200444" y="1262"/>
                  </a:cubicBezTo>
                  <a:cubicBezTo>
                    <a:pt x="191245" y="-4403"/>
                    <a:pt x="188132" y="10317"/>
                    <a:pt x="188132" y="19418"/>
                  </a:cubicBezTo>
                  <a:cubicBezTo>
                    <a:pt x="188132" y="28519"/>
                    <a:pt x="179956" y="29634"/>
                    <a:pt x="173777" y="23968"/>
                  </a:cubicBezTo>
                  <a:cubicBezTo>
                    <a:pt x="167645" y="18303"/>
                    <a:pt x="160444" y="23968"/>
                    <a:pt x="151245" y="19418"/>
                  </a:cubicBezTo>
                  <a:cubicBezTo>
                    <a:pt x="142046" y="14867"/>
                    <a:pt x="146135" y="29634"/>
                    <a:pt x="146135" y="36413"/>
                  </a:cubicBezTo>
                  <a:cubicBezTo>
                    <a:pt x="146135" y="43192"/>
                    <a:pt x="135867" y="43192"/>
                    <a:pt x="129735" y="43192"/>
                  </a:cubicBezTo>
                  <a:cubicBezTo>
                    <a:pt x="123603" y="43192"/>
                    <a:pt x="113335" y="48857"/>
                    <a:pt x="113335" y="56798"/>
                  </a:cubicBezTo>
                  <a:cubicBezTo>
                    <a:pt x="113335" y="64738"/>
                    <a:pt x="104137" y="69289"/>
                    <a:pt x="107203" y="73839"/>
                  </a:cubicBezTo>
                  <a:cubicBezTo>
                    <a:pt x="110269" y="78344"/>
                    <a:pt x="106181" y="82894"/>
                    <a:pt x="102093" y="86330"/>
                  </a:cubicBezTo>
                  <a:cubicBezTo>
                    <a:pt x="98004" y="89720"/>
                    <a:pt x="93916" y="101050"/>
                    <a:pt x="90803" y="104486"/>
                  </a:cubicBezTo>
                  <a:cubicBezTo>
                    <a:pt x="87737" y="107876"/>
                    <a:pt x="92848" y="113541"/>
                    <a:pt x="86715" y="118092"/>
                  </a:cubicBezTo>
                  <a:cubicBezTo>
                    <a:pt x="80583" y="122596"/>
                    <a:pt x="73382" y="119206"/>
                    <a:pt x="70315" y="122596"/>
                  </a:cubicBezTo>
                  <a:cubicBezTo>
                    <a:pt x="67249" y="125986"/>
                    <a:pt x="70315" y="133972"/>
                    <a:pt x="69293" y="144188"/>
                  </a:cubicBezTo>
                  <a:cubicBezTo>
                    <a:pt x="68271" y="154357"/>
                    <a:pt x="61070" y="165734"/>
                    <a:pt x="54938" y="174788"/>
                  </a:cubicBezTo>
                  <a:cubicBezTo>
                    <a:pt x="48805" y="183890"/>
                    <a:pt x="56982" y="186165"/>
                    <a:pt x="60048" y="187279"/>
                  </a:cubicBezTo>
                  <a:cubicBezTo>
                    <a:pt x="63114" y="188440"/>
                    <a:pt x="63114" y="194105"/>
                    <a:pt x="60048" y="200885"/>
                  </a:cubicBezTo>
                  <a:cubicBezTo>
                    <a:pt x="56982" y="207711"/>
                    <a:pt x="49781" y="203160"/>
                    <a:pt x="45693" y="202046"/>
                  </a:cubicBezTo>
                  <a:cubicBezTo>
                    <a:pt x="41604" y="200885"/>
                    <a:pt x="30315" y="206550"/>
                    <a:pt x="24183" y="217926"/>
                  </a:cubicBezTo>
                  <a:cubicBezTo>
                    <a:pt x="18050" y="229256"/>
                    <a:pt x="20094" y="236082"/>
                    <a:pt x="22139" y="241747"/>
                  </a:cubicBezTo>
                  <a:cubicBezTo>
                    <a:pt x="24183" y="247412"/>
                    <a:pt x="17028" y="254238"/>
                    <a:pt x="22139" y="265568"/>
                  </a:cubicBezTo>
                  <a:cubicBezTo>
                    <a:pt x="27249" y="276898"/>
                    <a:pt x="20094" y="279174"/>
                    <a:pt x="21117" y="288275"/>
                  </a:cubicBezTo>
                  <a:cubicBezTo>
                    <a:pt x="22139" y="297330"/>
                    <a:pt x="34450" y="296215"/>
                    <a:pt x="35472" y="305270"/>
                  </a:cubicBezTo>
                  <a:cubicBezTo>
                    <a:pt x="36494" y="314325"/>
                    <a:pt x="31384" y="317761"/>
                    <a:pt x="27249" y="317761"/>
                  </a:cubicBezTo>
                  <a:cubicBezTo>
                    <a:pt x="23114" y="317761"/>
                    <a:pt x="24183" y="326816"/>
                    <a:pt x="28271" y="329091"/>
                  </a:cubicBezTo>
                  <a:cubicBezTo>
                    <a:pt x="32359" y="331366"/>
                    <a:pt x="31337" y="347247"/>
                    <a:pt x="29293" y="351798"/>
                  </a:cubicBezTo>
                  <a:cubicBezTo>
                    <a:pt x="27249" y="356348"/>
                    <a:pt x="13915" y="351798"/>
                    <a:pt x="14938" y="357463"/>
                  </a:cubicBezTo>
                  <a:cubicBezTo>
                    <a:pt x="15960" y="363128"/>
                    <a:pt x="11871" y="372229"/>
                    <a:pt x="11871" y="376780"/>
                  </a:cubicBezTo>
                  <a:cubicBezTo>
                    <a:pt x="11871" y="381330"/>
                    <a:pt x="10849" y="396050"/>
                    <a:pt x="6761" y="392660"/>
                  </a:cubicBezTo>
                  <a:cubicBezTo>
                    <a:pt x="5135" y="391314"/>
                    <a:pt x="2580" y="391221"/>
                    <a:pt x="25" y="391592"/>
                  </a:cubicBezTo>
                  <a:cubicBezTo>
                    <a:pt x="25" y="392289"/>
                    <a:pt x="25" y="392985"/>
                    <a:pt x="25" y="393821"/>
                  </a:cubicBezTo>
                  <a:cubicBezTo>
                    <a:pt x="-301" y="402644"/>
                    <a:pt x="2580" y="411466"/>
                    <a:pt x="9595" y="417828"/>
                  </a:cubicBezTo>
                  <a:cubicBezTo>
                    <a:pt x="16610" y="424189"/>
                    <a:pt x="11175" y="433709"/>
                    <a:pt x="17261" y="442578"/>
                  </a:cubicBezTo>
                  <a:cubicBezTo>
                    <a:pt x="23300" y="451400"/>
                    <a:pt x="21395" y="457762"/>
                    <a:pt x="28085" y="464123"/>
                  </a:cubicBezTo>
                  <a:cubicBezTo>
                    <a:pt x="34775" y="470485"/>
                    <a:pt x="35425" y="474014"/>
                    <a:pt x="32545" y="482140"/>
                  </a:cubicBezTo>
                  <a:cubicBezTo>
                    <a:pt x="29665" y="490266"/>
                    <a:pt x="38306" y="488130"/>
                    <a:pt x="38585" y="493099"/>
                  </a:cubicBezTo>
                  <a:cubicBezTo>
                    <a:pt x="38910" y="498067"/>
                    <a:pt x="36680" y="508283"/>
                    <a:pt x="38910" y="513251"/>
                  </a:cubicBezTo>
                  <a:cubicBezTo>
                    <a:pt x="41140" y="518173"/>
                    <a:pt x="45600" y="513251"/>
                    <a:pt x="55821" y="512926"/>
                  </a:cubicBezTo>
                  <a:cubicBezTo>
                    <a:pt x="65995" y="512555"/>
                    <a:pt x="63486" y="505497"/>
                    <a:pt x="63765" y="498810"/>
                  </a:cubicBezTo>
                  <a:cubicBezTo>
                    <a:pt x="64090" y="492123"/>
                    <a:pt x="69200" y="495281"/>
                    <a:pt x="70455" y="491055"/>
                  </a:cubicBezTo>
                  <a:cubicBezTo>
                    <a:pt x="71709" y="486830"/>
                    <a:pt x="81001" y="485762"/>
                    <a:pt x="88295" y="489244"/>
                  </a:cubicBezTo>
                  <a:cubicBezTo>
                    <a:pt x="95635" y="492774"/>
                    <a:pt x="99445" y="486783"/>
                    <a:pt x="100745" y="478286"/>
                  </a:cubicBezTo>
                  <a:cubicBezTo>
                    <a:pt x="102000" y="469835"/>
                    <a:pt x="106135" y="480050"/>
                    <a:pt x="108411" y="481815"/>
                  </a:cubicBezTo>
                  <a:cubicBezTo>
                    <a:pt x="110641" y="483579"/>
                    <a:pt x="117331" y="468767"/>
                    <a:pt x="120536" y="459248"/>
                  </a:cubicBezTo>
                  <a:cubicBezTo>
                    <a:pt x="123742" y="449729"/>
                    <a:pt x="120211" y="451493"/>
                    <a:pt x="112871" y="460641"/>
                  </a:cubicBezTo>
                  <a:cubicBezTo>
                    <a:pt x="105531" y="469835"/>
                    <a:pt x="109665" y="451493"/>
                    <a:pt x="112546" y="444064"/>
                  </a:cubicBezTo>
                  <a:cubicBezTo>
                    <a:pt x="115426" y="436634"/>
                    <a:pt x="115101" y="415088"/>
                    <a:pt x="116030" y="410166"/>
                  </a:cubicBezTo>
                  <a:cubicBezTo>
                    <a:pt x="117005" y="405244"/>
                    <a:pt x="118910" y="397814"/>
                    <a:pt x="128155" y="395679"/>
                  </a:cubicBezTo>
                  <a:cubicBezTo>
                    <a:pt x="137401" y="393542"/>
                    <a:pt x="149526" y="380866"/>
                    <a:pt x="147621" y="375572"/>
                  </a:cubicBezTo>
                  <a:cubicBezTo>
                    <a:pt x="145716" y="370279"/>
                    <a:pt x="160351" y="361456"/>
                    <a:pt x="160351" y="356163"/>
                  </a:cubicBezTo>
                  <a:cubicBezTo>
                    <a:pt x="160351" y="350869"/>
                    <a:pt x="145020" y="334617"/>
                    <a:pt x="139956" y="331088"/>
                  </a:cubicBezTo>
                  <a:cubicBezTo>
                    <a:pt x="134845" y="327559"/>
                    <a:pt x="123695" y="330391"/>
                    <a:pt x="124671" y="326491"/>
                  </a:cubicBezTo>
                  <a:cubicBezTo>
                    <a:pt x="125600" y="322590"/>
                    <a:pt x="123370" y="307406"/>
                    <a:pt x="122116" y="299651"/>
                  </a:cubicBezTo>
                  <a:cubicBezTo>
                    <a:pt x="121047" y="293011"/>
                    <a:pt x="127505" y="286185"/>
                    <a:pt x="129503" y="279685"/>
                  </a:cubicBezTo>
                  <a:cubicBezTo>
                    <a:pt x="126344" y="272812"/>
                    <a:pt x="126297" y="264408"/>
                    <a:pt x="130385" y="258092"/>
                  </a:cubicBezTo>
                  <a:cubicBezTo>
                    <a:pt x="135682" y="250013"/>
                    <a:pt x="142557" y="243512"/>
                    <a:pt x="148969" y="236361"/>
                  </a:cubicBezTo>
                  <a:cubicBezTo>
                    <a:pt x="151431" y="233621"/>
                    <a:pt x="154404" y="231810"/>
                    <a:pt x="157656" y="230789"/>
                  </a:cubicBezTo>
                  <a:cubicBezTo>
                    <a:pt x="158585" y="229814"/>
                    <a:pt x="159654" y="228885"/>
                    <a:pt x="161001" y="228281"/>
                  </a:cubicBezTo>
                  <a:cubicBezTo>
                    <a:pt x="163649" y="227120"/>
                    <a:pt x="165461" y="225960"/>
                    <a:pt x="167134" y="224799"/>
                  </a:cubicBezTo>
                  <a:cubicBezTo>
                    <a:pt x="167134" y="218901"/>
                    <a:pt x="169782" y="212679"/>
                    <a:pt x="174009" y="208500"/>
                  </a:cubicBezTo>
                  <a:lnTo>
                    <a:pt x="177122" y="205389"/>
                  </a:lnTo>
                  <a:cubicBezTo>
                    <a:pt x="180839" y="201721"/>
                    <a:pt x="185485" y="199770"/>
                    <a:pt x="190455" y="198981"/>
                  </a:cubicBezTo>
                  <a:cubicBezTo>
                    <a:pt x="191571" y="197031"/>
                    <a:pt x="192871" y="195220"/>
                    <a:pt x="194358" y="193780"/>
                  </a:cubicBezTo>
                  <a:cubicBezTo>
                    <a:pt x="196774" y="191412"/>
                    <a:pt x="199886" y="189601"/>
                    <a:pt x="203185" y="188440"/>
                  </a:cubicBezTo>
                  <a:cubicBezTo>
                    <a:pt x="203185" y="182404"/>
                    <a:pt x="205275" y="176414"/>
                    <a:pt x="209410" y="172049"/>
                  </a:cubicBezTo>
                  <a:cubicBezTo>
                    <a:pt x="208853" y="169588"/>
                    <a:pt x="209410" y="167127"/>
                    <a:pt x="212337" y="164666"/>
                  </a:cubicBezTo>
                  <a:cubicBezTo>
                    <a:pt x="221582" y="156911"/>
                    <a:pt x="213917" y="148042"/>
                    <a:pt x="220607" y="145256"/>
                  </a:cubicBezTo>
                  <a:cubicBezTo>
                    <a:pt x="227297" y="142423"/>
                    <a:pt x="229852" y="138569"/>
                    <a:pt x="234637" y="132904"/>
                  </a:cubicBezTo>
                  <a:cubicBezTo>
                    <a:pt x="239422" y="127239"/>
                    <a:pt x="245787" y="132533"/>
                    <a:pt x="257262" y="130443"/>
                  </a:cubicBezTo>
                  <a:cubicBezTo>
                    <a:pt x="261443" y="129654"/>
                    <a:pt x="265299" y="130072"/>
                    <a:pt x="268923" y="131001"/>
                  </a:cubicBezTo>
                  <a:cubicBezTo>
                    <a:pt x="268412" y="125382"/>
                    <a:pt x="267297" y="120785"/>
                    <a:pt x="265903" y="119206"/>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25" name="Freeform 24">
              <a:extLst>
                <a:ext uri="{FF2B5EF4-FFF2-40B4-BE49-F238E27FC236}">
                  <a16:creationId xmlns:a16="http://schemas.microsoft.com/office/drawing/2014/main" id="{A63560B1-9D4D-E7DC-0299-51408BCE99B3}"/>
                </a:ext>
              </a:extLst>
            </p:cNvPr>
            <p:cNvSpPr/>
            <p:nvPr/>
          </p:nvSpPr>
          <p:spPr>
            <a:xfrm>
              <a:off x="8544473" y="2766969"/>
              <a:ext cx="2139584" cy="1981023"/>
            </a:xfrm>
            <a:custGeom>
              <a:avLst/>
              <a:gdLst>
                <a:gd name="connsiteX0" fmla="*/ 537745 w 554117"/>
                <a:gd name="connsiteY0" fmla="*/ 59643 h 513052"/>
                <a:gd name="connsiteX1" fmla="*/ 528175 w 554117"/>
                <a:gd name="connsiteY1" fmla="*/ 58575 h 513052"/>
                <a:gd name="connsiteX2" fmla="*/ 514145 w 554117"/>
                <a:gd name="connsiteY2" fmla="*/ 46549 h 513052"/>
                <a:gd name="connsiteX3" fmla="*/ 525016 w 554117"/>
                <a:gd name="connsiteY3" fmla="*/ 47617 h 513052"/>
                <a:gd name="connsiteX4" fmla="*/ 539371 w 554117"/>
                <a:gd name="connsiteY4" fmla="*/ 42694 h 513052"/>
                <a:gd name="connsiteX5" fmla="*/ 554052 w 554117"/>
                <a:gd name="connsiteY5" fmla="*/ 36333 h 513052"/>
                <a:gd name="connsiteX6" fmla="*/ 542902 w 554117"/>
                <a:gd name="connsiteY6" fmla="*/ 24306 h 513052"/>
                <a:gd name="connsiteX7" fmla="*/ 526642 w 554117"/>
                <a:gd name="connsiteY7" fmla="*/ 18316 h 513052"/>
                <a:gd name="connsiteX8" fmla="*/ 515167 w 554117"/>
                <a:gd name="connsiteY8" fmla="*/ 12326 h 513052"/>
                <a:gd name="connsiteX9" fmla="*/ 510800 w 554117"/>
                <a:gd name="connsiteY9" fmla="*/ 11119 h 513052"/>
                <a:gd name="connsiteX10" fmla="*/ 503738 w 554117"/>
                <a:gd name="connsiteY10" fmla="*/ 14416 h 513052"/>
                <a:gd name="connsiteX11" fmla="*/ 498256 w 554117"/>
                <a:gd name="connsiteY11" fmla="*/ 25003 h 513052"/>
                <a:gd name="connsiteX12" fmla="*/ 493146 w 554117"/>
                <a:gd name="connsiteY12" fmla="*/ 27139 h 513052"/>
                <a:gd name="connsiteX13" fmla="*/ 493750 w 554117"/>
                <a:gd name="connsiteY13" fmla="*/ 14741 h 513052"/>
                <a:gd name="connsiteX14" fmla="*/ 491752 w 554117"/>
                <a:gd name="connsiteY14" fmla="*/ 14091 h 513052"/>
                <a:gd name="connsiteX15" fmla="*/ 483994 w 554117"/>
                <a:gd name="connsiteY15" fmla="*/ 11583 h 513052"/>
                <a:gd name="connsiteX16" fmla="*/ 482879 w 554117"/>
                <a:gd name="connsiteY16" fmla="*/ 11305 h 513052"/>
                <a:gd name="connsiteX17" fmla="*/ 480834 w 554117"/>
                <a:gd name="connsiteY17" fmla="*/ 11165 h 513052"/>
                <a:gd name="connsiteX18" fmla="*/ 472611 w 554117"/>
                <a:gd name="connsiteY18" fmla="*/ 11258 h 513052"/>
                <a:gd name="connsiteX19" fmla="*/ 473448 w 554117"/>
                <a:gd name="connsiteY19" fmla="*/ 13673 h 513052"/>
                <a:gd name="connsiteX20" fmla="*/ 460672 w 554117"/>
                <a:gd name="connsiteY20" fmla="*/ 32386 h 513052"/>
                <a:gd name="connsiteX21" fmla="*/ 460997 w 554117"/>
                <a:gd name="connsiteY21" fmla="*/ 12280 h 513052"/>
                <a:gd name="connsiteX22" fmla="*/ 460997 w 554117"/>
                <a:gd name="connsiteY22" fmla="*/ 12094 h 513052"/>
                <a:gd name="connsiteX23" fmla="*/ 455422 w 554117"/>
                <a:gd name="connsiteY23" fmla="*/ 11072 h 513052"/>
                <a:gd name="connsiteX24" fmla="*/ 447292 w 554117"/>
                <a:gd name="connsiteY24" fmla="*/ 20406 h 513052"/>
                <a:gd name="connsiteX25" fmla="*/ 426572 w 554117"/>
                <a:gd name="connsiteY25" fmla="*/ 43019 h 513052"/>
                <a:gd name="connsiteX26" fmla="*/ 430381 w 554117"/>
                <a:gd name="connsiteY26" fmla="*/ 27835 h 513052"/>
                <a:gd name="connsiteX27" fmla="*/ 444411 w 554117"/>
                <a:gd name="connsiteY27" fmla="*/ 9447 h 513052"/>
                <a:gd name="connsiteX28" fmla="*/ 448035 w 554117"/>
                <a:gd name="connsiteY28" fmla="*/ 7172 h 513052"/>
                <a:gd name="connsiteX29" fmla="*/ 442274 w 554117"/>
                <a:gd name="connsiteY29" fmla="*/ 439 h 513052"/>
                <a:gd name="connsiteX30" fmla="*/ 441856 w 554117"/>
                <a:gd name="connsiteY30" fmla="*/ 300 h 513052"/>
                <a:gd name="connsiteX31" fmla="*/ 430056 w 554117"/>
                <a:gd name="connsiteY31" fmla="*/ 10887 h 513052"/>
                <a:gd name="connsiteX32" fmla="*/ 420393 w 554117"/>
                <a:gd name="connsiteY32" fmla="*/ 9494 h 513052"/>
                <a:gd name="connsiteX33" fmla="*/ 411752 w 554117"/>
                <a:gd name="connsiteY33" fmla="*/ 12465 h 513052"/>
                <a:gd name="connsiteX34" fmla="*/ 410962 w 554117"/>
                <a:gd name="connsiteY34" fmla="*/ 17945 h 513052"/>
                <a:gd name="connsiteX35" fmla="*/ 406177 w 554117"/>
                <a:gd name="connsiteY35" fmla="*/ 21474 h 513052"/>
                <a:gd name="connsiteX36" fmla="*/ 391217 w 554117"/>
                <a:gd name="connsiteY36" fmla="*/ 27139 h 513052"/>
                <a:gd name="connsiteX37" fmla="*/ 386107 w 554117"/>
                <a:gd name="connsiteY37" fmla="*/ 36333 h 513052"/>
                <a:gd name="connsiteX38" fmla="*/ 383877 w 554117"/>
                <a:gd name="connsiteY38" fmla="*/ 50124 h 513052"/>
                <a:gd name="connsiteX39" fmla="*/ 375886 w 554117"/>
                <a:gd name="connsiteY39" fmla="*/ 34568 h 513052"/>
                <a:gd name="connsiteX40" fmla="*/ 380346 w 554117"/>
                <a:gd name="connsiteY40" fmla="*/ 25374 h 513052"/>
                <a:gd name="connsiteX41" fmla="*/ 391078 w 554117"/>
                <a:gd name="connsiteY41" fmla="*/ 16087 h 513052"/>
                <a:gd name="connsiteX42" fmla="*/ 376118 w 554117"/>
                <a:gd name="connsiteY42" fmla="*/ 21056 h 513052"/>
                <a:gd name="connsiteX43" fmla="*/ 362274 w 554117"/>
                <a:gd name="connsiteY43" fmla="*/ 20499 h 513052"/>
                <a:gd name="connsiteX44" fmla="*/ 367895 w 554117"/>
                <a:gd name="connsiteY44" fmla="*/ 34893 h 513052"/>
                <a:gd name="connsiteX45" fmla="*/ 361809 w 554117"/>
                <a:gd name="connsiteY45" fmla="*/ 39862 h 513052"/>
                <a:gd name="connsiteX46" fmla="*/ 345549 w 554117"/>
                <a:gd name="connsiteY46" fmla="*/ 40187 h 513052"/>
                <a:gd name="connsiteX47" fmla="*/ 357675 w 554117"/>
                <a:gd name="connsiteY47" fmla="*/ 52214 h 513052"/>
                <a:gd name="connsiteX48" fmla="*/ 347454 w 554117"/>
                <a:gd name="connsiteY48" fmla="*/ 50774 h 513052"/>
                <a:gd name="connsiteX49" fmla="*/ 335979 w 554117"/>
                <a:gd name="connsiteY49" fmla="*/ 43019 h 513052"/>
                <a:gd name="connsiteX50" fmla="*/ 328964 w 554117"/>
                <a:gd name="connsiteY50" fmla="*/ 47617 h 513052"/>
                <a:gd name="connsiteX51" fmla="*/ 334074 w 554117"/>
                <a:gd name="connsiteY51" fmla="*/ 63172 h 513052"/>
                <a:gd name="connsiteX52" fmla="*/ 326734 w 554117"/>
                <a:gd name="connsiteY52" fmla="*/ 58250 h 513052"/>
                <a:gd name="connsiteX53" fmla="*/ 314608 w 554117"/>
                <a:gd name="connsiteY53" fmla="*/ 57182 h 513052"/>
                <a:gd name="connsiteX54" fmla="*/ 313029 w 554117"/>
                <a:gd name="connsiteY54" fmla="*/ 43391 h 513052"/>
                <a:gd name="connsiteX55" fmla="*/ 298023 w 554117"/>
                <a:gd name="connsiteY55" fmla="*/ 44830 h 513052"/>
                <a:gd name="connsiteX56" fmla="*/ 291983 w 554117"/>
                <a:gd name="connsiteY56" fmla="*/ 51517 h 513052"/>
                <a:gd name="connsiteX57" fmla="*/ 290032 w 554117"/>
                <a:gd name="connsiteY57" fmla="*/ 62476 h 513052"/>
                <a:gd name="connsiteX58" fmla="*/ 283017 w 554117"/>
                <a:gd name="connsiteY58" fmla="*/ 68141 h 513052"/>
                <a:gd name="connsiteX59" fmla="*/ 275351 w 554117"/>
                <a:gd name="connsiteY59" fmla="*/ 69209 h 513052"/>
                <a:gd name="connsiteX60" fmla="*/ 260671 w 554117"/>
                <a:gd name="connsiteY60" fmla="*/ 71345 h 513052"/>
                <a:gd name="connsiteX61" fmla="*/ 249521 w 554117"/>
                <a:gd name="connsiteY61" fmla="*/ 87597 h 513052"/>
                <a:gd name="connsiteX62" fmla="*/ 263226 w 554117"/>
                <a:gd name="connsiteY62" fmla="*/ 86529 h 513052"/>
                <a:gd name="connsiteX63" fmla="*/ 266106 w 554117"/>
                <a:gd name="connsiteY63" fmla="*/ 94980 h 513052"/>
                <a:gd name="connsiteX64" fmla="*/ 264201 w 554117"/>
                <a:gd name="connsiteY64" fmla="*/ 101342 h 513052"/>
                <a:gd name="connsiteX65" fmla="*/ 253051 w 554117"/>
                <a:gd name="connsiteY65" fmla="*/ 102735 h 513052"/>
                <a:gd name="connsiteX66" fmla="*/ 243481 w 554117"/>
                <a:gd name="connsiteY66" fmla="*/ 96373 h 513052"/>
                <a:gd name="connsiteX67" fmla="*/ 231681 w 554117"/>
                <a:gd name="connsiteY67" fmla="*/ 102735 h 513052"/>
                <a:gd name="connsiteX68" fmla="*/ 236791 w 554117"/>
                <a:gd name="connsiteY68" fmla="*/ 82953 h 513052"/>
                <a:gd name="connsiteX69" fmla="*/ 224062 w 554117"/>
                <a:gd name="connsiteY69" fmla="*/ 94237 h 513052"/>
                <a:gd name="connsiteX70" fmla="*/ 210357 w 554117"/>
                <a:gd name="connsiteY70" fmla="*/ 105892 h 513052"/>
                <a:gd name="connsiteX71" fmla="*/ 201112 w 554117"/>
                <a:gd name="connsiteY71" fmla="*/ 118615 h 513052"/>
                <a:gd name="connsiteX72" fmla="*/ 174631 w 554117"/>
                <a:gd name="connsiteY72" fmla="*/ 134867 h 513052"/>
                <a:gd name="connsiteX73" fmla="*/ 181971 w 554117"/>
                <a:gd name="connsiteY73" fmla="*/ 135564 h 513052"/>
                <a:gd name="connsiteX74" fmla="*/ 197906 w 554117"/>
                <a:gd name="connsiteY74" fmla="*/ 126741 h 513052"/>
                <a:gd name="connsiteX75" fmla="*/ 218951 w 554117"/>
                <a:gd name="connsiteY75" fmla="*/ 118244 h 513052"/>
                <a:gd name="connsiteX76" fmla="*/ 231681 w 554117"/>
                <a:gd name="connsiteY76" fmla="*/ 116154 h 513052"/>
                <a:gd name="connsiteX77" fmla="*/ 245061 w 554117"/>
                <a:gd name="connsiteY77" fmla="*/ 115086 h 513052"/>
                <a:gd name="connsiteX78" fmla="*/ 243156 w 554117"/>
                <a:gd name="connsiteY78" fmla="*/ 127809 h 513052"/>
                <a:gd name="connsiteX79" fmla="*/ 237116 w 554117"/>
                <a:gd name="connsiteY79" fmla="*/ 131663 h 513052"/>
                <a:gd name="connsiteX80" fmla="*/ 228475 w 554117"/>
                <a:gd name="connsiteY80" fmla="*/ 127066 h 513052"/>
                <a:gd name="connsiteX81" fmla="*/ 218301 w 554117"/>
                <a:gd name="connsiteY81" fmla="*/ 136957 h 513052"/>
                <a:gd name="connsiteX82" fmla="*/ 209706 w 554117"/>
                <a:gd name="connsiteY82" fmla="*/ 154277 h 513052"/>
                <a:gd name="connsiteX83" fmla="*/ 201762 w 554117"/>
                <a:gd name="connsiteY83" fmla="*/ 161707 h 513052"/>
                <a:gd name="connsiteX84" fmla="*/ 181971 w 554117"/>
                <a:gd name="connsiteY84" fmla="*/ 191704 h 513052"/>
                <a:gd name="connsiteX85" fmla="*/ 178440 w 554117"/>
                <a:gd name="connsiteY85" fmla="*/ 209395 h 513052"/>
                <a:gd name="connsiteX86" fmla="*/ 161529 w 554117"/>
                <a:gd name="connsiteY86" fmla="*/ 212553 h 513052"/>
                <a:gd name="connsiteX87" fmla="*/ 158649 w 554117"/>
                <a:gd name="connsiteY87" fmla="*/ 234470 h 513052"/>
                <a:gd name="connsiteX88" fmla="*/ 158649 w 554117"/>
                <a:gd name="connsiteY88" fmla="*/ 250722 h 513052"/>
                <a:gd name="connsiteX89" fmla="*/ 145269 w 554117"/>
                <a:gd name="connsiteY89" fmla="*/ 252812 h 513052"/>
                <a:gd name="connsiteX90" fmla="*/ 130263 w 554117"/>
                <a:gd name="connsiteY90" fmla="*/ 258105 h 513052"/>
                <a:gd name="connsiteX91" fmla="*/ 142389 w 554117"/>
                <a:gd name="connsiteY91" fmla="*/ 272918 h 513052"/>
                <a:gd name="connsiteX92" fmla="*/ 135699 w 554117"/>
                <a:gd name="connsiteY92" fmla="*/ 276075 h 513052"/>
                <a:gd name="connsiteX93" fmla="*/ 127662 w 554117"/>
                <a:gd name="connsiteY93" fmla="*/ 277468 h 513052"/>
                <a:gd name="connsiteX94" fmla="*/ 126686 w 554117"/>
                <a:gd name="connsiteY94" fmla="*/ 284434 h 513052"/>
                <a:gd name="connsiteX95" fmla="*/ 78230 w 554117"/>
                <a:gd name="connsiteY95" fmla="*/ 330776 h 513052"/>
                <a:gd name="connsiteX96" fmla="*/ 61924 w 554117"/>
                <a:gd name="connsiteY96" fmla="*/ 332261 h 513052"/>
                <a:gd name="connsiteX97" fmla="*/ 54909 w 554117"/>
                <a:gd name="connsiteY97" fmla="*/ 333794 h 513052"/>
                <a:gd name="connsiteX98" fmla="*/ 49009 w 554117"/>
                <a:gd name="connsiteY98" fmla="*/ 340805 h 513052"/>
                <a:gd name="connsiteX99" fmla="*/ 49334 w 554117"/>
                <a:gd name="connsiteY99" fmla="*/ 342616 h 513052"/>
                <a:gd name="connsiteX100" fmla="*/ 57232 w 554117"/>
                <a:gd name="connsiteY100" fmla="*/ 347028 h 513052"/>
                <a:gd name="connsiteX101" fmla="*/ 49520 w 554117"/>
                <a:gd name="connsiteY101" fmla="*/ 349303 h 513052"/>
                <a:gd name="connsiteX102" fmla="*/ 43016 w 554117"/>
                <a:gd name="connsiteY102" fmla="*/ 361933 h 513052"/>
                <a:gd name="connsiteX103" fmla="*/ 15373 w 554117"/>
                <a:gd name="connsiteY103" fmla="*/ 376978 h 513052"/>
                <a:gd name="connsiteX104" fmla="*/ 18486 w 554117"/>
                <a:gd name="connsiteY104" fmla="*/ 395784 h 513052"/>
                <a:gd name="connsiteX105" fmla="*/ 9055 w 554117"/>
                <a:gd name="connsiteY105" fmla="*/ 419884 h 513052"/>
                <a:gd name="connsiteX106" fmla="*/ 1900 w 554117"/>
                <a:gd name="connsiteY106" fmla="*/ 426849 h 513052"/>
                <a:gd name="connsiteX107" fmla="*/ 1436 w 554117"/>
                <a:gd name="connsiteY107" fmla="*/ 435347 h 513052"/>
                <a:gd name="connsiteX108" fmla="*/ 12585 w 554117"/>
                <a:gd name="connsiteY108" fmla="*/ 439201 h 513052"/>
                <a:gd name="connsiteX109" fmla="*/ 27870 w 554117"/>
                <a:gd name="connsiteY109" fmla="*/ 432839 h 513052"/>
                <a:gd name="connsiteX110" fmla="*/ 31680 w 554117"/>
                <a:gd name="connsiteY110" fmla="*/ 440269 h 513052"/>
                <a:gd name="connsiteX111" fmla="*/ 20530 w 554117"/>
                <a:gd name="connsiteY111" fmla="*/ 450159 h 513052"/>
                <a:gd name="connsiteX112" fmla="*/ 11935 w 554117"/>
                <a:gd name="connsiteY112" fmla="*/ 447698 h 513052"/>
                <a:gd name="connsiteX113" fmla="*/ 4595 w 554117"/>
                <a:gd name="connsiteY113" fmla="*/ 454756 h 513052"/>
                <a:gd name="connsiteX114" fmla="*/ 3015 w 554117"/>
                <a:gd name="connsiteY114" fmla="*/ 468872 h 513052"/>
                <a:gd name="connsiteX115" fmla="*/ 15141 w 554117"/>
                <a:gd name="connsiteY115" fmla="*/ 467108 h 513052"/>
                <a:gd name="connsiteX116" fmla="*/ 26616 w 554117"/>
                <a:gd name="connsiteY116" fmla="*/ 468547 h 513052"/>
                <a:gd name="connsiteX117" fmla="*/ 21227 w 554117"/>
                <a:gd name="connsiteY117" fmla="*/ 478067 h 513052"/>
                <a:gd name="connsiteX118" fmla="*/ 13840 w 554117"/>
                <a:gd name="connsiteY118" fmla="*/ 483685 h 513052"/>
                <a:gd name="connsiteX119" fmla="*/ 19275 w 554117"/>
                <a:gd name="connsiteY119" fmla="*/ 489257 h 513052"/>
                <a:gd name="connsiteX120" fmla="*/ 19415 w 554117"/>
                <a:gd name="connsiteY120" fmla="*/ 489257 h 513052"/>
                <a:gd name="connsiteX121" fmla="*/ 20019 w 554117"/>
                <a:gd name="connsiteY121" fmla="*/ 489629 h 513052"/>
                <a:gd name="connsiteX122" fmla="*/ 25361 w 554117"/>
                <a:gd name="connsiteY122" fmla="*/ 492693 h 513052"/>
                <a:gd name="connsiteX123" fmla="*/ 40693 w 554117"/>
                <a:gd name="connsiteY123" fmla="*/ 503745 h 513052"/>
                <a:gd name="connsiteX124" fmla="*/ 45245 w 554117"/>
                <a:gd name="connsiteY124" fmla="*/ 510478 h 513052"/>
                <a:gd name="connsiteX125" fmla="*/ 60112 w 554117"/>
                <a:gd name="connsiteY125" fmla="*/ 512707 h 513052"/>
                <a:gd name="connsiteX126" fmla="*/ 100298 w 554117"/>
                <a:gd name="connsiteY126" fmla="*/ 479877 h 513052"/>
                <a:gd name="connsiteX127" fmla="*/ 115304 w 554117"/>
                <a:gd name="connsiteY127" fmla="*/ 476348 h 513052"/>
                <a:gd name="connsiteX128" fmla="*/ 120739 w 554117"/>
                <a:gd name="connsiteY128" fmla="*/ 459075 h 513052"/>
                <a:gd name="connsiteX129" fmla="*/ 129334 w 554117"/>
                <a:gd name="connsiteY129" fmla="*/ 472123 h 513052"/>
                <a:gd name="connsiteX130" fmla="*/ 134445 w 554117"/>
                <a:gd name="connsiteY130" fmla="*/ 482942 h 513052"/>
                <a:gd name="connsiteX131" fmla="*/ 141181 w 554117"/>
                <a:gd name="connsiteY131" fmla="*/ 484010 h 513052"/>
                <a:gd name="connsiteX132" fmla="*/ 146291 w 554117"/>
                <a:gd name="connsiteY132" fmla="*/ 468129 h 513052"/>
                <a:gd name="connsiteX133" fmla="*/ 149357 w 554117"/>
                <a:gd name="connsiteY133" fmla="*/ 448813 h 513052"/>
                <a:gd name="connsiteX134" fmla="*/ 163713 w 554117"/>
                <a:gd name="connsiteY134" fmla="*/ 443148 h 513052"/>
                <a:gd name="connsiteX135" fmla="*/ 162691 w 554117"/>
                <a:gd name="connsiteY135" fmla="*/ 420441 h 513052"/>
                <a:gd name="connsiteX136" fmla="*/ 161669 w 554117"/>
                <a:gd name="connsiteY136" fmla="*/ 409111 h 513052"/>
                <a:gd name="connsiteX137" fmla="*/ 169892 w 554117"/>
                <a:gd name="connsiteY137" fmla="*/ 396620 h 513052"/>
                <a:gd name="connsiteX138" fmla="*/ 155536 w 554117"/>
                <a:gd name="connsiteY138" fmla="*/ 379625 h 513052"/>
                <a:gd name="connsiteX139" fmla="*/ 156559 w 554117"/>
                <a:gd name="connsiteY139" fmla="*/ 356918 h 513052"/>
                <a:gd name="connsiteX140" fmla="*/ 156559 w 554117"/>
                <a:gd name="connsiteY140" fmla="*/ 333097 h 513052"/>
                <a:gd name="connsiteX141" fmla="*/ 158603 w 554117"/>
                <a:gd name="connsiteY141" fmla="*/ 309276 h 513052"/>
                <a:gd name="connsiteX142" fmla="*/ 180112 w 554117"/>
                <a:gd name="connsiteY142" fmla="*/ 293396 h 513052"/>
                <a:gd name="connsiteX143" fmla="*/ 194468 w 554117"/>
                <a:gd name="connsiteY143" fmla="*/ 292235 h 513052"/>
                <a:gd name="connsiteX144" fmla="*/ 194468 w 554117"/>
                <a:gd name="connsiteY144" fmla="*/ 278629 h 513052"/>
                <a:gd name="connsiteX145" fmla="*/ 189358 w 554117"/>
                <a:gd name="connsiteY145" fmla="*/ 266138 h 513052"/>
                <a:gd name="connsiteX146" fmla="*/ 203713 w 554117"/>
                <a:gd name="connsiteY146" fmla="*/ 235538 h 513052"/>
                <a:gd name="connsiteX147" fmla="*/ 204735 w 554117"/>
                <a:gd name="connsiteY147" fmla="*/ 213946 h 513052"/>
                <a:gd name="connsiteX148" fmla="*/ 221135 w 554117"/>
                <a:gd name="connsiteY148" fmla="*/ 209442 h 513052"/>
                <a:gd name="connsiteX149" fmla="*/ 225223 w 554117"/>
                <a:gd name="connsiteY149" fmla="*/ 195836 h 513052"/>
                <a:gd name="connsiteX150" fmla="*/ 236512 w 554117"/>
                <a:gd name="connsiteY150" fmla="*/ 177680 h 513052"/>
                <a:gd name="connsiteX151" fmla="*/ 241623 w 554117"/>
                <a:gd name="connsiteY151" fmla="*/ 165189 h 513052"/>
                <a:gd name="connsiteX152" fmla="*/ 247755 w 554117"/>
                <a:gd name="connsiteY152" fmla="*/ 148148 h 513052"/>
                <a:gd name="connsiteX153" fmla="*/ 264155 w 554117"/>
                <a:gd name="connsiteY153" fmla="*/ 134542 h 513052"/>
                <a:gd name="connsiteX154" fmla="*/ 280555 w 554117"/>
                <a:gd name="connsiteY154" fmla="*/ 127763 h 513052"/>
                <a:gd name="connsiteX155" fmla="*/ 285665 w 554117"/>
                <a:gd name="connsiteY155" fmla="*/ 110768 h 513052"/>
                <a:gd name="connsiteX156" fmla="*/ 308197 w 554117"/>
                <a:gd name="connsiteY156" fmla="*/ 115318 h 513052"/>
                <a:gd name="connsiteX157" fmla="*/ 322552 w 554117"/>
                <a:gd name="connsiteY157" fmla="*/ 110768 h 513052"/>
                <a:gd name="connsiteX158" fmla="*/ 334864 w 554117"/>
                <a:gd name="connsiteY158" fmla="*/ 92612 h 513052"/>
                <a:gd name="connsiteX159" fmla="*/ 336954 w 554117"/>
                <a:gd name="connsiteY159" fmla="*/ 94051 h 513052"/>
                <a:gd name="connsiteX160" fmla="*/ 351263 w 554117"/>
                <a:gd name="connsiteY160" fmla="*/ 82396 h 513052"/>
                <a:gd name="connsiteX161" fmla="*/ 374818 w 554117"/>
                <a:gd name="connsiteY161" fmla="*/ 101667 h 513052"/>
                <a:gd name="connsiteX162" fmla="*/ 398372 w 554117"/>
                <a:gd name="connsiteY162" fmla="*/ 102781 h 513052"/>
                <a:gd name="connsiteX163" fmla="*/ 414771 w 554117"/>
                <a:gd name="connsiteY163" fmla="*/ 103895 h 513052"/>
                <a:gd name="connsiteX164" fmla="*/ 427083 w 554117"/>
                <a:gd name="connsiteY164" fmla="*/ 107285 h 513052"/>
                <a:gd name="connsiteX165" fmla="*/ 436281 w 554117"/>
                <a:gd name="connsiteY165" fmla="*/ 93680 h 513052"/>
                <a:gd name="connsiteX166" fmla="*/ 440370 w 554117"/>
                <a:gd name="connsiteY166" fmla="*/ 73248 h 513052"/>
                <a:gd name="connsiteX167" fmla="*/ 453656 w 554117"/>
                <a:gd name="connsiteY167" fmla="*/ 57368 h 513052"/>
                <a:gd name="connsiteX168" fmla="*/ 475166 w 554117"/>
                <a:gd name="connsiteY168" fmla="*/ 51703 h 513052"/>
                <a:gd name="connsiteX169" fmla="*/ 492588 w 554117"/>
                <a:gd name="connsiteY169" fmla="*/ 51703 h 513052"/>
                <a:gd name="connsiteX170" fmla="*/ 515120 w 554117"/>
                <a:gd name="connsiteY170" fmla="*/ 68744 h 513052"/>
                <a:gd name="connsiteX171" fmla="*/ 515120 w 554117"/>
                <a:gd name="connsiteY171" fmla="*/ 82071 h 513052"/>
                <a:gd name="connsiteX172" fmla="*/ 525016 w 554117"/>
                <a:gd name="connsiteY172" fmla="*/ 76638 h 513052"/>
                <a:gd name="connsiteX173" fmla="*/ 542856 w 554117"/>
                <a:gd name="connsiteY173" fmla="*/ 67444 h 513052"/>
                <a:gd name="connsiteX174" fmla="*/ 553820 w 554117"/>
                <a:gd name="connsiteY174" fmla="*/ 58900 h 513052"/>
                <a:gd name="connsiteX175" fmla="*/ 537745 w 554117"/>
                <a:gd name="connsiteY175" fmla="*/ 59690 h 513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554117" h="513052">
                  <a:moveTo>
                    <a:pt x="537745" y="59643"/>
                  </a:moveTo>
                  <a:cubicBezTo>
                    <a:pt x="536444" y="64937"/>
                    <a:pt x="527850" y="63869"/>
                    <a:pt x="528175" y="58575"/>
                  </a:cubicBezTo>
                  <a:cubicBezTo>
                    <a:pt x="528500" y="53282"/>
                    <a:pt x="514795" y="49056"/>
                    <a:pt x="514145" y="46549"/>
                  </a:cubicBezTo>
                  <a:cubicBezTo>
                    <a:pt x="513494" y="44087"/>
                    <a:pt x="519905" y="44413"/>
                    <a:pt x="525016" y="47617"/>
                  </a:cubicBezTo>
                  <a:cubicBezTo>
                    <a:pt x="530126" y="50820"/>
                    <a:pt x="533611" y="48685"/>
                    <a:pt x="539371" y="42694"/>
                  </a:cubicBezTo>
                  <a:cubicBezTo>
                    <a:pt x="545132" y="36704"/>
                    <a:pt x="553076" y="41626"/>
                    <a:pt x="554052" y="36333"/>
                  </a:cubicBezTo>
                  <a:cubicBezTo>
                    <a:pt x="555028" y="31039"/>
                    <a:pt x="544807" y="27510"/>
                    <a:pt x="542902" y="24306"/>
                  </a:cubicBezTo>
                  <a:cubicBezTo>
                    <a:pt x="540997" y="21102"/>
                    <a:pt x="533657" y="16877"/>
                    <a:pt x="526642" y="18316"/>
                  </a:cubicBezTo>
                  <a:cubicBezTo>
                    <a:pt x="519627" y="19709"/>
                    <a:pt x="519301" y="16552"/>
                    <a:pt x="515167" y="12326"/>
                  </a:cubicBezTo>
                  <a:cubicBezTo>
                    <a:pt x="514145" y="11258"/>
                    <a:pt x="512565" y="10933"/>
                    <a:pt x="510800" y="11119"/>
                  </a:cubicBezTo>
                  <a:cubicBezTo>
                    <a:pt x="508616" y="12558"/>
                    <a:pt x="506247" y="13719"/>
                    <a:pt x="503738" y="14416"/>
                  </a:cubicBezTo>
                  <a:cubicBezTo>
                    <a:pt x="500672" y="16970"/>
                    <a:pt x="498256" y="20731"/>
                    <a:pt x="498256" y="25003"/>
                  </a:cubicBezTo>
                  <a:cubicBezTo>
                    <a:pt x="498256" y="34893"/>
                    <a:pt x="490265" y="32432"/>
                    <a:pt x="493146" y="27139"/>
                  </a:cubicBezTo>
                  <a:cubicBezTo>
                    <a:pt x="495608" y="22588"/>
                    <a:pt x="491055" y="17295"/>
                    <a:pt x="493750" y="14741"/>
                  </a:cubicBezTo>
                  <a:cubicBezTo>
                    <a:pt x="493099" y="14555"/>
                    <a:pt x="492402" y="14369"/>
                    <a:pt x="491752" y="14091"/>
                  </a:cubicBezTo>
                  <a:cubicBezTo>
                    <a:pt x="489197" y="13069"/>
                    <a:pt x="486688" y="12280"/>
                    <a:pt x="483994" y="11583"/>
                  </a:cubicBezTo>
                  <a:cubicBezTo>
                    <a:pt x="483204" y="11444"/>
                    <a:pt x="482832" y="11351"/>
                    <a:pt x="482879" y="11305"/>
                  </a:cubicBezTo>
                  <a:cubicBezTo>
                    <a:pt x="482182" y="11258"/>
                    <a:pt x="481485" y="11165"/>
                    <a:pt x="480834" y="11165"/>
                  </a:cubicBezTo>
                  <a:cubicBezTo>
                    <a:pt x="478093" y="11026"/>
                    <a:pt x="475352" y="11165"/>
                    <a:pt x="472611" y="11258"/>
                  </a:cubicBezTo>
                  <a:cubicBezTo>
                    <a:pt x="472658" y="12233"/>
                    <a:pt x="472937" y="13069"/>
                    <a:pt x="473448" y="13673"/>
                  </a:cubicBezTo>
                  <a:cubicBezTo>
                    <a:pt x="476328" y="17202"/>
                    <a:pt x="465457" y="32386"/>
                    <a:pt x="460672" y="32386"/>
                  </a:cubicBezTo>
                  <a:cubicBezTo>
                    <a:pt x="455887" y="32386"/>
                    <a:pt x="461322" y="19338"/>
                    <a:pt x="460997" y="12280"/>
                  </a:cubicBezTo>
                  <a:cubicBezTo>
                    <a:pt x="460997" y="12187"/>
                    <a:pt x="460997" y="12187"/>
                    <a:pt x="460997" y="12094"/>
                  </a:cubicBezTo>
                  <a:cubicBezTo>
                    <a:pt x="459046" y="11908"/>
                    <a:pt x="457187" y="11630"/>
                    <a:pt x="455422" y="11072"/>
                  </a:cubicBezTo>
                  <a:cubicBezTo>
                    <a:pt x="453331" y="13023"/>
                    <a:pt x="450637" y="16180"/>
                    <a:pt x="447292" y="20406"/>
                  </a:cubicBezTo>
                  <a:cubicBezTo>
                    <a:pt x="438372" y="31689"/>
                    <a:pt x="431682" y="41952"/>
                    <a:pt x="426572" y="43019"/>
                  </a:cubicBezTo>
                  <a:cubicBezTo>
                    <a:pt x="421461" y="44087"/>
                    <a:pt x="422112" y="32757"/>
                    <a:pt x="430381" y="27835"/>
                  </a:cubicBezTo>
                  <a:cubicBezTo>
                    <a:pt x="438651" y="22867"/>
                    <a:pt x="438976" y="9447"/>
                    <a:pt x="444411" y="9447"/>
                  </a:cubicBezTo>
                  <a:cubicBezTo>
                    <a:pt x="446409" y="9447"/>
                    <a:pt x="447617" y="8472"/>
                    <a:pt x="448035" y="7172"/>
                  </a:cubicBezTo>
                  <a:cubicBezTo>
                    <a:pt x="445759" y="5361"/>
                    <a:pt x="443807" y="3132"/>
                    <a:pt x="442274" y="439"/>
                  </a:cubicBezTo>
                  <a:cubicBezTo>
                    <a:pt x="442135" y="439"/>
                    <a:pt x="441996" y="300"/>
                    <a:pt x="441856" y="300"/>
                  </a:cubicBezTo>
                  <a:cubicBezTo>
                    <a:pt x="433866" y="-1836"/>
                    <a:pt x="432611" y="8054"/>
                    <a:pt x="430056" y="10887"/>
                  </a:cubicBezTo>
                  <a:cubicBezTo>
                    <a:pt x="428662" y="12419"/>
                    <a:pt x="424156" y="10794"/>
                    <a:pt x="420393" y="9494"/>
                  </a:cubicBezTo>
                  <a:cubicBezTo>
                    <a:pt x="417745" y="11072"/>
                    <a:pt x="414771" y="12140"/>
                    <a:pt x="411752" y="12465"/>
                  </a:cubicBezTo>
                  <a:cubicBezTo>
                    <a:pt x="410358" y="13719"/>
                    <a:pt x="409382" y="15298"/>
                    <a:pt x="410962" y="17945"/>
                  </a:cubicBezTo>
                  <a:cubicBezTo>
                    <a:pt x="414167" y="23238"/>
                    <a:pt x="409382" y="27835"/>
                    <a:pt x="406177" y="21474"/>
                  </a:cubicBezTo>
                  <a:cubicBezTo>
                    <a:pt x="402971" y="15112"/>
                    <a:pt x="395027" y="20034"/>
                    <a:pt x="391217" y="27139"/>
                  </a:cubicBezTo>
                  <a:cubicBezTo>
                    <a:pt x="387361" y="34197"/>
                    <a:pt x="382297" y="33825"/>
                    <a:pt x="386107" y="36333"/>
                  </a:cubicBezTo>
                  <a:cubicBezTo>
                    <a:pt x="389916" y="38794"/>
                    <a:pt x="389638" y="48359"/>
                    <a:pt x="383877" y="50124"/>
                  </a:cubicBezTo>
                  <a:cubicBezTo>
                    <a:pt x="378116" y="51889"/>
                    <a:pt x="380346" y="32804"/>
                    <a:pt x="375886" y="34568"/>
                  </a:cubicBezTo>
                  <a:cubicBezTo>
                    <a:pt x="371426" y="36333"/>
                    <a:pt x="374307" y="25374"/>
                    <a:pt x="380346" y="25374"/>
                  </a:cubicBezTo>
                  <a:cubicBezTo>
                    <a:pt x="384852" y="25374"/>
                    <a:pt x="389359" y="19895"/>
                    <a:pt x="391078" y="16087"/>
                  </a:cubicBezTo>
                  <a:cubicBezTo>
                    <a:pt x="386107" y="17852"/>
                    <a:pt x="381229" y="19709"/>
                    <a:pt x="376118" y="21056"/>
                  </a:cubicBezTo>
                  <a:cubicBezTo>
                    <a:pt x="371426" y="22310"/>
                    <a:pt x="366641" y="21985"/>
                    <a:pt x="362274" y="20499"/>
                  </a:cubicBezTo>
                  <a:cubicBezTo>
                    <a:pt x="359347" y="23563"/>
                    <a:pt x="361159" y="30621"/>
                    <a:pt x="367895" y="34893"/>
                  </a:cubicBezTo>
                  <a:cubicBezTo>
                    <a:pt x="376815" y="40558"/>
                    <a:pt x="366316" y="44087"/>
                    <a:pt x="361809" y="39862"/>
                  </a:cubicBezTo>
                  <a:cubicBezTo>
                    <a:pt x="357349" y="35636"/>
                    <a:pt x="350334" y="37726"/>
                    <a:pt x="345549" y="40187"/>
                  </a:cubicBezTo>
                  <a:cubicBezTo>
                    <a:pt x="340764" y="42648"/>
                    <a:pt x="357024" y="49010"/>
                    <a:pt x="357675" y="52214"/>
                  </a:cubicBezTo>
                  <a:cubicBezTo>
                    <a:pt x="358325" y="55371"/>
                    <a:pt x="349359" y="48313"/>
                    <a:pt x="347454" y="50774"/>
                  </a:cubicBezTo>
                  <a:cubicBezTo>
                    <a:pt x="345549" y="53282"/>
                    <a:pt x="336629" y="49010"/>
                    <a:pt x="335979" y="43019"/>
                  </a:cubicBezTo>
                  <a:cubicBezTo>
                    <a:pt x="335328" y="37029"/>
                    <a:pt x="320973" y="45481"/>
                    <a:pt x="328964" y="47617"/>
                  </a:cubicBezTo>
                  <a:cubicBezTo>
                    <a:pt x="336954" y="49753"/>
                    <a:pt x="334074" y="55418"/>
                    <a:pt x="334074" y="63172"/>
                  </a:cubicBezTo>
                  <a:cubicBezTo>
                    <a:pt x="334074" y="70927"/>
                    <a:pt x="324829" y="64937"/>
                    <a:pt x="326734" y="58250"/>
                  </a:cubicBezTo>
                  <a:cubicBezTo>
                    <a:pt x="328638" y="51563"/>
                    <a:pt x="320973" y="52957"/>
                    <a:pt x="314608" y="57182"/>
                  </a:cubicBezTo>
                  <a:cubicBezTo>
                    <a:pt x="308243" y="61408"/>
                    <a:pt x="315584" y="49428"/>
                    <a:pt x="313029" y="43391"/>
                  </a:cubicBezTo>
                  <a:cubicBezTo>
                    <a:pt x="310474" y="37401"/>
                    <a:pt x="304713" y="43391"/>
                    <a:pt x="298023" y="44830"/>
                  </a:cubicBezTo>
                  <a:cubicBezTo>
                    <a:pt x="291333" y="46223"/>
                    <a:pt x="287848" y="46595"/>
                    <a:pt x="291983" y="51517"/>
                  </a:cubicBezTo>
                  <a:cubicBezTo>
                    <a:pt x="296118" y="56439"/>
                    <a:pt x="295514" y="63497"/>
                    <a:pt x="290032" y="62476"/>
                  </a:cubicBezTo>
                  <a:cubicBezTo>
                    <a:pt x="284596" y="61408"/>
                    <a:pt x="282413" y="62476"/>
                    <a:pt x="283017" y="68141"/>
                  </a:cubicBezTo>
                  <a:cubicBezTo>
                    <a:pt x="283667" y="73759"/>
                    <a:pt x="276002" y="74131"/>
                    <a:pt x="275351" y="69209"/>
                  </a:cubicBezTo>
                  <a:cubicBezTo>
                    <a:pt x="274701" y="64287"/>
                    <a:pt x="263876" y="65680"/>
                    <a:pt x="260671" y="71345"/>
                  </a:cubicBezTo>
                  <a:cubicBezTo>
                    <a:pt x="257465" y="76963"/>
                    <a:pt x="248545" y="81235"/>
                    <a:pt x="249521" y="87597"/>
                  </a:cubicBezTo>
                  <a:cubicBezTo>
                    <a:pt x="250450" y="93958"/>
                    <a:pt x="257511" y="84393"/>
                    <a:pt x="263226" y="86529"/>
                  </a:cubicBezTo>
                  <a:cubicBezTo>
                    <a:pt x="268986" y="88665"/>
                    <a:pt x="262900" y="91822"/>
                    <a:pt x="266106" y="94980"/>
                  </a:cubicBezTo>
                  <a:cubicBezTo>
                    <a:pt x="269265" y="98184"/>
                    <a:pt x="268661" y="105939"/>
                    <a:pt x="264201" y="101342"/>
                  </a:cubicBezTo>
                  <a:cubicBezTo>
                    <a:pt x="259741" y="96744"/>
                    <a:pt x="253981" y="95305"/>
                    <a:pt x="253051" y="102735"/>
                  </a:cubicBezTo>
                  <a:cubicBezTo>
                    <a:pt x="252076" y="110164"/>
                    <a:pt x="247337" y="101667"/>
                    <a:pt x="243481" y="96373"/>
                  </a:cubicBezTo>
                  <a:cubicBezTo>
                    <a:pt x="239672" y="91079"/>
                    <a:pt x="235816" y="106264"/>
                    <a:pt x="231681" y="102735"/>
                  </a:cubicBezTo>
                  <a:cubicBezTo>
                    <a:pt x="227546" y="99205"/>
                    <a:pt x="239950" y="88247"/>
                    <a:pt x="236791" y="82953"/>
                  </a:cubicBezTo>
                  <a:cubicBezTo>
                    <a:pt x="233586" y="77660"/>
                    <a:pt x="231356" y="86111"/>
                    <a:pt x="224062" y="94237"/>
                  </a:cubicBezTo>
                  <a:cubicBezTo>
                    <a:pt x="216721" y="102363"/>
                    <a:pt x="206872" y="101992"/>
                    <a:pt x="210357" y="105892"/>
                  </a:cubicBezTo>
                  <a:cubicBezTo>
                    <a:pt x="213841" y="109793"/>
                    <a:pt x="203016" y="111882"/>
                    <a:pt x="201112" y="118615"/>
                  </a:cubicBezTo>
                  <a:cubicBezTo>
                    <a:pt x="199207" y="125348"/>
                    <a:pt x="184201" y="127809"/>
                    <a:pt x="174631" y="134867"/>
                  </a:cubicBezTo>
                  <a:cubicBezTo>
                    <a:pt x="165060" y="141925"/>
                    <a:pt x="176535" y="142297"/>
                    <a:pt x="181971" y="135564"/>
                  </a:cubicBezTo>
                  <a:cubicBezTo>
                    <a:pt x="187406" y="128831"/>
                    <a:pt x="189311" y="132731"/>
                    <a:pt x="197906" y="126741"/>
                  </a:cubicBezTo>
                  <a:cubicBezTo>
                    <a:pt x="206547" y="120751"/>
                    <a:pt x="215746" y="115783"/>
                    <a:pt x="218951" y="118244"/>
                  </a:cubicBezTo>
                  <a:cubicBezTo>
                    <a:pt x="222111" y="120705"/>
                    <a:pt x="227546" y="122516"/>
                    <a:pt x="231681" y="116154"/>
                  </a:cubicBezTo>
                  <a:cubicBezTo>
                    <a:pt x="235816" y="109793"/>
                    <a:pt x="240926" y="111186"/>
                    <a:pt x="245061" y="115086"/>
                  </a:cubicBezTo>
                  <a:cubicBezTo>
                    <a:pt x="249196" y="118987"/>
                    <a:pt x="238046" y="122144"/>
                    <a:pt x="243156" y="127809"/>
                  </a:cubicBezTo>
                  <a:cubicBezTo>
                    <a:pt x="248266" y="133474"/>
                    <a:pt x="237116" y="136632"/>
                    <a:pt x="237116" y="131663"/>
                  </a:cubicBezTo>
                  <a:cubicBezTo>
                    <a:pt x="237116" y="126695"/>
                    <a:pt x="230752" y="122469"/>
                    <a:pt x="228475" y="127066"/>
                  </a:cubicBezTo>
                  <a:cubicBezTo>
                    <a:pt x="226245" y="131663"/>
                    <a:pt x="222436" y="136585"/>
                    <a:pt x="218301" y="136957"/>
                  </a:cubicBezTo>
                  <a:cubicBezTo>
                    <a:pt x="214166" y="137328"/>
                    <a:pt x="209706" y="145780"/>
                    <a:pt x="209706" y="154277"/>
                  </a:cubicBezTo>
                  <a:cubicBezTo>
                    <a:pt x="209706" y="162775"/>
                    <a:pt x="202366" y="154277"/>
                    <a:pt x="201762" y="161707"/>
                  </a:cubicBezTo>
                  <a:cubicBezTo>
                    <a:pt x="201112" y="169136"/>
                    <a:pt x="190891" y="182184"/>
                    <a:pt x="181971" y="191704"/>
                  </a:cubicBezTo>
                  <a:cubicBezTo>
                    <a:pt x="173051" y="201223"/>
                    <a:pt x="181320" y="203359"/>
                    <a:pt x="178440" y="209395"/>
                  </a:cubicBezTo>
                  <a:cubicBezTo>
                    <a:pt x="175560" y="215385"/>
                    <a:pt x="165060" y="210092"/>
                    <a:pt x="161529" y="212553"/>
                  </a:cubicBezTo>
                  <a:cubicBezTo>
                    <a:pt x="157999" y="215060"/>
                    <a:pt x="163434" y="229873"/>
                    <a:pt x="158649" y="234470"/>
                  </a:cubicBezTo>
                  <a:cubicBezTo>
                    <a:pt x="153864" y="239067"/>
                    <a:pt x="158649" y="245428"/>
                    <a:pt x="158649" y="250722"/>
                  </a:cubicBezTo>
                  <a:cubicBezTo>
                    <a:pt x="158649" y="256016"/>
                    <a:pt x="146198" y="247518"/>
                    <a:pt x="145269" y="252812"/>
                  </a:cubicBezTo>
                  <a:cubicBezTo>
                    <a:pt x="144294" y="258105"/>
                    <a:pt x="133469" y="256712"/>
                    <a:pt x="130263" y="258105"/>
                  </a:cubicBezTo>
                  <a:cubicBezTo>
                    <a:pt x="127058" y="259498"/>
                    <a:pt x="136628" y="267996"/>
                    <a:pt x="142389" y="272918"/>
                  </a:cubicBezTo>
                  <a:cubicBezTo>
                    <a:pt x="148103" y="277886"/>
                    <a:pt x="136953" y="281740"/>
                    <a:pt x="135699" y="276075"/>
                  </a:cubicBezTo>
                  <a:cubicBezTo>
                    <a:pt x="134956" y="272825"/>
                    <a:pt x="131982" y="274497"/>
                    <a:pt x="127662" y="277468"/>
                  </a:cubicBezTo>
                  <a:cubicBezTo>
                    <a:pt x="127801" y="279883"/>
                    <a:pt x="127522" y="282298"/>
                    <a:pt x="126686" y="284434"/>
                  </a:cubicBezTo>
                  <a:cubicBezTo>
                    <a:pt x="117441" y="307697"/>
                    <a:pt x="101041" y="320699"/>
                    <a:pt x="78230" y="330776"/>
                  </a:cubicBezTo>
                  <a:cubicBezTo>
                    <a:pt x="72470" y="333329"/>
                    <a:pt x="66895" y="333562"/>
                    <a:pt x="61924" y="332261"/>
                  </a:cubicBezTo>
                  <a:cubicBezTo>
                    <a:pt x="59787" y="333051"/>
                    <a:pt x="57324" y="333422"/>
                    <a:pt x="54909" y="333794"/>
                  </a:cubicBezTo>
                  <a:cubicBezTo>
                    <a:pt x="53469" y="336394"/>
                    <a:pt x="51564" y="338809"/>
                    <a:pt x="49009" y="340805"/>
                  </a:cubicBezTo>
                  <a:cubicBezTo>
                    <a:pt x="49148" y="341409"/>
                    <a:pt x="49241" y="342013"/>
                    <a:pt x="49334" y="342616"/>
                  </a:cubicBezTo>
                  <a:cubicBezTo>
                    <a:pt x="52400" y="343824"/>
                    <a:pt x="56256" y="344892"/>
                    <a:pt x="57232" y="347028"/>
                  </a:cubicBezTo>
                  <a:cubicBezTo>
                    <a:pt x="58347" y="349442"/>
                    <a:pt x="54398" y="349814"/>
                    <a:pt x="49520" y="349303"/>
                  </a:cubicBezTo>
                  <a:cubicBezTo>
                    <a:pt x="48962" y="353993"/>
                    <a:pt x="46871" y="358451"/>
                    <a:pt x="43016" y="361933"/>
                  </a:cubicBezTo>
                  <a:cubicBezTo>
                    <a:pt x="34467" y="369548"/>
                    <a:pt x="25408" y="374610"/>
                    <a:pt x="15373" y="376978"/>
                  </a:cubicBezTo>
                  <a:cubicBezTo>
                    <a:pt x="18950" y="381807"/>
                    <a:pt x="20576" y="388215"/>
                    <a:pt x="18486" y="395784"/>
                  </a:cubicBezTo>
                  <a:cubicBezTo>
                    <a:pt x="16116" y="404328"/>
                    <a:pt x="14305" y="412501"/>
                    <a:pt x="9055" y="419884"/>
                  </a:cubicBezTo>
                  <a:cubicBezTo>
                    <a:pt x="6964" y="422809"/>
                    <a:pt x="4548" y="425084"/>
                    <a:pt x="1900" y="426849"/>
                  </a:cubicBezTo>
                  <a:cubicBezTo>
                    <a:pt x="321" y="428846"/>
                    <a:pt x="-1212" y="431121"/>
                    <a:pt x="1436" y="435347"/>
                  </a:cubicBezTo>
                  <a:cubicBezTo>
                    <a:pt x="6546" y="443473"/>
                    <a:pt x="10356" y="433211"/>
                    <a:pt x="12585" y="439201"/>
                  </a:cubicBezTo>
                  <a:cubicBezTo>
                    <a:pt x="14816" y="445237"/>
                    <a:pt x="20855" y="439897"/>
                    <a:pt x="27870" y="432839"/>
                  </a:cubicBezTo>
                  <a:cubicBezTo>
                    <a:pt x="34885" y="425781"/>
                    <a:pt x="37441" y="440594"/>
                    <a:pt x="31680" y="440269"/>
                  </a:cubicBezTo>
                  <a:cubicBezTo>
                    <a:pt x="25919" y="439944"/>
                    <a:pt x="19229" y="443798"/>
                    <a:pt x="20530" y="450159"/>
                  </a:cubicBezTo>
                  <a:cubicBezTo>
                    <a:pt x="21784" y="456521"/>
                    <a:pt x="11610" y="455453"/>
                    <a:pt x="11935" y="447698"/>
                  </a:cubicBezTo>
                  <a:cubicBezTo>
                    <a:pt x="12261" y="439944"/>
                    <a:pt x="135" y="449091"/>
                    <a:pt x="4595" y="454756"/>
                  </a:cubicBezTo>
                  <a:cubicBezTo>
                    <a:pt x="9055" y="460375"/>
                    <a:pt x="3015" y="463579"/>
                    <a:pt x="3015" y="468872"/>
                  </a:cubicBezTo>
                  <a:cubicBezTo>
                    <a:pt x="3015" y="474166"/>
                    <a:pt x="11610" y="473098"/>
                    <a:pt x="15141" y="467108"/>
                  </a:cubicBezTo>
                  <a:cubicBezTo>
                    <a:pt x="18671" y="461118"/>
                    <a:pt x="24386" y="462511"/>
                    <a:pt x="26616" y="468547"/>
                  </a:cubicBezTo>
                  <a:cubicBezTo>
                    <a:pt x="28846" y="474537"/>
                    <a:pt x="21227" y="469940"/>
                    <a:pt x="21227" y="478067"/>
                  </a:cubicBezTo>
                  <a:cubicBezTo>
                    <a:pt x="21227" y="485171"/>
                    <a:pt x="17556" y="480667"/>
                    <a:pt x="13840" y="483685"/>
                  </a:cubicBezTo>
                  <a:cubicBezTo>
                    <a:pt x="15838" y="485264"/>
                    <a:pt x="17603" y="487168"/>
                    <a:pt x="19275" y="489257"/>
                  </a:cubicBezTo>
                  <a:lnTo>
                    <a:pt x="19415" y="489257"/>
                  </a:lnTo>
                  <a:cubicBezTo>
                    <a:pt x="17185" y="486285"/>
                    <a:pt x="18904" y="488421"/>
                    <a:pt x="20019" y="489629"/>
                  </a:cubicBezTo>
                  <a:cubicBezTo>
                    <a:pt x="21831" y="490604"/>
                    <a:pt x="23550" y="491718"/>
                    <a:pt x="25361" y="492693"/>
                  </a:cubicBezTo>
                  <a:cubicBezTo>
                    <a:pt x="30890" y="495712"/>
                    <a:pt x="36279" y="499241"/>
                    <a:pt x="40693" y="503745"/>
                  </a:cubicBezTo>
                  <a:cubicBezTo>
                    <a:pt x="42690" y="505788"/>
                    <a:pt x="44177" y="508063"/>
                    <a:pt x="45245" y="510478"/>
                  </a:cubicBezTo>
                  <a:cubicBezTo>
                    <a:pt x="49148" y="512335"/>
                    <a:pt x="53794" y="513728"/>
                    <a:pt x="60112" y="512707"/>
                  </a:cubicBezTo>
                  <a:cubicBezTo>
                    <a:pt x="72888" y="510571"/>
                    <a:pt x="97092" y="484474"/>
                    <a:pt x="100298" y="479877"/>
                  </a:cubicBezTo>
                  <a:cubicBezTo>
                    <a:pt x="103504" y="475280"/>
                    <a:pt x="110519" y="480574"/>
                    <a:pt x="115304" y="476348"/>
                  </a:cubicBezTo>
                  <a:cubicBezTo>
                    <a:pt x="120089" y="472123"/>
                    <a:pt x="117209" y="461164"/>
                    <a:pt x="120739" y="459075"/>
                  </a:cubicBezTo>
                  <a:cubicBezTo>
                    <a:pt x="124270" y="456939"/>
                    <a:pt x="126128" y="470730"/>
                    <a:pt x="129334" y="472123"/>
                  </a:cubicBezTo>
                  <a:cubicBezTo>
                    <a:pt x="132214" y="473377"/>
                    <a:pt x="134305" y="475884"/>
                    <a:pt x="134445" y="482942"/>
                  </a:cubicBezTo>
                  <a:cubicBezTo>
                    <a:pt x="137000" y="482571"/>
                    <a:pt x="139555" y="482664"/>
                    <a:pt x="141181" y="484010"/>
                  </a:cubicBezTo>
                  <a:cubicBezTo>
                    <a:pt x="145269" y="487400"/>
                    <a:pt x="146291" y="472680"/>
                    <a:pt x="146291" y="468129"/>
                  </a:cubicBezTo>
                  <a:cubicBezTo>
                    <a:pt x="146291" y="463579"/>
                    <a:pt x="150380" y="454524"/>
                    <a:pt x="149357" y="448813"/>
                  </a:cubicBezTo>
                  <a:cubicBezTo>
                    <a:pt x="148335" y="443148"/>
                    <a:pt x="161669" y="447698"/>
                    <a:pt x="163713" y="443148"/>
                  </a:cubicBezTo>
                  <a:cubicBezTo>
                    <a:pt x="165757" y="438597"/>
                    <a:pt x="166779" y="422716"/>
                    <a:pt x="162691" y="420441"/>
                  </a:cubicBezTo>
                  <a:cubicBezTo>
                    <a:pt x="158603" y="418166"/>
                    <a:pt x="157534" y="409111"/>
                    <a:pt x="161669" y="409111"/>
                  </a:cubicBezTo>
                  <a:cubicBezTo>
                    <a:pt x="165804" y="409111"/>
                    <a:pt x="170867" y="405721"/>
                    <a:pt x="169892" y="396620"/>
                  </a:cubicBezTo>
                  <a:cubicBezTo>
                    <a:pt x="168870" y="387565"/>
                    <a:pt x="156559" y="388680"/>
                    <a:pt x="155536" y="379625"/>
                  </a:cubicBezTo>
                  <a:cubicBezTo>
                    <a:pt x="154514" y="370570"/>
                    <a:pt x="161669" y="368295"/>
                    <a:pt x="156559" y="356918"/>
                  </a:cubicBezTo>
                  <a:cubicBezTo>
                    <a:pt x="151448" y="345588"/>
                    <a:pt x="158603" y="338762"/>
                    <a:pt x="156559" y="333097"/>
                  </a:cubicBezTo>
                  <a:cubicBezTo>
                    <a:pt x="154514" y="327432"/>
                    <a:pt x="152470" y="320606"/>
                    <a:pt x="158603" y="309276"/>
                  </a:cubicBezTo>
                  <a:cubicBezTo>
                    <a:pt x="164735" y="297946"/>
                    <a:pt x="176024" y="292235"/>
                    <a:pt x="180112" y="293396"/>
                  </a:cubicBezTo>
                  <a:cubicBezTo>
                    <a:pt x="184201" y="294510"/>
                    <a:pt x="191402" y="299061"/>
                    <a:pt x="194468" y="292235"/>
                  </a:cubicBezTo>
                  <a:cubicBezTo>
                    <a:pt x="197534" y="285455"/>
                    <a:pt x="197534" y="279744"/>
                    <a:pt x="194468" y="278629"/>
                  </a:cubicBezTo>
                  <a:cubicBezTo>
                    <a:pt x="191402" y="277515"/>
                    <a:pt x="183179" y="275240"/>
                    <a:pt x="189358" y="266138"/>
                  </a:cubicBezTo>
                  <a:cubicBezTo>
                    <a:pt x="195490" y="257084"/>
                    <a:pt x="202691" y="245707"/>
                    <a:pt x="203713" y="235538"/>
                  </a:cubicBezTo>
                  <a:cubicBezTo>
                    <a:pt x="204735" y="225322"/>
                    <a:pt x="201669" y="217382"/>
                    <a:pt x="204735" y="213946"/>
                  </a:cubicBezTo>
                  <a:cubicBezTo>
                    <a:pt x="207801" y="210556"/>
                    <a:pt x="215002" y="213946"/>
                    <a:pt x="221135" y="209442"/>
                  </a:cubicBezTo>
                  <a:cubicBezTo>
                    <a:pt x="227267" y="204891"/>
                    <a:pt x="222157" y="199226"/>
                    <a:pt x="225223" y="195836"/>
                  </a:cubicBezTo>
                  <a:cubicBezTo>
                    <a:pt x="228290" y="192446"/>
                    <a:pt x="232378" y="181070"/>
                    <a:pt x="236512" y="177680"/>
                  </a:cubicBezTo>
                  <a:cubicBezTo>
                    <a:pt x="240601" y="174291"/>
                    <a:pt x="244689" y="169740"/>
                    <a:pt x="241623" y="165189"/>
                  </a:cubicBezTo>
                  <a:cubicBezTo>
                    <a:pt x="238557" y="160639"/>
                    <a:pt x="247755" y="156088"/>
                    <a:pt x="247755" y="148148"/>
                  </a:cubicBezTo>
                  <a:cubicBezTo>
                    <a:pt x="247755" y="140207"/>
                    <a:pt x="257976" y="134542"/>
                    <a:pt x="264155" y="134542"/>
                  </a:cubicBezTo>
                  <a:cubicBezTo>
                    <a:pt x="270334" y="134542"/>
                    <a:pt x="280555" y="134542"/>
                    <a:pt x="280555" y="127763"/>
                  </a:cubicBezTo>
                  <a:cubicBezTo>
                    <a:pt x="280555" y="120983"/>
                    <a:pt x="276466" y="106171"/>
                    <a:pt x="285665" y="110768"/>
                  </a:cubicBezTo>
                  <a:cubicBezTo>
                    <a:pt x="294863" y="115318"/>
                    <a:pt x="302064" y="109607"/>
                    <a:pt x="308197" y="115318"/>
                  </a:cubicBezTo>
                  <a:cubicBezTo>
                    <a:pt x="314329" y="120983"/>
                    <a:pt x="322552" y="119869"/>
                    <a:pt x="322552" y="110768"/>
                  </a:cubicBezTo>
                  <a:cubicBezTo>
                    <a:pt x="322552" y="101667"/>
                    <a:pt x="325619" y="86947"/>
                    <a:pt x="334864" y="92612"/>
                  </a:cubicBezTo>
                  <a:cubicBezTo>
                    <a:pt x="335607" y="93030"/>
                    <a:pt x="336258" y="93541"/>
                    <a:pt x="336954" y="94051"/>
                  </a:cubicBezTo>
                  <a:cubicBezTo>
                    <a:pt x="340021" y="86482"/>
                    <a:pt x="345828" y="81653"/>
                    <a:pt x="351263" y="82396"/>
                  </a:cubicBezTo>
                  <a:cubicBezTo>
                    <a:pt x="359487" y="83557"/>
                    <a:pt x="364597" y="99438"/>
                    <a:pt x="374818" y="101667"/>
                  </a:cubicBezTo>
                  <a:cubicBezTo>
                    <a:pt x="385085" y="103942"/>
                    <a:pt x="395305" y="108492"/>
                    <a:pt x="398372" y="102781"/>
                  </a:cubicBezTo>
                  <a:cubicBezTo>
                    <a:pt x="401438" y="97116"/>
                    <a:pt x="408639" y="106171"/>
                    <a:pt x="414771" y="103895"/>
                  </a:cubicBezTo>
                  <a:cubicBezTo>
                    <a:pt x="420904" y="101620"/>
                    <a:pt x="420904" y="116386"/>
                    <a:pt x="427083" y="107285"/>
                  </a:cubicBezTo>
                  <a:cubicBezTo>
                    <a:pt x="433215" y="98230"/>
                    <a:pt x="426060" y="92519"/>
                    <a:pt x="436281" y="93680"/>
                  </a:cubicBezTo>
                  <a:cubicBezTo>
                    <a:pt x="446549" y="94794"/>
                    <a:pt x="440370" y="81189"/>
                    <a:pt x="440370" y="73248"/>
                  </a:cubicBezTo>
                  <a:cubicBezTo>
                    <a:pt x="440370" y="65308"/>
                    <a:pt x="453656" y="64147"/>
                    <a:pt x="453656" y="57368"/>
                  </a:cubicBezTo>
                  <a:cubicBezTo>
                    <a:pt x="453656" y="50588"/>
                    <a:pt x="472100" y="56207"/>
                    <a:pt x="475166" y="51703"/>
                  </a:cubicBezTo>
                  <a:cubicBezTo>
                    <a:pt x="478233" y="47152"/>
                    <a:pt x="488500" y="43762"/>
                    <a:pt x="492588" y="51703"/>
                  </a:cubicBezTo>
                  <a:cubicBezTo>
                    <a:pt x="496676" y="59643"/>
                    <a:pt x="514098" y="61918"/>
                    <a:pt x="515120" y="68744"/>
                  </a:cubicBezTo>
                  <a:cubicBezTo>
                    <a:pt x="515631" y="72041"/>
                    <a:pt x="515120" y="77242"/>
                    <a:pt x="515120" y="82071"/>
                  </a:cubicBezTo>
                  <a:cubicBezTo>
                    <a:pt x="517954" y="78960"/>
                    <a:pt x="521578" y="76638"/>
                    <a:pt x="525016" y="76638"/>
                  </a:cubicBezTo>
                  <a:cubicBezTo>
                    <a:pt x="531381" y="76638"/>
                    <a:pt x="537095" y="66051"/>
                    <a:pt x="542856" y="67444"/>
                  </a:cubicBezTo>
                  <a:cubicBezTo>
                    <a:pt x="547641" y="68605"/>
                    <a:pt x="552379" y="67723"/>
                    <a:pt x="553820" y="58900"/>
                  </a:cubicBezTo>
                  <a:cubicBezTo>
                    <a:pt x="548663" y="55325"/>
                    <a:pt x="538907" y="54860"/>
                    <a:pt x="537745" y="5969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sp>
        <p:nvSpPr>
          <p:cNvPr id="26" name="TextBox 31">
            <a:extLst>
              <a:ext uri="{FF2B5EF4-FFF2-40B4-BE49-F238E27FC236}">
                <a16:creationId xmlns:a16="http://schemas.microsoft.com/office/drawing/2014/main" id="{224BEFDB-37E8-4EAF-8F2A-682EDC8A6D1D}"/>
              </a:ext>
            </a:extLst>
          </p:cNvPr>
          <p:cNvSpPr txBox="1"/>
          <p:nvPr/>
        </p:nvSpPr>
        <p:spPr>
          <a:xfrm>
            <a:off x="4762527" y="3796676"/>
            <a:ext cx="4098221"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rPr>
              <a:t>Took us 30+ years to get there, and</a:t>
            </a:r>
            <a:br>
              <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rPr>
            </a:br>
            <a:r>
              <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rPr>
              <a:t>are now </a:t>
            </a:r>
            <a:r>
              <a:rPr kumimoji="0" lang="en-GB" sz="1800" b="1" i="0" u="none" strike="noStrike" kern="1200" cap="none" spc="0" normalizeH="0" baseline="0" noProof="0">
                <a:ln>
                  <a:noFill/>
                </a:ln>
                <a:solidFill>
                  <a:srgbClr val="141E50"/>
                </a:solidFill>
                <a:effectLst/>
                <a:uLnTx/>
                <a:uFillTx/>
                <a:latin typeface="Helvetica" pitchFamily="2" charset="0"/>
                <a:ea typeface="+mn-ea"/>
                <a:cs typeface="+mn-cs"/>
                <a:sym typeface="Wingdings" pitchFamily="2" charset="2"/>
              </a:rPr>
              <a:t>a solid and trusted supplier</a:t>
            </a:r>
            <a:endPar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endParaRPr>
          </a:p>
        </p:txBody>
      </p:sp>
      <p:sp>
        <p:nvSpPr>
          <p:cNvPr id="27" name="TextBox 31">
            <a:extLst>
              <a:ext uri="{FF2B5EF4-FFF2-40B4-BE49-F238E27FC236}">
                <a16:creationId xmlns:a16="http://schemas.microsoft.com/office/drawing/2014/main" id="{B9AA8E49-0C43-546C-B88A-E7F2B863C839}"/>
              </a:ext>
            </a:extLst>
          </p:cNvPr>
          <p:cNvSpPr txBox="1"/>
          <p:nvPr/>
        </p:nvSpPr>
        <p:spPr>
          <a:xfrm>
            <a:off x="5917088" y="5211990"/>
            <a:ext cx="518213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Position as trusted supplier</a:t>
            </a:r>
            <a:br>
              <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br>
            <a:r>
              <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 </a:t>
            </a:r>
            <a:r>
              <a:rPr kumimoji="0" lang="en-GB" sz="1800" b="1" i="0" u="none" strike="noStrike" kern="1200" cap="none" spc="0" normalizeH="0" baseline="0" noProof="0">
                <a:ln>
                  <a:noFill/>
                </a:ln>
                <a:solidFill>
                  <a:srgbClr val="141E50"/>
                </a:solidFill>
                <a:effectLst/>
                <a:uLnTx/>
                <a:uFillTx/>
                <a:latin typeface="Helvetica" pitchFamily="2" charset="0"/>
                <a:ea typeface="+mn-ea"/>
                <a:cs typeface="+mn-cs"/>
              </a:rPr>
              <a:t>long-term prospects remain strong</a:t>
            </a:r>
          </a:p>
        </p:txBody>
      </p:sp>
      <p:grpSp>
        <p:nvGrpSpPr>
          <p:cNvPr id="11" name="Group 10">
            <a:extLst>
              <a:ext uri="{FF2B5EF4-FFF2-40B4-BE49-F238E27FC236}">
                <a16:creationId xmlns:a16="http://schemas.microsoft.com/office/drawing/2014/main" id="{121BF613-64C5-2B1B-E018-F68F8462FC03}"/>
              </a:ext>
            </a:extLst>
          </p:cNvPr>
          <p:cNvGrpSpPr/>
          <p:nvPr/>
        </p:nvGrpSpPr>
        <p:grpSpPr>
          <a:xfrm>
            <a:off x="4776130" y="1371600"/>
            <a:ext cx="6013789" cy="4622800"/>
            <a:chOff x="4776131" y="1371600"/>
            <a:chExt cx="5765612" cy="4622800"/>
          </a:xfrm>
        </p:grpSpPr>
        <p:cxnSp>
          <p:nvCxnSpPr>
            <p:cNvPr id="29" name="Straight Connector 28">
              <a:extLst>
                <a:ext uri="{FF2B5EF4-FFF2-40B4-BE49-F238E27FC236}">
                  <a16:creationId xmlns:a16="http://schemas.microsoft.com/office/drawing/2014/main" id="{A4FA0E23-22AC-A0FB-02AB-F27BBFE07ED1}"/>
                </a:ext>
              </a:extLst>
            </p:cNvPr>
            <p:cNvCxnSpPr>
              <a:cxnSpLocks/>
            </p:cNvCxnSpPr>
            <p:nvPr/>
          </p:nvCxnSpPr>
          <p:spPr>
            <a:xfrm>
              <a:off x="4776131" y="1371600"/>
              <a:ext cx="5712482" cy="0"/>
            </a:xfrm>
            <a:prstGeom prst="line">
              <a:avLst/>
            </a:prstGeom>
            <a:ln w="12700">
              <a:solidFill>
                <a:srgbClr val="2832DC"/>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E5D0AB9-427A-0D24-594F-D8972C494196}"/>
                </a:ext>
              </a:extLst>
            </p:cNvPr>
            <p:cNvCxnSpPr>
              <a:cxnSpLocks/>
            </p:cNvCxnSpPr>
            <p:nvPr/>
          </p:nvCxnSpPr>
          <p:spPr>
            <a:xfrm>
              <a:off x="4829261" y="3315145"/>
              <a:ext cx="5712482" cy="0"/>
            </a:xfrm>
            <a:prstGeom prst="line">
              <a:avLst/>
            </a:prstGeom>
            <a:ln w="12700">
              <a:solidFill>
                <a:srgbClr val="2832DC"/>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8B7A962-5D52-526B-3014-348F14A392B3}"/>
                </a:ext>
              </a:extLst>
            </p:cNvPr>
            <p:cNvCxnSpPr>
              <a:cxnSpLocks/>
            </p:cNvCxnSpPr>
            <p:nvPr/>
          </p:nvCxnSpPr>
          <p:spPr>
            <a:xfrm>
              <a:off x="4776131" y="4953633"/>
              <a:ext cx="5712482" cy="0"/>
            </a:xfrm>
            <a:prstGeom prst="line">
              <a:avLst/>
            </a:prstGeom>
            <a:ln w="12700">
              <a:solidFill>
                <a:srgbClr val="2832DC"/>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4EB0C156-D1EA-B810-918A-17735B819B77}"/>
                </a:ext>
              </a:extLst>
            </p:cNvPr>
            <p:cNvCxnSpPr>
              <a:cxnSpLocks/>
            </p:cNvCxnSpPr>
            <p:nvPr/>
          </p:nvCxnSpPr>
          <p:spPr>
            <a:xfrm>
              <a:off x="4776131" y="5994400"/>
              <a:ext cx="5712482" cy="0"/>
            </a:xfrm>
            <a:prstGeom prst="line">
              <a:avLst/>
            </a:prstGeom>
            <a:ln w="12700">
              <a:solidFill>
                <a:srgbClr val="2832DC"/>
              </a:solidFill>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99DE7857-503D-EEF5-B2B8-56312AC46FD5}"/>
              </a:ext>
            </a:extLst>
          </p:cNvPr>
          <p:cNvGrpSpPr/>
          <p:nvPr/>
        </p:nvGrpSpPr>
        <p:grpSpPr>
          <a:xfrm>
            <a:off x="9137893" y="3459940"/>
            <a:ext cx="1319803" cy="1319803"/>
            <a:chOff x="639222" y="1728679"/>
            <a:chExt cx="1951631" cy="1951631"/>
          </a:xfrm>
        </p:grpSpPr>
        <p:sp>
          <p:nvSpPr>
            <p:cNvPr id="53" name="Oval 52">
              <a:extLst>
                <a:ext uri="{FF2B5EF4-FFF2-40B4-BE49-F238E27FC236}">
                  <a16:creationId xmlns:a16="http://schemas.microsoft.com/office/drawing/2014/main" id="{7E297F1B-84DA-CF05-CF48-AFE27B53ACBC}"/>
                </a:ext>
              </a:extLst>
            </p:cNvPr>
            <p:cNvSpPr/>
            <p:nvPr/>
          </p:nvSpPr>
          <p:spPr bwMode="auto">
            <a:xfrm>
              <a:off x="639222" y="1728679"/>
              <a:ext cx="1951631" cy="19516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Helvetica"/>
                <a:ea typeface="+mn-ea"/>
                <a:cs typeface="+mn-cs"/>
              </a:endParaRPr>
            </a:p>
          </p:txBody>
        </p:sp>
        <p:sp>
          <p:nvSpPr>
            <p:cNvPr id="54" name="Text Placeholder 3">
              <a:extLst>
                <a:ext uri="{FF2B5EF4-FFF2-40B4-BE49-F238E27FC236}">
                  <a16:creationId xmlns:a16="http://schemas.microsoft.com/office/drawing/2014/main" id="{5073660D-5629-B001-4F01-CD80FC5D9639}"/>
                </a:ext>
              </a:extLst>
            </p:cNvPr>
            <p:cNvSpPr txBox="1">
              <a:spLocks/>
            </p:cNvSpPr>
            <p:nvPr/>
          </p:nvSpPr>
          <p:spPr>
            <a:xfrm>
              <a:off x="724889" y="2751878"/>
              <a:ext cx="1780293" cy="854120"/>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0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average number</a:t>
              </a:r>
              <a:br>
                <a:rPr kumimoji="0" lang="en-GB" sz="10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br>
              <a:r>
                <a:rPr kumimoji="0" lang="en-GB" sz="10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of solutions</a:t>
              </a:r>
              <a:br>
                <a:rPr kumimoji="0" lang="en-GB" sz="10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br>
              <a:r>
                <a:rPr kumimoji="0" lang="en-GB" sz="10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used</a:t>
              </a:r>
              <a:endParaRPr kumimoji="0" lang="en-GB" sz="1000" b="1" i="0" u="none" strike="noStrike" kern="1200" cap="none" spc="0" normalizeH="0" baseline="0" noProof="0">
                <a:ln>
                  <a:noFill/>
                </a:ln>
                <a:solidFill>
                  <a:srgbClr val="1E1E50"/>
                </a:solidFill>
                <a:effectLst/>
                <a:uLnTx/>
                <a:uFillTx/>
                <a:latin typeface="Helvetica" pitchFamily="2" charset="0"/>
                <a:ea typeface="+mn-ea"/>
                <a:cs typeface="+mn-cs"/>
              </a:endParaRPr>
            </a:p>
          </p:txBody>
        </p:sp>
        <p:sp>
          <p:nvSpPr>
            <p:cNvPr id="55" name="Text Placeholder 3">
              <a:extLst>
                <a:ext uri="{FF2B5EF4-FFF2-40B4-BE49-F238E27FC236}">
                  <a16:creationId xmlns:a16="http://schemas.microsoft.com/office/drawing/2014/main" id="{9D35B771-0C2C-CAAA-2955-625278F7D8EA}"/>
                </a:ext>
              </a:extLst>
            </p:cNvPr>
            <p:cNvSpPr txBox="1">
              <a:spLocks/>
            </p:cNvSpPr>
            <p:nvPr/>
          </p:nvSpPr>
          <p:spPr>
            <a:xfrm>
              <a:off x="777394" y="2098815"/>
              <a:ext cx="1675286" cy="854120"/>
            </a:xfrm>
            <a:prstGeom prst="rect">
              <a:avLst/>
            </a:prstGeom>
          </p:spPr>
          <p:txBody>
            <a:bodyPr lIns="0" rIns="0"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5400" b="1" i="0" u="none" strike="noStrike" kern="1200" cap="none" spc="0" normalizeH="0" baseline="0" noProof="0">
                  <a:ln>
                    <a:noFill/>
                  </a:ln>
                  <a:solidFill>
                    <a:srgbClr val="1E1E50"/>
                  </a:solidFill>
                  <a:effectLst/>
                  <a:uLnTx/>
                  <a:uFillTx/>
                  <a:latin typeface="Helvetica" pitchFamily="2" charset="0"/>
                  <a:ea typeface="+mn-ea"/>
                  <a:cs typeface="+mn-cs"/>
                </a:rPr>
                <a:t>4.7</a:t>
              </a:r>
            </a:p>
          </p:txBody>
        </p:sp>
      </p:grpSp>
      <p:pic>
        <p:nvPicPr>
          <p:cNvPr id="57" name="Graphic 56">
            <a:extLst>
              <a:ext uri="{FF2B5EF4-FFF2-40B4-BE49-F238E27FC236}">
                <a16:creationId xmlns:a16="http://schemas.microsoft.com/office/drawing/2014/main" id="{0AF0986C-61D2-423C-967B-91FBC9082BEB}"/>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829262" y="5163234"/>
            <a:ext cx="743842" cy="743842"/>
          </a:xfrm>
          <a:prstGeom prst="rect">
            <a:avLst/>
          </a:prstGeom>
        </p:spPr>
      </p:pic>
      <p:pic>
        <p:nvPicPr>
          <p:cNvPr id="3" name="Picture 4" descr="ICA AB – Wikipedia">
            <a:extLst>
              <a:ext uri="{FF2B5EF4-FFF2-40B4-BE49-F238E27FC236}">
                <a16:creationId xmlns:a16="http://schemas.microsoft.com/office/drawing/2014/main" id="{A47A190A-3B38-B91F-6AE7-51EDCAB56C29}"/>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787618" y="2781537"/>
            <a:ext cx="667193" cy="33359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Axfood-Logo | Gowell AB">
            <a:extLst>
              <a:ext uri="{FF2B5EF4-FFF2-40B4-BE49-F238E27FC236}">
                <a16:creationId xmlns:a16="http://schemas.microsoft.com/office/drawing/2014/main" id="{EE7AB4C6-0354-8FEF-5534-2972EF09ACF8}"/>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t="30630" b="27237"/>
          <a:stretch/>
        </p:blipFill>
        <p:spPr bwMode="auto">
          <a:xfrm>
            <a:off x="4829261" y="2809781"/>
            <a:ext cx="1243642" cy="29343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A red white and blue letter&#10;&#10;Description automatically generated">
            <a:extLst>
              <a:ext uri="{FF2B5EF4-FFF2-40B4-BE49-F238E27FC236}">
                <a16:creationId xmlns:a16="http://schemas.microsoft.com/office/drawing/2014/main" id="{3B8A7ED0-E4D4-8C52-ADC9-598EDBC17F0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278696" y="2409599"/>
            <a:ext cx="1613229" cy="239295"/>
          </a:xfrm>
          <a:prstGeom prst="rect">
            <a:avLst/>
          </a:prstGeom>
        </p:spPr>
      </p:pic>
      <p:pic>
        <p:nvPicPr>
          <p:cNvPr id="15" name="Picture 14">
            <a:extLst>
              <a:ext uri="{FF2B5EF4-FFF2-40B4-BE49-F238E27FC236}">
                <a16:creationId xmlns:a16="http://schemas.microsoft.com/office/drawing/2014/main" id="{050EDA38-FBF3-1959-0FB3-529266664E3C}"/>
              </a:ext>
            </a:extLst>
          </p:cNvPr>
          <p:cNvPicPr>
            <a:picLocks noChangeAspect="1"/>
          </p:cNvPicPr>
          <p:nvPr/>
        </p:nvPicPr>
        <p:blipFill>
          <a:blip r:embed="rId13"/>
          <a:stretch>
            <a:fillRect/>
          </a:stretch>
        </p:blipFill>
        <p:spPr>
          <a:xfrm>
            <a:off x="4957929" y="2412596"/>
            <a:ext cx="955377" cy="277657"/>
          </a:xfrm>
          <a:prstGeom prst="rect">
            <a:avLst/>
          </a:prstGeom>
        </p:spPr>
      </p:pic>
      <p:pic>
        <p:nvPicPr>
          <p:cNvPr id="16" name="Graphic 15">
            <a:extLst>
              <a:ext uri="{FF2B5EF4-FFF2-40B4-BE49-F238E27FC236}">
                <a16:creationId xmlns:a16="http://schemas.microsoft.com/office/drawing/2014/main" id="{1C4B5AB2-C255-A8E9-CE47-1AAE7F458D8B}"/>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l="7391" t="23358" r="5261" b="27437"/>
          <a:stretch/>
        </p:blipFill>
        <p:spPr>
          <a:xfrm>
            <a:off x="8151054" y="2454825"/>
            <a:ext cx="1105245" cy="622619"/>
          </a:xfrm>
          <a:prstGeom prst="rect">
            <a:avLst/>
          </a:prstGeom>
        </p:spPr>
      </p:pic>
      <p:pic>
        <p:nvPicPr>
          <p:cNvPr id="20" name="Picture 19">
            <a:extLst>
              <a:ext uri="{FF2B5EF4-FFF2-40B4-BE49-F238E27FC236}">
                <a16:creationId xmlns:a16="http://schemas.microsoft.com/office/drawing/2014/main" id="{77291BE5-C62A-5801-1733-0E457E46943B}"/>
              </a:ext>
            </a:extLst>
          </p:cNvPr>
          <p:cNvPicPr>
            <a:picLocks noChangeAspect="1"/>
          </p:cNvPicPr>
          <p:nvPr/>
        </p:nvPicPr>
        <p:blipFill>
          <a:blip r:embed="rId16"/>
          <a:stretch>
            <a:fillRect/>
          </a:stretch>
        </p:blipFill>
        <p:spPr>
          <a:xfrm>
            <a:off x="9381928" y="2502600"/>
            <a:ext cx="1077514" cy="545041"/>
          </a:xfrm>
          <a:prstGeom prst="rect">
            <a:avLst/>
          </a:prstGeom>
        </p:spPr>
      </p:pic>
    </p:spTree>
    <p:extLst>
      <p:ext uri="{BB962C8B-B14F-4D97-AF65-F5344CB8AC3E}">
        <p14:creationId xmlns:p14="http://schemas.microsoft.com/office/powerpoint/2010/main" val="40844939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7A31E9C-41CC-5A14-483B-721276AA0E39}"/>
              </a:ext>
            </a:extLst>
          </p:cNvPr>
          <p:cNvGrpSpPr/>
          <p:nvPr/>
        </p:nvGrpSpPr>
        <p:grpSpPr>
          <a:xfrm>
            <a:off x="894274" y="1950265"/>
            <a:ext cx="4543228" cy="3787236"/>
            <a:chOff x="749895" y="1433708"/>
            <a:chExt cx="7293023" cy="4417791"/>
          </a:xfrm>
        </p:grpSpPr>
        <p:sp>
          <p:nvSpPr>
            <p:cNvPr id="3" name="Rectangle 2">
              <a:extLst>
                <a:ext uri="{FF2B5EF4-FFF2-40B4-BE49-F238E27FC236}">
                  <a16:creationId xmlns:a16="http://schemas.microsoft.com/office/drawing/2014/main" id="{062937AE-BD67-8522-AF85-41F87E9538A3}"/>
                </a:ext>
              </a:extLst>
            </p:cNvPr>
            <p:cNvSpPr/>
            <p:nvPr/>
          </p:nvSpPr>
          <p:spPr>
            <a:xfrm>
              <a:off x="776870" y="1433708"/>
              <a:ext cx="7263794" cy="4417791"/>
            </a:xfrm>
            <a:prstGeom prst="rect">
              <a:avLst/>
            </a:prstGeom>
            <a:solidFill>
              <a:schemeClr val="accent4">
                <a:lumMod val="20000"/>
                <a:lumOff val="80000"/>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cxnSp>
          <p:nvCxnSpPr>
            <p:cNvPr id="6" name="Straight Connector 5">
              <a:extLst>
                <a:ext uri="{FF2B5EF4-FFF2-40B4-BE49-F238E27FC236}">
                  <a16:creationId xmlns:a16="http://schemas.microsoft.com/office/drawing/2014/main" id="{F845FC30-8E6C-B444-EB6F-8F8E2ACF7901}"/>
                </a:ext>
              </a:extLst>
            </p:cNvPr>
            <p:cNvCxnSpPr>
              <a:cxnSpLocks/>
            </p:cNvCxnSpPr>
            <p:nvPr/>
          </p:nvCxnSpPr>
          <p:spPr>
            <a:xfrm>
              <a:off x="749895" y="1433708"/>
              <a:ext cx="7293023" cy="0"/>
            </a:xfrm>
            <a:prstGeom prst="line">
              <a:avLst/>
            </a:prstGeom>
            <a:ln w="12700"/>
          </p:spPr>
          <p:style>
            <a:lnRef idx="1">
              <a:schemeClr val="accent2"/>
            </a:lnRef>
            <a:fillRef idx="0">
              <a:schemeClr val="accent2"/>
            </a:fillRef>
            <a:effectRef idx="0">
              <a:schemeClr val="accent2"/>
            </a:effectRef>
            <a:fontRef idx="minor">
              <a:schemeClr val="tx1"/>
            </a:fontRef>
          </p:style>
        </p:cxnSp>
      </p:grpSp>
      <p:grpSp>
        <p:nvGrpSpPr>
          <p:cNvPr id="10" name="Group 9">
            <a:extLst>
              <a:ext uri="{FF2B5EF4-FFF2-40B4-BE49-F238E27FC236}">
                <a16:creationId xmlns:a16="http://schemas.microsoft.com/office/drawing/2014/main" id="{22AF8CDE-3C82-BADE-76F7-8BA6E47D1966}"/>
              </a:ext>
            </a:extLst>
          </p:cNvPr>
          <p:cNvGrpSpPr/>
          <p:nvPr/>
        </p:nvGrpSpPr>
        <p:grpSpPr>
          <a:xfrm>
            <a:off x="5628764" y="1950265"/>
            <a:ext cx="4543228" cy="3787236"/>
            <a:chOff x="749895" y="1433708"/>
            <a:chExt cx="7293023" cy="4417791"/>
          </a:xfrm>
        </p:grpSpPr>
        <p:sp>
          <p:nvSpPr>
            <p:cNvPr id="11" name="Rectangle 10">
              <a:extLst>
                <a:ext uri="{FF2B5EF4-FFF2-40B4-BE49-F238E27FC236}">
                  <a16:creationId xmlns:a16="http://schemas.microsoft.com/office/drawing/2014/main" id="{87009B16-FF25-2EA4-A48B-776988CFDFF0}"/>
                </a:ext>
              </a:extLst>
            </p:cNvPr>
            <p:cNvSpPr/>
            <p:nvPr/>
          </p:nvSpPr>
          <p:spPr>
            <a:xfrm>
              <a:off x="776870" y="1433708"/>
              <a:ext cx="7263794" cy="4417791"/>
            </a:xfrm>
            <a:prstGeom prst="rect">
              <a:avLst/>
            </a:prstGeom>
            <a:solidFill>
              <a:schemeClr val="accent4">
                <a:lumMod val="20000"/>
                <a:lumOff val="80000"/>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cxnSp>
          <p:nvCxnSpPr>
            <p:cNvPr id="12" name="Straight Connector 11">
              <a:extLst>
                <a:ext uri="{FF2B5EF4-FFF2-40B4-BE49-F238E27FC236}">
                  <a16:creationId xmlns:a16="http://schemas.microsoft.com/office/drawing/2014/main" id="{805A7E7B-5D26-7BA0-C9CC-4A7391F67E91}"/>
                </a:ext>
              </a:extLst>
            </p:cNvPr>
            <p:cNvCxnSpPr>
              <a:cxnSpLocks/>
            </p:cNvCxnSpPr>
            <p:nvPr/>
          </p:nvCxnSpPr>
          <p:spPr>
            <a:xfrm>
              <a:off x="749895" y="1433708"/>
              <a:ext cx="7293023" cy="0"/>
            </a:xfrm>
            <a:prstGeom prst="line">
              <a:avLst/>
            </a:prstGeom>
            <a:ln w="12700"/>
          </p:spPr>
          <p:style>
            <a:lnRef idx="1">
              <a:schemeClr val="accent2"/>
            </a:lnRef>
            <a:fillRef idx="0">
              <a:schemeClr val="accent2"/>
            </a:fillRef>
            <a:effectRef idx="0">
              <a:schemeClr val="accent2"/>
            </a:effectRef>
            <a:fontRef idx="minor">
              <a:schemeClr val="tx1"/>
            </a:fontRef>
          </p:style>
        </p:cxnSp>
      </p:grpSp>
      <p:graphicFrame>
        <p:nvGraphicFramePr>
          <p:cNvPr id="4" name="think-cell data - do not delete" hidden="1">
            <a:extLst>
              <a:ext uri="{FF2B5EF4-FFF2-40B4-BE49-F238E27FC236}">
                <a16:creationId xmlns:a16="http://schemas.microsoft.com/office/drawing/2014/main" id="{6E8827E0-1DA4-039D-9058-31CCBA5BF21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E8827E0-1DA4-039D-9058-31CCBA5BF21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31">
            <a:extLst>
              <a:ext uri="{FF2B5EF4-FFF2-40B4-BE49-F238E27FC236}">
                <a16:creationId xmlns:a16="http://schemas.microsoft.com/office/drawing/2014/main" id="{7074EC5B-64A3-29FC-C0E4-321D0E01EB8B}"/>
              </a:ext>
            </a:extLst>
          </p:cNvPr>
          <p:cNvSpPr txBox="1"/>
          <p:nvPr/>
        </p:nvSpPr>
        <p:spPr>
          <a:xfrm>
            <a:off x="1191128" y="2280828"/>
            <a:ext cx="3949519" cy="2244076"/>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600"/>
              </a:spcAft>
              <a:buClrTx/>
              <a:buSzTx/>
              <a:buFontTx/>
              <a:buNone/>
              <a:tabLst/>
              <a:defRPr/>
            </a:pPr>
            <a:r>
              <a:rPr kumimoji="0" lang="en-US" sz="2400" b="1" i="0" u="none" strike="noStrike" kern="1200" cap="none" spc="0" normalizeH="0" baseline="0" noProof="0" err="1">
                <a:ln>
                  <a:noFill/>
                </a:ln>
                <a:solidFill>
                  <a:srgbClr val="141E50"/>
                </a:solidFill>
                <a:effectLst/>
                <a:uLnTx/>
                <a:uFillTx/>
                <a:latin typeface="Helvetica" pitchFamily="2" charset="0"/>
                <a:ea typeface="+mn-ea"/>
                <a:cs typeface="+mn-cs"/>
              </a:rPr>
              <a:t>Organisational</a:t>
            </a:r>
            <a:r>
              <a:rPr kumimoji="0" lang="en-US" sz="2400" b="1" i="0" u="none" strike="noStrike" kern="1200" cap="none" spc="0" normalizeH="0" baseline="0" noProof="0">
                <a:ln>
                  <a:noFill/>
                </a:ln>
                <a:solidFill>
                  <a:srgbClr val="141E50"/>
                </a:solidFill>
                <a:effectLst/>
                <a:uLnTx/>
                <a:uFillTx/>
                <a:latin typeface="Helvetica" pitchFamily="2" charset="0"/>
                <a:ea typeface="+mn-ea"/>
                <a:cs typeface="+mn-cs"/>
              </a:rPr>
              <a:t> efficiency:</a:t>
            </a:r>
          </a:p>
          <a:p>
            <a:pPr marL="0" marR="0" lvl="0" indent="0" algn="l" defTabSz="914400" rtl="0" eaLnBrk="1" fontAlgn="auto" latinLnBrk="0" hangingPunct="1">
              <a:lnSpc>
                <a:spcPct val="90000"/>
              </a:lnSpc>
              <a:spcBef>
                <a:spcPts val="1000"/>
              </a:spcBef>
              <a:spcAft>
                <a:spcPts val="600"/>
              </a:spcAft>
              <a:buClrTx/>
              <a:buSzTx/>
              <a:buFontTx/>
              <a:buNone/>
              <a:tabLst/>
              <a:defRPr/>
            </a:pPr>
            <a:endParaRPr kumimoji="0" lang="en-US" sz="1800" b="1" i="0" u="none" strike="noStrike" kern="1200" cap="none" spc="0" normalizeH="0" baseline="0" noProof="0">
              <a:ln>
                <a:noFill/>
              </a:ln>
              <a:solidFill>
                <a:srgbClr val="141E50"/>
              </a:solidFill>
              <a:effectLst/>
              <a:uLnTx/>
              <a:uFillTx/>
              <a:latin typeface="Helvetica" pitchFamily="2" charset="0"/>
              <a:ea typeface="+mn-ea"/>
              <a:cs typeface="+mn-cs"/>
            </a:endParaRPr>
          </a:p>
          <a:p>
            <a:pPr marL="285750" marR="0" lvl="0" indent="-285750" algn="l" defTabSz="914400" rtl="0" eaLnBrk="1" fontAlgn="auto" latinLnBrk="0" hangingPunct="1">
              <a:lnSpc>
                <a:spcPct val="90000"/>
              </a:lnSpc>
              <a:spcBef>
                <a:spcPts val="100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One SVP for Norway and Sweden</a:t>
            </a:r>
            <a:endParaRPr kumimoji="0" lang="en-US"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endParaRPr>
          </a:p>
          <a:p>
            <a:pPr marL="285750" marR="0" lvl="0" indent="-285750" algn="l" defTabSz="914400" rtl="0" eaLnBrk="1" fontAlgn="auto" latinLnBrk="0" hangingPunct="1">
              <a:lnSpc>
                <a:spcPct val="90000"/>
              </a:lnSpc>
              <a:spcBef>
                <a:spcPts val="100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rPr>
              <a:t>More </a:t>
            </a:r>
            <a:r>
              <a:rPr kumimoji="0" lang="en-US"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synergy effects</a:t>
            </a:r>
          </a:p>
          <a:p>
            <a:pPr marL="285750" marR="0" lvl="0" indent="-285750" algn="l" defTabSz="914400" rtl="0" eaLnBrk="1" fontAlgn="auto" latinLnBrk="0" hangingPunct="1">
              <a:lnSpc>
                <a:spcPct val="90000"/>
              </a:lnSpc>
              <a:spcBef>
                <a:spcPts val="100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More best practice sharing</a:t>
            </a:r>
            <a:endParaRPr kumimoji="0" lang="en-US"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endParaRPr>
          </a:p>
        </p:txBody>
      </p:sp>
      <p:sp>
        <p:nvSpPr>
          <p:cNvPr id="7" name="Title 1">
            <a:extLst>
              <a:ext uri="{FF2B5EF4-FFF2-40B4-BE49-F238E27FC236}">
                <a16:creationId xmlns:a16="http://schemas.microsoft.com/office/drawing/2014/main" id="{A5A646B2-592D-437C-FB5B-414B8038F3E5}"/>
              </a:ext>
            </a:extLst>
          </p:cNvPr>
          <p:cNvSpPr>
            <a:spLocks noGrp="1"/>
          </p:cNvSpPr>
          <p:nvPr>
            <p:ph type="title"/>
          </p:nvPr>
        </p:nvSpPr>
        <p:spPr>
          <a:xfrm>
            <a:off x="741777" y="522658"/>
            <a:ext cx="10671895" cy="1036620"/>
          </a:xfrm>
        </p:spPr>
        <p:txBody>
          <a:bodyPr vert="horz">
            <a:normAutofit/>
          </a:bodyPr>
          <a:lstStyle/>
          <a:p>
            <a:r>
              <a:rPr lang="en-GB" sz="4400"/>
              <a:t>Transformational actions</a:t>
            </a:r>
          </a:p>
        </p:txBody>
      </p:sp>
      <p:sp>
        <p:nvSpPr>
          <p:cNvPr id="8" name="TextBox 31">
            <a:extLst>
              <a:ext uri="{FF2B5EF4-FFF2-40B4-BE49-F238E27FC236}">
                <a16:creationId xmlns:a16="http://schemas.microsoft.com/office/drawing/2014/main" id="{4D940CEE-3F74-E648-B250-1318BBF151A1}"/>
              </a:ext>
            </a:extLst>
          </p:cNvPr>
          <p:cNvSpPr txBox="1"/>
          <p:nvPr/>
        </p:nvSpPr>
        <p:spPr>
          <a:xfrm>
            <a:off x="5964247" y="2260815"/>
            <a:ext cx="3985998" cy="2742674"/>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600"/>
              </a:spcAft>
              <a:buClrTx/>
              <a:buSzTx/>
              <a:buFontTx/>
              <a:buNone/>
              <a:tabLst/>
              <a:defRPr/>
            </a:pPr>
            <a:r>
              <a:rPr kumimoji="0" lang="en-US" sz="2400" b="1" i="0" u="none" strike="noStrike" kern="1200" cap="none" spc="0" normalizeH="0" baseline="0" noProof="0">
                <a:ln>
                  <a:noFill/>
                </a:ln>
                <a:solidFill>
                  <a:srgbClr val="141E50"/>
                </a:solidFill>
                <a:effectLst/>
                <a:uLnTx/>
                <a:uFillTx/>
                <a:latin typeface="Helvetica" pitchFamily="2" charset="0"/>
                <a:ea typeface="+mn-ea"/>
                <a:cs typeface="+mn-cs"/>
                <a:sym typeface="Wingdings" pitchFamily="2" charset="2"/>
              </a:rPr>
              <a:t>Commercial steps:</a:t>
            </a:r>
          </a:p>
          <a:p>
            <a:pPr marL="0" marR="0" lvl="0" indent="0" algn="l" defTabSz="914400" rtl="0" eaLnBrk="1" fontAlgn="auto" latinLnBrk="0" hangingPunct="1">
              <a:lnSpc>
                <a:spcPct val="90000"/>
              </a:lnSpc>
              <a:spcBef>
                <a:spcPts val="1000"/>
              </a:spcBef>
              <a:spcAft>
                <a:spcPts val="600"/>
              </a:spcAft>
              <a:buClrTx/>
              <a:buSzTx/>
              <a:buFontTx/>
              <a:buNone/>
              <a:tabLst/>
              <a:defRPr/>
            </a:pPr>
            <a:endParaRPr kumimoji="0" lang="en-US" sz="1800" b="1" i="0" u="none" strike="noStrike" kern="1200" cap="none" spc="0" normalizeH="0" baseline="0" noProof="0">
              <a:ln>
                <a:noFill/>
              </a:ln>
              <a:solidFill>
                <a:srgbClr val="141E50"/>
              </a:solidFill>
              <a:effectLst/>
              <a:uLnTx/>
              <a:uFillTx/>
              <a:latin typeface="Helvetica" pitchFamily="2" charset="0"/>
              <a:ea typeface="+mn-ea"/>
              <a:cs typeface="+mn-cs"/>
              <a:sym typeface="Wingdings" pitchFamily="2" charset="2"/>
            </a:endParaRPr>
          </a:p>
          <a:p>
            <a:pPr marL="285750" marR="0" lvl="0" indent="-285750" algn="l" defTabSz="914400" rtl="0" eaLnBrk="1" fontAlgn="auto" latinLnBrk="0" hangingPunct="1">
              <a:lnSpc>
                <a:spcPct val="90000"/>
              </a:lnSpc>
              <a:spcBef>
                <a:spcPts val="100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rPr>
              <a:t>Pricing measures </a:t>
            </a:r>
          </a:p>
          <a:p>
            <a:pPr marL="285750" marR="0" lvl="0" indent="-285750" algn="l" defTabSz="914400" rtl="0" eaLnBrk="1" fontAlgn="auto" latinLnBrk="0" hangingPunct="1">
              <a:lnSpc>
                <a:spcPct val="90000"/>
              </a:lnSpc>
              <a:spcBef>
                <a:spcPts val="100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rPr>
              <a:t>Harder sales targets and incentives</a:t>
            </a:r>
          </a:p>
          <a:p>
            <a:pPr marL="285750" marR="0" lvl="0" indent="-285750" algn="l" defTabSz="914400" rtl="0" eaLnBrk="1" fontAlgn="auto" latinLnBrk="0" hangingPunct="1">
              <a:lnSpc>
                <a:spcPct val="90000"/>
              </a:lnSpc>
              <a:spcBef>
                <a:spcPts val="100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rPr>
              <a:t>More targeted marketing and selective campaigns</a:t>
            </a:r>
          </a:p>
        </p:txBody>
      </p:sp>
      <p:pic>
        <p:nvPicPr>
          <p:cNvPr id="14" name="Picture 13">
            <a:extLst>
              <a:ext uri="{FF2B5EF4-FFF2-40B4-BE49-F238E27FC236}">
                <a16:creationId xmlns:a16="http://schemas.microsoft.com/office/drawing/2014/main" id="{25CEE67D-1033-1BE6-13C9-6799DD9BC72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47367" y="588544"/>
            <a:ext cx="576462" cy="576462"/>
          </a:xfrm>
          <a:prstGeom prst="rect">
            <a:avLst/>
          </a:prstGeom>
        </p:spPr>
      </p:pic>
      <p:pic>
        <p:nvPicPr>
          <p:cNvPr id="15" name="Picture 14">
            <a:extLst>
              <a:ext uri="{FF2B5EF4-FFF2-40B4-BE49-F238E27FC236}">
                <a16:creationId xmlns:a16="http://schemas.microsoft.com/office/drawing/2014/main" id="{C20181D2-E10D-97EF-F3DA-E908FA9C24D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318476" y="609271"/>
            <a:ext cx="576462" cy="576462"/>
          </a:xfrm>
          <a:prstGeom prst="rect">
            <a:avLst/>
          </a:prstGeom>
        </p:spPr>
      </p:pic>
    </p:spTree>
    <p:extLst>
      <p:ext uri="{BB962C8B-B14F-4D97-AF65-F5344CB8AC3E}">
        <p14:creationId xmlns:p14="http://schemas.microsoft.com/office/powerpoint/2010/main" val="12819815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A8BC-DE16-0797-F0FC-39D724A82474}"/>
              </a:ext>
            </a:extLst>
          </p:cNvPr>
          <p:cNvGraphicFramePr>
            <a:graphicFrameLocks noChangeAspect="1"/>
          </p:cNvGraphicFramePr>
          <p:nvPr>
            <p:custDataLst>
              <p:tags r:id="rId1"/>
            </p:custDataLst>
            <p:extLst>
              <p:ext uri="{D42A27DB-BD31-4B8C-83A1-F6EECF244321}">
                <p14:modId xmlns:p14="http://schemas.microsoft.com/office/powerpoint/2010/main" val="29131911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8DA8A8BC-DE16-0797-F0FC-39D724A8247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65" name="Group 64">
            <a:extLst>
              <a:ext uri="{FF2B5EF4-FFF2-40B4-BE49-F238E27FC236}">
                <a16:creationId xmlns:a16="http://schemas.microsoft.com/office/drawing/2014/main" id="{64D21115-11C3-37C4-580B-AC2EB99B065F}"/>
              </a:ext>
            </a:extLst>
          </p:cNvPr>
          <p:cNvGrpSpPr/>
          <p:nvPr/>
        </p:nvGrpSpPr>
        <p:grpSpPr>
          <a:xfrm>
            <a:off x="3493200" y="2080136"/>
            <a:ext cx="2699321" cy="4154289"/>
            <a:chOff x="6230352" y="2070334"/>
            <a:chExt cx="2699321" cy="4154289"/>
          </a:xfrm>
        </p:grpSpPr>
        <p:sp>
          <p:nvSpPr>
            <p:cNvPr id="66" name="Rectangle 65">
              <a:extLst>
                <a:ext uri="{FF2B5EF4-FFF2-40B4-BE49-F238E27FC236}">
                  <a16:creationId xmlns:a16="http://schemas.microsoft.com/office/drawing/2014/main" id="{542709AE-282E-78C3-0694-53584EA3A6A4}"/>
                </a:ext>
              </a:extLst>
            </p:cNvPr>
            <p:cNvSpPr/>
            <p:nvPr/>
          </p:nvSpPr>
          <p:spPr>
            <a:xfrm>
              <a:off x="6237432" y="3472833"/>
              <a:ext cx="2692241" cy="1352525"/>
            </a:xfrm>
            <a:prstGeom prst="rect">
              <a:avLst/>
            </a:prstGeom>
            <a:solidFill>
              <a:srgbClr val="F2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67" name="Rectangle 66">
              <a:extLst>
                <a:ext uri="{FF2B5EF4-FFF2-40B4-BE49-F238E27FC236}">
                  <a16:creationId xmlns:a16="http://schemas.microsoft.com/office/drawing/2014/main" id="{1BD5FDD4-F2C5-602C-F0E6-16551A832D0D}"/>
                </a:ext>
              </a:extLst>
            </p:cNvPr>
            <p:cNvSpPr/>
            <p:nvPr/>
          </p:nvSpPr>
          <p:spPr>
            <a:xfrm>
              <a:off x="6230352" y="4863125"/>
              <a:ext cx="2692241" cy="1361498"/>
            </a:xfrm>
            <a:prstGeom prst="rect">
              <a:avLst/>
            </a:prstGeom>
            <a:solidFill>
              <a:srgbClr val="F2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68" name="Rectangle 67">
              <a:extLst>
                <a:ext uri="{FF2B5EF4-FFF2-40B4-BE49-F238E27FC236}">
                  <a16:creationId xmlns:a16="http://schemas.microsoft.com/office/drawing/2014/main" id="{C13658BD-2E2F-62EE-3658-922A257EF577}"/>
                </a:ext>
              </a:extLst>
            </p:cNvPr>
            <p:cNvSpPr/>
            <p:nvPr/>
          </p:nvSpPr>
          <p:spPr>
            <a:xfrm>
              <a:off x="6230352" y="2070334"/>
              <a:ext cx="2692241" cy="1352525"/>
            </a:xfrm>
            <a:prstGeom prst="rect">
              <a:avLst/>
            </a:prstGeom>
            <a:solidFill>
              <a:srgbClr val="F2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48" name="Group 47">
            <a:extLst>
              <a:ext uri="{FF2B5EF4-FFF2-40B4-BE49-F238E27FC236}">
                <a16:creationId xmlns:a16="http://schemas.microsoft.com/office/drawing/2014/main" id="{CAEA9804-A341-1689-BA40-A4EE6EF34042}"/>
              </a:ext>
            </a:extLst>
          </p:cNvPr>
          <p:cNvGrpSpPr/>
          <p:nvPr/>
        </p:nvGrpSpPr>
        <p:grpSpPr>
          <a:xfrm>
            <a:off x="8994086" y="2070334"/>
            <a:ext cx="2706401" cy="4166496"/>
            <a:chOff x="6230352" y="2070334"/>
            <a:chExt cx="2706401" cy="4166496"/>
          </a:xfrm>
        </p:grpSpPr>
        <p:sp>
          <p:nvSpPr>
            <p:cNvPr id="49" name="Rectangle 48">
              <a:extLst>
                <a:ext uri="{FF2B5EF4-FFF2-40B4-BE49-F238E27FC236}">
                  <a16:creationId xmlns:a16="http://schemas.microsoft.com/office/drawing/2014/main" id="{8B27415B-3CF5-95FE-90BB-4E9ABF60049F}"/>
                </a:ext>
              </a:extLst>
            </p:cNvPr>
            <p:cNvSpPr/>
            <p:nvPr/>
          </p:nvSpPr>
          <p:spPr>
            <a:xfrm>
              <a:off x="6237432" y="3472833"/>
              <a:ext cx="2692241" cy="1352525"/>
            </a:xfrm>
            <a:prstGeom prst="rect">
              <a:avLst/>
            </a:prstGeom>
            <a:solidFill>
              <a:srgbClr val="F2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2677AEBC-85CB-D8AC-86B9-A437749D46C6}"/>
                </a:ext>
              </a:extLst>
            </p:cNvPr>
            <p:cNvSpPr/>
            <p:nvPr/>
          </p:nvSpPr>
          <p:spPr>
            <a:xfrm>
              <a:off x="6244512" y="4875332"/>
              <a:ext cx="2692241" cy="1361498"/>
            </a:xfrm>
            <a:prstGeom prst="rect">
              <a:avLst/>
            </a:prstGeom>
            <a:solidFill>
              <a:srgbClr val="F2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48FFC50F-ABD7-2D42-BF5A-67CD58769BBC}"/>
                </a:ext>
              </a:extLst>
            </p:cNvPr>
            <p:cNvSpPr/>
            <p:nvPr/>
          </p:nvSpPr>
          <p:spPr>
            <a:xfrm>
              <a:off x="6230352" y="2070334"/>
              <a:ext cx="2692241" cy="1352525"/>
            </a:xfrm>
            <a:prstGeom prst="rect">
              <a:avLst/>
            </a:prstGeom>
            <a:solidFill>
              <a:srgbClr val="F2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grpSp>
      <p:sp>
        <p:nvSpPr>
          <p:cNvPr id="2" name="Title 1">
            <a:extLst>
              <a:ext uri="{FF2B5EF4-FFF2-40B4-BE49-F238E27FC236}">
                <a16:creationId xmlns:a16="http://schemas.microsoft.com/office/drawing/2014/main" id="{FCE64427-1E24-3FBB-B810-53C42991550D}"/>
              </a:ext>
            </a:extLst>
          </p:cNvPr>
          <p:cNvSpPr>
            <a:spLocks noGrp="1"/>
          </p:cNvSpPr>
          <p:nvPr>
            <p:ph type="title"/>
          </p:nvPr>
        </p:nvSpPr>
        <p:spPr>
          <a:xfrm>
            <a:off x="741777" y="365126"/>
            <a:ext cx="9898069" cy="1270244"/>
          </a:xfrm>
        </p:spPr>
        <p:txBody>
          <a:bodyPr vert="horz">
            <a:normAutofit/>
          </a:bodyPr>
          <a:lstStyle/>
          <a:p>
            <a:r>
              <a:rPr lang="en-GB" sz="4400"/>
              <a:t>Commercial overview of Scandinavia</a:t>
            </a:r>
            <a:endParaRPr lang="en-PK" sz="4400">
              <a:highlight>
                <a:srgbClr val="FFFF00"/>
              </a:highlight>
            </a:endParaRPr>
          </a:p>
        </p:txBody>
      </p:sp>
      <p:sp>
        <p:nvSpPr>
          <p:cNvPr id="10" name="Rectangle 9">
            <a:extLst>
              <a:ext uri="{FF2B5EF4-FFF2-40B4-BE49-F238E27FC236}">
                <a16:creationId xmlns:a16="http://schemas.microsoft.com/office/drawing/2014/main" id="{ACDC7CFA-ABBD-47BE-27C5-E3231E0A9A3A}"/>
              </a:ext>
            </a:extLst>
          </p:cNvPr>
          <p:cNvSpPr/>
          <p:nvPr/>
        </p:nvSpPr>
        <p:spPr>
          <a:xfrm>
            <a:off x="741777" y="2076237"/>
            <a:ext cx="2692241" cy="998953"/>
          </a:xfrm>
          <a:prstGeom prst="rect">
            <a:avLst/>
          </a:prstGeom>
          <a:solidFill>
            <a:srgbClr val="F2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1F915928-5D29-400B-11C1-C0E418FD65B3}"/>
              </a:ext>
            </a:extLst>
          </p:cNvPr>
          <p:cNvSpPr/>
          <p:nvPr/>
        </p:nvSpPr>
        <p:spPr>
          <a:xfrm>
            <a:off x="741777" y="3125934"/>
            <a:ext cx="2692241" cy="998953"/>
          </a:xfrm>
          <a:prstGeom prst="rect">
            <a:avLst/>
          </a:prstGeom>
          <a:solidFill>
            <a:srgbClr val="F2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19" name="TextBox 18">
            <a:extLst>
              <a:ext uri="{FF2B5EF4-FFF2-40B4-BE49-F238E27FC236}">
                <a16:creationId xmlns:a16="http://schemas.microsoft.com/office/drawing/2014/main" id="{62269F09-BC49-FAC4-CA29-00DFE8CDAA7A}"/>
              </a:ext>
            </a:extLst>
          </p:cNvPr>
          <p:cNvSpPr txBox="1"/>
          <p:nvPr/>
        </p:nvSpPr>
        <p:spPr>
          <a:xfrm>
            <a:off x="741777" y="2670734"/>
            <a:ext cx="138368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err="1">
                <a:ln>
                  <a:noFill/>
                </a:ln>
                <a:solidFill>
                  <a:srgbClr val="141E50"/>
                </a:solidFill>
                <a:effectLst/>
                <a:uLnTx/>
                <a:uFillTx/>
                <a:latin typeface="Helvetica Light" panose="020B0403020202020204"/>
                <a:ea typeface="+mn-ea"/>
                <a:cs typeface="+mn-cs"/>
              </a:rPr>
              <a:t>CashGuard</a:t>
            </a:r>
            <a:endPar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endParaRPr>
          </a:p>
        </p:txBody>
      </p:sp>
      <p:sp>
        <p:nvSpPr>
          <p:cNvPr id="20" name="TextBox 19">
            <a:extLst>
              <a:ext uri="{FF2B5EF4-FFF2-40B4-BE49-F238E27FC236}">
                <a16:creationId xmlns:a16="http://schemas.microsoft.com/office/drawing/2014/main" id="{8B11FD06-07A0-4C95-9A64-C3B150A882FB}"/>
              </a:ext>
            </a:extLst>
          </p:cNvPr>
          <p:cNvSpPr txBox="1"/>
          <p:nvPr/>
        </p:nvSpPr>
        <p:spPr>
          <a:xfrm>
            <a:off x="755526" y="3692951"/>
            <a:ext cx="26856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rPr>
              <a:t>Electronic Shelf Labels</a:t>
            </a:r>
          </a:p>
        </p:txBody>
      </p:sp>
      <p:grpSp>
        <p:nvGrpSpPr>
          <p:cNvPr id="5" name="Group 4">
            <a:extLst>
              <a:ext uri="{FF2B5EF4-FFF2-40B4-BE49-F238E27FC236}">
                <a16:creationId xmlns:a16="http://schemas.microsoft.com/office/drawing/2014/main" id="{F5EB3F89-9F96-F029-1A63-DCF69329A479}"/>
              </a:ext>
            </a:extLst>
          </p:cNvPr>
          <p:cNvGrpSpPr/>
          <p:nvPr/>
        </p:nvGrpSpPr>
        <p:grpSpPr>
          <a:xfrm>
            <a:off x="734744" y="1179890"/>
            <a:ext cx="2699274" cy="805183"/>
            <a:chOff x="734744" y="1179890"/>
            <a:chExt cx="2699274" cy="805183"/>
          </a:xfrm>
        </p:grpSpPr>
        <p:sp>
          <p:nvSpPr>
            <p:cNvPr id="26" name="Rectangle 25">
              <a:extLst>
                <a:ext uri="{FF2B5EF4-FFF2-40B4-BE49-F238E27FC236}">
                  <a16:creationId xmlns:a16="http://schemas.microsoft.com/office/drawing/2014/main" id="{EB66A612-E75E-34A5-193F-01C328856376}"/>
                </a:ext>
              </a:extLst>
            </p:cNvPr>
            <p:cNvSpPr/>
            <p:nvPr/>
          </p:nvSpPr>
          <p:spPr>
            <a:xfrm>
              <a:off x="741777" y="1179890"/>
              <a:ext cx="2692241" cy="805183"/>
            </a:xfrm>
            <a:prstGeom prst="rect">
              <a:avLst/>
            </a:prstGeom>
            <a:solidFill>
              <a:srgbClr val="F2F3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u="none" strike="noStrike" kern="1200" cap="none" spc="0" normalizeH="0" baseline="0" noProof="0">
                  <a:ln>
                    <a:noFill/>
                  </a:ln>
                  <a:solidFill>
                    <a:srgbClr val="2832DC"/>
                  </a:solidFill>
                  <a:effectLst/>
                  <a:uLnTx/>
                  <a:uFillTx/>
                  <a:latin typeface="Helvetica Light" panose="020B0403020202020204" pitchFamily="34" charset="0"/>
                </a:rPr>
                <a:t>Highly penetrated solutions</a:t>
              </a:r>
              <a:endParaRPr kumimoji="0" lang="en-NO" sz="1800" u="none" strike="noStrike" kern="1200" cap="none" spc="0" normalizeH="0" baseline="0" noProof="0">
                <a:ln>
                  <a:noFill/>
                </a:ln>
                <a:solidFill>
                  <a:srgbClr val="2832DC"/>
                </a:solidFill>
                <a:effectLst/>
                <a:uLnTx/>
                <a:uFillTx/>
                <a:latin typeface="Helvetica Light" panose="020B0403020202020204" pitchFamily="34" charset="0"/>
              </a:endParaRPr>
            </a:p>
          </p:txBody>
        </p:sp>
        <p:cxnSp>
          <p:nvCxnSpPr>
            <p:cNvPr id="27" name="Straight Connector 26">
              <a:extLst>
                <a:ext uri="{FF2B5EF4-FFF2-40B4-BE49-F238E27FC236}">
                  <a16:creationId xmlns:a16="http://schemas.microsoft.com/office/drawing/2014/main" id="{E5379B50-E6E4-BDA7-76BA-CA895DB14B02}"/>
                </a:ext>
              </a:extLst>
            </p:cNvPr>
            <p:cNvCxnSpPr/>
            <p:nvPr/>
          </p:nvCxnSpPr>
          <p:spPr>
            <a:xfrm>
              <a:off x="734744" y="1179890"/>
              <a:ext cx="2691562" cy="0"/>
            </a:xfrm>
            <a:prstGeom prst="line">
              <a:avLst/>
            </a:prstGeom>
            <a:ln w="15875">
              <a:solidFill>
                <a:srgbClr val="2832DC"/>
              </a:solidFill>
            </a:ln>
          </p:spPr>
          <p:style>
            <a:lnRef idx="1">
              <a:schemeClr val="accent1"/>
            </a:lnRef>
            <a:fillRef idx="0">
              <a:schemeClr val="accent1"/>
            </a:fillRef>
            <a:effectRef idx="0">
              <a:schemeClr val="accent1"/>
            </a:effectRef>
            <a:fontRef idx="minor">
              <a:schemeClr val="tx1"/>
            </a:fontRef>
          </p:style>
        </p:cxnSp>
      </p:grpSp>
      <p:pic>
        <p:nvPicPr>
          <p:cNvPr id="71" name="Bilde 43" descr="Et bilde som inneholder tekst&#10;&#10;Automatisk generert beskrivelse">
            <a:extLst>
              <a:ext uri="{FF2B5EF4-FFF2-40B4-BE49-F238E27FC236}">
                <a16:creationId xmlns:a16="http://schemas.microsoft.com/office/drawing/2014/main" id="{21BF00A1-754D-0375-2F12-E35A2BD2DE1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154269" y="3071175"/>
            <a:ext cx="1356545" cy="715954"/>
          </a:xfrm>
          <a:prstGeom prst="rect">
            <a:avLst/>
          </a:prstGeom>
        </p:spPr>
      </p:pic>
      <p:pic>
        <p:nvPicPr>
          <p:cNvPr id="76" name="Picture 75" descr="A grey and black machine&#10;&#10;Description automatically generated">
            <a:extLst>
              <a:ext uri="{FF2B5EF4-FFF2-40B4-BE49-F238E27FC236}">
                <a16:creationId xmlns:a16="http://schemas.microsoft.com/office/drawing/2014/main" id="{39565E2A-CDD8-77D0-C87F-4838270DA9C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734570" y="2169640"/>
            <a:ext cx="508162" cy="740428"/>
          </a:xfrm>
          <a:prstGeom prst="rect">
            <a:avLst/>
          </a:prstGeom>
        </p:spPr>
      </p:pic>
      <p:sp>
        <p:nvSpPr>
          <p:cNvPr id="22" name="TextBox 21">
            <a:extLst>
              <a:ext uri="{FF2B5EF4-FFF2-40B4-BE49-F238E27FC236}">
                <a16:creationId xmlns:a16="http://schemas.microsoft.com/office/drawing/2014/main" id="{679C0790-F013-E501-10BF-489F83105982}"/>
              </a:ext>
            </a:extLst>
          </p:cNvPr>
          <p:cNvSpPr txBox="1"/>
          <p:nvPr/>
        </p:nvSpPr>
        <p:spPr>
          <a:xfrm>
            <a:off x="3546636" y="3010544"/>
            <a:ext cx="158597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err="1">
                <a:ln>
                  <a:noFill/>
                </a:ln>
                <a:solidFill>
                  <a:srgbClr val="141E50"/>
                </a:solidFill>
                <a:effectLst/>
                <a:uLnTx/>
                <a:uFillTx/>
                <a:latin typeface="Helvetica Light" panose="020B0403020202020204"/>
                <a:ea typeface="+mn-ea"/>
                <a:cs typeface="+mn-cs"/>
              </a:rPr>
              <a:t>Vensafe</a:t>
            </a:r>
            <a:endPar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endParaRPr>
          </a:p>
        </p:txBody>
      </p:sp>
      <p:sp>
        <p:nvSpPr>
          <p:cNvPr id="23" name="TextBox 22">
            <a:extLst>
              <a:ext uri="{FF2B5EF4-FFF2-40B4-BE49-F238E27FC236}">
                <a16:creationId xmlns:a16="http://schemas.microsoft.com/office/drawing/2014/main" id="{E10FB838-A663-04F4-BA19-9F353510DFC5}"/>
              </a:ext>
            </a:extLst>
          </p:cNvPr>
          <p:cNvSpPr txBox="1"/>
          <p:nvPr/>
        </p:nvSpPr>
        <p:spPr>
          <a:xfrm>
            <a:off x="3536745" y="4394405"/>
            <a:ext cx="185910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rPr>
              <a:t>Grocery Lockers</a:t>
            </a:r>
          </a:p>
        </p:txBody>
      </p:sp>
      <p:pic>
        <p:nvPicPr>
          <p:cNvPr id="72" name="Bilde 40" descr="Et bilde som inneholder tekst&#10;&#10;Automatisk generert beskrivelse">
            <a:extLst>
              <a:ext uri="{FF2B5EF4-FFF2-40B4-BE49-F238E27FC236}">
                <a16:creationId xmlns:a16="http://schemas.microsoft.com/office/drawing/2014/main" id="{9D16ECC6-8A62-8EE9-239E-144FC32B09B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235525" y="2283781"/>
            <a:ext cx="900535" cy="998953"/>
          </a:xfrm>
          <a:prstGeom prst="rect">
            <a:avLst/>
          </a:prstGeom>
        </p:spPr>
      </p:pic>
      <p:pic>
        <p:nvPicPr>
          <p:cNvPr id="78" name="Picture 77" descr="A picture containing text, font, screenshot, graphics&#10;&#10;Description automatically generated">
            <a:extLst>
              <a:ext uri="{FF2B5EF4-FFF2-40B4-BE49-F238E27FC236}">
                <a16:creationId xmlns:a16="http://schemas.microsoft.com/office/drawing/2014/main" id="{0EAE5A76-4AB6-354D-5C3C-54F58B58E11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064699" y="5179926"/>
            <a:ext cx="1027894" cy="428534"/>
          </a:xfrm>
          <a:prstGeom prst="rect">
            <a:avLst/>
          </a:prstGeom>
        </p:spPr>
      </p:pic>
      <p:grpSp>
        <p:nvGrpSpPr>
          <p:cNvPr id="80" name="Group 79">
            <a:extLst>
              <a:ext uri="{FF2B5EF4-FFF2-40B4-BE49-F238E27FC236}">
                <a16:creationId xmlns:a16="http://schemas.microsoft.com/office/drawing/2014/main" id="{7788344B-83EA-42FD-E87D-B84271AB81CC}"/>
              </a:ext>
            </a:extLst>
          </p:cNvPr>
          <p:cNvGrpSpPr/>
          <p:nvPr/>
        </p:nvGrpSpPr>
        <p:grpSpPr>
          <a:xfrm>
            <a:off x="3498301" y="1162640"/>
            <a:ext cx="2692241" cy="822434"/>
            <a:chOff x="824482" y="1461985"/>
            <a:chExt cx="3230787" cy="822434"/>
          </a:xfrm>
        </p:grpSpPr>
        <p:sp>
          <p:nvSpPr>
            <p:cNvPr id="81" name="Rectangle 80">
              <a:extLst>
                <a:ext uri="{FF2B5EF4-FFF2-40B4-BE49-F238E27FC236}">
                  <a16:creationId xmlns:a16="http://schemas.microsoft.com/office/drawing/2014/main" id="{ADFED582-D911-5314-5671-B171E37023AD}"/>
                </a:ext>
              </a:extLst>
            </p:cNvPr>
            <p:cNvSpPr/>
            <p:nvPr/>
          </p:nvSpPr>
          <p:spPr>
            <a:xfrm>
              <a:off x="824482" y="1461985"/>
              <a:ext cx="3230787" cy="822434"/>
            </a:xfrm>
            <a:prstGeom prst="rect">
              <a:avLst/>
            </a:prstGeom>
            <a:solidFill>
              <a:srgbClr val="F2F3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u="none" strike="noStrike" kern="1200" cap="none" spc="0" normalizeH="0" baseline="0" noProof="0">
                  <a:ln>
                    <a:noFill/>
                  </a:ln>
                  <a:solidFill>
                    <a:srgbClr val="2832DC"/>
                  </a:solidFill>
                  <a:effectLst/>
                  <a:uLnTx/>
                  <a:uFillTx/>
                  <a:latin typeface="Helvetica Light" panose="020B0403020202020204" pitchFamily="34" charset="0"/>
                </a:rPr>
                <a:t>Less penetrated solutions</a:t>
              </a:r>
              <a:endParaRPr kumimoji="0" lang="en-NO" sz="1800" u="none" strike="noStrike" kern="1200" cap="none" spc="0" normalizeH="0" baseline="0" noProof="0">
                <a:ln>
                  <a:noFill/>
                </a:ln>
                <a:solidFill>
                  <a:srgbClr val="2832DC"/>
                </a:solidFill>
                <a:effectLst/>
                <a:uLnTx/>
                <a:uFillTx/>
                <a:latin typeface="Helvetica Light" panose="020B0403020202020204" pitchFamily="34" charset="0"/>
              </a:endParaRPr>
            </a:p>
          </p:txBody>
        </p:sp>
        <p:cxnSp>
          <p:nvCxnSpPr>
            <p:cNvPr id="82" name="Straight Connector 81">
              <a:extLst>
                <a:ext uri="{FF2B5EF4-FFF2-40B4-BE49-F238E27FC236}">
                  <a16:creationId xmlns:a16="http://schemas.microsoft.com/office/drawing/2014/main" id="{7B71EEC0-BEC9-F7E6-175C-27CBAF028F4A}"/>
                </a:ext>
              </a:extLst>
            </p:cNvPr>
            <p:cNvCxnSpPr/>
            <p:nvPr/>
          </p:nvCxnSpPr>
          <p:spPr>
            <a:xfrm>
              <a:off x="824993" y="1479235"/>
              <a:ext cx="3229972" cy="0"/>
            </a:xfrm>
            <a:prstGeom prst="line">
              <a:avLst/>
            </a:prstGeom>
            <a:ln w="15875">
              <a:solidFill>
                <a:srgbClr val="2832DC"/>
              </a:solidFill>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8CAD9267-88BE-F206-311F-1CB9618D0830}"/>
              </a:ext>
            </a:extLst>
          </p:cNvPr>
          <p:cNvGrpSpPr/>
          <p:nvPr/>
        </p:nvGrpSpPr>
        <p:grpSpPr>
          <a:xfrm>
            <a:off x="6241238" y="2070334"/>
            <a:ext cx="2706401" cy="4166496"/>
            <a:chOff x="6230352" y="2070334"/>
            <a:chExt cx="2706401" cy="4166496"/>
          </a:xfrm>
        </p:grpSpPr>
        <p:sp>
          <p:nvSpPr>
            <p:cNvPr id="24" name="Rectangle 23">
              <a:extLst>
                <a:ext uri="{FF2B5EF4-FFF2-40B4-BE49-F238E27FC236}">
                  <a16:creationId xmlns:a16="http://schemas.microsoft.com/office/drawing/2014/main" id="{1750FD87-E83F-7566-FE40-37CD33BEA3D0}"/>
                </a:ext>
              </a:extLst>
            </p:cNvPr>
            <p:cNvSpPr/>
            <p:nvPr/>
          </p:nvSpPr>
          <p:spPr>
            <a:xfrm>
              <a:off x="6237432" y="3472833"/>
              <a:ext cx="2692241" cy="1352525"/>
            </a:xfrm>
            <a:prstGeom prst="rect">
              <a:avLst/>
            </a:prstGeom>
            <a:solidFill>
              <a:srgbClr val="F2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0356166F-6507-5137-35B2-DD720606A2D4}"/>
                </a:ext>
              </a:extLst>
            </p:cNvPr>
            <p:cNvSpPr/>
            <p:nvPr/>
          </p:nvSpPr>
          <p:spPr>
            <a:xfrm>
              <a:off x="6244512" y="4875332"/>
              <a:ext cx="2692241" cy="1361498"/>
            </a:xfrm>
            <a:prstGeom prst="rect">
              <a:avLst/>
            </a:prstGeom>
            <a:solidFill>
              <a:srgbClr val="F2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471FA892-8205-409B-484A-5C1F2E2E6099}"/>
                </a:ext>
              </a:extLst>
            </p:cNvPr>
            <p:cNvSpPr/>
            <p:nvPr/>
          </p:nvSpPr>
          <p:spPr>
            <a:xfrm>
              <a:off x="6230352" y="2070334"/>
              <a:ext cx="2692241" cy="1352525"/>
            </a:xfrm>
            <a:prstGeom prst="rect">
              <a:avLst/>
            </a:prstGeom>
            <a:solidFill>
              <a:srgbClr val="F2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grpSp>
      <p:sp>
        <p:nvSpPr>
          <p:cNvPr id="58" name="TextBox 57">
            <a:extLst>
              <a:ext uri="{FF2B5EF4-FFF2-40B4-BE49-F238E27FC236}">
                <a16:creationId xmlns:a16="http://schemas.microsoft.com/office/drawing/2014/main" id="{B62BA115-5EE1-60BC-2FC6-83B761CD4C97}"/>
              </a:ext>
            </a:extLst>
          </p:cNvPr>
          <p:cNvSpPr txBox="1"/>
          <p:nvPr/>
        </p:nvSpPr>
        <p:spPr>
          <a:xfrm>
            <a:off x="6233636" y="2782969"/>
            <a:ext cx="205420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rPr>
              <a:t>Sel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rPr>
              <a:t>Checkout </a:t>
            </a:r>
          </a:p>
        </p:txBody>
      </p:sp>
      <p:sp>
        <p:nvSpPr>
          <p:cNvPr id="59" name="TextBox 58">
            <a:extLst>
              <a:ext uri="{FF2B5EF4-FFF2-40B4-BE49-F238E27FC236}">
                <a16:creationId xmlns:a16="http://schemas.microsoft.com/office/drawing/2014/main" id="{3A7D68F0-2294-533E-0153-59E7CF94C032}"/>
              </a:ext>
            </a:extLst>
          </p:cNvPr>
          <p:cNvSpPr txBox="1"/>
          <p:nvPr/>
        </p:nvSpPr>
        <p:spPr>
          <a:xfrm>
            <a:off x="6267085" y="4239989"/>
            <a:ext cx="158597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a:solidFill>
                  <a:srgbClr val="141E50"/>
                </a:solidFill>
                <a:latin typeface="Helvetica Light" panose="020B0403020202020204"/>
              </a:rPr>
              <a:t>Micro-</a:t>
            </a:r>
            <a:r>
              <a:rPr lang="en-GB" sz="1600" err="1">
                <a:solidFill>
                  <a:srgbClr val="141E50"/>
                </a:solidFill>
                <a:latin typeface="Helvetica Light" panose="020B0403020202020204"/>
              </a:rPr>
              <a:t>Fulfillment</a:t>
            </a:r>
            <a:r>
              <a:rPr lang="en-GB" sz="1600">
                <a:solidFill>
                  <a:srgbClr val="141E50"/>
                </a:solidFill>
                <a:latin typeface="Helvetica Light" panose="020B0403020202020204"/>
              </a:rPr>
              <a:t>  </a:t>
            </a:r>
            <a:endPar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endParaRPr>
          </a:p>
        </p:txBody>
      </p:sp>
      <p:pic>
        <p:nvPicPr>
          <p:cNvPr id="73" name="Picture 72">
            <a:extLst>
              <a:ext uri="{FF2B5EF4-FFF2-40B4-BE49-F238E27FC236}">
                <a16:creationId xmlns:a16="http://schemas.microsoft.com/office/drawing/2014/main" id="{8D6001E6-488D-ECB2-898F-0AC90109263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610602" y="4066093"/>
            <a:ext cx="705998" cy="522439"/>
          </a:xfrm>
          <a:prstGeom prst="rect">
            <a:avLst/>
          </a:prstGeom>
        </p:spPr>
      </p:pic>
      <p:pic>
        <p:nvPicPr>
          <p:cNvPr id="77" name="Bilde 42">
            <a:extLst>
              <a:ext uri="{FF2B5EF4-FFF2-40B4-BE49-F238E27FC236}">
                <a16:creationId xmlns:a16="http://schemas.microsoft.com/office/drawing/2014/main" id="{D9C73BED-67CA-CC37-2C51-9ACB4088931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rot="21429955">
            <a:off x="7405847" y="2238338"/>
            <a:ext cx="1072951" cy="1164848"/>
          </a:xfrm>
          <a:prstGeom prst="rect">
            <a:avLst/>
          </a:prstGeom>
        </p:spPr>
      </p:pic>
      <p:grpSp>
        <p:nvGrpSpPr>
          <p:cNvPr id="83" name="Group 82">
            <a:extLst>
              <a:ext uri="{FF2B5EF4-FFF2-40B4-BE49-F238E27FC236}">
                <a16:creationId xmlns:a16="http://schemas.microsoft.com/office/drawing/2014/main" id="{E8D73100-C5D2-16B7-6439-FA04E7AB7A28}"/>
              </a:ext>
            </a:extLst>
          </p:cNvPr>
          <p:cNvGrpSpPr/>
          <p:nvPr/>
        </p:nvGrpSpPr>
        <p:grpSpPr>
          <a:xfrm>
            <a:off x="6250349" y="1161174"/>
            <a:ext cx="2692241" cy="822434"/>
            <a:chOff x="824482" y="1461985"/>
            <a:chExt cx="3230787" cy="822434"/>
          </a:xfrm>
        </p:grpSpPr>
        <p:sp>
          <p:nvSpPr>
            <p:cNvPr id="84" name="Rectangle 83">
              <a:extLst>
                <a:ext uri="{FF2B5EF4-FFF2-40B4-BE49-F238E27FC236}">
                  <a16:creationId xmlns:a16="http://schemas.microsoft.com/office/drawing/2014/main" id="{68B65166-89B8-F22D-A971-A5625DBB933B}"/>
                </a:ext>
              </a:extLst>
            </p:cNvPr>
            <p:cNvSpPr/>
            <p:nvPr/>
          </p:nvSpPr>
          <p:spPr>
            <a:xfrm>
              <a:off x="824482" y="1461985"/>
              <a:ext cx="3230787" cy="822434"/>
            </a:xfrm>
            <a:prstGeom prst="rect">
              <a:avLst/>
            </a:prstGeom>
            <a:solidFill>
              <a:srgbClr val="F2F3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u="none" strike="noStrike" kern="1200" cap="none" spc="0" normalizeH="0" baseline="0" noProof="0">
                  <a:ln>
                    <a:noFill/>
                  </a:ln>
                  <a:solidFill>
                    <a:srgbClr val="2832DC"/>
                  </a:solidFill>
                  <a:effectLst/>
                  <a:uLnTx/>
                  <a:uFillTx/>
                  <a:latin typeface="Helvetica Light" panose="020B0403020202020204" pitchFamily="34" charset="0"/>
                </a:rPr>
                <a:t>Solutions that have yet to be adopted </a:t>
              </a:r>
              <a:endParaRPr kumimoji="0" lang="en-NO" sz="1800" u="none" strike="noStrike" kern="1200" cap="none" spc="0" normalizeH="0" baseline="0" noProof="0">
                <a:ln>
                  <a:noFill/>
                </a:ln>
                <a:solidFill>
                  <a:srgbClr val="2832DC"/>
                </a:solidFill>
                <a:effectLst/>
                <a:uLnTx/>
                <a:uFillTx/>
                <a:latin typeface="Helvetica Light" panose="020B0403020202020204" pitchFamily="34" charset="0"/>
              </a:endParaRPr>
            </a:p>
          </p:txBody>
        </p:sp>
        <p:cxnSp>
          <p:nvCxnSpPr>
            <p:cNvPr id="85" name="Straight Connector 84">
              <a:extLst>
                <a:ext uri="{FF2B5EF4-FFF2-40B4-BE49-F238E27FC236}">
                  <a16:creationId xmlns:a16="http://schemas.microsoft.com/office/drawing/2014/main" id="{064960FF-8A4B-1FF9-7585-6AC0BF4356B8}"/>
                </a:ext>
              </a:extLst>
            </p:cNvPr>
            <p:cNvCxnSpPr/>
            <p:nvPr/>
          </p:nvCxnSpPr>
          <p:spPr>
            <a:xfrm>
              <a:off x="824482" y="1479235"/>
              <a:ext cx="3229972" cy="0"/>
            </a:xfrm>
            <a:prstGeom prst="line">
              <a:avLst/>
            </a:prstGeom>
            <a:ln w="15875">
              <a:solidFill>
                <a:srgbClr val="2832DC"/>
              </a:solidFill>
            </a:ln>
          </p:spPr>
          <p:style>
            <a:lnRef idx="1">
              <a:schemeClr val="accent1"/>
            </a:lnRef>
            <a:fillRef idx="0">
              <a:schemeClr val="accent1"/>
            </a:fillRef>
            <a:effectRef idx="0">
              <a:schemeClr val="accent1"/>
            </a:effectRef>
            <a:fontRef idx="minor">
              <a:schemeClr val="tx1"/>
            </a:fontRef>
          </p:style>
        </p:cxnSp>
      </p:grpSp>
      <p:sp>
        <p:nvSpPr>
          <p:cNvPr id="61" name="TextBox 60">
            <a:extLst>
              <a:ext uri="{FF2B5EF4-FFF2-40B4-BE49-F238E27FC236}">
                <a16:creationId xmlns:a16="http://schemas.microsoft.com/office/drawing/2014/main" id="{E68FE89D-AF74-698E-756E-3EDAE67D7480}"/>
              </a:ext>
            </a:extLst>
          </p:cNvPr>
          <p:cNvSpPr txBox="1"/>
          <p:nvPr/>
        </p:nvSpPr>
        <p:spPr>
          <a:xfrm>
            <a:off x="9061372" y="2613692"/>
            <a:ext cx="207074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rPr>
              <a:t>Autonomous stores</a:t>
            </a:r>
          </a:p>
        </p:txBody>
      </p:sp>
      <p:sp>
        <p:nvSpPr>
          <p:cNvPr id="74" name="TextBox 73">
            <a:extLst>
              <a:ext uri="{FF2B5EF4-FFF2-40B4-BE49-F238E27FC236}">
                <a16:creationId xmlns:a16="http://schemas.microsoft.com/office/drawing/2014/main" id="{02809A6E-6C0A-A5FE-74EC-163FD9360786}"/>
              </a:ext>
            </a:extLst>
          </p:cNvPr>
          <p:cNvSpPr txBox="1"/>
          <p:nvPr/>
        </p:nvSpPr>
        <p:spPr>
          <a:xfrm>
            <a:off x="9061372" y="3996262"/>
            <a:ext cx="271649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rPr>
              <a:t>Fraud detection</a:t>
            </a:r>
          </a:p>
        </p:txBody>
      </p:sp>
      <p:sp>
        <p:nvSpPr>
          <p:cNvPr id="75" name="TextBox 74">
            <a:extLst>
              <a:ext uri="{FF2B5EF4-FFF2-40B4-BE49-F238E27FC236}">
                <a16:creationId xmlns:a16="http://schemas.microsoft.com/office/drawing/2014/main" id="{EFD1E148-B4C5-4E92-DFCB-A36AEA9C9CA7}"/>
              </a:ext>
            </a:extLst>
          </p:cNvPr>
          <p:cNvSpPr txBox="1"/>
          <p:nvPr/>
        </p:nvSpPr>
        <p:spPr>
          <a:xfrm>
            <a:off x="9061372" y="5284964"/>
            <a:ext cx="271649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rPr>
              <a:t>Store operations management</a:t>
            </a:r>
          </a:p>
        </p:txBody>
      </p:sp>
      <p:grpSp>
        <p:nvGrpSpPr>
          <p:cNvPr id="86" name="Group 85">
            <a:extLst>
              <a:ext uri="{FF2B5EF4-FFF2-40B4-BE49-F238E27FC236}">
                <a16:creationId xmlns:a16="http://schemas.microsoft.com/office/drawing/2014/main" id="{08EB826C-E992-CF0A-0B9B-87E7F032388A}"/>
              </a:ext>
            </a:extLst>
          </p:cNvPr>
          <p:cNvGrpSpPr/>
          <p:nvPr/>
        </p:nvGrpSpPr>
        <p:grpSpPr>
          <a:xfrm>
            <a:off x="8985101" y="1179890"/>
            <a:ext cx="2695473" cy="805183"/>
            <a:chOff x="820603" y="1479235"/>
            <a:chExt cx="3234666" cy="805183"/>
          </a:xfrm>
        </p:grpSpPr>
        <p:sp>
          <p:nvSpPr>
            <p:cNvPr id="87" name="Rectangle 86">
              <a:extLst>
                <a:ext uri="{FF2B5EF4-FFF2-40B4-BE49-F238E27FC236}">
                  <a16:creationId xmlns:a16="http://schemas.microsoft.com/office/drawing/2014/main" id="{A7CB0523-D1EF-F9B9-76BF-A12ACDCF4EB6}"/>
                </a:ext>
              </a:extLst>
            </p:cNvPr>
            <p:cNvSpPr/>
            <p:nvPr/>
          </p:nvSpPr>
          <p:spPr>
            <a:xfrm>
              <a:off x="824482" y="1479235"/>
              <a:ext cx="3230787" cy="805183"/>
            </a:xfrm>
            <a:prstGeom prst="rect">
              <a:avLst/>
            </a:prstGeom>
            <a:solidFill>
              <a:srgbClr val="F2F3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u="none" strike="noStrike" kern="1200" cap="none" spc="0" normalizeH="0" baseline="0" noProof="0">
                  <a:ln>
                    <a:noFill/>
                  </a:ln>
                  <a:solidFill>
                    <a:srgbClr val="2832DC"/>
                  </a:solidFill>
                  <a:effectLst/>
                  <a:uLnTx/>
                  <a:uFillTx/>
                  <a:latin typeface="Helvetica Light" panose="020B0403020202020204" pitchFamily="34" charset="0"/>
                </a:rPr>
                <a:t>Experimenting wi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u="none" strike="noStrike" kern="1200" cap="none" spc="0" normalizeH="0" baseline="0" noProof="0">
                  <a:ln>
                    <a:noFill/>
                  </a:ln>
                  <a:solidFill>
                    <a:srgbClr val="2832DC"/>
                  </a:solidFill>
                  <a:effectLst/>
                  <a:uLnTx/>
                  <a:uFillTx/>
                  <a:latin typeface="Helvetica Light" panose="020B0403020202020204" pitchFamily="34" charset="0"/>
                </a:rPr>
                <a:t>new solutions</a:t>
              </a:r>
              <a:endParaRPr kumimoji="0" lang="en-NO" sz="1800" u="none" strike="noStrike" kern="1200" cap="none" spc="0" normalizeH="0" baseline="0" noProof="0">
                <a:ln>
                  <a:noFill/>
                </a:ln>
                <a:solidFill>
                  <a:srgbClr val="2832DC"/>
                </a:solidFill>
                <a:effectLst/>
                <a:uLnTx/>
                <a:uFillTx/>
                <a:latin typeface="Helvetica Light" panose="020B0403020202020204" pitchFamily="34" charset="0"/>
              </a:endParaRPr>
            </a:p>
          </p:txBody>
        </p:sp>
        <p:cxnSp>
          <p:nvCxnSpPr>
            <p:cNvPr id="88" name="Straight Connector 87">
              <a:extLst>
                <a:ext uri="{FF2B5EF4-FFF2-40B4-BE49-F238E27FC236}">
                  <a16:creationId xmlns:a16="http://schemas.microsoft.com/office/drawing/2014/main" id="{19AB101D-D88A-3228-3CA3-E0A58C7DF783}"/>
                </a:ext>
              </a:extLst>
            </p:cNvPr>
            <p:cNvCxnSpPr/>
            <p:nvPr/>
          </p:nvCxnSpPr>
          <p:spPr>
            <a:xfrm>
              <a:off x="820603" y="1479235"/>
              <a:ext cx="3229972" cy="0"/>
            </a:xfrm>
            <a:prstGeom prst="line">
              <a:avLst/>
            </a:prstGeom>
            <a:ln w="15875">
              <a:solidFill>
                <a:srgbClr val="2832DC"/>
              </a:solidFill>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A7C8C08E-885B-CE03-19FC-6E8F782A9596}"/>
              </a:ext>
            </a:extLst>
          </p:cNvPr>
          <p:cNvSpPr txBox="1"/>
          <p:nvPr/>
        </p:nvSpPr>
        <p:spPr>
          <a:xfrm>
            <a:off x="3570761" y="5837598"/>
            <a:ext cx="246900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rPr>
              <a:t>Electronic Shelf Labels </a:t>
            </a:r>
          </a:p>
        </p:txBody>
      </p:sp>
      <p:pic>
        <p:nvPicPr>
          <p:cNvPr id="16" name="Picture 15">
            <a:extLst>
              <a:ext uri="{FF2B5EF4-FFF2-40B4-BE49-F238E27FC236}">
                <a16:creationId xmlns:a16="http://schemas.microsoft.com/office/drawing/2014/main" id="{9A4017CE-252C-3967-421C-B247A3331A57}"/>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626932" y="5007470"/>
            <a:ext cx="363129" cy="363129"/>
          </a:xfrm>
          <a:prstGeom prst="rect">
            <a:avLst/>
          </a:prstGeom>
        </p:spPr>
      </p:pic>
      <p:pic>
        <p:nvPicPr>
          <p:cNvPr id="17" name="Picture 16">
            <a:extLst>
              <a:ext uri="{FF2B5EF4-FFF2-40B4-BE49-F238E27FC236}">
                <a16:creationId xmlns:a16="http://schemas.microsoft.com/office/drawing/2014/main" id="{31C8CAD9-6D86-6BA1-C0F2-F47B56605CDD}"/>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80863" y="3247587"/>
            <a:ext cx="363129" cy="363129"/>
          </a:xfrm>
          <a:prstGeom prst="rect">
            <a:avLst/>
          </a:prstGeom>
        </p:spPr>
      </p:pic>
      <p:sp>
        <p:nvSpPr>
          <p:cNvPr id="34" name="TextBox 33">
            <a:extLst>
              <a:ext uri="{FF2B5EF4-FFF2-40B4-BE49-F238E27FC236}">
                <a16:creationId xmlns:a16="http://schemas.microsoft.com/office/drawing/2014/main" id="{CD3A445D-4FB9-E769-638E-DB82AB4A4F4E}"/>
              </a:ext>
            </a:extLst>
          </p:cNvPr>
          <p:cNvSpPr txBox="1"/>
          <p:nvPr/>
        </p:nvSpPr>
        <p:spPr>
          <a:xfrm>
            <a:off x="6267085" y="5589301"/>
            <a:ext cx="210979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rPr>
              <a:t>E-Commerce in general in Norway </a:t>
            </a:r>
          </a:p>
        </p:txBody>
      </p:sp>
      <p:pic>
        <p:nvPicPr>
          <p:cNvPr id="38" name="Bilde 6" descr="Et bilde som inneholder tekst, projektor&#10;&#10;Automatisk generert beskrivelse">
            <a:extLst>
              <a:ext uri="{FF2B5EF4-FFF2-40B4-BE49-F238E27FC236}">
                <a16:creationId xmlns:a16="http://schemas.microsoft.com/office/drawing/2014/main" id="{1BE9D270-B344-AE8D-8915-75C1BC9B3E75}"/>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5150886" y="3599210"/>
            <a:ext cx="888881" cy="832212"/>
          </a:xfrm>
          <a:prstGeom prst="rect">
            <a:avLst/>
          </a:prstGeom>
        </p:spPr>
      </p:pic>
      <p:sp>
        <p:nvSpPr>
          <p:cNvPr id="41" name="Rectangle 40">
            <a:extLst>
              <a:ext uri="{FF2B5EF4-FFF2-40B4-BE49-F238E27FC236}">
                <a16:creationId xmlns:a16="http://schemas.microsoft.com/office/drawing/2014/main" id="{F8BFE88E-9FAA-8D4A-47D4-D2DA96957918}"/>
              </a:ext>
            </a:extLst>
          </p:cNvPr>
          <p:cNvSpPr/>
          <p:nvPr/>
        </p:nvSpPr>
        <p:spPr>
          <a:xfrm>
            <a:off x="728806" y="4184029"/>
            <a:ext cx="2696940" cy="998953"/>
          </a:xfrm>
          <a:prstGeom prst="rect">
            <a:avLst/>
          </a:prstGeom>
          <a:solidFill>
            <a:srgbClr val="F2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42" name="TextBox 41">
            <a:extLst>
              <a:ext uri="{FF2B5EF4-FFF2-40B4-BE49-F238E27FC236}">
                <a16:creationId xmlns:a16="http://schemas.microsoft.com/office/drawing/2014/main" id="{7C4C0C5E-E8E1-2F9E-4F0C-5DEC57660D77}"/>
              </a:ext>
            </a:extLst>
          </p:cNvPr>
          <p:cNvSpPr txBox="1"/>
          <p:nvPr/>
        </p:nvSpPr>
        <p:spPr>
          <a:xfrm>
            <a:off x="766901" y="4775871"/>
            <a:ext cx="158597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rPr>
              <a:t>Order Picking </a:t>
            </a:r>
          </a:p>
        </p:txBody>
      </p:sp>
      <p:pic>
        <p:nvPicPr>
          <p:cNvPr id="44" name="Picture 43">
            <a:extLst>
              <a:ext uri="{FF2B5EF4-FFF2-40B4-BE49-F238E27FC236}">
                <a16:creationId xmlns:a16="http://schemas.microsoft.com/office/drawing/2014/main" id="{8B493560-7461-48C5-D3A3-EAE9A6C617F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80863" y="4293660"/>
            <a:ext cx="363129" cy="363129"/>
          </a:xfrm>
          <a:prstGeom prst="rect">
            <a:avLst/>
          </a:prstGeom>
        </p:spPr>
      </p:pic>
      <p:pic>
        <p:nvPicPr>
          <p:cNvPr id="50" name="Picture 49">
            <a:extLst>
              <a:ext uri="{FF2B5EF4-FFF2-40B4-BE49-F238E27FC236}">
                <a16:creationId xmlns:a16="http://schemas.microsoft.com/office/drawing/2014/main" id="{C24CEC42-D0CE-BD68-0370-5485B2918A8A}"/>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40448" y="2144275"/>
            <a:ext cx="363129" cy="363129"/>
          </a:xfrm>
          <a:prstGeom prst="rect">
            <a:avLst/>
          </a:prstGeom>
        </p:spPr>
      </p:pic>
      <p:sp>
        <p:nvSpPr>
          <p:cNvPr id="12" name="Rectangle 11">
            <a:extLst>
              <a:ext uri="{FF2B5EF4-FFF2-40B4-BE49-F238E27FC236}">
                <a16:creationId xmlns:a16="http://schemas.microsoft.com/office/drawing/2014/main" id="{C24352FA-820F-89EB-0F99-557E47CEE04D}"/>
              </a:ext>
            </a:extLst>
          </p:cNvPr>
          <p:cNvSpPr/>
          <p:nvPr/>
        </p:nvSpPr>
        <p:spPr>
          <a:xfrm>
            <a:off x="728806" y="5242053"/>
            <a:ext cx="2696940" cy="990601"/>
          </a:xfrm>
          <a:prstGeom prst="rect">
            <a:avLst/>
          </a:prstGeom>
          <a:solidFill>
            <a:srgbClr val="F2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14" name="TextBox 13">
            <a:extLst>
              <a:ext uri="{FF2B5EF4-FFF2-40B4-BE49-F238E27FC236}">
                <a16:creationId xmlns:a16="http://schemas.microsoft.com/office/drawing/2014/main" id="{1BA98D8A-BD3C-7FB9-3C12-AE16F3684054}"/>
              </a:ext>
            </a:extLst>
          </p:cNvPr>
          <p:cNvSpPr txBox="1"/>
          <p:nvPr/>
        </p:nvSpPr>
        <p:spPr>
          <a:xfrm>
            <a:off x="793530" y="5814387"/>
            <a:ext cx="158597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rPr>
              <a:t>Scales</a:t>
            </a:r>
          </a:p>
        </p:txBody>
      </p:sp>
      <p:pic>
        <p:nvPicPr>
          <p:cNvPr id="18" name="Bilde 92">
            <a:extLst>
              <a:ext uri="{FF2B5EF4-FFF2-40B4-BE49-F238E27FC236}">
                <a16:creationId xmlns:a16="http://schemas.microsoft.com/office/drawing/2014/main" id="{3D1B05D6-D2F4-CC6B-9630-A1A3821B809B}"/>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331367" y="5607054"/>
            <a:ext cx="945005" cy="307152"/>
          </a:xfrm>
          <a:prstGeom prst="rect">
            <a:avLst/>
          </a:prstGeom>
        </p:spPr>
      </p:pic>
      <p:pic>
        <p:nvPicPr>
          <p:cNvPr id="21" name="Bilde 3" descr="Et bilde som inneholder leke, datamaskin, bord, pult&#10;&#10;Automatisk generert beskrivelse">
            <a:extLst>
              <a:ext uri="{FF2B5EF4-FFF2-40B4-BE49-F238E27FC236}">
                <a16:creationId xmlns:a16="http://schemas.microsoft.com/office/drawing/2014/main" id="{08BAF36F-6A12-6309-5754-C3A2C240F22C}"/>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2252377" y="4249931"/>
            <a:ext cx="1101007" cy="795936"/>
          </a:xfrm>
          <a:prstGeom prst="rect">
            <a:avLst/>
          </a:prstGeom>
        </p:spPr>
      </p:pic>
      <p:pic>
        <p:nvPicPr>
          <p:cNvPr id="29" name="Picture 28">
            <a:extLst>
              <a:ext uri="{FF2B5EF4-FFF2-40B4-BE49-F238E27FC236}">
                <a16:creationId xmlns:a16="http://schemas.microsoft.com/office/drawing/2014/main" id="{8EE6ABDE-130D-B118-0EC7-BBA1EB551C6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80863" y="5351693"/>
            <a:ext cx="363129" cy="363129"/>
          </a:xfrm>
          <a:prstGeom prst="rect">
            <a:avLst/>
          </a:prstGeom>
        </p:spPr>
      </p:pic>
      <p:pic>
        <p:nvPicPr>
          <p:cNvPr id="30" name="Picture 29">
            <a:extLst>
              <a:ext uri="{FF2B5EF4-FFF2-40B4-BE49-F238E27FC236}">
                <a16:creationId xmlns:a16="http://schemas.microsoft.com/office/drawing/2014/main" id="{C05299DA-0F34-5535-345A-FDD6BE8F1577}"/>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319066" y="2135123"/>
            <a:ext cx="363129" cy="363129"/>
          </a:xfrm>
          <a:prstGeom prst="rect">
            <a:avLst/>
          </a:prstGeom>
        </p:spPr>
      </p:pic>
      <p:pic>
        <p:nvPicPr>
          <p:cNvPr id="31" name="Picture 30">
            <a:extLst>
              <a:ext uri="{FF2B5EF4-FFF2-40B4-BE49-F238E27FC236}">
                <a16:creationId xmlns:a16="http://schemas.microsoft.com/office/drawing/2014/main" id="{394626E2-93E8-0E28-692C-74261DA70D24}"/>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378323" y="5351693"/>
            <a:ext cx="363129" cy="363129"/>
          </a:xfrm>
          <a:prstGeom prst="rect">
            <a:avLst/>
          </a:prstGeom>
        </p:spPr>
      </p:pic>
      <p:pic>
        <p:nvPicPr>
          <p:cNvPr id="36" name="Picture 35">
            <a:extLst>
              <a:ext uri="{FF2B5EF4-FFF2-40B4-BE49-F238E27FC236}">
                <a16:creationId xmlns:a16="http://schemas.microsoft.com/office/drawing/2014/main" id="{8DE6CEBA-F2C1-7F20-957E-3F8CEFD5DA8A}"/>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626931" y="3623609"/>
            <a:ext cx="363129" cy="363129"/>
          </a:xfrm>
          <a:prstGeom prst="rect">
            <a:avLst/>
          </a:prstGeom>
        </p:spPr>
      </p:pic>
      <p:pic>
        <p:nvPicPr>
          <p:cNvPr id="37" name="Picture 36">
            <a:extLst>
              <a:ext uri="{FF2B5EF4-FFF2-40B4-BE49-F238E27FC236}">
                <a16:creationId xmlns:a16="http://schemas.microsoft.com/office/drawing/2014/main" id="{3D50E4BA-8102-0F61-CCC0-E57811F97A7C}"/>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626933" y="2171640"/>
            <a:ext cx="363129" cy="363129"/>
          </a:xfrm>
          <a:prstGeom prst="rect">
            <a:avLst/>
          </a:prstGeom>
        </p:spPr>
      </p:pic>
      <p:pic>
        <p:nvPicPr>
          <p:cNvPr id="39" name="Picture 38">
            <a:extLst>
              <a:ext uri="{FF2B5EF4-FFF2-40B4-BE49-F238E27FC236}">
                <a16:creationId xmlns:a16="http://schemas.microsoft.com/office/drawing/2014/main" id="{A72CE2BD-EA5C-0581-BA22-22FE04389E1C}"/>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128365" y="2173849"/>
            <a:ext cx="363129" cy="363129"/>
          </a:xfrm>
          <a:prstGeom prst="rect">
            <a:avLst/>
          </a:prstGeom>
        </p:spPr>
      </p:pic>
      <p:pic>
        <p:nvPicPr>
          <p:cNvPr id="40" name="Picture 39">
            <a:extLst>
              <a:ext uri="{FF2B5EF4-FFF2-40B4-BE49-F238E27FC236}">
                <a16:creationId xmlns:a16="http://schemas.microsoft.com/office/drawing/2014/main" id="{74A4FD39-6389-B2FA-5D33-80AD0CA06100}"/>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383285" y="2191599"/>
            <a:ext cx="363129" cy="363129"/>
          </a:xfrm>
          <a:prstGeom prst="rect">
            <a:avLst/>
          </a:prstGeom>
        </p:spPr>
      </p:pic>
      <p:pic>
        <p:nvPicPr>
          <p:cNvPr id="43" name="Picture 42">
            <a:extLst>
              <a:ext uri="{FF2B5EF4-FFF2-40B4-BE49-F238E27FC236}">
                <a16:creationId xmlns:a16="http://schemas.microsoft.com/office/drawing/2014/main" id="{73BA940A-E7E3-A2C8-D6AD-8FE69575D19D}"/>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884717" y="2193808"/>
            <a:ext cx="363129" cy="363129"/>
          </a:xfrm>
          <a:prstGeom prst="rect">
            <a:avLst/>
          </a:prstGeom>
        </p:spPr>
      </p:pic>
      <p:pic>
        <p:nvPicPr>
          <p:cNvPr id="45" name="Picture 44">
            <a:extLst>
              <a:ext uri="{FF2B5EF4-FFF2-40B4-BE49-F238E27FC236}">
                <a16:creationId xmlns:a16="http://schemas.microsoft.com/office/drawing/2014/main" id="{DE3B49B0-F797-0990-68C1-FB385F529BC8}"/>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383285" y="3590305"/>
            <a:ext cx="363129" cy="363129"/>
          </a:xfrm>
          <a:prstGeom prst="rect">
            <a:avLst/>
          </a:prstGeom>
        </p:spPr>
      </p:pic>
      <p:pic>
        <p:nvPicPr>
          <p:cNvPr id="46" name="Picture 45">
            <a:extLst>
              <a:ext uri="{FF2B5EF4-FFF2-40B4-BE49-F238E27FC236}">
                <a16:creationId xmlns:a16="http://schemas.microsoft.com/office/drawing/2014/main" id="{E44AA44B-349C-E3B0-9742-D330E8552973}"/>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884717" y="3592514"/>
            <a:ext cx="363129" cy="363129"/>
          </a:xfrm>
          <a:prstGeom prst="rect">
            <a:avLst/>
          </a:prstGeom>
        </p:spPr>
      </p:pic>
      <p:pic>
        <p:nvPicPr>
          <p:cNvPr id="56" name="Picture 55">
            <a:extLst>
              <a:ext uri="{FF2B5EF4-FFF2-40B4-BE49-F238E27FC236}">
                <a16:creationId xmlns:a16="http://schemas.microsoft.com/office/drawing/2014/main" id="{65F25F65-FF67-52E5-6DA9-B33575135F6E}"/>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391901" y="5001417"/>
            <a:ext cx="363129" cy="363129"/>
          </a:xfrm>
          <a:prstGeom prst="rect">
            <a:avLst/>
          </a:prstGeom>
        </p:spPr>
      </p:pic>
      <p:sp>
        <p:nvSpPr>
          <p:cNvPr id="8" name="Oval 7">
            <a:extLst>
              <a:ext uri="{FF2B5EF4-FFF2-40B4-BE49-F238E27FC236}">
                <a16:creationId xmlns:a16="http://schemas.microsoft.com/office/drawing/2014/main" id="{500AE235-DE14-DBEA-9EEC-9C16A22EB1A4}"/>
              </a:ext>
            </a:extLst>
          </p:cNvPr>
          <p:cNvSpPr/>
          <p:nvPr/>
        </p:nvSpPr>
        <p:spPr>
          <a:xfrm rot="16200000">
            <a:off x="8636800" y="2142395"/>
            <a:ext cx="210655" cy="210655"/>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B052CA96-582F-B383-890E-7ABC9C16C09B}"/>
              </a:ext>
            </a:extLst>
          </p:cNvPr>
          <p:cNvSpPr/>
          <p:nvPr/>
        </p:nvSpPr>
        <p:spPr>
          <a:xfrm rot="16200000">
            <a:off x="8636800" y="2387961"/>
            <a:ext cx="210655" cy="210655"/>
          </a:xfrm>
          <a:prstGeom prst="ellipse">
            <a:avLst/>
          </a:prstGeom>
          <a:solidFill>
            <a:srgbClr val="FF99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F4AF1DC9-F068-0508-18AA-E12E03407EB0}"/>
              </a:ext>
            </a:extLst>
          </p:cNvPr>
          <p:cNvSpPr/>
          <p:nvPr/>
        </p:nvSpPr>
        <p:spPr>
          <a:xfrm rot="16200000">
            <a:off x="8636800" y="2633527"/>
            <a:ext cx="210655" cy="210655"/>
          </a:xfrm>
          <a:prstGeom prst="ellipse">
            <a:avLst/>
          </a:prstGeom>
          <a:solidFill>
            <a:srgbClr val="91D150"/>
          </a:solidFill>
          <a:ln w="254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A3978671-22D5-B5EA-CF82-D95D97814732}"/>
              </a:ext>
            </a:extLst>
          </p:cNvPr>
          <p:cNvSpPr/>
          <p:nvPr/>
        </p:nvSpPr>
        <p:spPr>
          <a:xfrm rot="16200000">
            <a:off x="8645251" y="3569968"/>
            <a:ext cx="210655" cy="210655"/>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D413DD2A-3270-1CFB-1EC2-6147A6900D50}"/>
              </a:ext>
            </a:extLst>
          </p:cNvPr>
          <p:cNvSpPr/>
          <p:nvPr/>
        </p:nvSpPr>
        <p:spPr>
          <a:xfrm rot="16200000">
            <a:off x="8645251" y="4061100"/>
            <a:ext cx="210655" cy="210655"/>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4A1F40ED-E2C7-B83A-4701-C5974B22E54D}"/>
              </a:ext>
            </a:extLst>
          </p:cNvPr>
          <p:cNvSpPr/>
          <p:nvPr/>
        </p:nvSpPr>
        <p:spPr>
          <a:xfrm rot="16200000">
            <a:off x="8645249" y="4972884"/>
            <a:ext cx="210654" cy="210654"/>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a:extLst>
              <a:ext uri="{FF2B5EF4-FFF2-40B4-BE49-F238E27FC236}">
                <a16:creationId xmlns:a16="http://schemas.microsoft.com/office/drawing/2014/main" id="{CB690F20-0C1D-12E6-8784-39D5A329732A}"/>
              </a:ext>
            </a:extLst>
          </p:cNvPr>
          <p:cNvSpPr/>
          <p:nvPr/>
        </p:nvSpPr>
        <p:spPr>
          <a:xfrm rot="16200000">
            <a:off x="8645249" y="5218448"/>
            <a:ext cx="210654" cy="210654"/>
          </a:xfrm>
          <a:prstGeom prst="ellipse">
            <a:avLst/>
          </a:prstGeom>
          <a:solidFill>
            <a:srgbClr val="FF9900"/>
          </a:solidFill>
          <a:ln w="254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Oval 89">
            <a:extLst>
              <a:ext uri="{FF2B5EF4-FFF2-40B4-BE49-F238E27FC236}">
                <a16:creationId xmlns:a16="http://schemas.microsoft.com/office/drawing/2014/main" id="{CFFAFE0A-28A7-1C39-4148-2E952D8461FB}"/>
              </a:ext>
            </a:extLst>
          </p:cNvPr>
          <p:cNvSpPr/>
          <p:nvPr/>
        </p:nvSpPr>
        <p:spPr>
          <a:xfrm rot="16200000">
            <a:off x="8645249" y="5464012"/>
            <a:ext cx="210654" cy="210654"/>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Oval 90">
            <a:extLst>
              <a:ext uri="{FF2B5EF4-FFF2-40B4-BE49-F238E27FC236}">
                <a16:creationId xmlns:a16="http://schemas.microsoft.com/office/drawing/2014/main" id="{2C01D73D-6D24-9185-ABD2-922725C7B1C2}"/>
              </a:ext>
            </a:extLst>
          </p:cNvPr>
          <p:cNvSpPr/>
          <p:nvPr/>
        </p:nvSpPr>
        <p:spPr>
          <a:xfrm rot="16200000">
            <a:off x="8645248" y="3814432"/>
            <a:ext cx="210655" cy="210655"/>
          </a:xfrm>
          <a:prstGeom prst="ellipse">
            <a:avLst/>
          </a:prstGeom>
          <a:solidFill>
            <a:srgbClr val="FF9900"/>
          </a:solidFill>
          <a:ln w="254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090364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671BB0A-FE7C-719D-597A-B4EB0C6E0219}"/>
              </a:ext>
            </a:extLst>
          </p:cNvPr>
          <p:cNvGraphicFramePr>
            <a:graphicFrameLocks noChangeAspect="1"/>
          </p:cNvGraphicFramePr>
          <p:nvPr>
            <p:custDataLst>
              <p:tags r:id="rId1"/>
            </p:custDataLst>
            <p:extLst>
              <p:ext uri="{D42A27DB-BD31-4B8C-83A1-F6EECF244321}">
                <p14:modId xmlns:p14="http://schemas.microsoft.com/office/powerpoint/2010/main" val="24395604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7671BB0A-FE7C-719D-597A-B4EB0C6E02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26" name="Picture 2" descr="StrongPoint's Order Picking Solution Delivers Unprecedented Levels of  Efficiency to Accelerate Grocers' E-Commerce Capabilities - StrongPoint">
            <a:extLst>
              <a:ext uri="{FF2B5EF4-FFF2-40B4-BE49-F238E27FC236}">
                <a16:creationId xmlns:a16="http://schemas.microsoft.com/office/drawing/2014/main" id="{9A72E546-14B9-4FD8-4569-DCEA3FA4BD53}"/>
              </a:ext>
            </a:extLst>
          </p:cNvPr>
          <p:cNvPicPr>
            <a:picLocks noChangeAspect="1" noChangeArrowheads="1"/>
          </p:cNvPicPr>
          <p:nvPr/>
        </p:nvPicPr>
        <p:blipFill rotWithShape="1">
          <a:blip r:embed="rId5">
            <a:alphaModFix amt="33000"/>
            <a:extLst>
              <a:ext uri="{28A0092B-C50C-407E-A947-70E740481C1C}">
                <a14:useLocalDpi xmlns:a14="http://schemas.microsoft.com/office/drawing/2010/main" val="0"/>
              </a:ext>
            </a:extLst>
          </a:blip>
          <a:srcRect t="15625"/>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9" name="Title 1">
            <a:extLst>
              <a:ext uri="{FF2B5EF4-FFF2-40B4-BE49-F238E27FC236}">
                <a16:creationId xmlns:a16="http://schemas.microsoft.com/office/drawing/2014/main" id="{31F06077-752C-07E8-8179-979719D4AC4F}"/>
              </a:ext>
            </a:extLst>
          </p:cNvPr>
          <p:cNvSpPr>
            <a:spLocks noGrp="1"/>
          </p:cNvSpPr>
          <p:nvPr>
            <p:ph type="title"/>
          </p:nvPr>
        </p:nvSpPr>
        <p:spPr>
          <a:xfrm>
            <a:off x="1227692" y="3373234"/>
            <a:ext cx="8394291" cy="1886926"/>
          </a:xfrm>
          <a:prstGeom prst="rect">
            <a:avLst/>
          </a:prstGeom>
        </p:spPr>
        <p:txBody>
          <a:bodyPr vert="horz" lIns="91440" tIns="45720" rIns="91440" bIns="45720" anchor="b">
            <a:normAutofit/>
          </a:bodyPr>
          <a:lstStyle>
            <a:lvl1pPr>
              <a:defRPr sz="4000" b="0" i="0">
                <a:solidFill>
                  <a:schemeClr val="bg1"/>
                </a:solidFill>
                <a:latin typeface="Helvetica Light" panose="020B0403020202020204" pitchFamily="34" charset="0"/>
              </a:defRPr>
            </a:lvl1pPr>
          </a:lstStyle>
          <a:p>
            <a:r>
              <a:rPr lang="en-US" sz="6600"/>
              <a:t>UK</a:t>
            </a:r>
          </a:p>
        </p:txBody>
      </p:sp>
      <p:cxnSp>
        <p:nvCxnSpPr>
          <p:cNvPr id="10" name="Straight Connector 9">
            <a:extLst>
              <a:ext uri="{FF2B5EF4-FFF2-40B4-BE49-F238E27FC236}">
                <a16:creationId xmlns:a16="http://schemas.microsoft.com/office/drawing/2014/main" id="{19C55B9A-411C-CCD2-7C44-86752FEDAFEE}"/>
              </a:ext>
            </a:extLst>
          </p:cNvPr>
          <p:cNvCxnSpPr>
            <a:cxnSpLocks/>
          </p:cNvCxnSpPr>
          <p:nvPr/>
        </p:nvCxnSpPr>
        <p:spPr>
          <a:xfrm>
            <a:off x="1315186" y="5260160"/>
            <a:ext cx="85977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Bilde 3">
            <a:extLst>
              <a:ext uri="{FF2B5EF4-FFF2-40B4-BE49-F238E27FC236}">
                <a16:creationId xmlns:a16="http://schemas.microsoft.com/office/drawing/2014/main" id="{1CFE7C1A-03C1-DA39-0257-9C11128F2B8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315186" y="5601342"/>
            <a:ext cx="2737020" cy="478520"/>
          </a:xfrm>
          <a:prstGeom prst="rect">
            <a:avLst/>
          </a:prstGeom>
        </p:spPr>
      </p:pic>
    </p:spTree>
    <p:extLst>
      <p:ext uri="{BB962C8B-B14F-4D97-AF65-F5344CB8AC3E}">
        <p14:creationId xmlns:p14="http://schemas.microsoft.com/office/powerpoint/2010/main" val="37319174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E8827E0-1DA4-039D-9058-31CCBA5BF21A}"/>
              </a:ext>
            </a:extLst>
          </p:cNvPr>
          <p:cNvGraphicFramePr>
            <a:graphicFrameLocks noChangeAspect="1"/>
          </p:cNvGraphicFramePr>
          <p:nvPr>
            <p:custDataLst>
              <p:tags r:id="rId1"/>
            </p:custDataLst>
            <p:extLst>
              <p:ext uri="{D42A27DB-BD31-4B8C-83A1-F6EECF244321}">
                <p14:modId xmlns:p14="http://schemas.microsoft.com/office/powerpoint/2010/main" val="3571019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6E8827E0-1DA4-039D-9058-31CCBA5BF21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A5A646B2-592D-437C-FB5B-414B8038F3E5}"/>
              </a:ext>
            </a:extLst>
          </p:cNvPr>
          <p:cNvSpPr>
            <a:spLocks noGrp="1"/>
          </p:cNvSpPr>
          <p:nvPr>
            <p:ph type="title"/>
          </p:nvPr>
        </p:nvSpPr>
        <p:spPr>
          <a:xfrm>
            <a:off x="741777" y="478054"/>
            <a:ext cx="10671895" cy="1036620"/>
          </a:xfrm>
        </p:spPr>
        <p:txBody>
          <a:bodyPr vert="horz">
            <a:normAutofit/>
          </a:bodyPr>
          <a:lstStyle/>
          <a:p>
            <a:r>
              <a:rPr lang="en-GB"/>
              <a:t>Introduction to StrongPoint ALS UK   </a:t>
            </a:r>
          </a:p>
        </p:txBody>
      </p:sp>
      <p:sp>
        <p:nvSpPr>
          <p:cNvPr id="14" name="Rectangle 13">
            <a:extLst>
              <a:ext uri="{FF2B5EF4-FFF2-40B4-BE49-F238E27FC236}">
                <a16:creationId xmlns:a16="http://schemas.microsoft.com/office/drawing/2014/main" id="{33C621E5-3AFE-09A2-0D3C-79AA7F88E212}"/>
              </a:ext>
            </a:extLst>
          </p:cNvPr>
          <p:cNvSpPr/>
          <p:nvPr/>
        </p:nvSpPr>
        <p:spPr>
          <a:xfrm>
            <a:off x="850469" y="1606183"/>
            <a:ext cx="3431305" cy="4591264"/>
          </a:xfrm>
          <a:prstGeom prst="rect">
            <a:avLst/>
          </a:prstGeom>
          <a:solidFill>
            <a:srgbClr val="E9EAFB"/>
          </a:solidFill>
          <a:ln>
            <a:noFill/>
          </a:ln>
          <a:effectLst>
            <a:outerShdw blurRad="215900" sx="101000" sy="101000" algn="ctr"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FC97C0C4-43B5-021F-FF83-98010C599EE9}"/>
              </a:ext>
            </a:extLst>
          </p:cNvPr>
          <p:cNvSpPr/>
          <p:nvPr/>
        </p:nvSpPr>
        <p:spPr>
          <a:xfrm>
            <a:off x="918205" y="5581369"/>
            <a:ext cx="3292824" cy="537883"/>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a:ea typeface="+mn-ea"/>
                <a:cs typeface="+mn-cs"/>
              </a:rPr>
              <a:t>UK</a:t>
            </a:r>
          </a:p>
        </p:txBody>
      </p:sp>
      <p:cxnSp>
        <p:nvCxnSpPr>
          <p:cNvPr id="16" name="Straight Connector 15">
            <a:extLst>
              <a:ext uri="{FF2B5EF4-FFF2-40B4-BE49-F238E27FC236}">
                <a16:creationId xmlns:a16="http://schemas.microsoft.com/office/drawing/2014/main" id="{73A39D27-1631-BA4C-E3C2-92F7212E43A1}"/>
              </a:ext>
            </a:extLst>
          </p:cNvPr>
          <p:cNvCxnSpPr/>
          <p:nvPr/>
        </p:nvCxnSpPr>
        <p:spPr>
          <a:xfrm>
            <a:off x="843445" y="1578175"/>
            <a:ext cx="3437849" cy="0"/>
          </a:xfrm>
          <a:prstGeom prst="line">
            <a:avLst/>
          </a:prstGeom>
          <a:ln w="12700">
            <a:solidFill>
              <a:srgbClr val="2832DC"/>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428D40ED-327E-C4CC-8CFC-4164CB24C6C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265995" y="1300345"/>
            <a:ext cx="576462" cy="576462"/>
          </a:xfrm>
          <a:prstGeom prst="rect">
            <a:avLst/>
          </a:prstGeom>
        </p:spPr>
      </p:pic>
      <p:grpSp>
        <p:nvGrpSpPr>
          <p:cNvPr id="18" name="Graphic 8">
            <a:extLst>
              <a:ext uri="{FF2B5EF4-FFF2-40B4-BE49-F238E27FC236}">
                <a16:creationId xmlns:a16="http://schemas.microsoft.com/office/drawing/2014/main" id="{32F99DD3-7F9E-6C44-7A94-28D04D77A98E}"/>
              </a:ext>
            </a:extLst>
          </p:cNvPr>
          <p:cNvGrpSpPr/>
          <p:nvPr/>
        </p:nvGrpSpPr>
        <p:grpSpPr>
          <a:xfrm>
            <a:off x="1751032" y="2519143"/>
            <a:ext cx="1759109" cy="2447442"/>
            <a:chOff x="4287738" y="2530272"/>
            <a:chExt cx="213729" cy="297362"/>
          </a:xfrm>
          <a:solidFill>
            <a:schemeClr val="accent1">
              <a:lumMod val="75000"/>
              <a:alpha val="70000"/>
            </a:schemeClr>
          </a:solidFill>
        </p:grpSpPr>
        <p:grpSp>
          <p:nvGrpSpPr>
            <p:cNvPr id="19" name="Graphic 8">
              <a:extLst>
                <a:ext uri="{FF2B5EF4-FFF2-40B4-BE49-F238E27FC236}">
                  <a16:creationId xmlns:a16="http://schemas.microsoft.com/office/drawing/2014/main" id="{AED4A396-C402-04DF-79CF-C4CD6357E67C}"/>
                </a:ext>
              </a:extLst>
            </p:cNvPr>
            <p:cNvGrpSpPr/>
            <p:nvPr/>
          </p:nvGrpSpPr>
          <p:grpSpPr>
            <a:xfrm>
              <a:off x="4287738" y="2530272"/>
              <a:ext cx="213729" cy="297362"/>
              <a:chOff x="4287738" y="2530272"/>
              <a:chExt cx="213729" cy="297362"/>
            </a:xfrm>
            <a:grpFill/>
          </p:grpSpPr>
          <p:sp>
            <p:nvSpPr>
              <p:cNvPr id="22" name="Freeform 131">
                <a:extLst>
                  <a:ext uri="{FF2B5EF4-FFF2-40B4-BE49-F238E27FC236}">
                    <a16:creationId xmlns:a16="http://schemas.microsoft.com/office/drawing/2014/main" id="{D937FB6E-D196-722E-FE20-9FCA633151D8}"/>
                  </a:ext>
                </a:extLst>
              </p:cNvPr>
              <p:cNvSpPr/>
              <p:nvPr/>
            </p:nvSpPr>
            <p:spPr>
              <a:xfrm>
                <a:off x="4308478" y="2551005"/>
                <a:ext cx="15149" cy="17508"/>
              </a:xfrm>
              <a:custGeom>
                <a:avLst/>
                <a:gdLst>
                  <a:gd name="connsiteX0" fmla="*/ 8692 w 15149"/>
                  <a:gd name="connsiteY0" fmla="*/ 0 h 17508"/>
                  <a:gd name="connsiteX1" fmla="*/ 1444 w 15149"/>
                  <a:gd name="connsiteY1" fmla="*/ 17506 h 17508"/>
                  <a:gd name="connsiteX2" fmla="*/ 15150 w 15149"/>
                  <a:gd name="connsiteY2" fmla="*/ 5386 h 17508"/>
                  <a:gd name="connsiteX3" fmla="*/ 8692 w 15149"/>
                  <a:gd name="connsiteY3" fmla="*/ 0 h 17508"/>
                </a:gdLst>
                <a:ahLst/>
                <a:cxnLst>
                  <a:cxn ang="0">
                    <a:pos x="connsiteX0" y="connsiteY0"/>
                  </a:cxn>
                  <a:cxn ang="0">
                    <a:pos x="connsiteX1" y="connsiteY1"/>
                  </a:cxn>
                  <a:cxn ang="0">
                    <a:pos x="connsiteX2" y="connsiteY2"/>
                  </a:cxn>
                  <a:cxn ang="0">
                    <a:pos x="connsiteX3" y="connsiteY3"/>
                  </a:cxn>
                </a:cxnLst>
                <a:rect l="l" t="t" r="r" b="b"/>
                <a:pathLst>
                  <a:path w="15149" h="17508">
                    <a:moveTo>
                      <a:pt x="8692" y="0"/>
                    </a:moveTo>
                    <a:cubicBezTo>
                      <a:pt x="3071" y="6362"/>
                      <a:pt x="-2783" y="17692"/>
                      <a:pt x="1444" y="17506"/>
                    </a:cubicBezTo>
                    <a:cubicBezTo>
                      <a:pt x="6694" y="17274"/>
                      <a:pt x="12408" y="11144"/>
                      <a:pt x="15150" y="5386"/>
                    </a:cubicBezTo>
                    <a:cubicBezTo>
                      <a:pt x="12548" y="3993"/>
                      <a:pt x="10411" y="2182"/>
                      <a:pt x="8692" y="0"/>
                    </a:cubicBezTo>
                    <a:close/>
                  </a:path>
                </a:pathLst>
              </a:custGeom>
              <a:grpFill/>
              <a:ln w="635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23" name="Freeform 133">
                <a:extLst>
                  <a:ext uri="{FF2B5EF4-FFF2-40B4-BE49-F238E27FC236}">
                    <a16:creationId xmlns:a16="http://schemas.microsoft.com/office/drawing/2014/main" id="{32725643-6D69-AD80-CF6C-2CB599A85D3A}"/>
                  </a:ext>
                </a:extLst>
              </p:cNvPr>
              <p:cNvSpPr/>
              <p:nvPr/>
            </p:nvSpPr>
            <p:spPr>
              <a:xfrm>
                <a:off x="4287738" y="2655337"/>
                <a:ext cx="53616" cy="41241"/>
              </a:xfrm>
              <a:custGeom>
                <a:avLst/>
                <a:gdLst>
                  <a:gd name="connsiteX0" fmla="*/ 12428 w 53616"/>
                  <a:gd name="connsiteY0" fmla="*/ 7669 h 41241"/>
                  <a:gd name="connsiteX1" fmla="*/ 6574 w 53616"/>
                  <a:gd name="connsiteY1" fmla="*/ 21274 h 41241"/>
                  <a:gd name="connsiteX2" fmla="*/ 1743 w 53616"/>
                  <a:gd name="connsiteY2" fmla="*/ 35158 h 41241"/>
                  <a:gd name="connsiteX3" fmla="*/ 15262 w 53616"/>
                  <a:gd name="connsiteY3" fmla="*/ 38362 h 41241"/>
                  <a:gd name="connsiteX4" fmla="*/ 27806 w 53616"/>
                  <a:gd name="connsiteY4" fmla="*/ 34090 h 41241"/>
                  <a:gd name="connsiteX5" fmla="*/ 34914 w 53616"/>
                  <a:gd name="connsiteY5" fmla="*/ 41241 h 41241"/>
                  <a:gd name="connsiteX6" fmla="*/ 51546 w 53616"/>
                  <a:gd name="connsiteY6" fmla="*/ 29726 h 41241"/>
                  <a:gd name="connsiteX7" fmla="*/ 39467 w 53616"/>
                  <a:gd name="connsiteY7" fmla="*/ 2886 h 41241"/>
                  <a:gd name="connsiteX8" fmla="*/ 12475 w 53616"/>
                  <a:gd name="connsiteY8" fmla="*/ 7623 h 41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616" h="41241">
                    <a:moveTo>
                      <a:pt x="12428" y="7669"/>
                    </a:moveTo>
                    <a:cubicBezTo>
                      <a:pt x="11034" y="14541"/>
                      <a:pt x="8804" y="19510"/>
                      <a:pt x="6574" y="21274"/>
                    </a:cubicBezTo>
                    <a:cubicBezTo>
                      <a:pt x="3183" y="23968"/>
                      <a:pt x="-3042" y="34090"/>
                      <a:pt x="1743" y="35158"/>
                    </a:cubicBezTo>
                    <a:cubicBezTo>
                      <a:pt x="6574" y="36226"/>
                      <a:pt x="14240" y="44770"/>
                      <a:pt x="15262" y="38362"/>
                    </a:cubicBezTo>
                    <a:cubicBezTo>
                      <a:pt x="16238" y="31954"/>
                      <a:pt x="19583" y="23410"/>
                      <a:pt x="27806" y="34090"/>
                    </a:cubicBezTo>
                    <a:cubicBezTo>
                      <a:pt x="29757" y="36644"/>
                      <a:pt x="32265" y="39059"/>
                      <a:pt x="34914" y="41241"/>
                    </a:cubicBezTo>
                    <a:cubicBezTo>
                      <a:pt x="36261" y="36412"/>
                      <a:pt x="46296" y="35576"/>
                      <a:pt x="51546" y="29726"/>
                    </a:cubicBezTo>
                    <a:cubicBezTo>
                      <a:pt x="57910" y="22667"/>
                      <a:pt x="48386" y="12405"/>
                      <a:pt x="39467" y="2886"/>
                    </a:cubicBezTo>
                    <a:cubicBezTo>
                      <a:pt x="31383" y="-5751"/>
                      <a:pt x="21023" y="7762"/>
                      <a:pt x="12475" y="7623"/>
                    </a:cubicBezTo>
                    <a:close/>
                  </a:path>
                </a:pathLst>
              </a:custGeom>
              <a:grpFill/>
              <a:ln w="635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24" name="Freeform 134">
                <a:extLst>
                  <a:ext uri="{FF2B5EF4-FFF2-40B4-BE49-F238E27FC236}">
                    <a16:creationId xmlns:a16="http://schemas.microsoft.com/office/drawing/2014/main" id="{E7988EC1-8BF6-17CB-8787-4DF282427C45}"/>
                  </a:ext>
                </a:extLst>
              </p:cNvPr>
              <p:cNvSpPr/>
              <p:nvPr/>
            </p:nvSpPr>
            <p:spPr>
              <a:xfrm>
                <a:off x="4317114" y="2530272"/>
                <a:ext cx="184353" cy="297362"/>
              </a:xfrm>
              <a:custGeom>
                <a:avLst/>
                <a:gdLst>
                  <a:gd name="connsiteX0" fmla="*/ 179940 w 184353"/>
                  <a:gd name="connsiteY0" fmla="*/ 213298 h 297362"/>
                  <a:gd name="connsiteX1" fmla="*/ 177246 w 184353"/>
                  <a:gd name="connsiteY1" fmla="*/ 212416 h 297362"/>
                  <a:gd name="connsiteX2" fmla="*/ 163215 w 184353"/>
                  <a:gd name="connsiteY2" fmla="*/ 201782 h 297362"/>
                  <a:gd name="connsiteX3" fmla="*/ 161775 w 184353"/>
                  <a:gd name="connsiteY3" fmla="*/ 203175 h 297362"/>
                  <a:gd name="connsiteX4" fmla="*/ 151229 w 184353"/>
                  <a:gd name="connsiteY4" fmla="*/ 201782 h 297362"/>
                  <a:gd name="connsiteX5" fmla="*/ 150904 w 184353"/>
                  <a:gd name="connsiteY5" fmla="*/ 188688 h 297362"/>
                  <a:gd name="connsiteX6" fmla="*/ 143889 w 184353"/>
                  <a:gd name="connsiteY6" fmla="*/ 175639 h 297362"/>
                  <a:gd name="connsiteX7" fmla="*/ 143935 w 184353"/>
                  <a:gd name="connsiteY7" fmla="*/ 174107 h 297362"/>
                  <a:gd name="connsiteX8" fmla="*/ 133157 w 184353"/>
                  <a:gd name="connsiteY8" fmla="*/ 161709 h 297362"/>
                  <a:gd name="connsiteX9" fmla="*/ 130463 w 184353"/>
                  <a:gd name="connsiteY9" fmla="*/ 155255 h 297362"/>
                  <a:gd name="connsiteX10" fmla="*/ 128651 w 184353"/>
                  <a:gd name="connsiteY10" fmla="*/ 154372 h 297362"/>
                  <a:gd name="connsiteX11" fmla="*/ 117826 w 184353"/>
                  <a:gd name="connsiteY11" fmla="*/ 140488 h 297362"/>
                  <a:gd name="connsiteX12" fmla="*/ 116943 w 184353"/>
                  <a:gd name="connsiteY12" fmla="*/ 134127 h 297362"/>
                  <a:gd name="connsiteX13" fmla="*/ 115410 w 184353"/>
                  <a:gd name="connsiteY13" fmla="*/ 128694 h 297362"/>
                  <a:gd name="connsiteX14" fmla="*/ 103564 w 184353"/>
                  <a:gd name="connsiteY14" fmla="*/ 109702 h 297362"/>
                  <a:gd name="connsiteX15" fmla="*/ 98871 w 184353"/>
                  <a:gd name="connsiteY15" fmla="*/ 105616 h 297362"/>
                  <a:gd name="connsiteX16" fmla="*/ 79405 w 184353"/>
                  <a:gd name="connsiteY16" fmla="*/ 102087 h 297362"/>
                  <a:gd name="connsiteX17" fmla="*/ 84237 w 184353"/>
                  <a:gd name="connsiteY17" fmla="*/ 88946 h 297362"/>
                  <a:gd name="connsiteX18" fmla="*/ 82843 w 184353"/>
                  <a:gd name="connsiteY18" fmla="*/ 81470 h 297362"/>
                  <a:gd name="connsiteX19" fmla="*/ 96966 w 184353"/>
                  <a:gd name="connsiteY19" fmla="*/ 60156 h 297362"/>
                  <a:gd name="connsiteX20" fmla="*/ 101473 w 184353"/>
                  <a:gd name="connsiteY20" fmla="*/ 54631 h 297362"/>
                  <a:gd name="connsiteX21" fmla="*/ 101752 w 184353"/>
                  <a:gd name="connsiteY21" fmla="*/ 54398 h 297362"/>
                  <a:gd name="connsiteX22" fmla="*/ 103610 w 184353"/>
                  <a:gd name="connsiteY22" fmla="*/ 44926 h 297362"/>
                  <a:gd name="connsiteX23" fmla="*/ 63749 w 184353"/>
                  <a:gd name="connsiteY23" fmla="*/ 42790 h 297362"/>
                  <a:gd name="connsiteX24" fmla="*/ 56409 w 184353"/>
                  <a:gd name="connsiteY24" fmla="*/ 35035 h 297362"/>
                  <a:gd name="connsiteX25" fmla="*/ 72669 w 184353"/>
                  <a:gd name="connsiteY25" fmla="*/ 15254 h 297362"/>
                  <a:gd name="connsiteX26" fmla="*/ 75875 w 184353"/>
                  <a:gd name="connsiteY26" fmla="*/ 1138 h 297362"/>
                  <a:gd name="connsiteX27" fmla="*/ 66304 w 184353"/>
                  <a:gd name="connsiteY27" fmla="*/ 10657 h 297362"/>
                  <a:gd name="connsiteX28" fmla="*/ 43029 w 184353"/>
                  <a:gd name="connsiteY28" fmla="*/ 11028 h 297362"/>
                  <a:gd name="connsiteX29" fmla="*/ 39684 w 184353"/>
                  <a:gd name="connsiteY29" fmla="*/ 11028 h 297362"/>
                  <a:gd name="connsiteX30" fmla="*/ 30160 w 184353"/>
                  <a:gd name="connsiteY30" fmla="*/ 25284 h 297362"/>
                  <a:gd name="connsiteX31" fmla="*/ 29649 w 184353"/>
                  <a:gd name="connsiteY31" fmla="*/ 31181 h 297362"/>
                  <a:gd name="connsiteX32" fmla="*/ 20079 w 184353"/>
                  <a:gd name="connsiteY32" fmla="*/ 47433 h 297362"/>
                  <a:gd name="connsiteX33" fmla="*/ 14690 w 184353"/>
                  <a:gd name="connsiteY33" fmla="*/ 54120 h 297362"/>
                  <a:gd name="connsiteX34" fmla="*/ 1635 w 184353"/>
                  <a:gd name="connsiteY34" fmla="*/ 48826 h 297362"/>
                  <a:gd name="connsiteX35" fmla="*/ 17245 w 184353"/>
                  <a:gd name="connsiteY35" fmla="*/ 62989 h 297362"/>
                  <a:gd name="connsiteX36" fmla="*/ 9300 w 184353"/>
                  <a:gd name="connsiteY36" fmla="*/ 80634 h 297362"/>
                  <a:gd name="connsiteX37" fmla="*/ 20776 w 184353"/>
                  <a:gd name="connsiteY37" fmla="*/ 93357 h 297362"/>
                  <a:gd name="connsiteX38" fmla="*/ 2889 w 184353"/>
                  <a:gd name="connsiteY38" fmla="*/ 108170 h 297362"/>
                  <a:gd name="connsiteX39" fmla="*/ 18174 w 184353"/>
                  <a:gd name="connsiteY39" fmla="*/ 102180 h 297362"/>
                  <a:gd name="connsiteX40" fmla="*/ 27094 w 184353"/>
                  <a:gd name="connsiteY40" fmla="*/ 116667 h 297362"/>
                  <a:gd name="connsiteX41" fmla="*/ 39544 w 184353"/>
                  <a:gd name="connsiteY41" fmla="*/ 97954 h 297362"/>
                  <a:gd name="connsiteX42" fmla="*/ 41171 w 184353"/>
                  <a:gd name="connsiteY42" fmla="*/ 114531 h 297362"/>
                  <a:gd name="connsiteX43" fmla="*/ 33505 w 184353"/>
                  <a:gd name="connsiteY43" fmla="*/ 138585 h 297362"/>
                  <a:gd name="connsiteX44" fmla="*/ 64446 w 184353"/>
                  <a:gd name="connsiteY44" fmla="*/ 135427 h 297362"/>
                  <a:gd name="connsiteX45" fmla="*/ 70207 w 184353"/>
                  <a:gd name="connsiteY45" fmla="*/ 142485 h 297362"/>
                  <a:gd name="connsiteX46" fmla="*/ 73737 w 184353"/>
                  <a:gd name="connsiteY46" fmla="*/ 157344 h 297362"/>
                  <a:gd name="connsiteX47" fmla="*/ 79452 w 184353"/>
                  <a:gd name="connsiteY47" fmla="*/ 166167 h 297362"/>
                  <a:gd name="connsiteX48" fmla="*/ 77547 w 184353"/>
                  <a:gd name="connsiteY48" fmla="*/ 187712 h 297362"/>
                  <a:gd name="connsiteX49" fmla="*/ 55526 w 184353"/>
                  <a:gd name="connsiteY49" fmla="*/ 188780 h 297362"/>
                  <a:gd name="connsiteX50" fmla="*/ 48836 w 184353"/>
                  <a:gd name="connsiteY50" fmla="*/ 192634 h 297362"/>
                  <a:gd name="connsiteX51" fmla="*/ 42471 w 184353"/>
                  <a:gd name="connsiteY51" fmla="*/ 207494 h 297362"/>
                  <a:gd name="connsiteX52" fmla="*/ 55201 w 184353"/>
                  <a:gd name="connsiteY52" fmla="*/ 216688 h 297362"/>
                  <a:gd name="connsiteX53" fmla="*/ 34481 w 184353"/>
                  <a:gd name="connsiteY53" fmla="*/ 232940 h 297362"/>
                  <a:gd name="connsiteX54" fmla="*/ 42750 w 184353"/>
                  <a:gd name="connsiteY54" fmla="*/ 242830 h 297362"/>
                  <a:gd name="connsiteX55" fmla="*/ 55526 w 184353"/>
                  <a:gd name="connsiteY55" fmla="*/ 245988 h 297362"/>
                  <a:gd name="connsiteX56" fmla="*/ 78151 w 184353"/>
                  <a:gd name="connsiteY56" fmla="*/ 249517 h 297362"/>
                  <a:gd name="connsiteX57" fmla="*/ 80056 w 184353"/>
                  <a:gd name="connsiteY57" fmla="*/ 255507 h 297362"/>
                  <a:gd name="connsiteX58" fmla="*/ 56130 w 184353"/>
                  <a:gd name="connsiteY58" fmla="*/ 259036 h 297362"/>
                  <a:gd name="connsiteX59" fmla="*/ 28720 w 184353"/>
                  <a:gd name="connsiteY59" fmla="*/ 296463 h 297362"/>
                  <a:gd name="connsiteX60" fmla="*/ 44655 w 184353"/>
                  <a:gd name="connsiteY60" fmla="*/ 286572 h 297362"/>
                  <a:gd name="connsiteX61" fmla="*/ 54597 w 184353"/>
                  <a:gd name="connsiteY61" fmla="*/ 286758 h 297362"/>
                  <a:gd name="connsiteX62" fmla="*/ 63331 w 184353"/>
                  <a:gd name="connsiteY62" fmla="*/ 277935 h 297362"/>
                  <a:gd name="connsiteX63" fmla="*/ 81450 w 184353"/>
                  <a:gd name="connsiteY63" fmla="*/ 275613 h 297362"/>
                  <a:gd name="connsiteX64" fmla="*/ 85073 w 184353"/>
                  <a:gd name="connsiteY64" fmla="*/ 277006 h 297362"/>
                  <a:gd name="connsiteX65" fmla="*/ 85770 w 184353"/>
                  <a:gd name="connsiteY65" fmla="*/ 277053 h 297362"/>
                  <a:gd name="connsiteX66" fmla="*/ 102681 w 184353"/>
                  <a:gd name="connsiteY66" fmla="*/ 271759 h 297362"/>
                  <a:gd name="connsiteX67" fmla="*/ 119916 w 184353"/>
                  <a:gd name="connsiteY67" fmla="*/ 276356 h 297362"/>
                  <a:gd name="connsiteX68" fmla="*/ 144168 w 184353"/>
                  <a:gd name="connsiteY68" fmla="*/ 271388 h 297362"/>
                  <a:gd name="connsiteX69" fmla="*/ 174133 w 184353"/>
                  <a:gd name="connsiteY69" fmla="*/ 257597 h 297362"/>
                  <a:gd name="connsiteX70" fmla="*/ 164888 w 184353"/>
                  <a:gd name="connsiteY70" fmla="*/ 252675 h 297362"/>
                  <a:gd name="connsiteX71" fmla="*/ 166467 w 184353"/>
                  <a:gd name="connsiteY71" fmla="*/ 238559 h 297362"/>
                  <a:gd name="connsiteX72" fmla="*/ 184354 w 184353"/>
                  <a:gd name="connsiteY72" fmla="*/ 215620 h 297362"/>
                  <a:gd name="connsiteX73" fmla="*/ 184354 w 184353"/>
                  <a:gd name="connsiteY73" fmla="*/ 215620 h 297362"/>
                  <a:gd name="connsiteX74" fmla="*/ 179847 w 184353"/>
                  <a:gd name="connsiteY74" fmla="*/ 213391 h 297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84353" h="297362">
                    <a:moveTo>
                      <a:pt x="179940" y="213298"/>
                    </a:moveTo>
                    <a:cubicBezTo>
                      <a:pt x="179058" y="212973"/>
                      <a:pt x="178175" y="212648"/>
                      <a:pt x="177246" y="212416"/>
                    </a:cubicBezTo>
                    <a:cubicBezTo>
                      <a:pt x="171253" y="210837"/>
                      <a:pt x="166514" y="206844"/>
                      <a:pt x="163215" y="201782"/>
                    </a:cubicBezTo>
                    <a:cubicBezTo>
                      <a:pt x="162565" y="202107"/>
                      <a:pt x="162007" y="202525"/>
                      <a:pt x="161775" y="203175"/>
                    </a:cubicBezTo>
                    <a:cubicBezTo>
                      <a:pt x="159545" y="208840"/>
                      <a:pt x="154760" y="208144"/>
                      <a:pt x="151229" y="201782"/>
                    </a:cubicBezTo>
                    <a:cubicBezTo>
                      <a:pt x="147745" y="195421"/>
                      <a:pt x="154435" y="189384"/>
                      <a:pt x="150904" y="188688"/>
                    </a:cubicBezTo>
                    <a:cubicBezTo>
                      <a:pt x="147373" y="187991"/>
                      <a:pt x="142913" y="179122"/>
                      <a:pt x="143889" y="175639"/>
                    </a:cubicBezTo>
                    <a:cubicBezTo>
                      <a:pt x="143982" y="175314"/>
                      <a:pt x="143982" y="174757"/>
                      <a:pt x="143935" y="174107"/>
                    </a:cubicBezTo>
                    <a:cubicBezTo>
                      <a:pt x="139754" y="170485"/>
                      <a:pt x="136316" y="166213"/>
                      <a:pt x="133157" y="161709"/>
                    </a:cubicBezTo>
                    <a:cubicBezTo>
                      <a:pt x="131810" y="159759"/>
                      <a:pt x="130973" y="157576"/>
                      <a:pt x="130463" y="155255"/>
                    </a:cubicBezTo>
                    <a:lnTo>
                      <a:pt x="128651" y="154372"/>
                    </a:lnTo>
                    <a:cubicBezTo>
                      <a:pt x="123215" y="151679"/>
                      <a:pt x="119638" y="146060"/>
                      <a:pt x="117826" y="140488"/>
                    </a:cubicBezTo>
                    <a:cubicBezTo>
                      <a:pt x="117129" y="138399"/>
                      <a:pt x="116897" y="136263"/>
                      <a:pt x="116943" y="134127"/>
                    </a:cubicBezTo>
                    <a:cubicBezTo>
                      <a:pt x="116339" y="132362"/>
                      <a:pt x="115828" y="130551"/>
                      <a:pt x="115410" y="128694"/>
                    </a:cubicBezTo>
                    <a:cubicBezTo>
                      <a:pt x="108720" y="124840"/>
                      <a:pt x="104260" y="117782"/>
                      <a:pt x="103564" y="109702"/>
                    </a:cubicBezTo>
                    <a:cubicBezTo>
                      <a:pt x="101984" y="108913"/>
                      <a:pt x="100358" y="107752"/>
                      <a:pt x="98871" y="105616"/>
                    </a:cubicBezTo>
                    <a:cubicBezTo>
                      <a:pt x="93436" y="97861"/>
                      <a:pt x="84190" y="101715"/>
                      <a:pt x="79405" y="102087"/>
                    </a:cubicBezTo>
                    <a:cubicBezTo>
                      <a:pt x="75224" y="102365"/>
                      <a:pt x="78337" y="94657"/>
                      <a:pt x="84237" y="88946"/>
                    </a:cubicBezTo>
                    <a:cubicBezTo>
                      <a:pt x="83447" y="86531"/>
                      <a:pt x="82936" y="83977"/>
                      <a:pt x="82843" y="81470"/>
                    </a:cubicBezTo>
                    <a:cubicBezTo>
                      <a:pt x="82425" y="72554"/>
                      <a:pt x="88697" y="63871"/>
                      <a:pt x="96966" y="60156"/>
                    </a:cubicBezTo>
                    <a:cubicBezTo>
                      <a:pt x="98314" y="58160"/>
                      <a:pt x="99754" y="56209"/>
                      <a:pt x="101473" y="54631"/>
                    </a:cubicBezTo>
                    <a:cubicBezTo>
                      <a:pt x="101566" y="54538"/>
                      <a:pt x="101659" y="54491"/>
                      <a:pt x="101752" y="54398"/>
                    </a:cubicBezTo>
                    <a:cubicBezTo>
                      <a:pt x="102913" y="50080"/>
                      <a:pt x="103610" y="46551"/>
                      <a:pt x="103610" y="44926"/>
                    </a:cubicBezTo>
                    <a:cubicBezTo>
                      <a:pt x="103610" y="38936"/>
                      <a:pt x="70114" y="39261"/>
                      <a:pt x="63749" y="42790"/>
                    </a:cubicBezTo>
                    <a:cubicBezTo>
                      <a:pt x="57384" y="46319"/>
                      <a:pt x="51020" y="37496"/>
                      <a:pt x="56409" y="35035"/>
                    </a:cubicBezTo>
                    <a:cubicBezTo>
                      <a:pt x="61844" y="32574"/>
                      <a:pt x="73319" y="20222"/>
                      <a:pt x="72669" y="15254"/>
                    </a:cubicBezTo>
                    <a:cubicBezTo>
                      <a:pt x="72018" y="10332"/>
                      <a:pt x="80660" y="5735"/>
                      <a:pt x="75875" y="1138"/>
                    </a:cubicBezTo>
                    <a:cubicBezTo>
                      <a:pt x="71090" y="-3459"/>
                      <a:pt x="70439" y="7128"/>
                      <a:pt x="66304" y="10657"/>
                    </a:cubicBezTo>
                    <a:cubicBezTo>
                      <a:pt x="62169" y="14186"/>
                      <a:pt x="52924" y="13118"/>
                      <a:pt x="43029" y="11028"/>
                    </a:cubicBezTo>
                    <a:cubicBezTo>
                      <a:pt x="41821" y="10750"/>
                      <a:pt x="40706" y="10796"/>
                      <a:pt x="39684" y="11028"/>
                    </a:cubicBezTo>
                    <a:cubicBezTo>
                      <a:pt x="38476" y="16786"/>
                      <a:pt x="35270" y="22033"/>
                      <a:pt x="30160" y="25284"/>
                    </a:cubicBezTo>
                    <a:cubicBezTo>
                      <a:pt x="29742" y="27513"/>
                      <a:pt x="29602" y="29602"/>
                      <a:pt x="29649" y="31181"/>
                    </a:cubicBezTo>
                    <a:cubicBezTo>
                      <a:pt x="29974" y="37868"/>
                      <a:pt x="18174" y="41768"/>
                      <a:pt x="20079" y="47433"/>
                    </a:cubicBezTo>
                    <a:cubicBezTo>
                      <a:pt x="21984" y="53098"/>
                      <a:pt x="17849" y="57324"/>
                      <a:pt x="14690" y="54120"/>
                    </a:cubicBezTo>
                    <a:cubicBezTo>
                      <a:pt x="11531" y="50962"/>
                      <a:pt x="8000" y="43161"/>
                      <a:pt x="1635" y="48826"/>
                    </a:cubicBezTo>
                    <a:cubicBezTo>
                      <a:pt x="-4730" y="54491"/>
                      <a:pt x="8975" y="61921"/>
                      <a:pt x="17245" y="62989"/>
                    </a:cubicBezTo>
                    <a:cubicBezTo>
                      <a:pt x="25561" y="64057"/>
                      <a:pt x="10880" y="70743"/>
                      <a:pt x="9300" y="80634"/>
                    </a:cubicBezTo>
                    <a:cubicBezTo>
                      <a:pt x="7721" y="90525"/>
                      <a:pt x="20125" y="86299"/>
                      <a:pt x="20776" y="93357"/>
                    </a:cubicBezTo>
                    <a:cubicBezTo>
                      <a:pt x="21426" y="100415"/>
                      <a:pt x="2889" y="101483"/>
                      <a:pt x="2889" y="108170"/>
                    </a:cubicBezTo>
                    <a:cubicBezTo>
                      <a:pt x="2889" y="114856"/>
                      <a:pt x="13435" y="105012"/>
                      <a:pt x="18174" y="102180"/>
                    </a:cubicBezTo>
                    <a:cubicBezTo>
                      <a:pt x="22959" y="99347"/>
                      <a:pt x="15619" y="118757"/>
                      <a:pt x="27094" y="116667"/>
                    </a:cubicBezTo>
                    <a:cubicBezTo>
                      <a:pt x="38569" y="114531"/>
                      <a:pt x="35363" y="97258"/>
                      <a:pt x="39544" y="97954"/>
                    </a:cubicBezTo>
                    <a:cubicBezTo>
                      <a:pt x="43679" y="98651"/>
                      <a:pt x="37640" y="107148"/>
                      <a:pt x="41171" y="114531"/>
                    </a:cubicBezTo>
                    <a:cubicBezTo>
                      <a:pt x="44655" y="121961"/>
                      <a:pt x="32855" y="133245"/>
                      <a:pt x="33505" y="138585"/>
                    </a:cubicBezTo>
                    <a:cubicBezTo>
                      <a:pt x="34155" y="143878"/>
                      <a:pt x="57106" y="143878"/>
                      <a:pt x="64446" y="135427"/>
                    </a:cubicBezTo>
                    <a:cubicBezTo>
                      <a:pt x="71786" y="126929"/>
                      <a:pt x="75271" y="136124"/>
                      <a:pt x="70207" y="142485"/>
                    </a:cubicBezTo>
                    <a:cubicBezTo>
                      <a:pt x="65096" y="148847"/>
                      <a:pt x="67326" y="154837"/>
                      <a:pt x="73737" y="157344"/>
                    </a:cubicBezTo>
                    <a:cubicBezTo>
                      <a:pt x="80102" y="159805"/>
                      <a:pt x="82332" y="160502"/>
                      <a:pt x="79452" y="166167"/>
                    </a:cubicBezTo>
                    <a:cubicBezTo>
                      <a:pt x="76572" y="171832"/>
                      <a:pt x="79127" y="182419"/>
                      <a:pt x="77547" y="187712"/>
                    </a:cubicBezTo>
                    <a:cubicBezTo>
                      <a:pt x="75968" y="193006"/>
                      <a:pt x="56176" y="192310"/>
                      <a:pt x="55526" y="188780"/>
                    </a:cubicBezTo>
                    <a:cubicBezTo>
                      <a:pt x="54875" y="185251"/>
                      <a:pt x="46606" y="187712"/>
                      <a:pt x="48836" y="192634"/>
                    </a:cubicBezTo>
                    <a:cubicBezTo>
                      <a:pt x="51066" y="197603"/>
                      <a:pt x="41821" y="202897"/>
                      <a:pt x="42471" y="207494"/>
                    </a:cubicBezTo>
                    <a:cubicBezTo>
                      <a:pt x="43122" y="212091"/>
                      <a:pt x="54922" y="211023"/>
                      <a:pt x="55201" y="216688"/>
                    </a:cubicBezTo>
                    <a:cubicBezTo>
                      <a:pt x="55526" y="222306"/>
                      <a:pt x="46606" y="229039"/>
                      <a:pt x="34481" y="232940"/>
                    </a:cubicBezTo>
                    <a:cubicBezTo>
                      <a:pt x="22355" y="236794"/>
                      <a:pt x="37036" y="247428"/>
                      <a:pt x="42750" y="242830"/>
                    </a:cubicBezTo>
                    <a:cubicBezTo>
                      <a:pt x="48465" y="238233"/>
                      <a:pt x="47210" y="245988"/>
                      <a:pt x="55526" y="245988"/>
                    </a:cubicBezTo>
                    <a:cubicBezTo>
                      <a:pt x="63842" y="245988"/>
                      <a:pt x="68906" y="253418"/>
                      <a:pt x="78151" y="249517"/>
                    </a:cubicBezTo>
                    <a:cubicBezTo>
                      <a:pt x="87396" y="245617"/>
                      <a:pt x="87071" y="249517"/>
                      <a:pt x="80056" y="255507"/>
                    </a:cubicBezTo>
                    <a:cubicBezTo>
                      <a:pt x="73041" y="261497"/>
                      <a:pt x="62541" y="255182"/>
                      <a:pt x="56130" y="259036"/>
                    </a:cubicBezTo>
                    <a:cubicBezTo>
                      <a:pt x="49765" y="262890"/>
                      <a:pt x="23795" y="289869"/>
                      <a:pt x="28720" y="296463"/>
                    </a:cubicBezTo>
                    <a:cubicBezTo>
                      <a:pt x="31600" y="300317"/>
                      <a:pt x="35410" y="290798"/>
                      <a:pt x="44655" y="286572"/>
                    </a:cubicBezTo>
                    <a:cubicBezTo>
                      <a:pt x="49580" y="284297"/>
                      <a:pt x="52320" y="285272"/>
                      <a:pt x="54597" y="286758"/>
                    </a:cubicBezTo>
                    <a:cubicBezTo>
                      <a:pt x="56687" y="283182"/>
                      <a:pt x="59847" y="280164"/>
                      <a:pt x="63331" y="277935"/>
                    </a:cubicBezTo>
                    <a:cubicBezTo>
                      <a:pt x="68348" y="274778"/>
                      <a:pt x="75828" y="274081"/>
                      <a:pt x="81450" y="275613"/>
                    </a:cubicBezTo>
                    <a:cubicBezTo>
                      <a:pt x="82611" y="275938"/>
                      <a:pt x="83865" y="276403"/>
                      <a:pt x="85073" y="277006"/>
                    </a:cubicBezTo>
                    <a:cubicBezTo>
                      <a:pt x="85306" y="277006"/>
                      <a:pt x="85538" y="277006"/>
                      <a:pt x="85770" y="277053"/>
                    </a:cubicBezTo>
                    <a:cubicBezTo>
                      <a:pt x="93436" y="278446"/>
                      <a:pt x="98871" y="275288"/>
                      <a:pt x="102681" y="271759"/>
                    </a:cubicBezTo>
                    <a:cubicBezTo>
                      <a:pt x="106490" y="268230"/>
                      <a:pt x="116711" y="278817"/>
                      <a:pt x="119916" y="276356"/>
                    </a:cubicBezTo>
                    <a:cubicBezTo>
                      <a:pt x="123076" y="273895"/>
                      <a:pt x="137152" y="271063"/>
                      <a:pt x="144168" y="271388"/>
                    </a:cubicBezTo>
                    <a:cubicBezTo>
                      <a:pt x="151183" y="271759"/>
                      <a:pt x="169348" y="262565"/>
                      <a:pt x="174133" y="257597"/>
                    </a:cubicBezTo>
                    <a:cubicBezTo>
                      <a:pt x="178918" y="252675"/>
                      <a:pt x="171253" y="251607"/>
                      <a:pt x="164888" y="252675"/>
                    </a:cubicBezTo>
                    <a:cubicBezTo>
                      <a:pt x="158523" y="253743"/>
                      <a:pt x="159777" y="245617"/>
                      <a:pt x="166467" y="238559"/>
                    </a:cubicBezTo>
                    <a:cubicBezTo>
                      <a:pt x="173157" y="231500"/>
                      <a:pt x="183703" y="226207"/>
                      <a:pt x="184354" y="215620"/>
                    </a:cubicBezTo>
                    <a:lnTo>
                      <a:pt x="184354" y="215620"/>
                    </a:lnTo>
                    <a:cubicBezTo>
                      <a:pt x="182867" y="214830"/>
                      <a:pt x="181380" y="214087"/>
                      <a:pt x="179847" y="213391"/>
                    </a:cubicBezTo>
                    <a:close/>
                  </a:path>
                </a:pathLst>
              </a:custGeom>
              <a:grpFill/>
              <a:ln w="635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sp>
          <p:nvSpPr>
            <p:cNvPr id="21" name="Freeform 130">
              <a:extLst>
                <a:ext uri="{FF2B5EF4-FFF2-40B4-BE49-F238E27FC236}">
                  <a16:creationId xmlns:a16="http://schemas.microsoft.com/office/drawing/2014/main" id="{2688B5D0-83C6-7A23-B185-F6E47D1769B7}"/>
                </a:ext>
              </a:extLst>
            </p:cNvPr>
            <p:cNvSpPr/>
            <p:nvPr/>
          </p:nvSpPr>
          <p:spPr>
            <a:xfrm>
              <a:off x="4308478" y="2551005"/>
              <a:ext cx="15149" cy="17508"/>
            </a:xfrm>
            <a:custGeom>
              <a:avLst/>
              <a:gdLst>
                <a:gd name="connsiteX0" fmla="*/ 8692 w 15149"/>
                <a:gd name="connsiteY0" fmla="*/ 0 h 17508"/>
                <a:gd name="connsiteX1" fmla="*/ 1444 w 15149"/>
                <a:gd name="connsiteY1" fmla="*/ 17506 h 17508"/>
                <a:gd name="connsiteX2" fmla="*/ 15150 w 15149"/>
                <a:gd name="connsiteY2" fmla="*/ 5386 h 17508"/>
                <a:gd name="connsiteX3" fmla="*/ 8692 w 15149"/>
                <a:gd name="connsiteY3" fmla="*/ 0 h 17508"/>
              </a:gdLst>
              <a:ahLst/>
              <a:cxnLst>
                <a:cxn ang="0">
                  <a:pos x="connsiteX0" y="connsiteY0"/>
                </a:cxn>
                <a:cxn ang="0">
                  <a:pos x="connsiteX1" y="connsiteY1"/>
                </a:cxn>
                <a:cxn ang="0">
                  <a:pos x="connsiteX2" y="connsiteY2"/>
                </a:cxn>
                <a:cxn ang="0">
                  <a:pos x="connsiteX3" y="connsiteY3"/>
                </a:cxn>
              </a:cxnLst>
              <a:rect l="l" t="t" r="r" b="b"/>
              <a:pathLst>
                <a:path w="15149" h="17508">
                  <a:moveTo>
                    <a:pt x="8692" y="0"/>
                  </a:moveTo>
                  <a:cubicBezTo>
                    <a:pt x="3071" y="6362"/>
                    <a:pt x="-2783" y="17692"/>
                    <a:pt x="1444" y="17506"/>
                  </a:cubicBezTo>
                  <a:cubicBezTo>
                    <a:pt x="6694" y="17274"/>
                    <a:pt x="12408" y="11144"/>
                    <a:pt x="15150" y="5386"/>
                  </a:cubicBezTo>
                  <a:cubicBezTo>
                    <a:pt x="12548" y="3993"/>
                    <a:pt x="10411" y="2182"/>
                    <a:pt x="8692" y="0"/>
                  </a:cubicBezTo>
                  <a:close/>
                </a:path>
              </a:pathLst>
            </a:custGeom>
            <a:grpFill/>
            <a:ln w="635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sp>
        <p:nvSpPr>
          <p:cNvPr id="3" name="TextBox 2">
            <a:extLst>
              <a:ext uri="{FF2B5EF4-FFF2-40B4-BE49-F238E27FC236}">
                <a16:creationId xmlns:a16="http://schemas.microsoft.com/office/drawing/2014/main" id="{DAF7DC84-247B-FF8F-DECB-A5246D0F577C}"/>
              </a:ext>
            </a:extLst>
          </p:cNvPr>
          <p:cNvSpPr txBox="1"/>
          <p:nvPr/>
        </p:nvSpPr>
        <p:spPr>
          <a:xfrm>
            <a:off x="4527166" y="1839712"/>
            <a:ext cx="6435473" cy="4031873"/>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rPr>
              <a:t>StrongPoint invested in the UK and Ireland with acquisition of Air link Group Ltd (ALS) in </a:t>
            </a:r>
            <a:r>
              <a:rPr lang="en-GB" sz="1600">
                <a:solidFill>
                  <a:srgbClr val="141E50"/>
                </a:solidFill>
                <a:latin typeface="Helvetica Light" panose="020B0403020202020204"/>
              </a:rPr>
              <a:t>June</a:t>
            </a:r>
            <a:r>
              <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rPr>
              <a:t> 202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rPr>
              <a:t>ALS served largest UK and Irish grocery retailers for 25+ yea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rPr>
              <a:t>Building a total retail solution provider on top of existing shopfitting busines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rPr>
              <a:t>ALS pedigree combined with StrongPoint products and solutions, Sainsbury’s win is recent examp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Calibri"/>
              </a:rPr>
              <a:t>Full sales, installation, service &amp; support team </a:t>
            </a:r>
            <a:endParaRPr kumimoji="0" lang="en-GB" sz="1600" b="0" i="0" u="none" strike="noStrike" kern="1200" cap="none" spc="0" normalizeH="0" baseline="0" noProof="0">
              <a:ln>
                <a:noFill/>
              </a:ln>
              <a:solidFill>
                <a:srgbClr val="141E50"/>
              </a:solidFill>
              <a:effectLst/>
              <a:uLnTx/>
              <a:uFillTx/>
              <a:latin typeface="Helvetica Light" panose="020B0403020202020204"/>
              <a:ea typeface="+mn-ea"/>
              <a:cs typeface="+mn-cs"/>
            </a:endParaRPr>
          </a:p>
        </p:txBody>
      </p:sp>
      <p:grpSp>
        <p:nvGrpSpPr>
          <p:cNvPr id="6" name="Group 5">
            <a:extLst>
              <a:ext uri="{FF2B5EF4-FFF2-40B4-BE49-F238E27FC236}">
                <a16:creationId xmlns:a16="http://schemas.microsoft.com/office/drawing/2014/main" id="{FFBEE79C-B5B0-DAFA-0FD3-55CCBC14F08B}"/>
              </a:ext>
            </a:extLst>
          </p:cNvPr>
          <p:cNvGrpSpPr/>
          <p:nvPr/>
        </p:nvGrpSpPr>
        <p:grpSpPr>
          <a:xfrm>
            <a:off x="4442419" y="1588576"/>
            <a:ext cx="6291390" cy="4639733"/>
            <a:chOff x="4042208" y="1213195"/>
            <a:chExt cx="5133323" cy="4639733"/>
          </a:xfrm>
        </p:grpSpPr>
        <p:cxnSp>
          <p:nvCxnSpPr>
            <p:cNvPr id="8" name="Straight Connector 7">
              <a:extLst>
                <a:ext uri="{FF2B5EF4-FFF2-40B4-BE49-F238E27FC236}">
                  <a16:creationId xmlns:a16="http://schemas.microsoft.com/office/drawing/2014/main" id="{218459FD-791E-70F4-1F7C-387F2D945C96}"/>
                </a:ext>
              </a:extLst>
            </p:cNvPr>
            <p:cNvCxnSpPr>
              <a:cxnSpLocks/>
            </p:cNvCxnSpPr>
            <p:nvPr/>
          </p:nvCxnSpPr>
          <p:spPr>
            <a:xfrm>
              <a:off x="4100015" y="1213195"/>
              <a:ext cx="5017709"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9" name="Straight Connector 8">
              <a:extLst>
                <a:ext uri="{FF2B5EF4-FFF2-40B4-BE49-F238E27FC236}">
                  <a16:creationId xmlns:a16="http://schemas.microsoft.com/office/drawing/2014/main" id="{86260448-7ED6-1CD6-4241-06578377A740}"/>
                </a:ext>
              </a:extLst>
            </p:cNvPr>
            <p:cNvCxnSpPr>
              <a:cxnSpLocks/>
            </p:cNvCxnSpPr>
            <p:nvPr/>
          </p:nvCxnSpPr>
          <p:spPr>
            <a:xfrm>
              <a:off x="4042208" y="5852928"/>
              <a:ext cx="5133323" cy="0"/>
            </a:xfrm>
            <a:prstGeom prst="line">
              <a:avLst/>
            </a:prstGeom>
            <a:ln w="12700"/>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1462234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997AC35-DC2E-DBD7-2A74-C4AF5700AC45}"/>
              </a:ext>
            </a:extLst>
          </p:cNvPr>
          <p:cNvSpPr/>
          <p:nvPr/>
        </p:nvSpPr>
        <p:spPr>
          <a:xfrm>
            <a:off x="6147809" y="1559278"/>
            <a:ext cx="5204403" cy="2971800"/>
          </a:xfrm>
          <a:prstGeom prst="rect">
            <a:avLst/>
          </a:prstGeom>
          <a:solidFill>
            <a:srgbClr val="EF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aphicFrame>
        <p:nvGraphicFramePr>
          <p:cNvPr id="4" name="think-cell data - do not delete" hidden="1">
            <a:extLst>
              <a:ext uri="{FF2B5EF4-FFF2-40B4-BE49-F238E27FC236}">
                <a16:creationId xmlns:a16="http://schemas.microsoft.com/office/drawing/2014/main" id="{6E8827E0-1DA4-039D-9058-31CCBA5BF21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6E8827E0-1DA4-039D-9058-31CCBA5BF21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31">
            <a:extLst>
              <a:ext uri="{FF2B5EF4-FFF2-40B4-BE49-F238E27FC236}">
                <a16:creationId xmlns:a16="http://schemas.microsoft.com/office/drawing/2014/main" id="{7074EC5B-64A3-29FC-C0E4-321D0E01EB8B}"/>
              </a:ext>
            </a:extLst>
          </p:cNvPr>
          <p:cNvSpPr txBox="1"/>
          <p:nvPr/>
        </p:nvSpPr>
        <p:spPr>
          <a:xfrm>
            <a:off x="1457479" y="4912919"/>
            <a:ext cx="328420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Bolster shopfitting business and expand customer base</a:t>
            </a:r>
          </a:p>
        </p:txBody>
      </p:sp>
      <p:sp>
        <p:nvSpPr>
          <p:cNvPr id="7" name="Title 1">
            <a:extLst>
              <a:ext uri="{FF2B5EF4-FFF2-40B4-BE49-F238E27FC236}">
                <a16:creationId xmlns:a16="http://schemas.microsoft.com/office/drawing/2014/main" id="{A5A646B2-592D-437C-FB5B-414B8038F3E5}"/>
              </a:ext>
            </a:extLst>
          </p:cNvPr>
          <p:cNvSpPr>
            <a:spLocks noGrp="1"/>
          </p:cNvSpPr>
          <p:nvPr>
            <p:ph type="title"/>
          </p:nvPr>
        </p:nvSpPr>
        <p:spPr>
          <a:xfrm>
            <a:off x="741777" y="522658"/>
            <a:ext cx="10671895" cy="1036620"/>
          </a:xfrm>
        </p:spPr>
        <p:txBody>
          <a:bodyPr vert="horz">
            <a:normAutofit/>
          </a:bodyPr>
          <a:lstStyle/>
          <a:p>
            <a:r>
              <a:rPr lang="en-GB" sz="4400"/>
              <a:t>UK priorities </a:t>
            </a:r>
          </a:p>
        </p:txBody>
      </p:sp>
      <p:sp>
        <p:nvSpPr>
          <p:cNvPr id="9" name="TextBox 31">
            <a:extLst>
              <a:ext uri="{FF2B5EF4-FFF2-40B4-BE49-F238E27FC236}">
                <a16:creationId xmlns:a16="http://schemas.microsoft.com/office/drawing/2014/main" id="{92F84892-A09B-2D58-F0B2-5F9A703B9332}"/>
              </a:ext>
            </a:extLst>
          </p:cNvPr>
          <p:cNvSpPr txBox="1"/>
          <p:nvPr/>
        </p:nvSpPr>
        <p:spPr>
          <a:xfrm>
            <a:off x="6806044" y="4912919"/>
            <a:ext cx="492384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Penetrate UK market with StrongPoint solutions that have good product market fit</a:t>
            </a:r>
          </a:p>
        </p:txBody>
      </p:sp>
      <p:sp>
        <p:nvSpPr>
          <p:cNvPr id="11" name="TextBox 10">
            <a:extLst>
              <a:ext uri="{FF2B5EF4-FFF2-40B4-BE49-F238E27FC236}">
                <a16:creationId xmlns:a16="http://schemas.microsoft.com/office/drawing/2014/main" id="{93EF1C9C-3739-BEC2-34D4-B8244B375AFA}"/>
              </a:ext>
            </a:extLst>
          </p:cNvPr>
          <p:cNvSpPr txBox="1"/>
          <p:nvPr/>
        </p:nvSpPr>
        <p:spPr>
          <a:xfrm>
            <a:off x="767655" y="4675832"/>
            <a:ext cx="1062318" cy="110799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b="1" i="0" u="none" strike="noStrike" kern="1200" cap="none" spc="0" normalizeH="0" baseline="0" noProof="0">
                <a:ln>
                  <a:noFill/>
                </a:ln>
                <a:solidFill>
                  <a:srgbClr val="2832DC"/>
                </a:solidFill>
                <a:effectLst/>
                <a:uLnTx/>
                <a:uFillTx/>
                <a:latin typeface="Helvetica" pitchFamily="2" charset="0"/>
                <a:ea typeface="+mn-ea"/>
                <a:cs typeface="+mn-cs"/>
              </a:rPr>
              <a:t>1</a:t>
            </a:r>
            <a:endParaRPr kumimoji="0" lang="en-US" sz="1600" b="1" i="0" u="none" strike="noStrike" kern="1200" cap="none" spc="0" normalizeH="0" baseline="0" noProof="0">
              <a:ln>
                <a:noFill/>
              </a:ln>
              <a:solidFill>
                <a:srgbClr val="2832DC"/>
              </a:solidFill>
              <a:effectLst/>
              <a:uLnTx/>
              <a:uFillTx/>
              <a:latin typeface="Helvetica" pitchFamily="2" charset="0"/>
              <a:ea typeface="+mn-ea"/>
              <a:cs typeface="+mn-cs"/>
            </a:endParaRPr>
          </a:p>
        </p:txBody>
      </p:sp>
      <p:sp>
        <p:nvSpPr>
          <p:cNvPr id="12" name="TextBox 11">
            <a:extLst>
              <a:ext uri="{FF2B5EF4-FFF2-40B4-BE49-F238E27FC236}">
                <a16:creationId xmlns:a16="http://schemas.microsoft.com/office/drawing/2014/main" id="{D13C1F21-BCA2-C69E-DE77-AECC2BA3C3E4}"/>
              </a:ext>
            </a:extLst>
          </p:cNvPr>
          <p:cNvSpPr txBox="1"/>
          <p:nvPr/>
        </p:nvSpPr>
        <p:spPr>
          <a:xfrm>
            <a:off x="6166784" y="4671480"/>
            <a:ext cx="1062318" cy="110799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b="1" i="0" u="none" strike="noStrike" kern="1200" cap="none" spc="0" normalizeH="0" baseline="0" noProof="0">
                <a:ln>
                  <a:noFill/>
                </a:ln>
                <a:solidFill>
                  <a:srgbClr val="2832DC"/>
                </a:solidFill>
                <a:effectLst/>
                <a:uLnTx/>
                <a:uFillTx/>
                <a:latin typeface="Helvetica" pitchFamily="2" charset="0"/>
                <a:ea typeface="+mn-ea"/>
                <a:cs typeface="+mn-cs"/>
              </a:rPr>
              <a:t>2</a:t>
            </a:r>
            <a:endParaRPr kumimoji="0" lang="en-US" sz="1600" b="1" i="0" u="none" strike="noStrike" kern="1200" cap="none" spc="0" normalizeH="0" baseline="0" noProof="0">
              <a:ln>
                <a:noFill/>
              </a:ln>
              <a:solidFill>
                <a:srgbClr val="2832DC"/>
              </a:solidFill>
              <a:effectLst/>
              <a:uLnTx/>
              <a:uFillTx/>
              <a:latin typeface="Helvetica" pitchFamily="2" charset="0"/>
              <a:ea typeface="+mn-ea"/>
              <a:cs typeface="+mn-cs"/>
            </a:endParaRPr>
          </a:p>
        </p:txBody>
      </p:sp>
      <p:grpSp>
        <p:nvGrpSpPr>
          <p:cNvPr id="18" name="Group 17">
            <a:extLst>
              <a:ext uri="{FF2B5EF4-FFF2-40B4-BE49-F238E27FC236}">
                <a16:creationId xmlns:a16="http://schemas.microsoft.com/office/drawing/2014/main" id="{6F63209B-2B77-08DB-ADD3-76224CB784B8}"/>
              </a:ext>
            </a:extLst>
          </p:cNvPr>
          <p:cNvGrpSpPr/>
          <p:nvPr/>
        </p:nvGrpSpPr>
        <p:grpSpPr>
          <a:xfrm>
            <a:off x="6147809" y="4697080"/>
            <a:ext cx="5403298" cy="1066800"/>
            <a:chOff x="5540828" y="4697080"/>
            <a:chExt cx="4614873" cy="1066800"/>
          </a:xfrm>
        </p:grpSpPr>
        <p:cxnSp>
          <p:nvCxnSpPr>
            <p:cNvPr id="16" name="Straight Arrow Connector 15">
              <a:extLst>
                <a:ext uri="{FF2B5EF4-FFF2-40B4-BE49-F238E27FC236}">
                  <a16:creationId xmlns:a16="http://schemas.microsoft.com/office/drawing/2014/main" id="{CA68577C-EF7B-7BC0-A0C0-BD7460158710}"/>
                </a:ext>
              </a:extLst>
            </p:cNvPr>
            <p:cNvCxnSpPr>
              <a:cxnSpLocks/>
            </p:cNvCxnSpPr>
            <p:nvPr/>
          </p:nvCxnSpPr>
          <p:spPr>
            <a:xfrm>
              <a:off x="5540828" y="4697080"/>
              <a:ext cx="4614873" cy="0"/>
            </a:xfrm>
            <a:prstGeom prst="straightConnector1">
              <a:avLst/>
            </a:prstGeom>
            <a:ln w="19050">
              <a:solidFill>
                <a:schemeClr val="accent2"/>
              </a:solidFill>
              <a:headEnd type="none"/>
              <a:tailEnd type="none"/>
            </a:ln>
          </p:spPr>
          <p:style>
            <a:lnRef idx="3">
              <a:schemeClr val="accent1"/>
            </a:lnRef>
            <a:fillRef idx="0">
              <a:schemeClr val="accent1"/>
            </a:fillRef>
            <a:effectRef idx="2">
              <a:schemeClr val="accent1"/>
            </a:effectRef>
            <a:fontRef idx="minor">
              <a:schemeClr val="tx1"/>
            </a:fontRef>
          </p:style>
        </p:cxnSp>
        <p:cxnSp>
          <p:nvCxnSpPr>
            <p:cNvPr id="17" name="Straight Arrow Connector 16">
              <a:extLst>
                <a:ext uri="{FF2B5EF4-FFF2-40B4-BE49-F238E27FC236}">
                  <a16:creationId xmlns:a16="http://schemas.microsoft.com/office/drawing/2014/main" id="{76DCB9C6-6FD7-4260-29E2-42EE6949C977}"/>
                </a:ext>
              </a:extLst>
            </p:cNvPr>
            <p:cNvCxnSpPr>
              <a:cxnSpLocks/>
            </p:cNvCxnSpPr>
            <p:nvPr/>
          </p:nvCxnSpPr>
          <p:spPr>
            <a:xfrm flipV="1">
              <a:off x="5540828" y="5762970"/>
              <a:ext cx="4614873" cy="910"/>
            </a:xfrm>
            <a:prstGeom prst="straightConnector1">
              <a:avLst/>
            </a:prstGeom>
            <a:ln w="19050">
              <a:solidFill>
                <a:schemeClr val="accent2"/>
              </a:solidFill>
              <a:headEnd type="none"/>
              <a:tailEnd type="none"/>
            </a:ln>
          </p:spPr>
          <p:style>
            <a:lnRef idx="3">
              <a:schemeClr val="accent1"/>
            </a:lnRef>
            <a:fillRef idx="0">
              <a:schemeClr val="accent1"/>
            </a:fillRef>
            <a:effectRef idx="2">
              <a:schemeClr val="accent1"/>
            </a:effectRef>
            <a:fontRef idx="minor">
              <a:schemeClr val="tx1"/>
            </a:fontRef>
          </p:style>
        </p:cxnSp>
      </p:grpSp>
      <p:grpSp>
        <p:nvGrpSpPr>
          <p:cNvPr id="10" name="Group 9">
            <a:extLst>
              <a:ext uri="{FF2B5EF4-FFF2-40B4-BE49-F238E27FC236}">
                <a16:creationId xmlns:a16="http://schemas.microsoft.com/office/drawing/2014/main" id="{61538950-F42F-7AC4-A5D9-ECC74926F3A4}"/>
              </a:ext>
            </a:extLst>
          </p:cNvPr>
          <p:cNvGrpSpPr/>
          <p:nvPr/>
        </p:nvGrpSpPr>
        <p:grpSpPr>
          <a:xfrm>
            <a:off x="767901" y="4696170"/>
            <a:ext cx="5204403" cy="1066800"/>
            <a:chOff x="5540828" y="4697080"/>
            <a:chExt cx="4445000" cy="1066800"/>
          </a:xfrm>
        </p:grpSpPr>
        <p:cxnSp>
          <p:nvCxnSpPr>
            <p:cNvPr id="19" name="Straight Arrow Connector 18">
              <a:extLst>
                <a:ext uri="{FF2B5EF4-FFF2-40B4-BE49-F238E27FC236}">
                  <a16:creationId xmlns:a16="http://schemas.microsoft.com/office/drawing/2014/main" id="{4AD73101-6143-C092-9CF3-EC4977D0AE23}"/>
                </a:ext>
              </a:extLst>
            </p:cNvPr>
            <p:cNvCxnSpPr>
              <a:cxnSpLocks/>
            </p:cNvCxnSpPr>
            <p:nvPr/>
          </p:nvCxnSpPr>
          <p:spPr>
            <a:xfrm>
              <a:off x="5540828" y="4697080"/>
              <a:ext cx="4445000" cy="0"/>
            </a:xfrm>
            <a:prstGeom prst="straightConnector1">
              <a:avLst/>
            </a:prstGeom>
            <a:ln w="19050">
              <a:solidFill>
                <a:schemeClr val="accent2"/>
              </a:solidFill>
              <a:headEnd type="none"/>
              <a:tailEnd type="none"/>
            </a:ln>
          </p:spPr>
          <p:style>
            <a:lnRef idx="3">
              <a:schemeClr val="accent1"/>
            </a:lnRef>
            <a:fillRef idx="0">
              <a:schemeClr val="accent1"/>
            </a:fillRef>
            <a:effectRef idx="2">
              <a:schemeClr val="accent1"/>
            </a:effectRef>
            <a:fontRef idx="minor">
              <a:schemeClr val="tx1"/>
            </a:fontRef>
          </p:style>
        </p:cxnSp>
        <p:cxnSp>
          <p:nvCxnSpPr>
            <p:cNvPr id="20" name="Straight Arrow Connector 19">
              <a:extLst>
                <a:ext uri="{FF2B5EF4-FFF2-40B4-BE49-F238E27FC236}">
                  <a16:creationId xmlns:a16="http://schemas.microsoft.com/office/drawing/2014/main" id="{BB609A8E-8A92-E899-D568-21FD552FBE65}"/>
                </a:ext>
              </a:extLst>
            </p:cNvPr>
            <p:cNvCxnSpPr>
              <a:cxnSpLocks/>
            </p:cNvCxnSpPr>
            <p:nvPr/>
          </p:nvCxnSpPr>
          <p:spPr>
            <a:xfrm>
              <a:off x="5540828" y="5763880"/>
              <a:ext cx="4445000" cy="0"/>
            </a:xfrm>
            <a:prstGeom prst="straightConnector1">
              <a:avLst/>
            </a:prstGeom>
            <a:ln w="19050">
              <a:solidFill>
                <a:schemeClr val="accent2"/>
              </a:solidFill>
              <a:headEnd type="none"/>
              <a:tailEnd type="none"/>
            </a:ln>
          </p:spPr>
          <p:style>
            <a:lnRef idx="3">
              <a:schemeClr val="accent1"/>
            </a:lnRef>
            <a:fillRef idx="0">
              <a:schemeClr val="accent1"/>
            </a:fillRef>
            <a:effectRef idx="2">
              <a:schemeClr val="accent1"/>
            </a:effectRef>
            <a:fontRef idx="minor">
              <a:schemeClr val="tx1"/>
            </a:fontRef>
          </p:style>
        </p:cxnSp>
      </p:grpSp>
      <p:pic>
        <p:nvPicPr>
          <p:cNvPr id="13" name="Picture 12" descr="A group of men in reflective vests and a machine under a red canopy&#10;&#10;Description automatically generated">
            <a:extLst>
              <a:ext uri="{FF2B5EF4-FFF2-40B4-BE49-F238E27FC236}">
                <a16:creationId xmlns:a16="http://schemas.microsoft.com/office/drawing/2014/main" id="{7CC9A23B-8712-8DF4-5967-FBD4DD3FF31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129567" y="1579616"/>
            <a:ext cx="2842738" cy="3019016"/>
          </a:xfrm>
          <a:prstGeom prst="rect">
            <a:avLst/>
          </a:prstGeom>
        </p:spPr>
      </p:pic>
      <p:pic>
        <p:nvPicPr>
          <p:cNvPr id="15" name="Picture 14" descr="A machine with many boxes and a couple of men in front of them&#10;&#10;Description automatically generated with medium confidence">
            <a:extLst>
              <a:ext uri="{FF2B5EF4-FFF2-40B4-BE49-F238E27FC236}">
                <a16:creationId xmlns:a16="http://schemas.microsoft.com/office/drawing/2014/main" id="{26571E30-5F37-3834-C3B3-2A56C91D0C1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153" b="257"/>
          <a:stretch/>
        </p:blipFill>
        <p:spPr>
          <a:xfrm>
            <a:off x="767656" y="1579617"/>
            <a:ext cx="2495008" cy="3019016"/>
          </a:xfrm>
          <a:prstGeom prst="rect">
            <a:avLst/>
          </a:prstGeom>
        </p:spPr>
      </p:pic>
      <p:pic>
        <p:nvPicPr>
          <p:cNvPr id="23" name="Picture 8" descr="Big time efficiency savings with electronic shelf labels - StrongPoint">
            <a:extLst>
              <a:ext uri="{FF2B5EF4-FFF2-40B4-BE49-F238E27FC236}">
                <a16:creationId xmlns:a16="http://schemas.microsoft.com/office/drawing/2014/main" id="{E31B9D61-1128-A648-5641-077E47457D2C}"/>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t="669"/>
          <a:stretch/>
        </p:blipFill>
        <p:spPr bwMode="auto">
          <a:xfrm>
            <a:off x="6147808" y="1579616"/>
            <a:ext cx="5403299" cy="3019016"/>
          </a:xfrm>
          <a:prstGeom prst="rect">
            <a:avLst/>
          </a:prstGeom>
          <a:ln>
            <a:no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98048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A7B72-EF1A-8691-7D0D-5A1579D7C5B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0FDA7B72-EF1A-8691-7D0D-5A1579D7C5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8" name="Freeform 109">
            <a:extLst>
              <a:ext uri="{FF2B5EF4-FFF2-40B4-BE49-F238E27FC236}">
                <a16:creationId xmlns:a16="http://schemas.microsoft.com/office/drawing/2014/main" id="{98BB389C-F000-777B-7FE8-DC7C96D2E3B5}"/>
              </a:ext>
            </a:extLst>
          </p:cNvPr>
          <p:cNvSpPr>
            <a:spLocks noEditPoints="1"/>
          </p:cNvSpPr>
          <p:nvPr/>
        </p:nvSpPr>
        <p:spPr bwMode="auto">
          <a:xfrm rot="21035332">
            <a:off x="5357067" y="1064913"/>
            <a:ext cx="2696641" cy="4940882"/>
          </a:xfrm>
          <a:custGeom>
            <a:avLst/>
            <a:gdLst>
              <a:gd name="T0" fmla="*/ 29 w 291"/>
              <a:gd name="T1" fmla="*/ 540 h 550"/>
              <a:gd name="T2" fmla="*/ 96 w 291"/>
              <a:gd name="T3" fmla="*/ 541 h 550"/>
              <a:gd name="T4" fmla="*/ 173 w 291"/>
              <a:gd name="T5" fmla="*/ 531 h 550"/>
              <a:gd name="T6" fmla="*/ 212 w 291"/>
              <a:gd name="T7" fmla="*/ 534 h 550"/>
              <a:gd name="T8" fmla="*/ 254 w 291"/>
              <a:gd name="T9" fmla="*/ 506 h 550"/>
              <a:gd name="T10" fmla="*/ 285 w 291"/>
              <a:gd name="T11" fmla="*/ 469 h 550"/>
              <a:gd name="T12" fmla="*/ 250 w 291"/>
              <a:gd name="T13" fmla="*/ 407 h 550"/>
              <a:gd name="T14" fmla="*/ 238 w 291"/>
              <a:gd name="T15" fmla="*/ 368 h 550"/>
              <a:gd name="T16" fmla="*/ 207 w 291"/>
              <a:gd name="T17" fmla="*/ 282 h 550"/>
              <a:gd name="T18" fmla="*/ 158 w 291"/>
              <a:gd name="T19" fmla="*/ 243 h 550"/>
              <a:gd name="T20" fmla="*/ 165 w 291"/>
              <a:gd name="T21" fmla="*/ 227 h 550"/>
              <a:gd name="T22" fmla="*/ 220 w 291"/>
              <a:gd name="T23" fmla="*/ 173 h 550"/>
              <a:gd name="T24" fmla="*/ 167 w 291"/>
              <a:gd name="T25" fmla="*/ 157 h 550"/>
              <a:gd name="T26" fmla="*/ 143 w 291"/>
              <a:gd name="T27" fmla="*/ 156 h 550"/>
              <a:gd name="T28" fmla="*/ 166 w 291"/>
              <a:gd name="T29" fmla="*/ 136 h 550"/>
              <a:gd name="T30" fmla="*/ 157 w 291"/>
              <a:gd name="T31" fmla="*/ 107 h 550"/>
              <a:gd name="T32" fmla="*/ 136 w 291"/>
              <a:gd name="T33" fmla="*/ 106 h 550"/>
              <a:gd name="T34" fmla="*/ 128 w 291"/>
              <a:gd name="T35" fmla="*/ 138 h 550"/>
              <a:gd name="T36" fmla="*/ 111 w 291"/>
              <a:gd name="T37" fmla="*/ 142 h 550"/>
              <a:gd name="T38" fmla="*/ 107 w 291"/>
              <a:gd name="T39" fmla="*/ 165 h 550"/>
              <a:gd name="T40" fmla="*/ 90 w 291"/>
              <a:gd name="T41" fmla="*/ 144 h 550"/>
              <a:gd name="T42" fmla="*/ 84 w 291"/>
              <a:gd name="T43" fmla="*/ 159 h 550"/>
              <a:gd name="T44" fmla="*/ 104 w 291"/>
              <a:gd name="T45" fmla="*/ 172 h 550"/>
              <a:gd name="T46" fmla="*/ 84 w 291"/>
              <a:gd name="T47" fmla="*/ 191 h 550"/>
              <a:gd name="T48" fmla="*/ 95 w 291"/>
              <a:gd name="T49" fmla="*/ 210 h 550"/>
              <a:gd name="T50" fmla="*/ 65 w 291"/>
              <a:gd name="T51" fmla="*/ 241 h 550"/>
              <a:gd name="T52" fmla="*/ 87 w 291"/>
              <a:gd name="T53" fmla="*/ 231 h 550"/>
              <a:gd name="T54" fmla="*/ 83 w 291"/>
              <a:gd name="T55" fmla="*/ 256 h 550"/>
              <a:gd name="T56" fmla="*/ 101 w 291"/>
              <a:gd name="T57" fmla="*/ 237 h 550"/>
              <a:gd name="T58" fmla="*/ 98 w 291"/>
              <a:gd name="T59" fmla="*/ 306 h 550"/>
              <a:gd name="T60" fmla="*/ 133 w 291"/>
              <a:gd name="T61" fmla="*/ 306 h 550"/>
              <a:gd name="T62" fmla="*/ 142 w 291"/>
              <a:gd name="T63" fmla="*/ 337 h 550"/>
              <a:gd name="T64" fmla="*/ 144 w 291"/>
              <a:gd name="T65" fmla="*/ 382 h 550"/>
              <a:gd name="T66" fmla="*/ 97 w 291"/>
              <a:gd name="T67" fmla="*/ 376 h 550"/>
              <a:gd name="T68" fmla="*/ 103 w 291"/>
              <a:gd name="T69" fmla="*/ 422 h 550"/>
              <a:gd name="T70" fmla="*/ 62 w 291"/>
              <a:gd name="T71" fmla="*/ 461 h 550"/>
              <a:gd name="T72" fmla="*/ 101 w 291"/>
              <a:gd name="T73" fmla="*/ 472 h 550"/>
              <a:gd name="T74" fmla="*/ 139 w 291"/>
              <a:gd name="T75" fmla="*/ 482 h 550"/>
              <a:gd name="T76" fmla="*/ 50 w 291"/>
              <a:gd name="T77" fmla="*/ 266 h 550"/>
              <a:gd name="T78" fmla="*/ 80 w 291"/>
              <a:gd name="T79" fmla="*/ 314 h 550"/>
              <a:gd name="T80" fmla="*/ 41 w 291"/>
              <a:gd name="T81" fmla="*/ 324 h 550"/>
              <a:gd name="T82" fmla="*/ 13 w 291"/>
              <a:gd name="T83" fmla="*/ 287 h 550"/>
              <a:gd name="T84" fmla="*/ 75 w 291"/>
              <a:gd name="T85" fmla="*/ 227 h 550"/>
              <a:gd name="T86" fmla="*/ 103 w 291"/>
              <a:gd name="T87" fmla="*/ 263 h 550"/>
              <a:gd name="T88" fmla="*/ 65 w 291"/>
              <a:gd name="T89" fmla="*/ 199 h 550"/>
              <a:gd name="T90" fmla="*/ 78 w 291"/>
              <a:gd name="T91" fmla="*/ 171 h 550"/>
              <a:gd name="T92" fmla="*/ 46 w 291"/>
              <a:gd name="T93" fmla="*/ 177 h 550"/>
              <a:gd name="T94" fmla="*/ 59 w 291"/>
              <a:gd name="T95" fmla="*/ 158 h 550"/>
              <a:gd name="T96" fmla="*/ 69 w 291"/>
              <a:gd name="T97" fmla="*/ 132 h 550"/>
              <a:gd name="T98" fmla="*/ 80 w 291"/>
              <a:gd name="T99" fmla="*/ 106 h 550"/>
              <a:gd name="T100" fmla="*/ 94 w 291"/>
              <a:gd name="T101" fmla="*/ 116 h 550"/>
              <a:gd name="T102" fmla="*/ 267 w 291"/>
              <a:gd name="T103" fmla="*/ 15 h 550"/>
              <a:gd name="T104" fmla="*/ 245 w 291"/>
              <a:gd name="T105" fmla="*/ 27 h 550"/>
              <a:gd name="T106" fmla="*/ 269 w 291"/>
              <a:gd name="T107" fmla="*/ 2 h 550"/>
              <a:gd name="T108" fmla="*/ 259 w 291"/>
              <a:gd name="T109" fmla="*/ 29 h 550"/>
              <a:gd name="T110" fmla="*/ 243 w 291"/>
              <a:gd name="T111" fmla="*/ 64 h 550"/>
              <a:gd name="T112" fmla="*/ 221 w 291"/>
              <a:gd name="T113" fmla="*/ 72 h 550"/>
              <a:gd name="T114" fmla="*/ 205 w 291"/>
              <a:gd name="T115" fmla="*/ 80 h 550"/>
              <a:gd name="T116" fmla="*/ 204 w 291"/>
              <a:gd name="T117" fmla="*/ 75 h 550"/>
              <a:gd name="T118" fmla="*/ 191 w 291"/>
              <a:gd name="T119" fmla="*/ 91 h 550"/>
              <a:gd name="T120" fmla="*/ 187 w 291"/>
              <a:gd name="T121" fmla="*/ 92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1" h="550">
                <a:moveTo>
                  <a:pt x="73" y="501"/>
                </a:moveTo>
                <a:cubicBezTo>
                  <a:pt x="69" y="504"/>
                  <a:pt x="69" y="504"/>
                  <a:pt x="69" y="504"/>
                </a:cubicBezTo>
                <a:cubicBezTo>
                  <a:pt x="69" y="508"/>
                  <a:pt x="69" y="508"/>
                  <a:pt x="69" y="508"/>
                </a:cubicBezTo>
                <a:cubicBezTo>
                  <a:pt x="67" y="512"/>
                  <a:pt x="67" y="512"/>
                  <a:pt x="67" y="512"/>
                </a:cubicBezTo>
                <a:cubicBezTo>
                  <a:pt x="67" y="512"/>
                  <a:pt x="65" y="513"/>
                  <a:pt x="65" y="514"/>
                </a:cubicBezTo>
                <a:cubicBezTo>
                  <a:pt x="64" y="515"/>
                  <a:pt x="60" y="518"/>
                  <a:pt x="60" y="518"/>
                </a:cubicBezTo>
                <a:cubicBezTo>
                  <a:pt x="60" y="518"/>
                  <a:pt x="60" y="519"/>
                  <a:pt x="59" y="519"/>
                </a:cubicBezTo>
                <a:cubicBezTo>
                  <a:pt x="58" y="519"/>
                  <a:pt x="51" y="522"/>
                  <a:pt x="51" y="522"/>
                </a:cubicBezTo>
                <a:cubicBezTo>
                  <a:pt x="49" y="526"/>
                  <a:pt x="49" y="526"/>
                  <a:pt x="49" y="526"/>
                </a:cubicBezTo>
                <a:cubicBezTo>
                  <a:pt x="45" y="527"/>
                  <a:pt x="45" y="527"/>
                  <a:pt x="45" y="527"/>
                </a:cubicBezTo>
                <a:cubicBezTo>
                  <a:pt x="42" y="532"/>
                  <a:pt x="42" y="532"/>
                  <a:pt x="42" y="532"/>
                </a:cubicBezTo>
                <a:cubicBezTo>
                  <a:pt x="37" y="534"/>
                  <a:pt x="37" y="534"/>
                  <a:pt x="37" y="534"/>
                </a:cubicBezTo>
                <a:cubicBezTo>
                  <a:pt x="33" y="535"/>
                  <a:pt x="33" y="535"/>
                  <a:pt x="33" y="535"/>
                </a:cubicBezTo>
                <a:cubicBezTo>
                  <a:pt x="29" y="533"/>
                  <a:pt x="29" y="533"/>
                  <a:pt x="29" y="533"/>
                </a:cubicBezTo>
                <a:cubicBezTo>
                  <a:pt x="26" y="535"/>
                  <a:pt x="26" y="535"/>
                  <a:pt x="26" y="535"/>
                </a:cubicBezTo>
                <a:cubicBezTo>
                  <a:pt x="23" y="537"/>
                  <a:pt x="23" y="537"/>
                  <a:pt x="23" y="537"/>
                </a:cubicBezTo>
                <a:cubicBezTo>
                  <a:pt x="24" y="541"/>
                  <a:pt x="24" y="541"/>
                  <a:pt x="24" y="541"/>
                </a:cubicBezTo>
                <a:cubicBezTo>
                  <a:pt x="27" y="543"/>
                  <a:pt x="27" y="543"/>
                  <a:pt x="27" y="543"/>
                </a:cubicBezTo>
                <a:cubicBezTo>
                  <a:pt x="29" y="540"/>
                  <a:pt x="29" y="540"/>
                  <a:pt x="29" y="540"/>
                </a:cubicBezTo>
                <a:cubicBezTo>
                  <a:pt x="35" y="542"/>
                  <a:pt x="35" y="542"/>
                  <a:pt x="35" y="542"/>
                </a:cubicBezTo>
                <a:cubicBezTo>
                  <a:pt x="35" y="542"/>
                  <a:pt x="37" y="545"/>
                  <a:pt x="38" y="546"/>
                </a:cubicBezTo>
                <a:cubicBezTo>
                  <a:pt x="38" y="547"/>
                  <a:pt x="38" y="550"/>
                  <a:pt x="39" y="550"/>
                </a:cubicBezTo>
                <a:cubicBezTo>
                  <a:pt x="40" y="549"/>
                  <a:pt x="45" y="546"/>
                  <a:pt x="45" y="546"/>
                </a:cubicBezTo>
                <a:cubicBezTo>
                  <a:pt x="43" y="542"/>
                  <a:pt x="43" y="542"/>
                  <a:pt x="43" y="542"/>
                </a:cubicBezTo>
                <a:cubicBezTo>
                  <a:pt x="43" y="542"/>
                  <a:pt x="46" y="541"/>
                  <a:pt x="48" y="541"/>
                </a:cubicBezTo>
                <a:cubicBezTo>
                  <a:pt x="50" y="541"/>
                  <a:pt x="52" y="542"/>
                  <a:pt x="53" y="540"/>
                </a:cubicBezTo>
                <a:cubicBezTo>
                  <a:pt x="53" y="539"/>
                  <a:pt x="56" y="539"/>
                  <a:pt x="56" y="539"/>
                </a:cubicBezTo>
                <a:cubicBezTo>
                  <a:pt x="56" y="539"/>
                  <a:pt x="58" y="536"/>
                  <a:pt x="58" y="536"/>
                </a:cubicBezTo>
                <a:cubicBezTo>
                  <a:pt x="58" y="535"/>
                  <a:pt x="61" y="533"/>
                  <a:pt x="61" y="533"/>
                </a:cubicBezTo>
                <a:cubicBezTo>
                  <a:pt x="61" y="533"/>
                  <a:pt x="68" y="536"/>
                  <a:pt x="69" y="536"/>
                </a:cubicBezTo>
                <a:cubicBezTo>
                  <a:pt x="70" y="536"/>
                  <a:pt x="77" y="534"/>
                  <a:pt x="77" y="534"/>
                </a:cubicBezTo>
                <a:cubicBezTo>
                  <a:pt x="80" y="537"/>
                  <a:pt x="80" y="537"/>
                  <a:pt x="80" y="537"/>
                </a:cubicBezTo>
                <a:cubicBezTo>
                  <a:pt x="80" y="537"/>
                  <a:pt x="80" y="539"/>
                  <a:pt x="82" y="540"/>
                </a:cubicBezTo>
                <a:cubicBezTo>
                  <a:pt x="84" y="540"/>
                  <a:pt x="85" y="540"/>
                  <a:pt x="85" y="540"/>
                </a:cubicBezTo>
                <a:cubicBezTo>
                  <a:pt x="88" y="544"/>
                  <a:pt x="88" y="544"/>
                  <a:pt x="88" y="544"/>
                </a:cubicBezTo>
                <a:cubicBezTo>
                  <a:pt x="91" y="546"/>
                  <a:pt x="91" y="546"/>
                  <a:pt x="91" y="546"/>
                </a:cubicBezTo>
                <a:cubicBezTo>
                  <a:pt x="91" y="546"/>
                  <a:pt x="94" y="546"/>
                  <a:pt x="94" y="545"/>
                </a:cubicBezTo>
                <a:cubicBezTo>
                  <a:pt x="94" y="544"/>
                  <a:pt x="95" y="542"/>
                  <a:pt x="96" y="541"/>
                </a:cubicBezTo>
                <a:cubicBezTo>
                  <a:pt x="97" y="541"/>
                  <a:pt x="100" y="540"/>
                  <a:pt x="100" y="540"/>
                </a:cubicBezTo>
                <a:cubicBezTo>
                  <a:pt x="100" y="540"/>
                  <a:pt x="100" y="538"/>
                  <a:pt x="100" y="537"/>
                </a:cubicBezTo>
                <a:cubicBezTo>
                  <a:pt x="100" y="535"/>
                  <a:pt x="100" y="532"/>
                  <a:pt x="101" y="531"/>
                </a:cubicBezTo>
                <a:cubicBezTo>
                  <a:pt x="101" y="531"/>
                  <a:pt x="104" y="527"/>
                  <a:pt x="104" y="527"/>
                </a:cubicBezTo>
                <a:cubicBezTo>
                  <a:pt x="109" y="526"/>
                  <a:pt x="109" y="526"/>
                  <a:pt x="109" y="526"/>
                </a:cubicBezTo>
                <a:cubicBezTo>
                  <a:pt x="121" y="525"/>
                  <a:pt x="121" y="525"/>
                  <a:pt x="121" y="525"/>
                </a:cubicBezTo>
                <a:cubicBezTo>
                  <a:pt x="125" y="525"/>
                  <a:pt x="125" y="525"/>
                  <a:pt x="125" y="525"/>
                </a:cubicBezTo>
                <a:cubicBezTo>
                  <a:pt x="130" y="529"/>
                  <a:pt x="130" y="529"/>
                  <a:pt x="130" y="529"/>
                </a:cubicBezTo>
                <a:cubicBezTo>
                  <a:pt x="135" y="534"/>
                  <a:pt x="135" y="534"/>
                  <a:pt x="135" y="534"/>
                </a:cubicBezTo>
                <a:cubicBezTo>
                  <a:pt x="135" y="534"/>
                  <a:pt x="138" y="538"/>
                  <a:pt x="138" y="537"/>
                </a:cubicBezTo>
                <a:cubicBezTo>
                  <a:pt x="139" y="535"/>
                  <a:pt x="140" y="531"/>
                  <a:pt x="141" y="531"/>
                </a:cubicBezTo>
                <a:cubicBezTo>
                  <a:pt x="142" y="531"/>
                  <a:pt x="145" y="535"/>
                  <a:pt x="145" y="535"/>
                </a:cubicBezTo>
                <a:cubicBezTo>
                  <a:pt x="149" y="536"/>
                  <a:pt x="149" y="536"/>
                  <a:pt x="149" y="536"/>
                </a:cubicBezTo>
                <a:cubicBezTo>
                  <a:pt x="152" y="536"/>
                  <a:pt x="152" y="536"/>
                  <a:pt x="152" y="536"/>
                </a:cubicBezTo>
                <a:cubicBezTo>
                  <a:pt x="155" y="533"/>
                  <a:pt x="155" y="533"/>
                  <a:pt x="155" y="533"/>
                </a:cubicBezTo>
                <a:cubicBezTo>
                  <a:pt x="153" y="530"/>
                  <a:pt x="153" y="530"/>
                  <a:pt x="153" y="530"/>
                </a:cubicBezTo>
                <a:cubicBezTo>
                  <a:pt x="157" y="531"/>
                  <a:pt x="157" y="531"/>
                  <a:pt x="157" y="531"/>
                </a:cubicBezTo>
                <a:cubicBezTo>
                  <a:pt x="168" y="532"/>
                  <a:pt x="168" y="532"/>
                  <a:pt x="168" y="532"/>
                </a:cubicBezTo>
                <a:cubicBezTo>
                  <a:pt x="173" y="531"/>
                  <a:pt x="173" y="531"/>
                  <a:pt x="173" y="531"/>
                </a:cubicBezTo>
                <a:cubicBezTo>
                  <a:pt x="177" y="530"/>
                  <a:pt x="177" y="530"/>
                  <a:pt x="177" y="530"/>
                </a:cubicBezTo>
                <a:cubicBezTo>
                  <a:pt x="177" y="532"/>
                  <a:pt x="177" y="532"/>
                  <a:pt x="177" y="532"/>
                </a:cubicBezTo>
                <a:cubicBezTo>
                  <a:pt x="171" y="534"/>
                  <a:pt x="171" y="534"/>
                  <a:pt x="171" y="534"/>
                </a:cubicBezTo>
                <a:cubicBezTo>
                  <a:pt x="171" y="534"/>
                  <a:pt x="168" y="534"/>
                  <a:pt x="169" y="535"/>
                </a:cubicBezTo>
                <a:cubicBezTo>
                  <a:pt x="170" y="537"/>
                  <a:pt x="175" y="539"/>
                  <a:pt x="175" y="539"/>
                </a:cubicBezTo>
                <a:cubicBezTo>
                  <a:pt x="175" y="539"/>
                  <a:pt x="172" y="540"/>
                  <a:pt x="176" y="540"/>
                </a:cubicBezTo>
                <a:cubicBezTo>
                  <a:pt x="180" y="540"/>
                  <a:pt x="182" y="539"/>
                  <a:pt x="182" y="539"/>
                </a:cubicBezTo>
                <a:cubicBezTo>
                  <a:pt x="185" y="536"/>
                  <a:pt x="185" y="536"/>
                  <a:pt x="185" y="536"/>
                </a:cubicBezTo>
                <a:cubicBezTo>
                  <a:pt x="183" y="534"/>
                  <a:pt x="183" y="534"/>
                  <a:pt x="183" y="534"/>
                </a:cubicBezTo>
                <a:cubicBezTo>
                  <a:pt x="178" y="533"/>
                  <a:pt x="178" y="533"/>
                  <a:pt x="178" y="533"/>
                </a:cubicBezTo>
                <a:cubicBezTo>
                  <a:pt x="179" y="529"/>
                  <a:pt x="179" y="529"/>
                  <a:pt x="179" y="529"/>
                </a:cubicBezTo>
                <a:cubicBezTo>
                  <a:pt x="180" y="529"/>
                  <a:pt x="180" y="529"/>
                  <a:pt x="180" y="529"/>
                </a:cubicBezTo>
                <a:cubicBezTo>
                  <a:pt x="183" y="532"/>
                  <a:pt x="183" y="532"/>
                  <a:pt x="183" y="532"/>
                </a:cubicBezTo>
                <a:cubicBezTo>
                  <a:pt x="186" y="530"/>
                  <a:pt x="186" y="530"/>
                  <a:pt x="186" y="530"/>
                </a:cubicBezTo>
                <a:cubicBezTo>
                  <a:pt x="190" y="531"/>
                  <a:pt x="190" y="531"/>
                  <a:pt x="190" y="531"/>
                </a:cubicBezTo>
                <a:cubicBezTo>
                  <a:pt x="192" y="535"/>
                  <a:pt x="192" y="535"/>
                  <a:pt x="192" y="535"/>
                </a:cubicBezTo>
                <a:cubicBezTo>
                  <a:pt x="192" y="535"/>
                  <a:pt x="194" y="537"/>
                  <a:pt x="196" y="535"/>
                </a:cubicBezTo>
                <a:cubicBezTo>
                  <a:pt x="198" y="534"/>
                  <a:pt x="200" y="533"/>
                  <a:pt x="200" y="533"/>
                </a:cubicBezTo>
                <a:cubicBezTo>
                  <a:pt x="212" y="534"/>
                  <a:pt x="212" y="534"/>
                  <a:pt x="212" y="534"/>
                </a:cubicBezTo>
                <a:cubicBezTo>
                  <a:pt x="212" y="534"/>
                  <a:pt x="218" y="533"/>
                  <a:pt x="219" y="535"/>
                </a:cubicBezTo>
                <a:cubicBezTo>
                  <a:pt x="220" y="536"/>
                  <a:pt x="223" y="538"/>
                  <a:pt x="223" y="538"/>
                </a:cubicBezTo>
                <a:cubicBezTo>
                  <a:pt x="228" y="539"/>
                  <a:pt x="228" y="539"/>
                  <a:pt x="228" y="539"/>
                </a:cubicBezTo>
                <a:cubicBezTo>
                  <a:pt x="233" y="539"/>
                  <a:pt x="233" y="539"/>
                  <a:pt x="233" y="539"/>
                </a:cubicBezTo>
                <a:cubicBezTo>
                  <a:pt x="233" y="539"/>
                  <a:pt x="235" y="537"/>
                  <a:pt x="236" y="536"/>
                </a:cubicBezTo>
                <a:cubicBezTo>
                  <a:pt x="238" y="536"/>
                  <a:pt x="241" y="534"/>
                  <a:pt x="242" y="534"/>
                </a:cubicBezTo>
                <a:cubicBezTo>
                  <a:pt x="244" y="534"/>
                  <a:pt x="249" y="533"/>
                  <a:pt x="249" y="533"/>
                </a:cubicBezTo>
                <a:cubicBezTo>
                  <a:pt x="250" y="533"/>
                  <a:pt x="251" y="534"/>
                  <a:pt x="253" y="533"/>
                </a:cubicBezTo>
                <a:cubicBezTo>
                  <a:pt x="254" y="533"/>
                  <a:pt x="257" y="528"/>
                  <a:pt x="257" y="528"/>
                </a:cubicBezTo>
                <a:cubicBezTo>
                  <a:pt x="257" y="528"/>
                  <a:pt x="258" y="526"/>
                  <a:pt x="260" y="526"/>
                </a:cubicBezTo>
                <a:cubicBezTo>
                  <a:pt x="262" y="526"/>
                  <a:pt x="265" y="526"/>
                  <a:pt x="266" y="525"/>
                </a:cubicBezTo>
                <a:cubicBezTo>
                  <a:pt x="267" y="523"/>
                  <a:pt x="268" y="522"/>
                  <a:pt x="269" y="521"/>
                </a:cubicBezTo>
                <a:cubicBezTo>
                  <a:pt x="270" y="520"/>
                  <a:pt x="272" y="517"/>
                  <a:pt x="271" y="516"/>
                </a:cubicBezTo>
                <a:cubicBezTo>
                  <a:pt x="271" y="515"/>
                  <a:pt x="272" y="511"/>
                  <a:pt x="272" y="511"/>
                </a:cubicBezTo>
                <a:cubicBezTo>
                  <a:pt x="272" y="511"/>
                  <a:pt x="269" y="511"/>
                  <a:pt x="268" y="511"/>
                </a:cubicBezTo>
                <a:cubicBezTo>
                  <a:pt x="267" y="510"/>
                  <a:pt x="263" y="511"/>
                  <a:pt x="262" y="510"/>
                </a:cubicBezTo>
                <a:cubicBezTo>
                  <a:pt x="261" y="510"/>
                  <a:pt x="257" y="510"/>
                  <a:pt x="257" y="510"/>
                </a:cubicBezTo>
                <a:cubicBezTo>
                  <a:pt x="256" y="508"/>
                  <a:pt x="256" y="508"/>
                  <a:pt x="256" y="508"/>
                </a:cubicBezTo>
                <a:cubicBezTo>
                  <a:pt x="256" y="508"/>
                  <a:pt x="255" y="507"/>
                  <a:pt x="254" y="506"/>
                </a:cubicBezTo>
                <a:cubicBezTo>
                  <a:pt x="253" y="506"/>
                  <a:pt x="254" y="506"/>
                  <a:pt x="252" y="505"/>
                </a:cubicBezTo>
                <a:cubicBezTo>
                  <a:pt x="251" y="505"/>
                  <a:pt x="249" y="503"/>
                  <a:pt x="249" y="503"/>
                </a:cubicBezTo>
                <a:cubicBezTo>
                  <a:pt x="246" y="502"/>
                  <a:pt x="246" y="502"/>
                  <a:pt x="246" y="502"/>
                </a:cubicBezTo>
                <a:cubicBezTo>
                  <a:pt x="242" y="502"/>
                  <a:pt x="242" y="502"/>
                  <a:pt x="242" y="502"/>
                </a:cubicBezTo>
                <a:cubicBezTo>
                  <a:pt x="246" y="500"/>
                  <a:pt x="246" y="500"/>
                  <a:pt x="246" y="500"/>
                </a:cubicBezTo>
                <a:cubicBezTo>
                  <a:pt x="246" y="500"/>
                  <a:pt x="250" y="500"/>
                  <a:pt x="251" y="500"/>
                </a:cubicBezTo>
                <a:cubicBezTo>
                  <a:pt x="252" y="501"/>
                  <a:pt x="256" y="501"/>
                  <a:pt x="256" y="500"/>
                </a:cubicBezTo>
                <a:cubicBezTo>
                  <a:pt x="257" y="500"/>
                  <a:pt x="260" y="495"/>
                  <a:pt x="260" y="495"/>
                </a:cubicBezTo>
                <a:cubicBezTo>
                  <a:pt x="259" y="492"/>
                  <a:pt x="259" y="492"/>
                  <a:pt x="259" y="492"/>
                </a:cubicBezTo>
                <a:cubicBezTo>
                  <a:pt x="257" y="490"/>
                  <a:pt x="257" y="490"/>
                  <a:pt x="257" y="490"/>
                </a:cubicBezTo>
                <a:cubicBezTo>
                  <a:pt x="253" y="491"/>
                  <a:pt x="253" y="491"/>
                  <a:pt x="253" y="491"/>
                </a:cubicBezTo>
                <a:cubicBezTo>
                  <a:pt x="259" y="488"/>
                  <a:pt x="259" y="488"/>
                  <a:pt x="259" y="488"/>
                </a:cubicBezTo>
                <a:cubicBezTo>
                  <a:pt x="261" y="486"/>
                  <a:pt x="261" y="486"/>
                  <a:pt x="261" y="486"/>
                </a:cubicBezTo>
                <a:cubicBezTo>
                  <a:pt x="264" y="488"/>
                  <a:pt x="264" y="488"/>
                  <a:pt x="264" y="488"/>
                </a:cubicBezTo>
                <a:cubicBezTo>
                  <a:pt x="264" y="488"/>
                  <a:pt x="269" y="489"/>
                  <a:pt x="269" y="488"/>
                </a:cubicBezTo>
                <a:cubicBezTo>
                  <a:pt x="270" y="487"/>
                  <a:pt x="271" y="485"/>
                  <a:pt x="271" y="485"/>
                </a:cubicBezTo>
                <a:cubicBezTo>
                  <a:pt x="271" y="482"/>
                  <a:pt x="271" y="482"/>
                  <a:pt x="271" y="482"/>
                </a:cubicBezTo>
                <a:cubicBezTo>
                  <a:pt x="281" y="475"/>
                  <a:pt x="281" y="475"/>
                  <a:pt x="281" y="475"/>
                </a:cubicBezTo>
                <a:cubicBezTo>
                  <a:pt x="285" y="469"/>
                  <a:pt x="285" y="469"/>
                  <a:pt x="285" y="469"/>
                </a:cubicBezTo>
                <a:cubicBezTo>
                  <a:pt x="286" y="463"/>
                  <a:pt x="286" y="463"/>
                  <a:pt x="286" y="463"/>
                </a:cubicBezTo>
                <a:cubicBezTo>
                  <a:pt x="291" y="454"/>
                  <a:pt x="291" y="454"/>
                  <a:pt x="291" y="454"/>
                </a:cubicBezTo>
                <a:cubicBezTo>
                  <a:pt x="290" y="442"/>
                  <a:pt x="290" y="442"/>
                  <a:pt x="290" y="442"/>
                </a:cubicBezTo>
                <a:cubicBezTo>
                  <a:pt x="285" y="434"/>
                  <a:pt x="285" y="434"/>
                  <a:pt x="285" y="434"/>
                </a:cubicBezTo>
                <a:cubicBezTo>
                  <a:pt x="285" y="434"/>
                  <a:pt x="279" y="429"/>
                  <a:pt x="277" y="428"/>
                </a:cubicBezTo>
                <a:cubicBezTo>
                  <a:pt x="275" y="428"/>
                  <a:pt x="264" y="425"/>
                  <a:pt x="264" y="425"/>
                </a:cubicBezTo>
                <a:cubicBezTo>
                  <a:pt x="256" y="423"/>
                  <a:pt x="256" y="423"/>
                  <a:pt x="256" y="423"/>
                </a:cubicBezTo>
                <a:cubicBezTo>
                  <a:pt x="252" y="425"/>
                  <a:pt x="252" y="425"/>
                  <a:pt x="252" y="425"/>
                </a:cubicBezTo>
                <a:cubicBezTo>
                  <a:pt x="251" y="428"/>
                  <a:pt x="251" y="428"/>
                  <a:pt x="251" y="428"/>
                </a:cubicBezTo>
                <a:cubicBezTo>
                  <a:pt x="248" y="430"/>
                  <a:pt x="248" y="430"/>
                  <a:pt x="248" y="430"/>
                </a:cubicBezTo>
                <a:cubicBezTo>
                  <a:pt x="248" y="430"/>
                  <a:pt x="245" y="432"/>
                  <a:pt x="245" y="432"/>
                </a:cubicBezTo>
                <a:cubicBezTo>
                  <a:pt x="244" y="432"/>
                  <a:pt x="242" y="429"/>
                  <a:pt x="242" y="429"/>
                </a:cubicBezTo>
                <a:cubicBezTo>
                  <a:pt x="242" y="429"/>
                  <a:pt x="239" y="426"/>
                  <a:pt x="239" y="426"/>
                </a:cubicBezTo>
                <a:cubicBezTo>
                  <a:pt x="238" y="426"/>
                  <a:pt x="235" y="425"/>
                  <a:pt x="235" y="425"/>
                </a:cubicBezTo>
                <a:cubicBezTo>
                  <a:pt x="239" y="422"/>
                  <a:pt x="239" y="422"/>
                  <a:pt x="239" y="422"/>
                </a:cubicBezTo>
                <a:cubicBezTo>
                  <a:pt x="244" y="420"/>
                  <a:pt x="244" y="420"/>
                  <a:pt x="244" y="420"/>
                </a:cubicBezTo>
                <a:cubicBezTo>
                  <a:pt x="244" y="420"/>
                  <a:pt x="246" y="418"/>
                  <a:pt x="246" y="417"/>
                </a:cubicBezTo>
                <a:cubicBezTo>
                  <a:pt x="247" y="417"/>
                  <a:pt x="249" y="415"/>
                  <a:pt x="249" y="415"/>
                </a:cubicBezTo>
                <a:cubicBezTo>
                  <a:pt x="250" y="407"/>
                  <a:pt x="250" y="407"/>
                  <a:pt x="250" y="407"/>
                </a:cubicBezTo>
                <a:cubicBezTo>
                  <a:pt x="248" y="399"/>
                  <a:pt x="248" y="399"/>
                  <a:pt x="248" y="399"/>
                </a:cubicBezTo>
                <a:cubicBezTo>
                  <a:pt x="245" y="395"/>
                  <a:pt x="245" y="395"/>
                  <a:pt x="245" y="395"/>
                </a:cubicBezTo>
                <a:cubicBezTo>
                  <a:pt x="243" y="391"/>
                  <a:pt x="243" y="391"/>
                  <a:pt x="243" y="391"/>
                </a:cubicBezTo>
                <a:cubicBezTo>
                  <a:pt x="241" y="391"/>
                  <a:pt x="241" y="391"/>
                  <a:pt x="241" y="391"/>
                </a:cubicBezTo>
                <a:cubicBezTo>
                  <a:pt x="237" y="388"/>
                  <a:pt x="237" y="388"/>
                  <a:pt x="237" y="388"/>
                </a:cubicBezTo>
                <a:cubicBezTo>
                  <a:pt x="234" y="384"/>
                  <a:pt x="234" y="384"/>
                  <a:pt x="234" y="384"/>
                </a:cubicBezTo>
                <a:cubicBezTo>
                  <a:pt x="233" y="381"/>
                  <a:pt x="233" y="381"/>
                  <a:pt x="233" y="381"/>
                </a:cubicBezTo>
                <a:cubicBezTo>
                  <a:pt x="234" y="379"/>
                  <a:pt x="234" y="379"/>
                  <a:pt x="234" y="379"/>
                </a:cubicBezTo>
                <a:cubicBezTo>
                  <a:pt x="235" y="380"/>
                  <a:pt x="235" y="380"/>
                  <a:pt x="235" y="380"/>
                </a:cubicBezTo>
                <a:cubicBezTo>
                  <a:pt x="235" y="380"/>
                  <a:pt x="235" y="382"/>
                  <a:pt x="236" y="382"/>
                </a:cubicBezTo>
                <a:cubicBezTo>
                  <a:pt x="236" y="383"/>
                  <a:pt x="237" y="384"/>
                  <a:pt x="237" y="384"/>
                </a:cubicBezTo>
                <a:cubicBezTo>
                  <a:pt x="238" y="385"/>
                  <a:pt x="242" y="387"/>
                  <a:pt x="242" y="387"/>
                </a:cubicBezTo>
                <a:cubicBezTo>
                  <a:pt x="244" y="387"/>
                  <a:pt x="244" y="387"/>
                  <a:pt x="244" y="387"/>
                </a:cubicBezTo>
                <a:cubicBezTo>
                  <a:pt x="246" y="390"/>
                  <a:pt x="246" y="390"/>
                  <a:pt x="246" y="390"/>
                </a:cubicBezTo>
                <a:cubicBezTo>
                  <a:pt x="246" y="390"/>
                  <a:pt x="247" y="387"/>
                  <a:pt x="247" y="387"/>
                </a:cubicBezTo>
                <a:cubicBezTo>
                  <a:pt x="247" y="386"/>
                  <a:pt x="244" y="382"/>
                  <a:pt x="244" y="382"/>
                </a:cubicBezTo>
                <a:cubicBezTo>
                  <a:pt x="243" y="382"/>
                  <a:pt x="242" y="378"/>
                  <a:pt x="242" y="378"/>
                </a:cubicBezTo>
                <a:cubicBezTo>
                  <a:pt x="241" y="377"/>
                  <a:pt x="239" y="371"/>
                  <a:pt x="239" y="371"/>
                </a:cubicBezTo>
                <a:cubicBezTo>
                  <a:pt x="239" y="371"/>
                  <a:pt x="238" y="369"/>
                  <a:pt x="238" y="368"/>
                </a:cubicBezTo>
                <a:cubicBezTo>
                  <a:pt x="238" y="368"/>
                  <a:pt x="238" y="363"/>
                  <a:pt x="238" y="363"/>
                </a:cubicBezTo>
                <a:cubicBezTo>
                  <a:pt x="240" y="362"/>
                  <a:pt x="240" y="362"/>
                  <a:pt x="240" y="362"/>
                </a:cubicBezTo>
                <a:cubicBezTo>
                  <a:pt x="242" y="360"/>
                  <a:pt x="242" y="360"/>
                  <a:pt x="242" y="360"/>
                </a:cubicBezTo>
                <a:cubicBezTo>
                  <a:pt x="242" y="360"/>
                  <a:pt x="241" y="360"/>
                  <a:pt x="241" y="359"/>
                </a:cubicBezTo>
                <a:cubicBezTo>
                  <a:pt x="240" y="357"/>
                  <a:pt x="238" y="355"/>
                  <a:pt x="238" y="355"/>
                </a:cubicBezTo>
                <a:cubicBezTo>
                  <a:pt x="238" y="355"/>
                  <a:pt x="236" y="354"/>
                  <a:pt x="235" y="353"/>
                </a:cubicBezTo>
                <a:cubicBezTo>
                  <a:pt x="235" y="351"/>
                  <a:pt x="234" y="349"/>
                  <a:pt x="234" y="349"/>
                </a:cubicBezTo>
                <a:cubicBezTo>
                  <a:pt x="234" y="348"/>
                  <a:pt x="233" y="342"/>
                  <a:pt x="233" y="342"/>
                </a:cubicBezTo>
                <a:cubicBezTo>
                  <a:pt x="228" y="337"/>
                  <a:pt x="228" y="337"/>
                  <a:pt x="228" y="337"/>
                </a:cubicBezTo>
                <a:cubicBezTo>
                  <a:pt x="228" y="337"/>
                  <a:pt x="226" y="335"/>
                  <a:pt x="225" y="334"/>
                </a:cubicBezTo>
                <a:cubicBezTo>
                  <a:pt x="225" y="334"/>
                  <a:pt x="222" y="333"/>
                  <a:pt x="222" y="333"/>
                </a:cubicBezTo>
                <a:cubicBezTo>
                  <a:pt x="221" y="333"/>
                  <a:pt x="216" y="330"/>
                  <a:pt x="216" y="330"/>
                </a:cubicBezTo>
                <a:cubicBezTo>
                  <a:pt x="216" y="330"/>
                  <a:pt x="212" y="325"/>
                  <a:pt x="212" y="324"/>
                </a:cubicBezTo>
                <a:cubicBezTo>
                  <a:pt x="212" y="323"/>
                  <a:pt x="210" y="317"/>
                  <a:pt x="210" y="317"/>
                </a:cubicBezTo>
                <a:cubicBezTo>
                  <a:pt x="210" y="313"/>
                  <a:pt x="210" y="313"/>
                  <a:pt x="210" y="313"/>
                </a:cubicBezTo>
                <a:cubicBezTo>
                  <a:pt x="208" y="305"/>
                  <a:pt x="208" y="305"/>
                  <a:pt x="208" y="305"/>
                </a:cubicBezTo>
                <a:cubicBezTo>
                  <a:pt x="207" y="297"/>
                  <a:pt x="207" y="297"/>
                  <a:pt x="207" y="297"/>
                </a:cubicBezTo>
                <a:cubicBezTo>
                  <a:pt x="207" y="289"/>
                  <a:pt x="207" y="289"/>
                  <a:pt x="207" y="289"/>
                </a:cubicBezTo>
                <a:cubicBezTo>
                  <a:pt x="207" y="282"/>
                  <a:pt x="207" y="282"/>
                  <a:pt x="207" y="282"/>
                </a:cubicBezTo>
                <a:cubicBezTo>
                  <a:pt x="207" y="276"/>
                  <a:pt x="207" y="276"/>
                  <a:pt x="207" y="276"/>
                </a:cubicBezTo>
                <a:cubicBezTo>
                  <a:pt x="202" y="270"/>
                  <a:pt x="202" y="270"/>
                  <a:pt x="202" y="270"/>
                </a:cubicBezTo>
                <a:cubicBezTo>
                  <a:pt x="200" y="264"/>
                  <a:pt x="200" y="264"/>
                  <a:pt x="200" y="264"/>
                </a:cubicBezTo>
                <a:cubicBezTo>
                  <a:pt x="194" y="258"/>
                  <a:pt x="194" y="258"/>
                  <a:pt x="194" y="258"/>
                </a:cubicBezTo>
                <a:cubicBezTo>
                  <a:pt x="190" y="253"/>
                  <a:pt x="190" y="253"/>
                  <a:pt x="190" y="253"/>
                </a:cubicBezTo>
                <a:cubicBezTo>
                  <a:pt x="187" y="252"/>
                  <a:pt x="187" y="252"/>
                  <a:pt x="187" y="252"/>
                </a:cubicBezTo>
                <a:cubicBezTo>
                  <a:pt x="182" y="246"/>
                  <a:pt x="182" y="246"/>
                  <a:pt x="182" y="246"/>
                </a:cubicBezTo>
                <a:cubicBezTo>
                  <a:pt x="178" y="245"/>
                  <a:pt x="178" y="245"/>
                  <a:pt x="178" y="245"/>
                </a:cubicBezTo>
                <a:cubicBezTo>
                  <a:pt x="174" y="247"/>
                  <a:pt x="174" y="247"/>
                  <a:pt x="174" y="247"/>
                </a:cubicBezTo>
                <a:cubicBezTo>
                  <a:pt x="170" y="248"/>
                  <a:pt x="170" y="248"/>
                  <a:pt x="170" y="248"/>
                </a:cubicBezTo>
                <a:cubicBezTo>
                  <a:pt x="166" y="249"/>
                  <a:pt x="166" y="249"/>
                  <a:pt x="166" y="249"/>
                </a:cubicBezTo>
                <a:cubicBezTo>
                  <a:pt x="159" y="246"/>
                  <a:pt x="159" y="246"/>
                  <a:pt x="159" y="246"/>
                </a:cubicBezTo>
                <a:cubicBezTo>
                  <a:pt x="156" y="243"/>
                  <a:pt x="156" y="243"/>
                  <a:pt x="156" y="243"/>
                </a:cubicBezTo>
                <a:cubicBezTo>
                  <a:pt x="152" y="242"/>
                  <a:pt x="152" y="242"/>
                  <a:pt x="152" y="242"/>
                </a:cubicBezTo>
                <a:cubicBezTo>
                  <a:pt x="150" y="242"/>
                  <a:pt x="150" y="242"/>
                  <a:pt x="150" y="242"/>
                </a:cubicBezTo>
                <a:cubicBezTo>
                  <a:pt x="150" y="242"/>
                  <a:pt x="150" y="241"/>
                  <a:pt x="150" y="241"/>
                </a:cubicBezTo>
                <a:cubicBezTo>
                  <a:pt x="150" y="241"/>
                  <a:pt x="152" y="241"/>
                  <a:pt x="152" y="241"/>
                </a:cubicBezTo>
                <a:cubicBezTo>
                  <a:pt x="152" y="241"/>
                  <a:pt x="154" y="242"/>
                  <a:pt x="155" y="242"/>
                </a:cubicBezTo>
                <a:cubicBezTo>
                  <a:pt x="155" y="242"/>
                  <a:pt x="158" y="243"/>
                  <a:pt x="158" y="243"/>
                </a:cubicBezTo>
                <a:cubicBezTo>
                  <a:pt x="158" y="243"/>
                  <a:pt x="159" y="244"/>
                  <a:pt x="160" y="244"/>
                </a:cubicBezTo>
                <a:cubicBezTo>
                  <a:pt x="161" y="244"/>
                  <a:pt x="164" y="244"/>
                  <a:pt x="164" y="244"/>
                </a:cubicBezTo>
                <a:cubicBezTo>
                  <a:pt x="167" y="242"/>
                  <a:pt x="167" y="242"/>
                  <a:pt x="167" y="242"/>
                </a:cubicBezTo>
                <a:cubicBezTo>
                  <a:pt x="168" y="239"/>
                  <a:pt x="168" y="239"/>
                  <a:pt x="168" y="239"/>
                </a:cubicBezTo>
                <a:cubicBezTo>
                  <a:pt x="171" y="238"/>
                  <a:pt x="171" y="238"/>
                  <a:pt x="171" y="238"/>
                </a:cubicBezTo>
                <a:cubicBezTo>
                  <a:pt x="173" y="237"/>
                  <a:pt x="173" y="237"/>
                  <a:pt x="173" y="237"/>
                </a:cubicBezTo>
                <a:cubicBezTo>
                  <a:pt x="175" y="237"/>
                  <a:pt x="175" y="237"/>
                  <a:pt x="175" y="237"/>
                </a:cubicBezTo>
                <a:cubicBezTo>
                  <a:pt x="175" y="237"/>
                  <a:pt x="176" y="239"/>
                  <a:pt x="178" y="238"/>
                </a:cubicBezTo>
                <a:cubicBezTo>
                  <a:pt x="180" y="238"/>
                  <a:pt x="181" y="237"/>
                  <a:pt x="181" y="237"/>
                </a:cubicBezTo>
                <a:cubicBezTo>
                  <a:pt x="181" y="237"/>
                  <a:pt x="185" y="235"/>
                  <a:pt x="184" y="235"/>
                </a:cubicBezTo>
                <a:cubicBezTo>
                  <a:pt x="184" y="234"/>
                  <a:pt x="184" y="233"/>
                  <a:pt x="183" y="233"/>
                </a:cubicBezTo>
                <a:cubicBezTo>
                  <a:pt x="183" y="232"/>
                  <a:pt x="181" y="230"/>
                  <a:pt x="181" y="230"/>
                </a:cubicBezTo>
                <a:cubicBezTo>
                  <a:pt x="181" y="230"/>
                  <a:pt x="180" y="230"/>
                  <a:pt x="180" y="229"/>
                </a:cubicBezTo>
                <a:cubicBezTo>
                  <a:pt x="180" y="228"/>
                  <a:pt x="180" y="226"/>
                  <a:pt x="180" y="226"/>
                </a:cubicBezTo>
                <a:cubicBezTo>
                  <a:pt x="178" y="224"/>
                  <a:pt x="178" y="224"/>
                  <a:pt x="178" y="224"/>
                </a:cubicBezTo>
                <a:cubicBezTo>
                  <a:pt x="178" y="224"/>
                  <a:pt x="177" y="224"/>
                  <a:pt x="176" y="224"/>
                </a:cubicBezTo>
                <a:cubicBezTo>
                  <a:pt x="175" y="224"/>
                  <a:pt x="174" y="225"/>
                  <a:pt x="174" y="225"/>
                </a:cubicBezTo>
                <a:cubicBezTo>
                  <a:pt x="170" y="226"/>
                  <a:pt x="170" y="226"/>
                  <a:pt x="170" y="226"/>
                </a:cubicBezTo>
                <a:cubicBezTo>
                  <a:pt x="165" y="227"/>
                  <a:pt x="165" y="227"/>
                  <a:pt x="165" y="227"/>
                </a:cubicBezTo>
                <a:cubicBezTo>
                  <a:pt x="165" y="226"/>
                  <a:pt x="165" y="226"/>
                  <a:pt x="165" y="226"/>
                </a:cubicBezTo>
                <a:cubicBezTo>
                  <a:pt x="170" y="225"/>
                  <a:pt x="170" y="225"/>
                  <a:pt x="170" y="225"/>
                </a:cubicBezTo>
                <a:cubicBezTo>
                  <a:pt x="173" y="223"/>
                  <a:pt x="173" y="223"/>
                  <a:pt x="173" y="223"/>
                </a:cubicBezTo>
                <a:cubicBezTo>
                  <a:pt x="173" y="223"/>
                  <a:pt x="173" y="222"/>
                  <a:pt x="174" y="222"/>
                </a:cubicBezTo>
                <a:cubicBezTo>
                  <a:pt x="175" y="222"/>
                  <a:pt x="178" y="223"/>
                  <a:pt x="178" y="223"/>
                </a:cubicBezTo>
                <a:cubicBezTo>
                  <a:pt x="179" y="223"/>
                  <a:pt x="183" y="223"/>
                  <a:pt x="183" y="223"/>
                </a:cubicBezTo>
                <a:cubicBezTo>
                  <a:pt x="183" y="223"/>
                  <a:pt x="186" y="221"/>
                  <a:pt x="186" y="220"/>
                </a:cubicBezTo>
                <a:cubicBezTo>
                  <a:pt x="187" y="220"/>
                  <a:pt x="191" y="218"/>
                  <a:pt x="191" y="218"/>
                </a:cubicBezTo>
                <a:cubicBezTo>
                  <a:pt x="191" y="215"/>
                  <a:pt x="191" y="215"/>
                  <a:pt x="191" y="215"/>
                </a:cubicBezTo>
                <a:cubicBezTo>
                  <a:pt x="191" y="215"/>
                  <a:pt x="192" y="212"/>
                  <a:pt x="193" y="212"/>
                </a:cubicBezTo>
                <a:cubicBezTo>
                  <a:pt x="193" y="212"/>
                  <a:pt x="197" y="209"/>
                  <a:pt x="197" y="209"/>
                </a:cubicBezTo>
                <a:cubicBezTo>
                  <a:pt x="201" y="205"/>
                  <a:pt x="201" y="205"/>
                  <a:pt x="201" y="205"/>
                </a:cubicBezTo>
                <a:cubicBezTo>
                  <a:pt x="203" y="200"/>
                  <a:pt x="203" y="200"/>
                  <a:pt x="203" y="200"/>
                </a:cubicBezTo>
                <a:cubicBezTo>
                  <a:pt x="205" y="196"/>
                  <a:pt x="205" y="196"/>
                  <a:pt x="205" y="196"/>
                </a:cubicBezTo>
                <a:cubicBezTo>
                  <a:pt x="205" y="196"/>
                  <a:pt x="209" y="193"/>
                  <a:pt x="208" y="192"/>
                </a:cubicBezTo>
                <a:cubicBezTo>
                  <a:pt x="208" y="190"/>
                  <a:pt x="208" y="187"/>
                  <a:pt x="208" y="187"/>
                </a:cubicBezTo>
                <a:cubicBezTo>
                  <a:pt x="208" y="187"/>
                  <a:pt x="211" y="185"/>
                  <a:pt x="212" y="184"/>
                </a:cubicBezTo>
                <a:cubicBezTo>
                  <a:pt x="212" y="183"/>
                  <a:pt x="219" y="178"/>
                  <a:pt x="219" y="178"/>
                </a:cubicBezTo>
                <a:cubicBezTo>
                  <a:pt x="220" y="173"/>
                  <a:pt x="220" y="173"/>
                  <a:pt x="220" y="173"/>
                </a:cubicBezTo>
                <a:cubicBezTo>
                  <a:pt x="219" y="171"/>
                  <a:pt x="219" y="171"/>
                  <a:pt x="219" y="171"/>
                </a:cubicBezTo>
                <a:cubicBezTo>
                  <a:pt x="218" y="168"/>
                  <a:pt x="218" y="168"/>
                  <a:pt x="218" y="168"/>
                </a:cubicBezTo>
                <a:cubicBezTo>
                  <a:pt x="216" y="165"/>
                  <a:pt x="216" y="165"/>
                  <a:pt x="216" y="165"/>
                </a:cubicBezTo>
                <a:cubicBezTo>
                  <a:pt x="214" y="162"/>
                  <a:pt x="214" y="162"/>
                  <a:pt x="214" y="162"/>
                </a:cubicBezTo>
                <a:cubicBezTo>
                  <a:pt x="210" y="162"/>
                  <a:pt x="210" y="162"/>
                  <a:pt x="210" y="162"/>
                </a:cubicBezTo>
                <a:cubicBezTo>
                  <a:pt x="210" y="162"/>
                  <a:pt x="209" y="164"/>
                  <a:pt x="209" y="163"/>
                </a:cubicBezTo>
                <a:cubicBezTo>
                  <a:pt x="208" y="163"/>
                  <a:pt x="206" y="161"/>
                  <a:pt x="206" y="161"/>
                </a:cubicBezTo>
                <a:cubicBezTo>
                  <a:pt x="202" y="162"/>
                  <a:pt x="202" y="162"/>
                  <a:pt x="202" y="162"/>
                </a:cubicBezTo>
                <a:cubicBezTo>
                  <a:pt x="197" y="161"/>
                  <a:pt x="197" y="161"/>
                  <a:pt x="197" y="161"/>
                </a:cubicBezTo>
                <a:cubicBezTo>
                  <a:pt x="196" y="159"/>
                  <a:pt x="196" y="159"/>
                  <a:pt x="196" y="159"/>
                </a:cubicBezTo>
                <a:cubicBezTo>
                  <a:pt x="192" y="159"/>
                  <a:pt x="192" y="159"/>
                  <a:pt x="192" y="159"/>
                </a:cubicBezTo>
                <a:cubicBezTo>
                  <a:pt x="190" y="158"/>
                  <a:pt x="190" y="158"/>
                  <a:pt x="190" y="158"/>
                </a:cubicBezTo>
                <a:cubicBezTo>
                  <a:pt x="186" y="159"/>
                  <a:pt x="186" y="159"/>
                  <a:pt x="186" y="159"/>
                </a:cubicBezTo>
                <a:cubicBezTo>
                  <a:pt x="183" y="159"/>
                  <a:pt x="183" y="159"/>
                  <a:pt x="183" y="159"/>
                </a:cubicBezTo>
                <a:cubicBezTo>
                  <a:pt x="181" y="158"/>
                  <a:pt x="181" y="158"/>
                  <a:pt x="181" y="158"/>
                </a:cubicBezTo>
                <a:cubicBezTo>
                  <a:pt x="178" y="155"/>
                  <a:pt x="178" y="155"/>
                  <a:pt x="178" y="155"/>
                </a:cubicBezTo>
                <a:cubicBezTo>
                  <a:pt x="172" y="155"/>
                  <a:pt x="172" y="155"/>
                  <a:pt x="172" y="155"/>
                </a:cubicBezTo>
                <a:cubicBezTo>
                  <a:pt x="171" y="157"/>
                  <a:pt x="171" y="157"/>
                  <a:pt x="171" y="157"/>
                </a:cubicBezTo>
                <a:cubicBezTo>
                  <a:pt x="167" y="157"/>
                  <a:pt x="167" y="157"/>
                  <a:pt x="167" y="157"/>
                </a:cubicBezTo>
                <a:cubicBezTo>
                  <a:pt x="167" y="157"/>
                  <a:pt x="166" y="157"/>
                  <a:pt x="165" y="157"/>
                </a:cubicBezTo>
                <a:cubicBezTo>
                  <a:pt x="165" y="157"/>
                  <a:pt x="163" y="158"/>
                  <a:pt x="163" y="158"/>
                </a:cubicBezTo>
                <a:cubicBezTo>
                  <a:pt x="161" y="159"/>
                  <a:pt x="161" y="159"/>
                  <a:pt x="161" y="159"/>
                </a:cubicBezTo>
                <a:cubicBezTo>
                  <a:pt x="159" y="159"/>
                  <a:pt x="159" y="159"/>
                  <a:pt x="159" y="159"/>
                </a:cubicBezTo>
                <a:cubicBezTo>
                  <a:pt x="155" y="158"/>
                  <a:pt x="155" y="158"/>
                  <a:pt x="155" y="158"/>
                </a:cubicBezTo>
                <a:cubicBezTo>
                  <a:pt x="153" y="161"/>
                  <a:pt x="153" y="161"/>
                  <a:pt x="153" y="161"/>
                </a:cubicBezTo>
                <a:cubicBezTo>
                  <a:pt x="150" y="162"/>
                  <a:pt x="150" y="162"/>
                  <a:pt x="150" y="162"/>
                </a:cubicBezTo>
                <a:cubicBezTo>
                  <a:pt x="147" y="165"/>
                  <a:pt x="147" y="165"/>
                  <a:pt x="147" y="165"/>
                </a:cubicBezTo>
                <a:cubicBezTo>
                  <a:pt x="148" y="162"/>
                  <a:pt x="148" y="162"/>
                  <a:pt x="148" y="162"/>
                </a:cubicBezTo>
                <a:cubicBezTo>
                  <a:pt x="150" y="160"/>
                  <a:pt x="150" y="160"/>
                  <a:pt x="150" y="160"/>
                </a:cubicBezTo>
                <a:cubicBezTo>
                  <a:pt x="153" y="159"/>
                  <a:pt x="153" y="159"/>
                  <a:pt x="153" y="159"/>
                </a:cubicBezTo>
                <a:cubicBezTo>
                  <a:pt x="155" y="156"/>
                  <a:pt x="155" y="156"/>
                  <a:pt x="155" y="156"/>
                </a:cubicBezTo>
                <a:cubicBezTo>
                  <a:pt x="155" y="156"/>
                  <a:pt x="157" y="155"/>
                  <a:pt x="157" y="154"/>
                </a:cubicBezTo>
                <a:cubicBezTo>
                  <a:pt x="158" y="154"/>
                  <a:pt x="160" y="152"/>
                  <a:pt x="160" y="152"/>
                </a:cubicBezTo>
                <a:cubicBezTo>
                  <a:pt x="157" y="151"/>
                  <a:pt x="157" y="151"/>
                  <a:pt x="157" y="151"/>
                </a:cubicBezTo>
                <a:cubicBezTo>
                  <a:pt x="154" y="153"/>
                  <a:pt x="154" y="153"/>
                  <a:pt x="154" y="153"/>
                </a:cubicBezTo>
                <a:cubicBezTo>
                  <a:pt x="154" y="153"/>
                  <a:pt x="153" y="153"/>
                  <a:pt x="152" y="153"/>
                </a:cubicBezTo>
                <a:cubicBezTo>
                  <a:pt x="152" y="153"/>
                  <a:pt x="149" y="154"/>
                  <a:pt x="149" y="154"/>
                </a:cubicBezTo>
                <a:cubicBezTo>
                  <a:pt x="143" y="156"/>
                  <a:pt x="143" y="156"/>
                  <a:pt x="143" y="156"/>
                </a:cubicBezTo>
                <a:cubicBezTo>
                  <a:pt x="149" y="153"/>
                  <a:pt x="149" y="153"/>
                  <a:pt x="149" y="153"/>
                </a:cubicBezTo>
                <a:cubicBezTo>
                  <a:pt x="149" y="153"/>
                  <a:pt x="151" y="152"/>
                  <a:pt x="152" y="151"/>
                </a:cubicBezTo>
                <a:cubicBezTo>
                  <a:pt x="153" y="151"/>
                  <a:pt x="155" y="150"/>
                  <a:pt x="155" y="150"/>
                </a:cubicBezTo>
                <a:cubicBezTo>
                  <a:pt x="156" y="150"/>
                  <a:pt x="158" y="149"/>
                  <a:pt x="158" y="149"/>
                </a:cubicBezTo>
                <a:cubicBezTo>
                  <a:pt x="159" y="150"/>
                  <a:pt x="161" y="151"/>
                  <a:pt x="162" y="150"/>
                </a:cubicBezTo>
                <a:cubicBezTo>
                  <a:pt x="162" y="150"/>
                  <a:pt x="163" y="148"/>
                  <a:pt x="164" y="148"/>
                </a:cubicBezTo>
                <a:cubicBezTo>
                  <a:pt x="164" y="147"/>
                  <a:pt x="166" y="145"/>
                  <a:pt x="166" y="145"/>
                </a:cubicBezTo>
                <a:cubicBezTo>
                  <a:pt x="160" y="145"/>
                  <a:pt x="160" y="145"/>
                  <a:pt x="160" y="145"/>
                </a:cubicBezTo>
                <a:cubicBezTo>
                  <a:pt x="160" y="145"/>
                  <a:pt x="159" y="146"/>
                  <a:pt x="158" y="146"/>
                </a:cubicBezTo>
                <a:cubicBezTo>
                  <a:pt x="157" y="145"/>
                  <a:pt x="155" y="145"/>
                  <a:pt x="154" y="144"/>
                </a:cubicBezTo>
                <a:cubicBezTo>
                  <a:pt x="154" y="144"/>
                  <a:pt x="153" y="143"/>
                  <a:pt x="153" y="143"/>
                </a:cubicBezTo>
                <a:cubicBezTo>
                  <a:pt x="152" y="143"/>
                  <a:pt x="150" y="141"/>
                  <a:pt x="150" y="141"/>
                </a:cubicBezTo>
                <a:cubicBezTo>
                  <a:pt x="151" y="140"/>
                  <a:pt x="151" y="140"/>
                  <a:pt x="151" y="140"/>
                </a:cubicBezTo>
                <a:cubicBezTo>
                  <a:pt x="153" y="142"/>
                  <a:pt x="153" y="142"/>
                  <a:pt x="153" y="142"/>
                </a:cubicBezTo>
                <a:cubicBezTo>
                  <a:pt x="153" y="142"/>
                  <a:pt x="154" y="143"/>
                  <a:pt x="155" y="143"/>
                </a:cubicBezTo>
                <a:cubicBezTo>
                  <a:pt x="156" y="143"/>
                  <a:pt x="157" y="142"/>
                  <a:pt x="159" y="142"/>
                </a:cubicBezTo>
                <a:cubicBezTo>
                  <a:pt x="160" y="143"/>
                  <a:pt x="162" y="140"/>
                  <a:pt x="162" y="140"/>
                </a:cubicBezTo>
                <a:cubicBezTo>
                  <a:pt x="162" y="140"/>
                  <a:pt x="160" y="140"/>
                  <a:pt x="163" y="139"/>
                </a:cubicBezTo>
                <a:cubicBezTo>
                  <a:pt x="165" y="137"/>
                  <a:pt x="164" y="138"/>
                  <a:pt x="166" y="136"/>
                </a:cubicBezTo>
                <a:cubicBezTo>
                  <a:pt x="168" y="135"/>
                  <a:pt x="173" y="132"/>
                  <a:pt x="173" y="132"/>
                </a:cubicBezTo>
                <a:cubicBezTo>
                  <a:pt x="179" y="130"/>
                  <a:pt x="179" y="130"/>
                  <a:pt x="179" y="130"/>
                </a:cubicBezTo>
                <a:cubicBezTo>
                  <a:pt x="183" y="125"/>
                  <a:pt x="183" y="125"/>
                  <a:pt x="183" y="125"/>
                </a:cubicBezTo>
                <a:cubicBezTo>
                  <a:pt x="186" y="125"/>
                  <a:pt x="186" y="125"/>
                  <a:pt x="186" y="125"/>
                </a:cubicBezTo>
                <a:cubicBezTo>
                  <a:pt x="190" y="121"/>
                  <a:pt x="190" y="121"/>
                  <a:pt x="190" y="121"/>
                </a:cubicBezTo>
                <a:cubicBezTo>
                  <a:pt x="192" y="119"/>
                  <a:pt x="192" y="119"/>
                  <a:pt x="192" y="119"/>
                </a:cubicBezTo>
                <a:cubicBezTo>
                  <a:pt x="191" y="114"/>
                  <a:pt x="191" y="114"/>
                  <a:pt x="191" y="114"/>
                </a:cubicBezTo>
                <a:cubicBezTo>
                  <a:pt x="193" y="110"/>
                  <a:pt x="193" y="110"/>
                  <a:pt x="193" y="110"/>
                </a:cubicBezTo>
                <a:cubicBezTo>
                  <a:pt x="193" y="107"/>
                  <a:pt x="193" y="107"/>
                  <a:pt x="193" y="107"/>
                </a:cubicBezTo>
                <a:cubicBezTo>
                  <a:pt x="190" y="106"/>
                  <a:pt x="190" y="106"/>
                  <a:pt x="190" y="106"/>
                </a:cubicBezTo>
                <a:cubicBezTo>
                  <a:pt x="184" y="106"/>
                  <a:pt x="184" y="106"/>
                  <a:pt x="184" y="106"/>
                </a:cubicBezTo>
                <a:cubicBezTo>
                  <a:pt x="184" y="106"/>
                  <a:pt x="183" y="109"/>
                  <a:pt x="182" y="108"/>
                </a:cubicBezTo>
                <a:cubicBezTo>
                  <a:pt x="182" y="108"/>
                  <a:pt x="178" y="105"/>
                  <a:pt x="177" y="105"/>
                </a:cubicBezTo>
                <a:cubicBezTo>
                  <a:pt x="177" y="105"/>
                  <a:pt x="173" y="108"/>
                  <a:pt x="173" y="108"/>
                </a:cubicBezTo>
                <a:cubicBezTo>
                  <a:pt x="171" y="108"/>
                  <a:pt x="171" y="108"/>
                  <a:pt x="171" y="108"/>
                </a:cubicBezTo>
                <a:cubicBezTo>
                  <a:pt x="171" y="108"/>
                  <a:pt x="170" y="108"/>
                  <a:pt x="168" y="108"/>
                </a:cubicBezTo>
                <a:cubicBezTo>
                  <a:pt x="166" y="107"/>
                  <a:pt x="162" y="106"/>
                  <a:pt x="162" y="106"/>
                </a:cubicBezTo>
                <a:cubicBezTo>
                  <a:pt x="159" y="108"/>
                  <a:pt x="159" y="108"/>
                  <a:pt x="159" y="108"/>
                </a:cubicBezTo>
                <a:cubicBezTo>
                  <a:pt x="157" y="107"/>
                  <a:pt x="157" y="107"/>
                  <a:pt x="157" y="107"/>
                </a:cubicBezTo>
                <a:cubicBezTo>
                  <a:pt x="153" y="110"/>
                  <a:pt x="153" y="110"/>
                  <a:pt x="153" y="110"/>
                </a:cubicBezTo>
                <a:cubicBezTo>
                  <a:pt x="153" y="108"/>
                  <a:pt x="153" y="108"/>
                  <a:pt x="153" y="108"/>
                </a:cubicBezTo>
                <a:cubicBezTo>
                  <a:pt x="155" y="105"/>
                  <a:pt x="155" y="105"/>
                  <a:pt x="155" y="105"/>
                </a:cubicBezTo>
                <a:cubicBezTo>
                  <a:pt x="155" y="105"/>
                  <a:pt x="154" y="104"/>
                  <a:pt x="153" y="104"/>
                </a:cubicBezTo>
                <a:cubicBezTo>
                  <a:pt x="153" y="104"/>
                  <a:pt x="151" y="103"/>
                  <a:pt x="151" y="103"/>
                </a:cubicBezTo>
                <a:cubicBezTo>
                  <a:pt x="149" y="106"/>
                  <a:pt x="149" y="106"/>
                  <a:pt x="149" y="106"/>
                </a:cubicBezTo>
                <a:cubicBezTo>
                  <a:pt x="145" y="108"/>
                  <a:pt x="145" y="108"/>
                  <a:pt x="145" y="108"/>
                </a:cubicBezTo>
                <a:cubicBezTo>
                  <a:pt x="146" y="107"/>
                  <a:pt x="146" y="107"/>
                  <a:pt x="146" y="107"/>
                </a:cubicBezTo>
                <a:cubicBezTo>
                  <a:pt x="149" y="105"/>
                  <a:pt x="149" y="105"/>
                  <a:pt x="149" y="105"/>
                </a:cubicBezTo>
                <a:cubicBezTo>
                  <a:pt x="149" y="103"/>
                  <a:pt x="149" y="103"/>
                  <a:pt x="149" y="103"/>
                </a:cubicBezTo>
                <a:cubicBezTo>
                  <a:pt x="149" y="103"/>
                  <a:pt x="148" y="103"/>
                  <a:pt x="148" y="103"/>
                </a:cubicBezTo>
                <a:cubicBezTo>
                  <a:pt x="147" y="103"/>
                  <a:pt x="146" y="102"/>
                  <a:pt x="146" y="102"/>
                </a:cubicBezTo>
                <a:cubicBezTo>
                  <a:pt x="144" y="101"/>
                  <a:pt x="144" y="101"/>
                  <a:pt x="144" y="101"/>
                </a:cubicBezTo>
                <a:cubicBezTo>
                  <a:pt x="143" y="99"/>
                  <a:pt x="143" y="99"/>
                  <a:pt x="143" y="99"/>
                </a:cubicBezTo>
                <a:cubicBezTo>
                  <a:pt x="140" y="100"/>
                  <a:pt x="140" y="100"/>
                  <a:pt x="140" y="100"/>
                </a:cubicBezTo>
                <a:cubicBezTo>
                  <a:pt x="139" y="102"/>
                  <a:pt x="139" y="102"/>
                  <a:pt x="139" y="102"/>
                </a:cubicBezTo>
                <a:cubicBezTo>
                  <a:pt x="137" y="103"/>
                  <a:pt x="137" y="103"/>
                  <a:pt x="137" y="103"/>
                </a:cubicBezTo>
                <a:cubicBezTo>
                  <a:pt x="135" y="103"/>
                  <a:pt x="135" y="103"/>
                  <a:pt x="135" y="103"/>
                </a:cubicBezTo>
                <a:cubicBezTo>
                  <a:pt x="136" y="106"/>
                  <a:pt x="136" y="106"/>
                  <a:pt x="136" y="106"/>
                </a:cubicBezTo>
                <a:cubicBezTo>
                  <a:pt x="135" y="109"/>
                  <a:pt x="135" y="109"/>
                  <a:pt x="135" y="109"/>
                </a:cubicBezTo>
                <a:cubicBezTo>
                  <a:pt x="132" y="109"/>
                  <a:pt x="132" y="109"/>
                  <a:pt x="132" y="109"/>
                </a:cubicBezTo>
                <a:cubicBezTo>
                  <a:pt x="132" y="109"/>
                  <a:pt x="132" y="113"/>
                  <a:pt x="133" y="113"/>
                </a:cubicBezTo>
                <a:cubicBezTo>
                  <a:pt x="133" y="113"/>
                  <a:pt x="134" y="115"/>
                  <a:pt x="134" y="115"/>
                </a:cubicBezTo>
                <a:cubicBezTo>
                  <a:pt x="134" y="117"/>
                  <a:pt x="134" y="117"/>
                  <a:pt x="134" y="117"/>
                </a:cubicBezTo>
                <a:cubicBezTo>
                  <a:pt x="135" y="118"/>
                  <a:pt x="135" y="118"/>
                  <a:pt x="135" y="118"/>
                </a:cubicBezTo>
                <a:cubicBezTo>
                  <a:pt x="135" y="118"/>
                  <a:pt x="134" y="118"/>
                  <a:pt x="133" y="118"/>
                </a:cubicBezTo>
                <a:cubicBezTo>
                  <a:pt x="133" y="118"/>
                  <a:pt x="132" y="116"/>
                  <a:pt x="132" y="116"/>
                </a:cubicBezTo>
                <a:cubicBezTo>
                  <a:pt x="128" y="116"/>
                  <a:pt x="128" y="116"/>
                  <a:pt x="128" y="116"/>
                </a:cubicBezTo>
                <a:cubicBezTo>
                  <a:pt x="127" y="116"/>
                  <a:pt x="127" y="116"/>
                  <a:pt x="127" y="116"/>
                </a:cubicBezTo>
                <a:cubicBezTo>
                  <a:pt x="126" y="119"/>
                  <a:pt x="126" y="119"/>
                  <a:pt x="126" y="119"/>
                </a:cubicBezTo>
                <a:cubicBezTo>
                  <a:pt x="127" y="122"/>
                  <a:pt x="127" y="122"/>
                  <a:pt x="127" y="122"/>
                </a:cubicBezTo>
                <a:cubicBezTo>
                  <a:pt x="126" y="124"/>
                  <a:pt x="126" y="124"/>
                  <a:pt x="126" y="124"/>
                </a:cubicBezTo>
                <a:cubicBezTo>
                  <a:pt x="125" y="125"/>
                  <a:pt x="125" y="125"/>
                  <a:pt x="125" y="125"/>
                </a:cubicBezTo>
                <a:cubicBezTo>
                  <a:pt x="125" y="125"/>
                  <a:pt x="123" y="127"/>
                  <a:pt x="123" y="127"/>
                </a:cubicBezTo>
                <a:cubicBezTo>
                  <a:pt x="123" y="128"/>
                  <a:pt x="124" y="131"/>
                  <a:pt x="124" y="131"/>
                </a:cubicBezTo>
                <a:cubicBezTo>
                  <a:pt x="124" y="131"/>
                  <a:pt x="125" y="133"/>
                  <a:pt x="126" y="133"/>
                </a:cubicBezTo>
                <a:cubicBezTo>
                  <a:pt x="126" y="134"/>
                  <a:pt x="128" y="135"/>
                  <a:pt x="128" y="135"/>
                </a:cubicBezTo>
                <a:cubicBezTo>
                  <a:pt x="128" y="138"/>
                  <a:pt x="128" y="138"/>
                  <a:pt x="128" y="138"/>
                </a:cubicBezTo>
                <a:cubicBezTo>
                  <a:pt x="126" y="135"/>
                  <a:pt x="126" y="135"/>
                  <a:pt x="126" y="135"/>
                </a:cubicBezTo>
                <a:cubicBezTo>
                  <a:pt x="126" y="135"/>
                  <a:pt x="125" y="134"/>
                  <a:pt x="124" y="133"/>
                </a:cubicBezTo>
                <a:cubicBezTo>
                  <a:pt x="124" y="133"/>
                  <a:pt x="123" y="131"/>
                  <a:pt x="123" y="131"/>
                </a:cubicBezTo>
                <a:cubicBezTo>
                  <a:pt x="123" y="131"/>
                  <a:pt x="121" y="132"/>
                  <a:pt x="121" y="132"/>
                </a:cubicBezTo>
                <a:cubicBezTo>
                  <a:pt x="121" y="132"/>
                  <a:pt x="120" y="132"/>
                  <a:pt x="121" y="133"/>
                </a:cubicBezTo>
                <a:cubicBezTo>
                  <a:pt x="121" y="134"/>
                  <a:pt x="119" y="135"/>
                  <a:pt x="119" y="135"/>
                </a:cubicBezTo>
                <a:cubicBezTo>
                  <a:pt x="119" y="135"/>
                  <a:pt x="116" y="136"/>
                  <a:pt x="116" y="135"/>
                </a:cubicBezTo>
                <a:cubicBezTo>
                  <a:pt x="116" y="134"/>
                  <a:pt x="116" y="133"/>
                  <a:pt x="115" y="132"/>
                </a:cubicBezTo>
                <a:cubicBezTo>
                  <a:pt x="115" y="132"/>
                  <a:pt x="114" y="132"/>
                  <a:pt x="114" y="132"/>
                </a:cubicBezTo>
                <a:cubicBezTo>
                  <a:pt x="114" y="133"/>
                  <a:pt x="113" y="134"/>
                  <a:pt x="113" y="134"/>
                </a:cubicBezTo>
                <a:cubicBezTo>
                  <a:pt x="114" y="137"/>
                  <a:pt x="114" y="137"/>
                  <a:pt x="114" y="137"/>
                </a:cubicBezTo>
                <a:cubicBezTo>
                  <a:pt x="114" y="137"/>
                  <a:pt x="113" y="139"/>
                  <a:pt x="113" y="139"/>
                </a:cubicBezTo>
                <a:cubicBezTo>
                  <a:pt x="113" y="138"/>
                  <a:pt x="112" y="136"/>
                  <a:pt x="112" y="135"/>
                </a:cubicBezTo>
                <a:cubicBezTo>
                  <a:pt x="112" y="135"/>
                  <a:pt x="112" y="133"/>
                  <a:pt x="111" y="133"/>
                </a:cubicBezTo>
                <a:cubicBezTo>
                  <a:pt x="111" y="133"/>
                  <a:pt x="109" y="135"/>
                  <a:pt x="109" y="135"/>
                </a:cubicBezTo>
                <a:cubicBezTo>
                  <a:pt x="109" y="135"/>
                  <a:pt x="108" y="135"/>
                  <a:pt x="108" y="136"/>
                </a:cubicBezTo>
                <a:cubicBezTo>
                  <a:pt x="108" y="136"/>
                  <a:pt x="107" y="139"/>
                  <a:pt x="108" y="140"/>
                </a:cubicBezTo>
                <a:cubicBezTo>
                  <a:pt x="109" y="141"/>
                  <a:pt x="109" y="141"/>
                  <a:pt x="110" y="141"/>
                </a:cubicBezTo>
                <a:cubicBezTo>
                  <a:pt x="111" y="141"/>
                  <a:pt x="111" y="142"/>
                  <a:pt x="111" y="142"/>
                </a:cubicBezTo>
                <a:cubicBezTo>
                  <a:pt x="107" y="142"/>
                  <a:pt x="107" y="142"/>
                  <a:pt x="107" y="142"/>
                </a:cubicBezTo>
                <a:cubicBezTo>
                  <a:pt x="107" y="142"/>
                  <a:pt x="106" y="143"/>
                  <a:pt x="107" y="144"/>
                </a:cubicBezTo>
                <a:cubicBezTo>
                  <a:pt x="107" y="144"/>
                  <a:pt x="107" y="146"/>
                  <a:pt x="107" y="146"/>
                </a:cubicBezTo>
                <a:cubicBezTo>
                  <a:pt x="107" y="146"/>
                  <a:pt x="109" y="148"/>
                  <a:pt x="109" y="148"/>
                </a:cubicBezTo>
                <a:cubicBezTo>
                  <a:pt x="109" y="148"/>
                  <a:pt x="108" y="150"/>
                  <a:pt x="108" y="150"/>
                </a:cubicBezTo>
                <a:cubicBezTo>
                  <a:pt x="108" y="150"/>
                  <a:pt x="106" y="149"/>
                  <a:pt x="106" y="149"/>
                </a:cubicBezTo>
                <a:cubicBezTo>
                  <a:pt x="105" y="148"/>
                  <a:pt x="105" y="149"/>
                  <a:pt x="104" y="149"/>
                </a:cubicBezTo>
                <a:cubicBezTo>
                  <a:pt x="104" y="150"/>
                  <a:pt x="103" y="151"/>
                  <a:pt x="103" y="152"/>
                </a:cubicBezTo>
                <a:cubicBezTo>
                  <a:pt x="103" y="152"/>
                  <a:pt x="104" y="153"/>
                  <a:pt x="104" y="154"/>
                </a:cubicBezTo>
                <a:cubicBezTo>
                  <a:pt x="103" y="156"/>
                  <a:pt x="103" y="158"/>
                  <a:pt x="103" y="158"/>
                </a:cubicBezTo>
                <a:cubicBezTo>
                  <a:pt x="103" y="158"/>
                  <a:pt x="102" y="158"/>
                  <a:pt x="103" y="159"/>
                </a:cubicBezTo>
                <a:cubicBezTo>
                  <a:pt x="104" y="160"/>
                  <a:pt x="106" y="160"/>
                  <a:pt x="107" y="160"/>
                </a:cubicBezTo>
                <a:cubicBezTo>
                  <a:pt x="108" y="160"/>
                  <a:pt x="108" y="160"/>
                  <a:pt x="108" y="160"/>
                </a:cubicBezTo>
                <a:cubicBezTo>
                  <a:pt x="109" y="160"/>
                  <a:pt x="110" y="160"/>
                  <a:pt x="111" y="161"/>
                </a:cubicBezTo>
                <a:cubicBezTo>
                  <a:pt x="111" y="161"/>
                  <a:pt x="112" y="161"/>
                  <a:pt x="112" y="161"/>
                </a:cubicBezTo>
                <a:cubicBezTo>
                  <a:pt x="112" y="161"/>
                  <a:pt x="111" y="163"/>
                  <a:pt x="110" y="162"/>
                </a:cubicBezTo>
                <a:cubicBezTo>
                  <a:pt x="109" y="161"/>
                  <a:pt x="107" y="161"/>
                  <a:pt x="106" y="161"/>
                </a:cubicBezTo>
                <a:cubicBezTo>
                  <a:pt x="105" y="161"/>
                  <a:pt x="106" y="163"/>
                  <a:pt x="106" y="163"/>
                </a:cubicBezTo>
                <a:cubicBezTo>
                  <a:pt x="107" y="165"/>
                  <a:pt x="107" y="165"/>
                  <a:pt x="107" y="165"/>
                </a:cubicBezTo>
                <a:cubicBezTo>
                  <a:pt x="107" y="165"/>
                  <a:pt x="108" y="166"/>
                  <a:pt x="107" y="166"/>
                </a:cubicBezTo>
                <a:cubicBezTo>
                  <a:pt x="106" y="166"/>
                  <a:pt x="104" y="165"/>
                  <a:pt x="104" y="165"/>
                </a:cubicBezTo>
                <a:cubicBezTo>
                  <a:pt x="104" y="165"/>
                  <a:pt x="104" y="165"/>
                  <a:pt x="103" y="165"/>
                </a:cubicBezTo>
                <a:cubicBezTo>
                  <a:pt x="103" y="165"/>
                  <a:pt x="102" y="166"/>
                  <a:pt x="101" y="166"/>
                </a:cubicBezTo>
                <a:cubicBezTo>
                  <a:pt x="100" y="166"/>
                  <a:pt x="100" y="166"/>
                  <a:pt x="99" y="165"/>
                </a:cubicBezTo>
                <a:cubicBezTo>
                  <a:pt x="98" y="165"/>
                  <a:pt x="96" y="163"/>
                  <a:pt x="96" y="163"/>
                </a:cubicBezTo>
                <a:cubicBezTo>
                  <a:pt x="96" y="163"/>
                  <a:pt x="95" y="163"/>
                  <a:pt x="95" y="162"/>
                </a:cubicBezTo>
                <a:cubicBezTo>
                  <a:pt x="95" y="161"/>
                  <a:pt x="96" y="159"/>
                  <a:pt x="96" y="159"/>
                </a:cubicBezTo>
                <a:cubicBezTo>
                  <a:pt x="97" y="158"/>
                  <a:pt x="96" y="158"/>
                  <a:pt x="97" y="158"/>
                </a:cubicBezTo>
                <a:cubicBezTo>
                  <a:pt x="98" y="158"/>
                  <a:pt x="101" y="158"/>
                  <a:pt x="99" y="156"/>
                </a:cubicBezTo>
                <a:cubicBezTo>
                  <a:pt x="98" y="154"/>
                  <a:pt x="98" y="154"/>
                  <a:pt x="97" y="154"/>
                </a:cubicBezTo>
                <a:cubicBezTo>
                  <a:pt x="96" y="155"/>
                  <a:pt x="94" y="156"/>
                  <a:pt x="94" y="156"/>
                </a:cubicBezTo>
                <a:cubicBezTo>
                  <a:pt x="94" y="156"/>
                  <a:pt x="93" y="155"/>
                  <a:pt x="94" y="152"/>
                </a:cubicBezTo>
                <a:cubicBezTo>
                  <a:pt x="95" y="149"/>
                  <a:pt x="94" y="149"/>
                  <a:pt x="95" y="148"/>
                </a:cubicBezTo>
                <a:cubicBezTo>
                  <a:pt x="96" y="147"/>
                  <a:pt x="97" y="146"/>
                  <a:pt x="97" y="146"/>
                </a:cubicBezTo>
                <a:cubicBezTo>
                  <a:pt x="97" y="146"/>
                  <a:pt x="97" y="145"/>
                  <a:pt x="95" y="143"/>
                </a:cubicBezTo>
                <a:cubicBezTo>
                  <a:pt x="94" y="141"/>
                  <a:pt x="93" y="139"/>
                  <a:pt x="93" y="139"/>
                </a:cubicBezTo>
                <a:cubicBezTo>
                  <a:pt x="92" y="138"/>
                  <a:pt x="90" y="140"/>
                  <a:pt x="90" y="140"/>
                </a:cubicBezTo>
                <a:cubicBezTo>
                  <a:pt x="90" y="141"/>
                  <a:pt x="89" y="143"/>
                  <a:pt x="90" y="144"/>
                </a:cubicBezTo>
                <a:cubicBezTo>
                  <a:pt x="90" y="145"/>
                  <a:pt x="90" y="146"/>
                  <a:pt x="89" y="147"/>
                </a:cubicBezTo>
                <a:cubicBezTo>
                  <a:pt x="88" y="147"/>
                  <a:pt x="88" y="148"/>
                  <a:pt x="87" y="147"/>
                </a:cubicBezTo>
                <a:cubicBezTo>
                  <a:pt x="86" y="146"/>
                  <a:pt x="87" y="147"/>
                  <a:pt x="86" y="145"/>
                </a:cubicBezTo>
                <a:cubicBezTo>
                  <a:pt x="85" y="144"/>
                  <a:pt x="86" y="144"/>
                  <a:pt x="85" y="144"/>
                </a:cubicBezTo>
                <a:cubicBezTo>
                  <a:pt x="84" y="143"/>
                  <a:pt x="83" y="142"/>
                  <a:pt x="83" y="142"/>
                </a:cubicBezTo>
                <a:cubicBezTo>
                  <a:pt x="83" y="142"/>
                  <a:pt x="80" y="141"/>
                  <a:pt x="80" y="142"/>
                </a:cubicBezTo>
                <a:cubicBezTo>
                  <a:pt x="80" y="143"/>
                  <a:pt x="80" y="143"/>
                  <a:pt x="81" y="144"/>
                </a:cubicBezTo>
                <a:cubicBezTo>
                  <a:pt x="81" y="145"/>
                  <a:pt x="82" y="145"/>
                  <a:pt x="82" y="146"/>
                </a:cubicBezTo>
                <a:cubicBezTo>
                  <a:pt x="82" y="147"/>
                  <a:pt x="81" y="147"/>
                  <a:pt x="81" y="147"/>
                </a:cubicBezTo>
                <a:cubicBezTo>
                  <a:pt x="81" y="147"/>
                  <a:pt x="80" y="146"/>
                  <a:pt x="79" y="146"/>
                </a:cubicBezTo>
                <a:cubicBezTo>
                  <a:pt x="79" y="146"/>
                  <a:pt x="77" y="148"/>
                  <a:pt x="77" y="148"/>
                </a:cubicBezTo>
                <a:cubicBezTo>
                  <a:pt x="77" y="148"/>
                  <a:pt x="77" y="149"/>
                  <a:pt x="77" y="150"/>
                </a:cubicBezTo>
                <a:cubicBezTo>
                  <a:pt x="77" y="150"/>
                  <a:pt x="77" y="151"/>
                  <a:pt x="77" y="152"/>
                </a:cubicBezTo>
                <a:cubicBezTo>
                  <a:pt x="78" y="153"/>
                  <a:pt x="78" y="155"/>
                  <a:pt x="79" y="155"/>
                </a:cubicBezTo>
                <a:cubicBezTo>
                  <a:pt x="81" y="155"/>
                  <a:pt x="85" y="153"/>
                  <a:pt x="85" y="153"/>
                </a:cubicBezTo>
                <a:cubicBezTo>
                  <a:pt x="85" y="154"/>
                  <a:pt x="87" y="155"/>
                  <a:pt x="88" y="156"/>
                </a:cubicBezTo>
                <a:cubicBezTo>
                  <a:pt x="88" y="156"/>
                  <a:pt x="88" y="158"/>
                  <a:pt x="88" y="158"/>
                </a:cubicBezTo>
                <a:cubicBezTo>
                  <a:pt x="88" y="158"/>
                  <a:pt x="87" y="159"/>
                  <a:pt x="86" y="159"/>
                </a:cubicBezTo>
                <a:cubicBezTo>
                  <a:pt x="85" y="159"/>
                  <a:pt x="84" y="157"/>
                  <a:pt x="84" y="159"/>
                </a:cubicBezTo>
                <a:cubicBezTo>
                  <a:pt x="84" y="160"/>
                  <a:pt x="83" y="162"/>
                  <a:pt x="84" y="163"/>
                </a:cubicBezTo>
                <a:cubicBezTo>
                  <a:pt x="85" y="164"/>
                  <a:pt x="85" y="166"/>
                  <a:pt x="87" y="166"/>
                </a:cubicBezTo>
                <a:cubicBezTo>
                  <a:pt x="89" y="167"/>
                  <a:pt x="89" y="168"/>
                  <a:pt x="90" y="167"/>
                </a:cubicBezTo>
                <a:cubicBezTo>
                  <a:pt x="91" y="166"/>
                  <a:pt x="91" y="165"/>
                  <a:pt x="92" y="166"/>
                </a:cubicBezTo>
                <a:cubicBezTo>
                  <a:pt x="93" y="166"/>
                  <a:pt x="94" y="166"/>
                  <a:pt x="95" y="167"/>
                </a:cubicBezTo>
                <a:cubicBezTo>
                  <a:pt x="95" y="168"/>
                  <a:pt x="94" y="168"/>
                  <a:pt x="94" y="168"/>
                </a:cubicBezTo>
                <a:cubicBezTo>
                  <a:pt x="94" y="168"/>
                  <a:pt x="93" y="168"/>
                  <a:pt x="93" y="169"/>
                </a:cubicBezTo>
                <a:cubicBezTo>
                  <a:pt x="93" y="169"/>
                  <a:pt x="92" y="170"/>
                  <a:pt x="93" y="170"/>
                </a:cubicBezTo>
                <a:cubicBezTo>
                  <a:pt x="95" y="170"/>
                  <a:pt x="96" y="170"/>
                  <a:pt x="96" y="170"/>
                </a:cubicBezTo>
                <a:cubicBezTo>
                  <a:pt x="96" y="170"/>
                  <a:pt x="97" y="168"/>
                  <a:pt x="98" y="169"/>
                </a:cubicBezTo>
                <a:cubicBezTo>
                  <a:pt x="98" y="170"/>
                  <a:pt x="97" y="170"/>
                  <a:pt x="96" y="171"/>
                </a:cubicBezTo>
                <a:cubicBezTo>
                  <a:pt x="95" y="172"/>
                  <a:pt x="95" y="172"/>
                  <a:pt x="95" y="173"/>
                </a:cubicBezTo>
                <a:cubicBezTo>
                  <a:pt x="95" y="174"/>
                  <a:pt x="94" y="174"/>
                  <a:pt x="94" y="175"/>
                </a:cubicBezTo>
                <a:cubicBezTo>
                  <a:pt x="94" y="176"/>
                  <a:pt x="92" y="180"/>
                  <a:pt x="95" y="177"/>
                </a:cubicBezTo>
                <a:cubicBezTo>
                  <a:pt x="99" y="174"/>
                  <a:pt x="99" y="175"/>
                  <a:pt x="99" y="174"/>
                </a:cubicBezTo>
                <a:cubicBezTo>
                  <a:pt x="99" y="173"/>
                  <a:pt x="99" y="173"/>
                  <a:pt x="101" y="172"/>
                </a:cubicBezTo>
                <a:cubicBezTo>
                  <a:pt x="102" y="171"/>
                  <a:pt x="103" y="171"/>
                  <a:pt x="104" y="171"/>
                </a:cubicBezTo>
                <a:cubicBezTo>
                  <a:pt x="104" y="170"/>
                  <a:pt x="106" y="170"/>
                  <a:pt x="105" y="171"/>
                </a:cubicBezTo>
                <a:cubicBezTo>
                  <a:pt x="104" y="172"/>
                  <a:pt x="103" y="171"/>
                  <a:pt x="104" y="172"/>
                </a:cubicBezTo>
                <a:cubicBezTo>
                  <a:pt x="105" y="173"/>
                  <a:pt x="105" y="174"/>
                  <a:pt x="106" y="174"/>
                </a:cubicBezTo>
                <a:cubicBezTo>
                  <a:pt x="107" y="174"/>
                  <a:pt x="107" y="174"/>
                  <a:pt x="107" y="174"/>
                </a:cubicBezTo>
                <a:cubicBezTo>
                  <a:pt x="107" y="174"/>
                  <a:pt x="105" y="174"/>
                  <a:pt x="104" y="174"/>
                </a:cubicBezTo>
                <a:cubicBezTo>
                  <a:pt x="104" y="174"/>
                  <a:pt x="103" y="174"/>
                  <a:pt x="103" y="174"/>
                </a:cubicBezTo>
                <a:cubicBezTo>
                  <a:pt x="102" y="174"/>
                  <a:pt x="102" y="175"/>
                  <a:pt x="102" y="175"/>
                </a:cubicBezTo>
                <a:cubicBezTo>
                  <a:pt x="101" y="176"/>
                  <a:pt x="101" y="176"/>
                  <a:pt x="101" y="176"/>
                </a:cubicBezTo>
                <a:cubicBezTo>
                  <a:pt x="101" y="176"/>
                  <a:pt x="102" y="177"/>
                  <a:pt x="102" y="178"/>
                </a:cubicBezTo>
                <a:cubicBezTo>
                  <a:pt x="102" y="178"/>
                  <a:pt x="102" y="178"/>
                  <a:pt x="101" y="178"/>
                </a:cubicBezTo>
                <a:cubicBezTo>
                  <a:pt x="100" y="178"/>
                  <a:pt x="101" y="177"/>
                  <a:pt x="99" y="178"/>
                </a:cubicBezTo>
                <a:cubicBezTo>
                  <a:pt x="97" y="178"/>
                  <a:pt x="98" y="176"/>
                  <a:pt x="97" y="179"/>
                </a:cubicBezTo>
                <a:cubicBezTo>
                  <a:pt x="96" y="182"/>
                  <a:pt x="95" y="182"/>
                  <a:pt x="95" y="182"/>
                </a:cubicBezTo>
                <a:cubicBezTo>
                  <a:pt x="95" y="182"/>
                  <a:pt x="95" y="182"/>
                  <a:pt x="95" y="183"/>
                </a:cubicBezTo>
                <a:cubicBezTo>
                  <a:pt x="95" y="183"/>
                  <a:pt x="96" y="184"/>
                  <a:pt x="97" y="185"/>
                </a:cubicBezTo>
                <a:cubicBezTo>
                  <a:pt x="99" y="186"/>
                  <a:pt x="100" y="187"/>
                  <a:pt x="100" y="187"/>
                </a:cubicBezTo>
                <a:cubicBezTo>
                  <a:pt x="100" y="187"/>
                  <a:pt x="99" y="187"/>
                  <a:pt x="98" y="187"/>
                </a:cubicBezTo>
                <a:cubicBezTo>
                  <a:pt x="96" y="188"/>
                  <a:pt x="95" y="188"/>
                  <a:pt x="94" y="189"/>
                </a:cubicBezTo>
                <a:cubicBezTo>
                  <a:pt x="94" y="189"/>
                  <a:pt x="93" y="190"/>
                  <a:pt x="92" y="190"/>
                </a:cubicBezTo>
                <a:cubicBezTo>
                  <a:pt x="91" y="190"/>
                  <a:pt x="88" y="189"/>
                  <a:pt x="87" y="190"/>
                </a:cubicBezTo>
                <a:cubicBezTo>
                  <a:pt x="86" y="190"/>
                  <a:pt x="85" y="190"/>
                  <a:pt x="84" y="191"/>
                </a:cubicBezTo>
                <a:cubicBezTo>
                  <a:pt x="84" y="191"/>
                  <a:pt x="84" y="192"/>
                  <a:pt x="84" y="192"/>
                </a:cubicBezTo>
                <a:cubicBezTo>
                  <a:pt x="84" y="192"/>
                  <a:pt x="83" y="193"/>
                  <a:pt x="84" y="193"/>
                </a:cubicBezTo>
                <a:cubicBezTo>
                  <a:pt x="85" y="193"/>
                  <a:pt x="89" y="193"/>
                  <a:pt x="89" y="193"/>
                </a:cubicBezTo>
                <a:cubicBezTo>
                  <a:pt x="90" y="193"/>
                  <a:pt x="90" y="194"/>
                  <a:pt x="90" y="194"/>
                </a:cubicBezTo>
                <a:cubicBezTo>
                  <a:pt x="88" y="194"/>
                  <a:pt x="88" y="194"/>
                  <a:pt x="88" y="194"/>
                </a:cubicBezTo>
                <a:cubicBezTo>
                  <a:pt x="88" y="194"/>
                  <a:pt x="86" y="194"/>
                  <a:pt x="85" y="194"/>
                </a:cubicBezTo>
                <a:cubicBezTo>
                  <a:pt x="85" y="194"/>
                  <a:pt x="82" y="195"/>
                  <a:pt x="82" y="195"/>
                </a:cubicBezTo>
                <a:cubicBezTo>
                  <a:pt x="82" y="195"/>
                  <a:pt x="80" y="197"/>
                  <a:pt x="80" y="198"/>
                </a:cubicBezTo>
                <a:cubicBezTo>
                  <a:pt x="80" y="198"/>
                  <a:pt x="80" y="199"/>
                  <a:pt x="81" y="201"/>
                </a:cubicBezTo>
                <a:cubicBezTo>
                  <a:pt x="83" y="202"/>
                  <a:pt x="83" y="203"/>
                  <a:pt x="83" y="204"/>
                </a:cubicBezTo>
                <a:cubicBezTo>
                  <a:pt x="83" y="204"/>
                  <a:pt x="83" y="204"/>
                  <a:pt x="83" y="205"/>
                </a:cubicBezTo>
                <a:cubicBezTo>
                  <a:pt x="82" y="205"/>
                  <a:pt x="80" y="207"/>
                  <a:pt x="80" y="207"/>
                </a:cubicBezTo>
                <a:cubicBezTo>
                  <a:pt x="80" y="207"/>
                  <a:pt x="80" y="207"/>
                  <a:pt x="80" y="209"/>
                </a:cubicBezTo>
                <a:cubicBezTo>
                  <a:pt x="79" y="210"/>
                  <a:pt x="77" y="213"/>
                  <a:pt x="79" y="213"/>
                </a:cubicBezTo>
                <a:cubicBezTo>
                  <a:pt x="81" y="214"/>
                  <a:pt x="80" y="215"/>
                  <a:pt x="82" y="214"/>
                </a:cubicBezTo>
                <a:cubicBezTo>
                  <a:pt x="85" y="213"/>
                  <a:pt x="82" y="212"/>
                  <a:pt x="86" y="213"/>
                </a:cubicBezTo>
                <a:cubicBezTo>
                  <a:pt x="90" y="214"/>
                  <a:pt x="91" y="213"/>
                  <a:pt x="92" y="213"/>
                </a:cubicBezTo>
                <a:cubicBezTo>
                  <a:pt x="93" y="212"/>
                  <a:pt x="93" y="212"/>
                  <a:pt x="94" y="211"/>
                </a:cubicBezTo>
                <a:cubicBezTo>
                  <a:pt x="94" y="211"/>
                  <a:pt x="92" y="210"/>
                  <a:pt x="95" y="210"/>
                </a:cubicBezTo>
                <a:cubicBezTo>
                  <a:pt x="98" y="209"/>
                  <a:pt x="98" y="209"/>
                  <a:pt x="98" y="209"/>
                </a:cubicBezTo>
                <a:cubicBezTo>
                  <a:pt x="98" y="209"/>
                  <a:pt x="96" y="206"/>
                  <a:pt x="98" y="208"/>
                </a:cubicBezTo>
                <a:cubicBezTo>
                  <a:pt x="101" y="210"/>
                  <a:pt x="101" y="211"/>
                  <a:pt x="101" y="211"/>
                </a:cubicBezTo>
                <a:cubicBezTo>
                  <a:pt x="99" y="213"/>
                  <a:pt x="99" y="213"/>
                  <a:pt x="99" y="213"/>
                </a:cubicBezTo>
                <a:cubicBezTo>
                  <a:pt x="99" y="214"/>
                  <a:pt x="99" y="214"/>
                  <a:pt x="99" y="214"/>
                </a:cubicBezTo>
                <a:cubicBezTo>
                  <a:pt x="99" y="214"/>
                  <a:pt x="97" y="214"/>
                  <a:pt x="96" y="216"/>
                </a:cubicBezTo>
                <a:cubicBezTo>
                  <a:pt x="95" y="218"/>
                  <a:pt x="92" y="221"/>
                  <a:pt x="92" y="222"/>
                </a:cubicBezTo>
                <a:cubicBezTo>
                  <a:pt x="92" y="222"/>
                  <a:pt x="93" y="221"/>
                  <a:pt x="91" y="223"/>
                </a:cubicBezTo>
                <a:cubicBezTo>
                  <a:pt x="88" y="225"/>
                  <a:pt x="87" y="225"/>
                  <a:pt x="85" y="226"/>
                </a:cubicBezTo>
                <a:cubicBezTo>
                  <a:pt x="84" y="228"/>
                  <a:pt x="84" y="227"/>
                  <a:pt x="83" y="228"/>
                </a:cubicBezTo>
                <a:cubicBezTo>
                  <a:pt x="83" y="229"/>
                  <a:pt x="82" y="230"/>
                  <a:pt x="82" y="230"/>
                </a:cubicBezTo>
                <a:cubicBezTo>
                  <a:pt x="81" y="232"/>
                  <a:pt x="81" y="232"/>
                  <a:pt x="81" y="232"/>
                </a:cubicBezTo>
                <a:cubicBezTo>
                  <a:pt x="78" y="233"/>
                  <a:pt x="78" y="233"/>
                  <a:pt x="78" y="233"/>
                </a:cubicBezTo>
                <a:cubicBezTo>
                  <a:pt x="75" y="232"/>
                  <a:pt x="75" y="232"/>
                  <a:pt x="75" y="232"/>
                </a:cubicBezTo>
                <a:cubicBezTo>
                  <a:pt x="73" y="234"/>
                  <a:pt x="73" y="234"/>
                  <a:pt x="73" y="234"/>
                </a:cubicBezTo>
                <a:cubicBezTo>
                  <a:pt x="73" y="234"/>
                  <a:pt x="70" y="233"/>
                  <a:pt x="69" y="233"/>
                </a:cubicBezTo>
                <a:cubicBezTo>
                  <a:pt x="68" y="234"/>
                  <a:pt x="67" y="235"/>
                  <a:pt x="67" y="235"/>
                </a:cubicBezTo>
                <a:cubicBezTo>
                  <a:pt x="67" y="235"/>
                  <a:pt x="66" y="235"/>
                  <a:pt x="66" y="237"/>
                </a:cubicBezTo>
                <a:cubicBezTo>
                  <a:pt x="66" y="238"/>
                  <a:pt x="65" y="241"/>
                  <a:pt x="65" y="241"/>
                </a:cubicBezTo>
                <a:cubicBezTo>
                  <a:pt x="63" y="243"/>
                  <a:pt x="63" y="243"/>
                  <a:pt x="63" y="243"/>
                </a:cubicBezTo>
                <a:cubicBezTo>
                  <a:pt x="63" y="243"/>
                  <a:pt x="62" y="245"/>
                  <a:pt x="64" y="244"/>
                </a:cubicBezTo>
                <a:cubicBezTo>
                  <a:pt x="66" y="243"/>
                  <a:pt x="67" y="242"/>
                  <a:pt x="68" y="241"/>
                </a:cubicBezTo>
                <a:cubicBezTo>
                  <a:pt x="68" y="241"/>
                  <a:pt x="70" y="240"/>
                  <a:pt x="70" y="240"/>
                </a:cubicBezTo>
                <a:cubicBezTo>
                  <a:pt x="70" y="242"/>
                  <a:pt x="70" y="242"/>
                  <a:pt x="70" y="242"/>
                </a:cubicBezTo>
                <a:cubicBezTo>
                  <a:pt x="69" y="246"/>
                  <a:pt x="69" y="246"/>
                  <a:pt x="69" y="246"/>
                </a:cubicBezTo>
                <a:cubicBezTo>
                  <a:pt x="68" y="247"/>
                  <a:pt x="68" y="247"/>
                  <a:pt x="68" y="247"/>
                </a:cubicBezTo>
                <a:cubicBezTo>
                  <a:pt x="67" y="248"/>
                  <a:pt x="67" y="248"/>
                  <a:pt x="67" y="248"/>
                </a:cubicBezTo>
                <a:cubicBezTo>
                  <a:pt x="67" y="248"/>
                  <a:pt x="65" y="252"/>
                  <a:pt x="67" y="252"/>
                </a:cubicBezTo>
                <a:cubicBezTo>
                  <a:pt x="69" y="251"/>
                  <a:pt x="68" y="251"/>
                  <a:pt x="70" y="250"/>
                </a:cubicBezTo>
                <a:cubicBezTo>
                  <a:pt x="72" y="250"/>
                  <a:pt x="71" y="249"/>
                  <a:pt x="75" y="248"/>
                </a:cubicBezTo>
                <a:cubicBezTo>
                  <a:pt x="78" y="248"/>
                  <a:pt x="78" y="246"/>
                  <a:pt x="78" y="245"/>
                </a:cubicBezTo>
                <a:cubicBezTo>
                  <a:pt x="78" y="245"/>
                  <a:pt x="78" y="244"/>
                  <a:pt x="78" y="243"/>
                </a:cubicBezTo>
                <a:cubicBezTo>
                  <a:pt x="78" y="242"/>
                  <a:pt x="76" y="241"/>
                  <a:pt x="79" y="240"/>
                </a:cubicBezTo>
                <a:cubicBezTo>
                  <a:pt x="81" y="240"/>
                  <a:pt x="80" y="241"/>
                  <a:pt x="81" y="240"/>
                </a:cubicBezTo>
                <a:cubicBezTo>
                  <a:pt x="82" y="239"/>
                  <a:pt x="82" y="241"/>
                  <a:pt x="82" y="238"/>
                </a:cubicBezTo>
                <a:cubicBezTo>
                  <a:pt x="82" y="236"/>
                  <a:pt x="82" y="236"/>
                  <a:pt x="84" y="235"/>
                </a:cubicBezTo>
                <a:cubicBezTo>
                  <a:pt x="86" y="233"/>
                  <a:pt x="85" y="234"/>
                  <a:pt x="86" y="233"/>
                </a:cubicBezTo>
                <a:cubicBezTo>
                  <a:pt x="87" y="232"/>
                  <a:pt x="86" y="232"/>
                  <a:pt x="87" y="231"/>
                </a:cubicBezTo>
                <a:cubicBezTo>
                  <a:pt x="89" y="230"/>
                  <a:pt x="89" y="230"/>
                  <a:pt x="89" y="230"/>
                </a:cubicBezTo>
                <a:cubicBezTo>
                  <a:pt x="89" y="229"/>
                  <a:pt x="92" y="227"/>
                  <a:pt x="92" y="227"/>
                </a:cubicBezTo>
                <a:cubicBezTo>
                  <a:pt x="92" y="225"/>
                  <a:pt x="92" y="225"/>
                  <a:pt x="92" y="225"/>
                </a:cubicBezTo>
                <a:cubicBezTo>
                  <a:pt x="96" y="223"/>
                  <a:pt x="96" y="223"/>
                  <a:pt x="96" y="223"/>
                </a:cubicBezTo>
                <a:cubicBezTo>
                  <a:pt x="96" y="223"/>
                  <a:pt x="97" y="222"/>
                  <a:pt x="97" y="223"/>
                </a:cubicBezTo>
                <a:cubicBezTo>
                  <a:pt x="96" y="224"/>
                  <a:pt x="95" y="226"/>
                  <a:pt x="95" y="226"/>
                </a:cubicBezTo>
                <a:cubicBezTo>
                  <a:pt x="95" y="228"/>
                  <a:pt x="95" y="228"/>
                  <a:pt x="95" y="228"/>
                </a:cubicBezTo>
                <a:cubicBezTo>
                  <a:pt x="92" y="230"/>
                  <a:pt x="92" y="230"/>
                  <a:pt x="92" y="230"/>
                </a:cubicBezTo>
                <a:cubicBezTo>
                  <a:pt x="92" y="230"/>
                  <a:pt x="94" y="231"/>
                  <a:pt x="93" y="232"/>
                </a:cubicBezTo>
                <a:cubicBezTo>
                  <a:pt x="92" y="233"/>
                  <a:pt x="90" y="234"/>
                  <a:pt x="90" y="234"/>
                </a:cubicBezTo>
                <a:cubicBezTo>
                  <a:pt x="90" y="236"/>
                  <a:pt x="90" y="236"/>
                  <a:pt x="90" y="236"/>
                </a:cubicBezTo>
                <a:cubicBezTo>
                  <a:pt x="91" y="237"/>
                  <a:pt x="91" y="237"/>
                  <a:pt x="91" y="237"/>
                </a:cubicBezTo>
                <a:cubicBezTo>
                  <a:pt x="89" y="241"/>
                  <a:pt x="89" y="241"/>
                  <a:pt x="89" y="241"/>
                </a:cubicBezTo>
                <a:cubicBezTo>
                  <a:pt x="91" y="243"/>
                  <a:pt x="91" y="243"/>
                  <a:pt x="91" y="243"/>
                </a:cubicBezTo>
                <a:cubicBezTo>
                  <a:pt x="92" y="245"/>
                  <a:pt x="92" y="245"/>
                  <a:pt x="92" y="245"/>
                </a:cubicBezTo>
                <a:cubicBezTo>
                  <a:pt x="92" y="245"/>
                  <a:pt x="91" y="246"/>
                  <a:pt x="90" y="247"/>
                </a:cubicBezTo>
                <a:cubicBezTo>
                  <a:pt x="89" y="247"/>
                  <a:pt x="87" y="250"/>
                  <a:pt x="87" y="250"/>
                </a:cubicBezTo>
                <a:cubicBezTo>
                  <a:pt x="85" y="253"/>
                  <a:pt x="85" y="253"/>
                  <a:pt x="85" y="253"/>
                </a:cubicBezTo>
                <a:cubicBezTo>
                  <a:pt x="83" y="256"/>
                  <a:pt x="83" y="256"/>
                  <a:pt x="83" y="256"/>
                </a:cubicBezTo>
                <a:cubicBezTo>
                  <a:pt x="83" y="259"/>
                  <a:pt x="83" y="259"/>
                  <a:pt x="83" y="259"/>
                </a:cubicBezTo>
                <a:cubicBezTo>
                  <a:pt x="82" y="263"/>
                  <a:pt x="82" y="263"/>
                  <a:pt x="82" y="263"/>
                </a:cubicBezTo>
                <a:cubicBezTo>
                  <a:pt x="80" y="264"/>
                  <a:pt x="80" y="264"/>
                  <a:pt x="80" y="264"/>
                </a:cubicBezTo>
                <a:cubicBezTo>
                  <a:pt x="80" y="264"/>
                  <a:pt x="79" y="267"/>
                  <a:pt x="81" y="267"/>
                </a:cubicBezTo>
                <a:cubicBezTo>
                  <a:pt x="83" y="268"/>
                  <a:pt x="83" y="268"/>
                  <a:pt x="84" y="268"/>
                </a:cubicBezTo>
                <a:cubicBezTo>
                  <a:pt x="86" y="268"/>
                  <a:pt x="85" y="268"/>
                  <a:pt x="86" y="268"/>
                </a:cubicBezTo>
                <a:cubicBezTo>
                  <a:pt x="87" y="268"/>
                  <a:pt x="89" y="268"/>
                  <a:pt x="89" y="266"/>
                </a:cubicBezTo>
                <a:cubicBezTo>
                  <a:pt x="89" y="264"/>
                  <a:pt x="89" y="262"/>
                  <a:pt x="89" y="261"/>
                </a:cubicBezTo>
                <a:cubicBezTo>
                  <a:pt x="89" y="261"/>
                  <a:pt x="91" y="258"/>
                  <a:pt x="91" y="258"/>
                </a:cubicBezTo>
                <a:cubicBezTo>
                  <a:pt x="91" y="254"/>
                  <a:pt x="91" y="254"/>
                  <a:pt x="91" y="254"/>
                </a:cubicBezTo>
                <a:cubicBezTo>
                  <a:pt x="91" y="254"/>
                  <a:pt x="91" y="253"/>
                  <a:pt x="93" y="251"/>
                </a:cubicBezTo>
                <a:cubicBezTo>
                  <a:pt x="95" y="250"/>
                  <a:pt x="94" y="250"/>
                  <a:pt x="95" y="250"/>
                </a:cubicBezTo>
                <a:cubicBezTo>
                  <a:pt x="96" y="249"/>
                  <a:pt x="96" y="248"/>
                  <a:pt x="96" y="247"/>
                </a:cubicBezTo>
                <a:cubicBezTo>
                  <a:pt x="97" y="246"/>
                  <a:pt x="97" y="246"/>
                  <a:pt x="97" y="246"/>
                </a:cubicBezTo>
                <a:cubicBezTo>
                  <a:pt x="98" y="244"/>
                  <a:pt x="98" y="244"/>
                  <a:pt x="98" y="244"/>
                </a:cubicBezTo>
                <a:cubicBezTo>
                  <a:pt x="98" y="236"/>
                  <a:pt x="98" y="236"/>
                  <a:pt x="98" y="236"/>
                </a:cubicBezTo>
                <a:cubicBezTo>
                  <a:pt x="98" y="236"/>
                  <a:pt x="98" y="234"/>
                  <a:pt x="99" y="234"/>
                </a:cubicBezTo>
                <a:cubicBezTo>
                  <a:pt x="100" y="234"/>
                  <a:pt x="101" y="234"/>
                  <a:pt x="101" y="234"/>
                </a:cubicBezTo>
                <a:cubicBezTo>
                  <a:pt x="101" y="234"/>
                  <a:pt x="101" y="235"/>
                  <a:pt x="101" y="237"/>
                </a:cubicBezTo>
                <a:cubicBezTo>
                  <a:pt x="100" y="239"/>
                  <a:pt x="101" y="242"/>
                  <a:pt x="101" y="242"/>
                </a:cubicBezTo>
                <a:cubicBezTo>
                  <a:pt x="108" y="248"/>
                  <a:pt x="108" y="248"/>
                  <a:pt x="108" y="248"/>
                </a:cubicBezTo>
                <a:cubicBezTo>
                  <a:pt x="108" y="248"/>
                  <a:pt x="111" y="253"/>
                  <a:pt x="111" y="254"/>
                </a:cubicBezTo>
                <a:cubicBezTo>
                  <a:pt x="111" y="254"/>
                  <a:pt x="116" y="258"/>
                  <a:pt x="116" y="258"/>
                </a:cubicBezTo>
                <a:cubicBezTo>
                  <a:pt x="116" y="258"/>
                  <a:pt x="117" y="259"/>
                  <a:pt x="116" y="260"/>
                </a:cubicBezTo>
                <a:cubicBezTo>
                  <a:pt x="116" y="261"/>
                  <a:pt x="117" y="262"/>
                  <a:pt x="117" y="263"/>
                </a:cubicBezTo>
                <a:cubicBezTo>
                  <a:pt x="116" y="264"/>
                  <a:pt x="115" y="267"/>
                  <a:pt x="115" y="267"/>
                </a:cubicBezTo>
                <a:cubicBezTo>
                  <a:pt x="113" y="268"/>
                  <a:pt x="113" y="268"/>
                  <a:pt x="113" y="268"/>
                </a:cubicBezTo>
                <a:cubicBezTo>
                  <a:pt x="110" y="271"/>
                  <a:pt x="110" y="271"/>
                  <a:pt x="110" y="271"/>
                </a:cubicBezTo>
                <a:cubicBezTo>
                  <a:pt x="109" y="275"/>
                  <a:pt x="109" y="275"/>
                  <a:pt x="109" y="275"/>
                </a:cubicBezTo>
                <a:cubicBezTo>
                  <a:pt x="107" y="278"/>
                  <a:pt x="107" y="278"/>
                  <a:pt x="107" y="278"/>
                </a:cubicBezTo>
                <a:cubicBezTo>
                  <a:pt x="103" y="280"/>
                  <a:pt x="103" y="280"/>
                  <a:pt x="103" y="280"/>
                </a:cubicBezTo>
                <a:cubicBezTo>
                  <a:pt x="98" y="285"/>
                  <a:pt x="98" y="285"/>
                  <a:pt x="98" y="285"/>
                </a:cubicBezTo>
                <a:cubicBezTo>
                  <a:pt x="96" y="289"/>
                  <a:pt x="96" y="289"/>
                  <a:pt x="96" y="289"/>
                </a:cubicBezTo>
                <a:cubicBezTo>
                  <a:pt x="93" y="293"/>
                  <a:pt x="93" y="293"/>
                  <a:pt x="93" y="293"/>
                </a:cubicBezTo>
                <a:cubicBezTo>
                  <a:pt x="93" y="296"/>
                  <a:pt x="93" y="296"/>
                  <a:pt x="93" y="296"/>
                </a:cubicBezTo>
                <a:cubicBezTo>
                  <a:pt x="93" y="296"/>
                  <a:pt x="95" y="300"/>
                  <a:pt x="96" y="300"/>
                </a:cubicBezTo>
                <a:cubicBezTo>
                  <a:pt x="96" y="300"/>
                  <a:pt x="97" y="301"/>
                  <a:pt x="97" y="301"/>
                </a:cubicBezTo>
                <a:cubicBezTo>
                  <a:pt x="98" y="306"/>
                  <a:pt x="98" y="306"/>
                  <a:pt x="98" y="306"/>
                </a:cubicBezTo>
                <a:cubicBezTo>
                  <a:pt x="98" y="306"/>
                  <a:pt x="98" y="309"/>
                  <a:pt x="99" y="309"/>
                </a:cubicBezTo>
                <a:cubicBezTo>
                  <a:pt x="100" y="308"/>
                  <a:pt x="101" y="305"/>
                  <a:pt x="101" y="305"/>
                </a:cubicBezTo>
                <a:cubicBezTo>
                  <a:pt x="101" y="305"/>
                  <a:pt x="99" y="303"/>
                  <a:pt x="99" y="301"/>
                </a:cubicBezTo>
                <a:cubicBezTo>
                  <a:pt x="99" y="299"/>
                  <a:pt x="101" y="296"/>
                  <a:pt x="101" y="296"/>
                </a:cubicBezTo>
                <a:cubicBezTo>
                  <a:pt x="103" y="295"/>
                  <a:pt x="103" y="295"/>
                  <a:pt x="103" y="295"/>
                </a:cubicBezTo>
                <a:cubicBezTo>
                  <a:pt x="103" y="295"/>
                  <a:pt x="102" y="295"/>
                  <a:pt x="103" y="296"/>
                </a:cubicBezTo>
                <a:cubicBezTo>
                  <a:pt x="104" y="298"/>
                  <a:pt x="104" y="297"/>
                  <a:pt x="105" y="298"/>
                </a:cubicBezTo>
                <a:cubicBezTo>
                  <a:pt x="105" y="299"/>
                  <a:pt x="108" y="302"/>
                  <a:pt x="108" y="302"/>
                </a:cubicBezTo>
                <a:cubicBezTo>
                  <a:pt x="108" y="302"/>
                  <a:pt x="111" y="305"/>
                  <a:pt x="112" y="306"/>
                </a:cubicBezTo>
                <a:cubicBezTo>
                  <a:pt x="113" y="307"/>
                  <a:pt x="114" y="309"/>
                  <a:pt x="115" y="309"/>
                </a:cubicBezTo>
                <a:cubicBezTo>
                  <a:pt x="116" y="308"/>
                  <a:pt x="117" y="309"/>
                  <a:pt x="117" y="307"/>
                </a:cubicBezTo>
                <a:cubicBezTo>
                  <a:pt x="117" y="305"/>
                  <a:pt x="118" y="305"/>
                  <a:pt x="118" y="303"/>
                </a:cubicBezTo>
                <a:cubicBezTo>
                  <a:pt x="117" y="302"/>
                  <a:pt x="117" y="299"/>
                  <a:pt x="117" y="299"/>
                </a:cubicBezTo>
                <a:cubicBezTo>
                  <a:pt x="117" y="299"/>
                  <a:pt x="117" y="298"/>
                  <a:pt x="118" y="298"/>
                </a:cubicBezTo>
                <a:cubicBezTo>
                  <a:pt x="120" y="298"/>
                  <a:pt x="120" y="300"/>
                  <a:pt x="120" y="300"/>
                </a:cubicBezTo>
                <a:cubicBezTo>
                  <a:pt x="120" y="300"/>
                  <a:pt x="121" y="303"/>
                  <a:pt x="122" y="304"/>
                </a:cubicBezTo>
                <a:cubicBezTo>
                  <a:pt x="123" y="304"/>
                  <a:pt x="124" y="304"/>
                  <a:pt x="125" y="305"/>
                </a:cubicBezTo>
                <a:cubicBezTo>
                  <a:pt x="126" y="307"/>
                  <a:pt x="131" y="308"/>
                  <a:pt x="131" y="308"/>
                </a:cubicBezTo>
                <a:cubicBezTo>
                  <a:pt x="131" y="308"/>
                  <a:pt x="132" y="307"/>
                  <a:pt x="133" y="306"/>
                </a:cubicBezTo>
                <a:cubicBezTo>
                  <a:pt x="133" y="305"/>
                  <a:pt x="135" y="305"/>
                  <a:pt x="135" y="305"/>
                </a:cubicBezTo>
                <a:cubicBezTo>
                  <a:pt x="135" y="305"/>
                  <a:pt x="134" y="303"/>
                  <a:pt x="137" y="304"/>
                </a:cubicBezTo>
                <a:cubicBezTo>
                  <a:pt x="139" y="304"/>
                  <a:pt x="140" y="305"/>
                  <a:pt x="140" y="304"/>
                </a:cubicBezTo>
                <a:cubicBezTo>
                  <a:pt x="141" y="303"/>
                  <a:pt x="143" y="299"/>
                  <a:pt x="143" y="299"/>
                </a:cubicBezTo>
                <a:cubicBezTo>
                  <a:pt x="143" y="299"/>
                  <a:pt x="142" y="296"/>
                  <a:pt x="145" y="297"/>
                </a:cubicBezTo>
                <a:cubicBezTo>
                  <a:pt x="147" y="299"/>
                  <a:pt x="158" y="301"/>
                  <a:pt x="158" y="301"/>
                </a:cubicBezTo>
                <a:cubicBezTo>
                  <a:pt x="157" y="303"/>
                  <a:pt x="157" y="303"/>
                  <a:pt x="157" y="303"/>
                </a:cubicBezTo>
                <a:cubicBezTo>
                  <a:pt x="153" y="302"/>
                  <a:pt x="153" y="302"/>
                  <a:pt x="153" y="302"/>
                </a:cubicBezTo>
                <a:cubicBezTo>
                  <a:pt x="150" y="303"/>
                  <a:pt x="150" y="303"/>
                  <a:pt x="150" y="303"/>
                </a:cubicBezTo>
                <a:cubicBezTo>
                  <a:pt x="150" y="303"/>
                  <a:pt x="149" y="303"/>
                  <a:pt x="148" y="305"/>
                </a:cubicBezTo>
                <a:cubicBezTo>
                  <a:pt x="148" y="306"/>
                  <a:pt x="148" y="307"/>
                  <a:pt x="147" y="308"/>
                </a:cubicBezTo>
                <a:cubicBezTo>
                  <a:pt x="147" y="309"/>
                  <a:pt x="146" y="310"/>
                  <a:pt x="145" y="310"/>
                </a:cubicBezTo>
                <a:cubicBezTo>
                  <a:pt x="145" y="311"/>
                  <a:pt x="141" y="314"/>
                  <a:pt x="141" y="314"/>
                </a:cubicBezTo>
                <a:cubicBezTo>
                  <a:pt x="139" y="317"/>
                  <a:pt x="139" y="317"/>
                  <a:pt x="139" y="317"/>
                </a:cubicBezTo>
                <a:cubicBezTo>
                  <a:pt x="137" y="322"/>
                  <a:pt x="137" y="322"/>
                  <a:pt x="137" y="322"/>
                </a:cubicBezTo>
                <a:cubicBezTo>
                  <a:pt x="137" y="322"/>
                  <a:pt x="137" y="326"/>
                  <a:pt x="138" y="326"/>
                </a:cubicBezTo>
                <a:cubicBezTo>
                  <a:pt x="139" y="327"/>
                  <a:pt x="141" y="330"/>
                  <a:pt x="141" y="330"/>
                </a:cubicBezTo>
                <a:cubicBezTo>
                  <a:pt x="141" y="330"/>
                  <a:pt x="141" y="332"/>
                  <a:pt x="141" y="333"/>
                </a:cubicBezTo>
                <a:cubicBezTo>
                  <a:pt x="141" y="334"/>
                  <a:pt x="141" y="335"/>
                  <a:pt x="142" y="337"/>
                </a:cubicBezTo>
                <a:cubicBezTo>
                  <a:pt x="143" y="338"/>
                  <a:pt x="144" y="342"/>
                  <a:pt x="144" y="342"/>
                </a:cubicBezTo>
                <a:cubicBezTo>
                  <a:pt x="145" y="342"/>
                  <a:pt x="145" y="342"/>
                  <a:pt x="145" y="342"/>
                </a:cubicBezTo>
                <a:cubicBezTo>
                  <a:pt x="145" y="345"/>
                  <a:pt x="145" y="345"/>
                  <a:pt x="145" y="345"/>
                </a:cubicBezTo>
                <a:cubicBezTo>
                  <a:pt x="145" y="345"/>
                  <a:pt x="145" y="348"/>
                  <a:pt x="146" y="348"/>
                </a:cubicBezTo>
                <a:cubicBezTo>
                  <a:pt x="148" y="348"/>
                  <a:pt x="151" y="346"/>
                  <a:pt x="151" y="346"/>
                </a:cubicBezTo>
                <a:cubicBezTo>
                  <a:pt x="159" y="344"/>
                  <a:pt x="159" y="344"/>
                  <a:pt x="159" y="344"/>
                </a:cubicBezTo>
                <a:cubicBezTo>
                  <a:pt x="159" y="344"/>
                  <a:pt x="158" y="348"/>
                  <a:pt x="158" y="349"/>
                </a:cubicBezTo>
                <a:cubicBezTo>
                  <a:pt x="158" y="350"/>
                  <a:pt x="156" y="350"/>
                  <a:pt x="155" y="351"/>
                </a:cubicBezTo>
                <a:cubicBezTo>
                  <a:pt x="155" y="352"/>
                  <a:pt x="155" y="353"/>
                  <a:pt x="155" y="353"/>
                </a:cubicBezTo>
                <a:cubicBezTo>
                  <a:pt x="155" y="353"/>
                  <a:pt x="154" y="356"/>
                  <a:pt x="153" y="356"/>
                </a:cubicBezTo>
                <a:cubicBezTo>
                  <a:pt x="151" y="356"/>
                  <a:pt x="149" y="357"/>
                  <a:pt x="149" y="357"/>
                </a:cubicBezTo>
                <a:cubicBezTo>
                  <a:pt x="149" y="357"/>
                  <a:pt x="148" y="355"/>
                  <a:pt x="148" y="358"/>
                </a:cubicBezTo>
                <a:cubicBezTo>
                  <a:pt x="147" y="360"/>
                  <a:pt x="146" y="362"/>
                  <a:pt x="146" y="363"/>
                </a:cubicBezTo>
                <a:cubicBezTo>
                  <a:pt x="146" y="364"/>
                  <a:pt x="144" y="365"/>
                  <a:pt x="147" y="366"/>
                </a:cubicBezTo>
                <a:cubicBezTo>
                  <a:pt x="149" y="366"/>
                  <a:pt x="149" y="369"/>
                  <a:pt x="149" y="369"/>
                </a:cubicBezTo>
                <a:cubicBezTo>
                  <a:pt x="149" y="369"/>
                  <a:pt x="147" y="371"/>
                  <a:pt x="146" y="372"/>
                </a:cubicBezTo>
                <a:cubicBezTo>
                  <a:pt x="145" y="373"/>
                  <a:pt x="144" y="372"/>
                  <a:pt x="144" y="373"/>
                </a:cubicBezTo>
                <a:cubicBezTo>
                  <a:pt x="144" y="374"/>
                  <a:pt x="146" y="379"/>
                  <a:pt x="146" y="379"/>
                </a:cubicBezTo>
                <a:cubicBezTo>
                  <a:pt x="146" y="379"/>
                  <a:pt x="146" y="382"/>
                  <a:pt x="144" y="382"/>
                </a:cubicBezTo>
                <a:cubicBezTo>
                  <a:pt x="142" y="382"/>
                  <a:pt x="142" y="382"/>
                  <a:pt x="141" y="382"/>
                </a:cubicBezTo>
                <a:cubicBezTo>
                  <a:pt x="140" y="382"/>
                  <a:pt x="139" y="382"/>
                  <a:pt x="139" y="382"/>
                </a:cubicBezTo>
                <a:cubicBezTo>
                  <a:pt x="139" y="382"/>
                  <a:pt x="140" y="383"/>
                  <a:pt x="140" y="385"/>
                </a:cubicBezTo>
                <a:cubicBezTo>
                  <a:pt x="140" y="387"/>
                  <a:pt x="140" y="389"/>
                  <a:pt x="140" y="389"/>
                </a:cubicBezTo>
                <a:cubicBezTo>
                  <a:pt x="137" y="388"/>
                  <a:pt x="137" y="388"/>
                  <a:pt x="137" y="388"/>
                </a:cubicBezTo>
                <a:cubicBezTo>
                  <a:pt x="134" y="385"/>
                  <a:pt x="134" y="385"/>
                  <a:pt x="134" y="385"/>
                </a:cubicBezTo>
                <a:cubicBezTo>
                  <a:pt x="134" y="385"/>
                  <a:pt x="131" y="385"/>
                  <a:pt x="130" y="385"/>
                </a:cubicBezTo>
                <a:cubicBezTo>
                  <a:pt x="129" y="386"/>
                  <a:pt x="126" y="386"/>
                  <a:pt x="126" y="386"/>
                </a:cubicBezTo>
                <a:cubicBezTo>
                  <a:pt x="126" y="386"/>
                  <a:pt x="121" y="384"/>
                  <a:pt x="120" y="383"/>
                </a:cubicBezTo>
                <a:cubicBezTo>
                  <a:pt x="120" y="382"/>
                  <a:pt x="120" y="382"/>
                  <a:pt x="119" y="383"/>
                </a:cubicBezTo>
                <a:cubicBezTo>
                  <a:pt x="119" y="383"/>
                  <a:pt x="120" y="383"/>
                  <a:pt x="119" y="383"/>
                </a:cubicBezTo>
                <a:cubicBezTo>
                  <a:pt x="118" y="384"/>
                  <a:pt x="120" y="384"/>
                  <a:pt x="116" y="384"/>
                </a:cubicBezTo>
                <a:cubicBezTo>
                  <a:pt x="112" y="385"/>
                  <a:pt x="108" y="386"/>
                  <a:pt x="108" y="386"/>
                </a:cubicBezTo>
                <a:cubicBezTo>
                  <a:pt x="108" y="386"/>
                  <a:pt x="111" y="383"/>
                  <a:pt x="110" y="382"/>
                </a:cubicBezTo>
                <a:cubicBezTo>
                  <a:pt x="109" y="381"/>
                  <a:pt x="110" y="382"/>
                  <a:pt x="108" y="381"/>
                </a:cubicBezTo>
                <a:cubicBezTo>
                  <a:pt x="107" y="380"/>
                  <a:pt x="105" y="378"/>
                  <a:pt x="105" y="377"/>
                </a:cubicBezTo>
                <a:cubicBezTo>
                  <a:pt x="105" y="376"/>
                  <a:pt x="105" y="374"/>
                  <a:pt x="103" y="374"/>
                </a:cubicBezTo>
                <a:cubicBezTo>
                  <a:pt x="102" y="374"/>
                  <a:pt x="101" y="372"/>
                  <a:pt x="99" y="374"/>
                </a:cubicBezTo>
                <a:cubicBezTo>
                  <a:pt x="98" y="375"/>
                  <a:pt x="97" y="375"/>
                  <a:pt x="97" y="376"/>
                </a:cubicBezTo>
                <a:cubicBezTo>
                  <a:pt x="96" y="377"/>
                  <a:pt x="92" y="378"/>
                  <a:pt x="92" y="378"/>
                </a:cubicBezTo>
                <a:cubicBezTo>
                  <a:pt x="92" y="378"/>
                  <a:pt x="95" y="382"/>
                  <a:pt x="95" y="383"/>
                </a:cubicBezTo>
                <a:cubicBezTo>
                  <a:pt x="95" y="384"/>
                  <a:pt x="97" y="388"/>
                  <a:pt x="97" y="388"/>
                </a:cubicBezTo>
                <a:cubicBezTo>
                  <a:pt x="104" y="388"/>
                  <a:pt x="104" y="388"/>
                  <a:pt x="104" y="388"/>
                </a:cubicBezTo>
                <a:cubicBezTo>
                  <a:pt x="104" y="388"/>
                  <a:pt x="99" y="390"/>
                  <a:pt x="99" y="392"/>
                </a:cubicBezTo>
                <a:cubicBezTo>
                  <a:pt x="98" y="393"/>
                  <a:pt x="98" y="394"/>
                  <a:pt x="97" y="395"/>
                </a:cubicBezTo>
                <a:cubicBezTo>
                  <a:pt x="96" y="396"/>
                  <a:pt x="96" y="397"/>
                  <a:pt x="94" y="398"/>
                </a:cubicBezTo>
                <a:cubicBezTo>
                  <a:pt x="91" y="398"/>
                  <a:pt x="88" y="399"/>
                  <a:pt x="86" y="400"/>
                </a:cubicBezTo>
                <a:cubicBezTo>
                  <a:pt x="85" y="401"/>
                  <a:pt x="84" y="401"/>
                  <a:pt x="84" y="402"/>
                </a:cubicBezTo>
                <a:cubicBezTo>
                  <a:pt x="84" y="404"/>
                  <a:pt x="78" y="403"/>
                  <a:pt x="84" y="405"/>
                </a:cubicBezTo>
                <a:cubicBezTo>
                  <a:pt x="90" y="406"/>
                  <a:pt x="91" y="407"/>
                  <a:pt x="91" y="407"/>
                </a:cubicBezTo>
                <a:cubicBezTo>
                  <a:pt x="91" y="407"/>
                  <a:pt x="94" y="404"/>
                  <a:pt x="95" y="403"/>
                </a:cubicBezTo>
                <a:cubicBezTo>
                  <a:pt x="97" y="401"/>
                  <a:pt x="97" y="401"/>
                  <a:pt x="101" y="401"/>
                </a:cubicBezTo>
                <a:cubicBezTo>
                  <a:pt x="105" y="402"/>
                  <a:pt x="105" y="401"/>
                  <a:pt x="105" y="402"/>
                </a:cubicBezTo>
                <a:cubicBezTo>
                  <a:pt x="105" y="404"/>
                  <a:pt x="105" y="405"/>
                  <a:pt x="105" y="407"/>
                </a:cubicBezTo>
                <a:cubicBezTo>
                  <a:pt x="104" y="409"/>
                  <a:pt x="102" y="410"/>
                  <a:pt x="104" y="413"/>
                </a:cubicBezTo>
                <a:cubicBezTo>
                  <a:pt x="106" y="415"/>
                  <a:pt x="103" y="417"/>
                  <a:pt x="103" y="418"/>
                </a:cubicBezTo>
                <a:cubicBezTo>
                  <a:pt x="103" y="418"/>
                  <a:pt x="101" y="421"/>
                  <a:pt x="102" y="421"/>
                </a:cubicBezTo>
                <a:cubicBezTo>
                  <a:pt x="103" y="422"/>
                  <a:pt x="103" y="422"/>
                  <a:pt x="103" y="422"/>
                </a:cubicBezTo>
                <a:cubicBezTo>
                  <a:pt x="103" y="422"/>
                  <a:pt x="101" y="427"/>
                  <a:pt x="101" y="428"/>
                </a:cubicBezTo>
                <a:cubicBezTo>
                  <a:pt x="101" y="428"/>
                  <a:pt x="98" y="434"/>
                  <a:pt x="97" y="434"/>
                </a:cubicBezTo>
                <a:cubicBezTo>
                  <a:pt x="96" y="435"/>
                  <a:pt x="98" y="435"/>
                  <a:pt x="92" y="437"/>
                </a:cubicBezTo>
                <a:cubicBezTo>
                  <a:pt x="86" y="438"/>
                  <a:pt x="83" y="439"/>
                  <a:pt x="83" y="439"/>
                </a:cubicBezTo>
                <a:cubicBezTo>
                  <a:pt x="78" y="441"/>
                  <a:pt x="78" y="441"/>
                  <a:pt x="78" y="441"/>
                </a:cubicBezTo>
                <a:cubicBezTo>
                  <a:pt x="74" y="444"/>
                  <a:pt x="74" y="444"/>
                  <a:pt x="74" y="444"/>
                </a:cubicBezTo>
                <a:cubicBezTo>
                  <a:pt x="71" y="444"/>
                  <a:pt x="71" y="444"/>
                  <a:pt x="71" y="444"/>
                </a:cubicBezTo>
                <a:cubicBezTo>
                  <a:pt x="66" y="443"/>
                  <a:pt x="66" y="443"/>
                  <a:pt x="66" y="443"/>
                </a:cubicBezTo>
                <a:cubicBezTo>
                  <a:pt x="66" y="443"/>
                  <a:pt x="61" y="446"/>
                  <a:pt x="61" y="447"/>
                </a:cubicBezTo>
                <a:cubicBezTo>
                  <a:pt x="61" y="447"/>
                  <a:pt x="58" y="448"/>
                  <a:pt x="57" y="449"/>
                </a:cubicBezTo>
                <a:cubicBezTo>
                  <a:pt x="57" y="450"/>
                  <a:pt x="62" y="452"/>
                  <a:pt x="62" y="452"/>
                </a:cubicBezTo>
                <a:cubicBezTo>
                  <a:pt x="63" y="455"/>
                  <a:pt x="63" y="455"/>
                  <a:pt x="63" y="455"/>
                </a:cubicBezTo>
                <a:cubicBezTo>
                  <a:pt x="61" y="455"/>
                  <a:pt x="61" y="455"/>
                  <a:pt x="61" y="455"/>
                </a:cubicBezTo>
                <a:cubicBezTo>
                  <a:pt x="57" y="456"/>
                  <a:pt x="57" y="456"/>
                  <a:pt x="57" y="456"/>
                </a:cubicBezTo>
                <a:cubicBezTo>
                  <a:pt x="57" y="458"/>
                  <a:pt x="57" y="458"/>
                  <a:pt x="57" y="458"/>
                </a:cubicBezTo>
                <a:cubicBezTo>
                  <a:pt x="59" y="459"/>
                  <a:pt x="59" y="459"/>
                  <a:pt x="59" y="459"/>
                </a:cubicBezTo>
                <a:cubicBezTo>
                  <a:pt x="59" y="459"/>
                  <a:pt x="60" y="460"/>
                  <a:pt x="61" y="460"/>
                </a:cubicBezTo>
                <a:cubicBezTo>
                  <a:pt x="63" y="460"/>
                  <a:pt x="67" y="458"/>
                  <a:pt x="67" y="458"/>
                </a:cubicBezTo>
                <a:cubicBezTo>
                  <a:pt x="62" y="461"/>
                  <a:pt x="62" y="461"/>
                  <a:pt x="62" y="461"/>
                </a:cubicBezTo>
                <a:cubicBezTo>
                  <a:pt x="61" y="464"/>
                  <a:pt x="61" y="464"/>
                  <a:pt x="61" y="464"/>
                </a:cubicBezTo>
                <a:cubicBezTo>
                  <a:pt x="61" y="464"/>
                  <a:pt x="60" y="466"/>
                  <a:pt x="62" y="466"/>
                </a:cubicBezTo>
                <a:cubicBezTo>
                  <a:pt x="64" y="466"/>
                  <a:pt x="66" y="466"/>
                  <a:pt x="66" y="466"/>
                </a:cubicBezTo>
                <a:cubicBezTo>
                  <a:pt x="66" y="466"/>
                  <a:pt x="67" y="464"/>
                  <a:pt x="69" y="464"/>
                </a:cubicBezTo>
                <a:cubicBezTo>
                  <a:pt x="72" y="465"/>
                  <a:pt x="72" y="465"/>
                  <a:pt x="72" y="465"/>
                </a:cubicBezTo>
                <a:cubicBezTo>
                  <a:pt x="72" y="465"/>
                  <a:pt x="73" y="462"/>
                  <a:pt x="74" y="462"/>
                </a:cubicBezTo>
                <a:cubicBezTo>
                  <a:pt x="74" y="462"/>
                  <a:pt x="73" y="462"/>
                  <a:pt x="76" y="462"/>
                </a:cubicBezTo>
                <a:cubicBezTo>
                  <a:pt x="78" y="463"/>
                  <a:pt x="85" y="462"/>
                  <a:pt x="85" y="462"/>
                </a:cubicBezTo>
                <a:cubicBezTo>
                  <a:pt x="85" y="462"/>
                  <a:pt x="86" y="462"/>
                  <a:pt x="86" y="463"/>
                </a:cubicBezTo>
                <a:cubicBezTo>
                  <a:pt x="86" y="465"/>
                  <a:pt x="88" y="465"/>
                  <a:pt x="89" y="467"/>
                </a:cubicBezTo>
                <a:cubicBezTo>
                  <a:pt x="91" y="468"/>
                  <a:pt x="95" y="469"/>
                  <a:pt x="95" y="469"/>
                </a:cubicBezTo>
                <a:cubicBezTo>
                  <a:pt x="92" y="470"/>
                  <a:pt x="92" y="470"/>
                  <a:pt x="92" y="470"/>
                </a:cubicBezTo>
                <a:cubicBezTo>
                  <a:pt x="88" y="469"/>
                  <a:pt x="88" y="469"/>
                  <a:pt x="88" y="469"/>
                </a:cubicBezTo>
                <a:cubicBezTo>
                  <a:pt x="88" y="469"/>
                  <a:pt x="86" y="468"/>
                  <a:pt x="86" y="469"/>
                </a:cubicBezTo>
                <a:cubicBezTo>
                  <a:pt x="86" y="471"/>
                  <a:pt x="85" y="474"/>
                  <a:pt x="85" y="474"/>
                </a:cubicBezTo>
                <a:cubicBezTo>
                  <a:pt x="86" y="474"/>
                  <a:pt x="91" y="475"/>
                  <a:pt x="91" y="475"/>
                </a:cubicBezTo>
                <a:cubicBezTo>
                  <a:pt x="96" y="475"/>
                  <a:pt x="96" y="475"/>
                  <a:pt x="96" y="475"/>
                </a:cubicBezTo>
                <a:cubicBezTo>
                  <a:pt x="98" y="474"/>
                  <a:pt x="98" y="474"/>
                  <a:pt x="98" y="474"/>
                </a:cubicBezTo>
                <a:cubicBezTo>
                  <a:pt x="101" y="472"/>
                  <a:pt x="101" y="472"/>
                  <a:pt x="101" y="472"/>
                </a:cubicBezTo>
                <a:cubicBezTo>
                  <a:pt x="101" y="472"/>
                  <a:pt x="102" y="474"/>
                  <a:pt x="101" y="474"/>
                </a:cubicBezTo>
                <a:cubicBezTo>
                  <a:pt x="101" y="475"/>
                  <a:pt x="102" y="477"/>
                  <a:pt x="102" y="477"/>
                </a:cubicBezTo>
                <a:cubicBezTo>
                  <a:pt x="102" y="477"/>
                  <a:pt x="102" y="480"/>
                  <a:pt x="103" y="480"/>
                </a:cubicBezTo>
                <a:cubicBezTo>
                  <a:pt x="104" y="480"/>
                  <a:pt x="106" y="483"/>
                  <a:pt x="106" y="483"/>
                </a:cubicBezTo>
                <a:cubicBezTo>
                  <a:pt x="108" y="486"/>
                  <a:pt x="108" y="486"/>
                  <a:pt x="108" y="486"/>
                </a:cubicBezTo>
                <a:cubicBezTo>
                  <a:pt x="112" y="487"/>
                  <a:pt x="112" y="487"/>
                  <a:pt x="112" y="487"/>
                </a:cubicBezTo>
                <a:cubicBezTo>
                  <a:pt x="112" y="487"/>
                  <a:pt x="115" y="487"/>
                  <a:pt x="116" y="487"/>
                </a:cubicBezTo>
                <a:cubicBezTo>
                  <a:pt x="117" y="488"/>
                  <a:pt x="119" y="489"/>
                  <a:pt x="119" y="488"/>
                </a:cubicBezTo>
                <a:cubicBezTo>
                  <a:pt x="120" y="487"/>
                  <a:pt x="122" y="485"/>
                  <a:pt x="122" y="485"/>
                </a:cubicBezTo>
                <a:cubicBezTo>
                  <a:pt x="126" y="482"/>
                  <a:pt x="126" y="482"/>
                  <a:pt x="126" y="482"/>
                </a:cubicBezTo>
                <a:cubicBezTo>
                  <a:pt x="126" y="482"/>
                  <a:pt x="128" y="482"/>
                  <a:pt x="130" y="482"/>
                </a:cubicBezTo>
                <a:cubicBezTo>
                  <a:pt x="131" y="482"/>
                  <a:pt x="138" y="481"/>
                  <a:pt x="138" y="481"/>
                </a:cubicBezTo>
                <a:cubicBezTo>
                  <a:pt x="138" y="481"/>
                  <a:pt x="139" y="479"/>
                  <a:pt x="141" y="478"/>
                </a:cubicBezTo>
                <a:cubicBezTo>
                  <a:pt x="142" y="477"/>
                  <a:pt x="146" y="475"/>
                  <a:pt x="146" y="475"/>
                </a:cubicBezTo>
                <a:cubicBezTo>
                  <a:pt x="153" y="473"/>
                  <a:pt x="153" y="473"/>
                  <a:pt x="153" y="473"/>
                </a:cubicBezTo>
                <a:cubicBezTo>
                  <a:pt x="147" y="475"/>
                  <a:pt x="147" y="475"/>
                  <a:pt x="147" y="475"/>
                </a:cubicBezTo>
                <a:cubicBezTo>
                  <a:pt x="145" y="477"/>
                  <a:pt x="145" y="477"/>
                  <a:pt x="145" y="477"/>
                </a:cubicBezTo>
                <a:cubicBezTo>
                  <a:pt x="141" y="480"/>
                  <a:pt x="141" y="480"/>
                  <a:pt x="141" y="480"/>
                </a:cubicBezTo>
                <a:cubicBezTo>
                  <a:pt x="139" y="482"/>
                  <a:pt x="139" y="482"/>
                  <a:pt x="139" y="482"/>
                </a:cubicBezTo>
                <a:cubicBezTo>
                  <a:pt x="139" y="482"/>
                  <a:pt x="137" y="483"/>
                  <a:pt x="136" y="484"/>
                </a:cubicBezTo>
                <a:cubicBezTo>
                  <a:pt x="136" y="484"/>
                  <a:pt x="133" y="489"/>
                  <a:pt x="133" y="489"/>
                </a:cubicBezTo>
                <a:cubicBezTo>
                  <a:pt x="130" y="490"/>
                  <a:pt x="130" y="490"/>
                  <a:pt x="130" y="490"/>
                </a:cubicBezTo>
                <a:cubicBezTo>
                  <a:pt x="130" y="490"/>
                  <a:pt x="127" y="492"/>
                  <a:pt x="126" y="494"/>
                </a:cubicBezTo>
                <a:cubicBezTo>
                  <a:pt x="125" y="495"/>
                  <a:pt x="124" y="496"/>
                  <a:pt x="124" y="496"/>
                </a:cubicBezTo>
                <a:cubicBezTo>
                  <a:pt x="124" y="496"/>
                  <a:pt x="125" y="498"/>
                  <a:pt x="120" y="498"/>
                </a:cubicBezTo>
                <a:cubicBezTo>
                  <a:pt x="115" y="497"/>
                  <a:pt x="111" y="496"/>
                  <a:pt x="111" y="496"/>
                </a:cubicBezTo>
                <a:cubicBezTo>
                  <a:pt x="111" y="496"/>
                  <a:pt x="106" y="495"/>
                  <a:pt x="105" y="495"/>
                </a:cubicBezTo>
                <a:cubicBezTo>
                  <a:pt x="104" y="494"/>
                  <a:pt x="104" y="494"/>
                  <a:pt x="101" y="494"/>
                </a:cubicBezTo>
                <a:cubicBezTo>
                  <a:pt x="99" y="494"/>
                  <a:pt x="89" y="491"/>
                  <a:pt x="89" y="491"/>
                </a:cubicBezTo>
                <a:cubicBezTo>
                  <a:pt x="89" y="491"/>
                  <a:pt x="87" y="491"/>
                  <a:pt x="86" y="492"/>
                </a:cubicBezTo>
                <a:cubicBezTo>
                  <a:pt x="85" y="493"/>
                  <a:pt x="83" y="493"/>
                  <a:pt x="83" y="494"/>
                </a:cubicBezTo>
                <a:cubicBezTo>
                  <a:pt x="83" y="496"/>
                  <a:pt x="83" y="497"/>
                  <a:pt x="83" y="497"/>
                </a:cubicBezTo>
                <a:cubicBezTo>
                  <a:pt x="82" y="500"/>
                  <a:pt x="82" y="500"/>
                  <a:pt x="82" y="500"/>
                </a:cubicBezTo>
                <a:cubicBezTo>
                  <a:pt x="78" y="501"/>
                  <a:pt x="78" y="501"/>
                  <a:pt x="78" y="501"/>
                </a:cubicBezTo>
                <a:cubicBezTo>
                  <a:pt x="73" y="501"/>
                  <a:pt x="73" y="501"/>
                  <a:pt x="73" y="501"/>
                </a:cubicBezTo>
                <a:close/>
                <a:moveTo>
                  <a:pt x="43" y="266"/>
                </a:moveTo>
                <a:cubicBezTo>
                  <a:pt x="43" y="266"/>
                  <a:pt x="43" y="266"/>
                  <a:pt x="43" y="266"/>
                </a:cubicBezTo>
                <a:cubicBezTo>
                  <a:pt x="44" y="266"/>
                  <a:pt x="50" y="266"/>
                  <a:pt x="50" y="266"/>
                </a:cubicBezTo>
                <a:cubicBezTo>
                  <a:pt x="54" y="266"/>
                  <a:pt x="54" y="266"/>
                  <a:pt x="54" y="266"/>
                </a:cubicBezTo>
                <a:cubicBezTo>
                  <a:pt x="54" y="266"/>
                  <a:pt x="59" y="266"/>
                  <a:pt x="60" y="266"/>
                </a:cubicBezTo>
                <a:cubicBezTo>
                  <a:pt x="61" y="266"/>
                  <a:pt x="62" y="267"/>
                  <a:pt x="62" y="267"/>
                </a:cubicBezTo>
                <a:cubicBezTo>
                  <a:pt x="62" y="267"/>
                  <a:pt x="64" y="265"/>
                  <a:pt x="65" y="266"/>
                </a:cubicBezTo>
                <a:cubicBezTo>
                  <a:pt x="66" y="266"/>
                  <a:pt x="68" y="269"/>
                  <a:pt x="68" y="269"/>
                </a:cubicBezTo>
                <a:cubicBezTo>
                  <a:pt x="70" y="274"/>
                  <a:pt x="70" y="274"/>
                  <a:pt x="70" y="274"/>
                </a:cubicBezTo>
                <a:cubicBezTo>
                  <a:pt x="71" y="280"/>
                  <a:pt x="71" y="280"/>
                  <a:pt x="71" y="280"/>
                </a:cubicBezTo>
                <a:cubicBezTo>
                  <a:pt x="72" y="285"/>
                  <a:pt x="72" y="285"/>
                  <a:pt x="72" y="285"/>
                </a:cubicBezTo>
                <a:cubicBezTo>
                  <a:pt x="76" y="290"/>
                  <a:pt x="76" y="290"/>
                  <a:pt x="76" y="290"/>
                </a:cubicBezTo>
                <a:cubicBezTo>
                  <a:pt x="74" y="293"/>
                  <a:pt x="74" y="293"/>
                  <a:pt x="74" y="293"/>
                </a:cubicBezTo>
                <a:cubicBezTo>
                  <a:pt x="74" y="293"/>
                  <a:pt x="74" y="297"/>
                  <a:pt x="74" y="297"/>
                </a:cubicBezTo>
                <a:cubicBezTo>
                  <a:pt x="73" y="297"/>
                  <a:pt x="70" y="298"/>
                  <a:pt x="70" y="298"/>
                </a:cubicBezTo>
                <a:cubicBezTo>
                  <a:pt x="69" y="299"/>
                  <a:pt x="68" y="302"/>
                  <a:pt x="68" y="302"/>
                </a:cubicBezTo>
                <a:cubicBezTo>
                  <a:pt x="68" y="302"/>
                  <a:pt x="72" y="298"/>
                  <a:pt x="73" y="299"/>
                </a:cubicBezTo>
                <a:cubicBezTo>
                  <a:pt x="74" y="299"/>
                  <a:pt x="77" y="299"/>
                  <a:pt x="77" y="299"/>
                </a:cubicBezTo>
                <a:cubicBezTo>
                  <a:pt x="79" y="301"/>
                  <a:pt x="79" y="301"/>
                  <a:pt x="79" y="301"/>
                </a:cubicBezTo>
                <a:cubicBezTo>
                  <a:pt x="81" y="305"/>
                  <a:pt x="81" y="305"/>
                  <a:pt x="81" y="305"/>
                </a:cubicBezTo>
                <a:cubicBezTo>
                  <a:pt x="81" y="310"/>
                  <a:pt x="81" y="310"/>
                  <a:pt x="81" y="310"/>
                </a:cubicBezTo>
                <a:cubicBezTo>
                  <a:pt x="81" y="310"/>
                  <a:pt x="81" y="314"/>
                  <a:pt x="80" y="314"/>
                </a:cubicBezTo>
                <a:cubicBezTo>
                  <a:pt x="80" y="315"/>
                  <a:pt x="79" y="316"/>
                  <a:pt x="78" y="316"/>
                </a:cubicBezTo>
                <a:cubicBezTo>
                  <a:pt x="77" y="316"/>
                  <a:pt x="76" y="316"/>
                  <a:pt x="77" y="314"/>
                </a:cubicBezTo>
                <a:cubicBezTo>
                  <a:pt x="77" y="312"/>
                  <a:pt x="78" y="310"/>
                  <a:pt x="78" y="310"/>
                </a:cubicBezTo>
                <a:cubicBezTo>
                  <a:pt x="78" y="309"/>
                  <a:pt x="79" y="305"/>
                  <a:pt x="78" y="305"/>
                </a:cubicBezTo>
                <a:cubicBezTo>
                  <a:pt x="76" y="305"/>
                  <a:pt x="75" y="303"/>
                  <a:pt x="75" y="305"/>
                </a:cubicBezTo>
                <a:cubicBezTo>
                  <a:pt x="74" y="306"/>
                  <a:pt x="75" y="310"/>
                  <a:pt x="75" y="310"/>
                </a:cubicBezTo>
                <a:cubicBezTo>
                  <a:pt x="75" y="310"/>
                  <a:pt x="76" y="311"/>
                  <a:pt x="76" y="312"/>
                </a:cubicBezTo>
                <a:cubicBezTo>
                  <a:pt x="75" y="313"/>
                  <a:pt x="75" y="312"/>
                  <a:pt x="74" y="314"/>
                </a:cubicBezTo>
                <a:cubicBezTo>
                  <a:pt x="72" y="315"/>
                  <a:pt x="75" y="316"/>
                  <a:pt x="75" y="316"/>
                </a:cubicBezTo>
                <a:cubicBezTo>
                  <a:pt x="76" y="318"/>
                  <a:pt x="76" y="318"/>
                  <a:pt x="76" y="318"/>
                </a:cubicBezTo>
                <a:cubicBezTo>
                  <a:pt x="76" y="318"/>
                  <a:pt x="76" y="321"/>
                  <a:pt x="75" y="321"/>
                </a:cubicBezTo>
                <a:cubicBezTo>
                  <a:pt x="74" y="322"/>
                  <a:pt x="74" y="323"/>
                  <a:pt x="70" y="321"/>
                </a:cubicBezTo>
                <a:cubicBezTo>
                  <a:pt x="66" y="320"/>
                  <a:pt x="65" y="319"/>
                  <a:pt x="65" y="319"/>
                </a:cubicBezTo>
                <a:cubicBezTo>
                  <a:pt x="64" y="324"/>
                  <a:pt x="64" y="324"/>
                  <a:pt x="64" y="324"/>
                </a:cubicBezTo>
                <a:cubicBezTo>
                  <a:pt x="62" y="328"/>
                  <a:pt x="62" y="328"/>
                  <a:pt x="62" y="328"/>
                </a:cubicBezTo>
                <a:cubicBezTo>
                  <a:pt x="55" y="330"/>
                  <a:pt x="55" y="330"/>
                  <a:pt x="55" y="330"/>
                </a:cubicBezTo>
                <a:cubicBezTo>
                  <a:pt x="51" y="325"/>
                  <a:pt x="51" y="325"/>
                  <a:pt x="51" y="325"/>
                </a:cubicBezTo>
                <a:cubicBezTo>
                  <a:pt x="51" y="325"/>
                  <a:pt x="48" y="326"/>
                  <a:pt x="47" y="326"/>
                </a:cubicBezTo>
                <a:cubicBezTo>
                  <a:pt x="46" y="325"/>
                  <a:pt x="41" y="324"/>
                  <a:pt x="41" y="324"/>
                </a:cubicBezTo>
                <a:cubicBezTo>
                  <a:pt x="40" y="319"/>
                  <a:pt x="40" y="319"/>
                  <a:pt x="40" y="319"/>
                </a:cubicBezTo>
                <a:cubicBezTo>
                  <a:pt x="35" y="314"/>
                  <a:pt x="35" y="314"/>
                  <a:pt x="35" y="314"/>
                </a:cubicBezTo>
                <a:cubicBezTo>
                  <a:pt x="36" y="310"/>
                  <a:pt x="36" y="310"/>
                  <a:pt x="36" y="310"/>
                </a:cubicBezTo>
                <a:cubicBezTo>
                  <a:pt x="33" y="304"/>
                  <a:pt x="33" y="304"/>
                  <a:pt x="33" y="304"/>
                </a:cubicBezTo>
                <a:cubicBezTo>
                  <a:pt x="27" y="305"/>
                  <a:pt x="27" y="305"/>
                  <a:pt x="27" y="305"/>
                </a:cubicBezTo>
                <a:cubicBezTo>
                  <a:pt x="25" y="310"/>
                  <a:pt x="25" y="310"/>
                  <a:pt x="25" y="310"/>
                </a:cubicBezTo>
                <a:cubicBezTo>
                  <a:pt x="25" y="310"/>
                  <a:pt x="27" y="312"/>
                  <a:pt x="25" y="313"/>
                </a:cubicBezTo>
                <a:cubicBezTo>
                  <a:pt x="23" y="313"/>
                  <a:pt x="19" y="314"/>
                  <a:pt x="19" y="314"/>
                </a:cubicBezTo>
                <a:cubicBezTo>
                  <a:pt x="19" y="314"/>
                  <a:pt x="14" y="315"/>
                  <a:pt x="13" y="315"/>
                </a:cubicBezTo>
                <a:cubicBezTo>
                  <a:pt x="13" y="315"/>
                  <a:pt x="9" y="309"/>
                  <a:pt x="9" y="309"/>
                </a:cubicBezTo>
                <a:cubicBezTo>
                  <a:pt x="9" y="309"/>
                  <a:pt x="7" y="309"/>
                  <a:pt x="6" y="309"/>
                </a:cubicBezTo>
                <a:cubicBezTo>
                  <a:pt x="5" y="309"/>
                  <a:pt x="5" y="310"/>
                  <a:pt x="5" y="308"/>
                </a:cubicBezTo>
                <a:cubicBezTo>
                  <a:pt x="5" y="306"/>
                  <a:pt x="4" y="303"/>
                  <a:pt x="4" y="303"/>
                </a:cubicBezTo>
                <a:cubicBezTo>
                  <a:pt x="4" y="303"/>
                  <a:pt x="7" y="306"/>
                  <a:pt x="4" y="302"/>
                </a:cubicBezTo>
                <a:cubicBezTo>
                  <a:pt x="1" y="298"/>
                  <a:pt x="0" y="294"/>
                  <a:pt x="0" y="294"/>
                </a:cubicBezTo>
                <a:cubicBezTo>
                  <a:pt x="5" y="291"/>
                  <a:pt x="5" y="291"/>
                  <a:pt x="5" y="291"/>
                </a:cubicBezTo>
                <a:cubicBezTo>
                  <a:pt x="5" y="291"/>
                  <a:pt x="10" y="291"/>
                  <a:pt x="11" y="292"/>
                </a:cubicBezTo>
                <a:cubicBezTo>
                  <a:pt x="12" y="292"/>
                  <a:pt x="13" y="290"/>
                  <a:pt x="13" y="290"/>
                </a:cubicBezTo>
                <a:cubicBezTo>
                  <a:pt x="13" y="290"/>
                  <a:pt x="15" y="288"/>
                  <a:pt x="13" y="287"/>
                </a:cubicBezTo>
                <a:cubicBezTo>
                  <a:pt x="12" y="287"/>
                  <a:pt x="10" y="285"/>
                  <a:pt x="10" y="285"/>
                </a:cubicBezTo>
                <a:cubicBezTo>
                  <a:pt x="10" y="285"/>
                  <a:pt x="8" y="283"/>
                  <a:pt x="11" y="282"/>
                </a:cubicBezTo>
                <a:cubicBezTo>
                  <a:pt x="14" y="282"/>
                  <a:pt x="14" y="282"/>
                  <a:pt x="16" y="282"/>
                </a:cubicBezTo>
                <a:cubicBezTo>
                  <a:pt x="18" y="283"/>
                  <a:pt x="19" y="286"/>
                  <a:pt x="20" y="282"/>
                </a:cubicBezTo>
                <a:cubicBezTo>
                  <a:pt x="21" y="279"/>
                  <a:pt x="19" y="279"/>
                  <a:pt x="22" y="278"/>
                </a:cubicBezTo>
                <a:cubicBezTo>
                  <a:pt x="25" y="278"/>
                  <a:pt x="27" y="277"/>
                  <a:pt x="27" y="276"/>
                </a:cubicBezTo>
                <a:cubicBezTo>
                  <a:pt x="27" y="275"/>
                  <a:pt x="27" y="271"/>
                  <a:pt x="28" y="271"/>
                </a:cubicBezTo>
                <a:cubicBezTo>
                  <a:pt x="29" y="271"/>
                  <a:pt x="34" y="272"/>
                  <a:pt x="34" y="272"/>
                </a:cubicBezTo>
                <a:cubicBezTo>
                  <a:pt x="34" y="272"/>
                  <a:pt x="36" y="270"/>
                  <a:pt x="38" y="271"/>
                </a:cubicBezTo>
                <a:cubicBezTo>
                  <a:pt x="40" y="271"/>
                  <a:pt x="41" y="270"/>
                  <a:pt x="41" y="270"/>
                </a:cubicBezTo>
                <a:cubicBezTo>
                  <a:pt x="41" y="270"/>
                  <a:pt x="43" y="266"/>
                  <a:pt x="43" y="266"/>
                </a:cubicBezTo>
                <a:close/>
                <a:moveTo>
                  <a:pt x="74" y="227"/>
                </a:moveTo>
                <a:cubicBezTo>
                  <a:pt x="74" y="227"/>
                  <a:pt x="74" y="227"/>
                  <a:pt x="74" y="227"/>
                </a:cubicBezTo>
                <a:cubicBezTo>
                  <a:pt x="74" y="227"/>
                  <a:pt x="73" y="224"/>
                  <a:pt x="74" y="224"/>
                </a:cubicBezTo>
                <a:cubicBezTo>
                  <a:pt x="75" y="224"/>
                  <a:pt x="78" y="223"/>
                  <a:pt x="78" y="223"/>
                </a:cubicBezTo>
                <a:cubicBezTo>
                  <a:pt x="78" y="223"/>
                  <a:pt x="79" y="221"/>
                  <a:pt x="79" y="222"/>
                </a:cubicBezTo>
                <a:cubicBezTo>
                  <a:pt x="80" y="222"/>
                  <a:pt x="80" y="224"/>
                  <a:pt x="79" y="224"/>
                </a:cubicBezTo>
                <a:cubicBezTo>
                  <a:pt x="79" y="224"/>
                  <a:pt x="77" y="226"/>
                  <a:pt x="77" y="226"/>
                </a:cubicBezTo>
                <a:cubicBezTo>
                  <a:pt x="77" y="226"/>
                  <a:pt x="75" y="227"/>
                  <a:pt x="75" y="227"/>
                </a:cubicBezTo>
                <a:cubicBezTo>
                  <a:pt x="74" y="227"/>
                  <a:pt x="74" y="227"/>
                  <a:pt x="74" y="227"/>
                </a:cubicBezTo>
                <a:close/>
                <a:moveTo>
                  <a:pt x="87" y="248"/>
                </a:moveTo>
                <a:cubicBezTo>
                  <a:pt x="87" y="248"/>
                  <a:pt x="87" y="248"/>
                  <a:pt x="87" y="248"/>
                </a:cubicBezTo>
                <a:cubicBezTo>
                  <a:pt x="87" y="248"/>
                  <a:pt x="87" y="249"/>
                  <a:pt x="86" y="249"/>
                </a:cubicBezTo>
                <a:cubicBezTo>
                  <a:pt x="85" y="249"/>
                  <a:pt x="83" y="249"/>
                  <a:pt x="83" y="248"/>
                </a:cubicBezTo>
                <a:cubicBezTo>
                  <a:pt x="83" y="248"/>
                  <a:pt x="84" y="246"/>
                  <a:pt x="85" y="246"/>
                </a:cubicBezTo>
                <a:cubicBezTo>
                  <a:pt x="85" y="246"/>
                  <a:pt x="86" y="245"/>
                  <a:pt x="86" y="245"/>
                </a:cubicBezTo>
                <a:cubicBezTo>
                  <a:pt x="86" y="245"/>
                  <a:pt x="86" y="244"/>
                  <a:pt x="86" y="244"/>
                </a:cubicBezTo>
                <a:cubicBezTo>
                  <a:pt x="87" y="244"/>
                  <a:pt x="88" y="246"/>
                  <a:pt x="88" y="246"/>
                </a:cubicBezTo>
                <a:cubicBezTo>
                  <a:pt x="87" y="248"/>
                  <a:pt x="87" y="248"/>
                  <a:pt x="87" y="248"/>
                </a:cubicBezTo>
                <a:close/>
                <a:moveTo>
                  <a:pt x="95" y="255"/>
                </a:moveTo>
                <a:cubicBezTo>
                  <a:pt x="95" y="255"/>
                  <a:pt x="95" y="255"/>
                  <a:pt x="95" y="255"/>
                </a:cubicBezTo>
                <a:cubicBezTo>
                  <a:pt x="95" y="254"/>
                  <a:pt x="97" y="252"/>
                  <a:pt x="97" y="251"/>
                </a:cubicBezTo>
                <a:cubicBezTo>
                  <a:pt x="98" y="251"/>
                  <a:pt x="98" y="250"/>
                  <a:pt x="98" y="250"/>
                </a:cubicBezTo>
                <a:cubicBezTo>
                  <a:pt x="99" y="249"/>
                  <a:pt x="100" y="249"/>
                  <a:pt x="101" y="249"/>
                </a:cubicBezTo>
                <a:cubicBezTo>
                  <a:pt x="103" y="250"/>
                  <a:pt x="105" y="252"/>
                  <a:pt x="104" y="252"/>
                </a:cubicBezTo>
                <a:cubicBezTo>
                  <a:pt x="104" y="253"/>
                  <a:pt x="103" y="252"/>
                  <a:pt x="103" y="255"/>
                </a:cubicBezTo>
                <a:cubicBezTo>
                  <a:pt x="103" y="258"/>
                  <a:pt x="103" y="258"/>
                  <a:pt x="103" y="259"/>
                </a:cubicBezTo>
                <a:cubicBezTo>
                  <a:pt x="104" y="260"/>
                  <a:pt x="103" y="263"/>
                  <a:pt x="103" y="263"/>
                </a:cubicBezTo>
                <a:cubicBezTo>
                  <a:pt x="103" y="263"/>
                  <a:pt x="102" y="265"/>
                  <a:pt x="101" y="265"/>
                </a:cubicBezTo>
                <a:cubicBezTo>
                  <a:pt x="101" y="265"/>
                  <a:pt x="101" y="265"/>
                  <a:pt x="99" y="264"/>
                </a:cubicBezTo>
                <a:cubicBezTo>
                  <a:pt x="98" y="264"/>
                  <a:pt x="95" y="262"/>
                  <a:pt x="95" y="262"/>
                </a:cubicBezTo>
                <a:cubicBezTo>
                  <a:pt x="95" y="262"/>
                  <a:pt x="95" y="257"/>
                  <a:pt x="95" y="257"/>
                </a:cubicBezTo>
                <a:cubicBezTo>
                  <a:pt x="95" y="256"/>
                  <a:pt x="94" y="255"/>
                  <a:pt x="94" y="255"/>
                </a:cubicBezTo>
                <a:cubicBezTo>
                  <a:pt x="95" y="255"/>
                  <a:pt x="95" y="255"/>
                  <a:pt x="95" y="255"/>
                </a:cubicBezTo>
                <a:close/>
                <a:moveTo>
                  <a:pt x="74" y="210"/>
                </a:moveTo>
                <a:cubicBezTo>
                  <a:pt x="74" y="210"/>
                  <a:pt x="74" y="210"/>
                  <a:pt x="74" y="210"/>
                </a:cubicBezTo>
                <a:cubicBezTo>
                  <a:pt x="74" y="210"/>
                  <a:pt x="74" y="209"/>
                  <a:pt x="76" y="209"/>
                </a:cubicBezTo>
                <a:cubicBezTo>
                  <a:pt x="77" y="210"/>
                  <a:pt x="77" y="211"/>
                  <a:pt x="77" y="212"/>
                </a:cubicBezTo>
                <a:cubicBezTo>
                  <a:pt x="77" y="213"/>
                  <a:pt x="80" y="213"/>
                  <a:pt x="79" y="214"/>
                </a:cubicBezTo>
                <a:cubicBezTo>
                  <a:pt x="77" y="215"/>
                  <a:pt x="76" y="215"/>
                  <a:pt x="76" y="215"/>
                </a:cubicBezTo>
                <a:cubicBezTo>
                  <a:pt x="76" y="214"/>
                  <a:pt x="75" y="215"/>
                  <a:pt x="75" y="214"/>
                </a:cubicBezTo>
                <a:cubicBezTo>
                  <a:pt x="75" y="213"/>
                  <a:pt x="73" y="212"/>
                  <a:pt x="73" y="212"/>
                </a:cubicBezTo>
                <a:cubicBezTo>
                  <a:pt x="73" y="212"/>
                  <a:pt x="74" y="210"/>
                  <a:pt x="74" y="210"/>
                </a:cubicBezTo>
                <a:close/>
                <a:moveTo>
                  <a:pt x="61" y="196"/>
                </a:moveTo>
                <a:cubicBezTo>
                  <a:pt x="61" y="196"/>
                  <a:pt x="61" y="196"/>
                  <a:pt x="61" y="196"/>
                </a:cubicBezTo>
                <a:cubicBezTo>
                  <a:pt x="63" y="197"/>
                  <a:pt x="64" y="196"/>
                  <a:pt x="64" y="197"/>
                </a:cubicBezTo>
                <a:cubicBezTo>
                  <a:pt x="65" y="197"/>
                  <a:pt x="66" y="198"/>
                  <a:pt x="65" y="199"/>
                </a:cubicBezTo>
                <a:cubicBezTo>
                  <a:pt x="63" y="200"/>
                  <a:pt x="63" y="200"/>
                  <a:pt x="61" y="200"/>
                </a:cubicBezTo>
                <a:cubicBezTo>
                  <a:pt x="60" y="200"/>
                  <a:pt x="62" y="200"/>
                  <a:pt x="60" y="200"/>
                </a:cubicBezTo>
                <a:cubicBezTo>
                  <a:pt x="58" y="200"/>
                  <a:pt x="55" y="202"/>
                  <a:pt x="57" y="199"/>
                </a:cubicBezTo>
                <a:cubicBezTo>
                  <a:pt x="59" y="197"/>
                  <a:pt x="61" y="196"/>
                  <a:pt x="61" y="196"/>
                </a:cubicBezTo>
                <a:close/>
                <a:moveTo>
                  <a:pt x="72" y="191"/>
                </a:moveTo>
                <a:cubicBezTo>
                  <a:pt x="72" y="191"/>
                  <a:pt x="72" y="191"/>
                  <a:pt x="72" y="191"/>
                </a:cubicBezTo>
                <a:cubicBezTo>
                  <a:pt x="73" y="191"/>
                  <a:pt x="74" y="189"/>
                  <a:pt x="75" y="190"/>
                </a:cubicBezTo>
                <a:cubicBezTo>
                  <a:pt x="76" y="191"/>
                  <a:pt x="78" y="192"/>
                  <a:pt x="76" y="193"/>
                </a:cubicBezTo>
                <a:cubicBezTo>
                  <a:pt x="74" y="194"/>
                  <a:pt x="74" y="194"/>
                  <a:pt x="73" y="195"/>
                </a:cubicBezTo>
                <a:cubicBezTo>
                  <a:pt x="71" y="196"/>
                  <a:pt x="69" y="197"/>
                  <a:pt x="68" y="197"/>
                </a:cubicBezTo>
                <a:cubicBezTo>
                  <a:pt x="67" y="197"/>
                  <a:pt x="66" y="195"/>
                  <a:pt x="67" y="195"/>
                </a:cubicBezTo>
                <a:cubicBezTo>
                  <a:pt x="68" y="195"/>
                  <a:pt x="69" y="194"/>
                  <a:pt x="70" y="194"/>
                </a:cubicBezTo>
                <a:cubicBezTo>
                  <a:pt x="70" y="193"/>
                  <a:pt x="72" y="191"/>
                  <a:pt x="72" y="191"/>
                </a:cubicBezTo>
                <a:close/>
                <a:moveTo>
                  <a:pt x="78" y="171"/>
                </a:moveTo>
                <a:cubicBezTo>
                  <a:pt x="78" y="171"/>
                  <a:pt x="78" y="171"/>
                  <a:pt x="78" y="171"/>
                </a:cubicBezTo>
                <a:cubicBezTo>
                  <a:pt x="78" y="171"/>
                  <a:pt x="78" y="168"/>
                  <a:pt x="79" y="169"/>
                </a:cubicBezTo>
                <a:cubicBezTo>
                  <a:pt x="81" y="169"/>
                  <a:pt x="81" y="169"/>
                  <a:pt x="81" y="170"/>
                </a:cubicBezTo>
                <a:cubicBezTo>
                  <a:pt x="81" y="171"/>
                  <a:pt x="83" y="170"/>
                  <a:pt x="81" y="171"/>
                </a:cubicBezTo>
                <a:cubicBezTo>
                  <a:pt x="80" y="171"/>
                  <a:pt x="78" y="171"/>
                  <a:pt x="78" y="171"/>
                </a:cubicBezTo>
                <a:close/>
                <a:moveTo>
                  <a:pt x="87" y="181"/>
                </a:moveTo>
                <a:cubicBezTo>
                  <a:pt x="87" y="181"/>
                  <a:pt x="87" y="181"/>
                  <a:pt x="87" y="181"/>
                </a:cubicBezTo>
                <a:cubicBezTo>
                  <a:pt x="87" y="181"/>
                  <a:pt x="88" y="179"/>
                  <a:pt x="89" y="179"/>
                </a:cubicBezTo>
                <a:cubicBezTo>
                  <a:pt x="89" y="179"/>
                  <a:pt x="90" y="179"/>
                  <a:pt x="90" y="180"/>
                </a:cubicBezTo>
                <a:cubicBezTo>
                  <a:pt x="90" y="181"/>
                  <a:pt x="90" y="183"/>
                  <a:pt x="89" y="183"/>
                </a:cubicBezTo>
                <a:cubicBezTo>
                  <a:pt x="88" y="183"/>
                  <a:pt x="88" y="184"/>
                  <a:pt x="87" y="183"/>
                </a:cubicBezTo>
                <a:cubicBezTo>
                  <a:pt x="86" y="183"/>
                  <a:pt x="87" y="181"/>
                  <a:pt x="87" y="181"/>
                </a:cubicBezTo>
                <a:close/>
                <a:moveTo>
                  <a:pt x="82" y="177"/>
                </a:moveTo>
                <a:cubicBezTo>
                  <a:pt x="82" y="177"/>
                  <a:pt x="82" y="177"/>
                  <a:pt x="82" y="177"/>
                </a:cubicBezTo>
                <a:cubicBezTo>
                  <a:pt x="82" y="177"/>
                  <a:pt x="81" y="173"/>
                  <a:pt x="83" y="173"/>
                </a:cubicBezTo>
                <a:cubicBezTo>
                  <a:pt x="85" y="172"/>
                  <a:pt x="86" y="172"/>
                  <a:pt x="86" y="172"/>
                </a:cubicBezTo>
                <a:cubicBezTo>
                  <a:pt x="86" y="172"/>
                  <a:pt x="89" y="176"/>
                  <a:pt x="89" y="176"/>
                </a:cubicBezTo>
                <a:cubicBezTo>
                  <a:pt x="88" y="177"/>
                  <a:pt x="88" y="178"/>
                  <a:pt x="86" y="178"/>
                </a:cubicBezTo>
                <a:cubicBezTo>
                  <a:pt x="85" y="178"/>
                  <a:pt x="84" y="179"/>
                  <a:pt x="84" y="178"/>
                </a:cubicBezTo>
                <a:cubicBezTo>
                  <a:pt x="83" y="177"/>
                  <a:pt x="82" y="177"/>
                  <a:pt x="82" y="177"/>
                </a:cubicBezTo>
                <a:close/>
                <a:moveTo>
                  <a:pt x="45" y="174"/>
                </a:moveTo>
                <a:cubicBezTo>
                  <a:pt x="45" y="174"/>
                  <a:pt x="45" y="174"/>
                  <a:pt x="45" y="174"/>
                </a:cubicBezTo>
                <a:cubicBezTo>
                  <a:pt x="46" y="174"/>
                  <a:pt x="46" y="173"/>
                  <a:pt x="46" y="175"/>
                </a:cubicBezTo>
                <a:cubicBezTo>
                  <a:pt x="46" y="176"/>
                  <a:pt x="46" y="177"/>
                  <a:pt x="46" y="177"/>
                </a:cubicBezTo>
                <a:cubicBezTo>
                  <a:pt x="46" y="177"/>
                  <a:pt x="45" y="179"/>
                  <a:pt x="44" y="178"/>
                </a:cubicBezTo>
                <a:cubicBezTo>
                  <a:pt x="43" y="177"/>
                  <a:pt x="43" y="176"/>
                  <a:pt x="43" y="176"/>
                </a:cubicBezTo>
                <a:cubicBezTo>
                  <a:pt x="45" y="174"/>
                  <a:pt x="45" y="174"/>
                  <a:pt x="45" y="174"/>
                </a:cubicBezTo>
                <a:close/>
                <a:moveTo>
                  <a:pt x="53" y="164"/>
                </a:moveTo>
                <a:cubicBezTo>
                  <a:pt x="53" y="164"/>
                  <a:pt x="53" y="164"/>
                  <a:pt x="53" y="164"/>
                </a:cubicBezTo>
                <a:cubicBezTo>
                  <a:pt x="54" y="165"/>
                  <a:pt x="56" y="167"/>
                  <a:pt x="56" y="167"/>
                </a:cubicBezTo>
                <a:cubicBezTo>
                  <a:pt x="53" y="170"/>
                  <a:pt x="53" y="170"/>
                  <a:pt x="53" y="170"/>
                </a:cubicBezTo>
                <a:cubicBezTo>
                  <a:pt x="53" y="170"/>
                  <a:pt x="50" y="171"/>
                  <a:pt x="50" y="172"/>
                </a:cubicBezTo>
                <a:cubicBezTo>
                  <a:pt x="49" y="172"/>
                  <a:pt x="51" y="175"/>
                  <a:pt x="49" y="174"/>
                </a:cubicBezTo>
                <a:cubicBezTo>
                  <a:pt x="47" y="173"/>
                  <a:pt x="46" y="171"/>
                  <a:pt x="47" y="171"/>
                </a:cubicBezTo>
                <a:cubicBezTo>
                  <a:pt x="48" y="170"/>
                  <a:pt x="48" y="170"/>
                  <a:pt x="49" y="169"/>
                </a:cubicBezTo>
                <a:cubicBezTo>
                  <a:pt x="50" y="168"/>
                  <a:pt x="52" y="165"/>
                  <a:pt x="52" y="165"/>
                </a:cubicBezTo>
                <a:cubicBezTo>
                  <a:pt x="53" y="164"/>
                  <a:pt x="53" y="164"/>
                  <a:pt x="53" y="164"/>
                </a:cubicBezTo>
                <a:close/>
                <a:moveTo>
                  <a:pt x="58" y="150"/>
                </a:moveTo>
                <a:cubicBezTo>
                  <a:pt x="58" y="150"/>
                  <a:pt x="58" y="150"/>
                  <a:pt x="58" y="150"/>
                </a:cubicBezTo>
                <a:cubicBezTo>
                  <a:pt x="58" y="150"/>
                  <a:pt x="60" y="150"/>
                  <a:pt x="61" y="151"/>
                </a:cubicBezTo>
                <a:cubicBezTo>
                  <a:pt x="61" y="151"/>
                  <a:pt x="62" y="154"/>
                  <a:pt x="62" y="154"/>
                </a:cubicBezTo>
                <a:cubicBezTo>
                  <a:pt x="62" y="154"/>
                  <a:pt x="63" y="155"/>
                  <a:pt x="62" y="156"/>
                </a:cubicBezTo>
                <a:cubicBezTo>
                  <a:pt x="61" y="157"/>
                  <a:pt x="59" y="158"/>
                  <a:pt x="59" y="158"/>
                </a:cubicBezTo>
                <a:cubicBezTo>
                  <a:pt x="59" y="163"/>
                  <a:pt x="59" y="163"/>
                  <a:pt x="59" y="163"/>
                </a:cubicBezTo>
                <a:cubicBezTo>
                  <a:pt x="58" y="165"/>
                  <a:pt x="58" y="165"/>
                  <a:pt x="58" y="165"/>
                </a:cubicBezTo>
                <a:cubicBezTo>
                  <a:pt x="55" y="164"/>
                  <a:pt x="55" y="164"/>
                  <a:pt x="55" y="164"/>
                </a:cubicBezTo>
                <a:cubicBezTo>
                  <a:pt x="55" y="158"/>
                  <a:pt x="55" y="158"/>
                  <a:pt x="55" y="158"/>
                </a:cubicBezTo>
                <a:cubicBezTo>
                  <a:pt x="54" y="155"/>
                  <a:pt x="54" y="155"/>
                  <a:pt x="54" y="155"/>
                </a:cubicBezTo>
                <a:cubicBezTo>
                  <a:pt x="57" y="152"/>
                  <a:pt x="57" y="152"/>
                  <a:pt x="57" y="152"/>
                </a:cubicBezTo>
                <a:cubicBezTo>
                  <a:pt x="58" y="150"/>
                  <a:pt x="58" y="150"/>
                  <a:pt x="58" y="150"/>
                </a:cubicBezTo>
                <a:close/>
                <a:moveTo>
                  <a:pt x="60" y="142"/>
                </a:moveTo>
                <a:cubicBezTo>
                  <a:pt x="60" y="142"/>
                  <a:pt x="60" y="142"/>
                  <a:pt x="60" y="142"/>
                </a:cubicBezTo>
                <a:cubicBezTo>
                  <a:pt x="60" y="142"/>
                  <a:pt x="62" y="141"/>
                  <a:pt x="63" y="142"/>
                </a:cubicBezTo>
                <a:cubicBezTo>
                  <a:pt x="64" y="143"/>
                  <a:pt x="64" y="141"/>
                  <a:pt x="65" y="143"/>
                </a:cubicBezTo>
                <a:cubicBezTo>
                  <a:pt x="66" y="145"/>
                  <a:pt x="67" y="145"/>
                  <a:pt x="66" y="146"/>
                </a:cubicBezTo>
                <a:cubicBezTo>
                  <a:pt x="66" y="147"/>
                  <a:pt x="66" y="148"/>
                  <a:pt x="65" y="149"/>
                </a:cubicBezTo>
                <a:cubicBezTo>
                  <a:pt x="64" y="150"/>
                  <a:pt x="65" y="151"/>
                  <a:pt x="63" y="150"/>
                </a:cubicBezTo>
                <a:cubicBezTo>
                  <a:pt x="61" y="149"/>
                  <a:pt x="61" y="149"/>
                  <a:pt x="60" y="148"/>
                </a:cubicBezTo>
                <a:cubicBezTo>
                  <a:pt x="59" y="147"/>
                  <a:pt x="59" y="147"/>
                  <a:pt x="59" y="147"/>
                </a:cubicBezTo>
                <a:cubicBezTo>
                  <a:pt x="60" y="142"/>
                  <a:pt x="60" y="142"/>
                  <a:pt x="60" y="142"/>
                </a:cubicBezTo>
                <a:close/>
                <a:moveTo>
                  <a:pt x="69" y="132"/>
                </a:moveTo>
                <a:cubicBezTo>
                  <a:pt x="69" y="132"/>
                  <a:pt x="69" y="132"/>
                  <a:pt x="69" y="132"/>
                </a:cubicBezTo>
                <a:cubicBezTo>
                  <a:pt x="69" y="132"/>
                  <a:pt x="70" y="131"/>
                  <a:pt x="69" y="133"/>
                </a:cubicBezTo>
                <a:cubicBezTo>
                  <a:pt x="67" y="136"/>
                  <a:pt x="67" y="137"/>
                  <a:pt x="68" y="137"/>
                </a:cubicBezTo>
                <a:cubicBezTo>
                  <a:pt x="68" y="137"/>
                  <a:pt x="69" y="137"/>
                  <a:pt x="69" y="137"/>
                </a:cubicBezTo>
                <a:cubicBezTo>
                  <a:pt x="69" y="141"/>
                  <a:pt x="69" y="141"/>
                  <a:pt x="69" y="141"/>
                </a:cubicBezTo>
                <a:cubicBezTo>
                  <a:pt x="69" y="141"/>
                  <a:pt x="69" y="142"/>
                  <a:pt x="66" y="141"/>
                </a:cubicBezTo>
                <a:cubicBezTo>
                  <a:pt x="63" y="141"/>
                  <a:pt x="61" y="140"/>
                  <a:pt x="61" y="140"/>
                </a:cubicBezTo>
                <a:cubicBezTo>
                  <a:pt x="58" y="137"/>
                  <a:pt x="58" y="137"/>
                  <a:pt x="58" y="137"/>
                </a:cubicBezTo>
                <a:cubicBezTo>
                  <a:pt x="58" y="137"/>
                  <a:pt x="57" y="136"/>
                  <a:pt x="59" y="134"/>
                </a:cubicBezTo>
                <a:cubicBezTo>
                  <a:pt x="60" y="132"/>
                  <a:pt x="63" y="133"/>
                  <a:pt x="63" y="133"/>
                </a:cubicBezTo>
                <a:cubicBezTo>
                  <a:pt x="63" y="133"/>
                  <a:pt x="64" y="135"/>
                  <a:pt x="65" y="133"/>
                </a:cubicBezTo>
                <a:cubicBezTo>
                  <a:pt x="66" y="131"/>
                  <a:pt x="66" y="129"/>
                  <a:pt x="67" y="130"/>
                </a:cubicBezTo>
                <a:cubicBezTo>
                  <a:pt x="68" y="131"/>
                  <a:pt x="69" y="132"/>
                  <a:pt x="69" y="132"/>
                </a:cubicBezTo>
                <a:close/>
                <a:moveTo>
                  <a:pt x="77" y="121"/>
                </a:moveTo>
                <a:cubicBezTo>
                  <a:pt x="77" y="121"/>
                  <a:pt x="77" y="121"/>
                  <a:pt x="77" y="121"/>
                </a:cubicBezTo>
                <a:cubicBezTo>
                  <a:pt x="76" y="120"/>
                  <a:pt x="76" y="118"/>
                  <a:pt x="76" y="118"/>
                </a:cubicBezTo>
                <a:cubicBezTo>
                  <a:pt x="77" y="116"/>
                  <a:pt x="77" y="116"/>
                  <a:pt x="77" y="116"/>
                </a:cubicBezTo>
                <a:cubicBezTo>
                  <a:pt x="77" y="116"/>
                  <a:pt x="75" y="114"/>
                  <a:pt x="75" y="113"/>
                </a:cubicBezTo>
                <a:cubicBezTo>
                  <a:pt x="75" y="112"/>
                  <a:pt x="75" y="110"/>
                  <a:pt x="77" y="109"/>
                </a:cubicBezTo>
                <a:cubicBezTo>
                  <a:pt x="78" y="108"/>
                  <a:pt x="79" y="106"/>
                  <a:pt x="80" y="106"/>
                </a:cubicBezTo>
                <a:cubicBezTo>
                  <a:pt x="80" y="107"/>
                  <a:pt x="80" y="107"/>
                  <a:pt x="81" y="109"/>
                </a:cubicBezTo>
                <a:cubicBezTo>
                  <a:pt x="82" y="110"/>
                  <a:pt x="82" y="112"/>
                  <a:pt x="83" y="111"/>
                </a:cubicBezTo>
                <a:cubicBezTo>
                  <a:pt x="84" y="110"/>
                  <a:pt x="84" y="109"/>
                  <a:pt x="85" y="108"/>
                </a:cubicBezTo>
                <a:cubicBezTo>
                  <a:pt x="86" y="107"/>
                  <a:pt x="87" y="104"/>
                  <a:pt x="87" y="104"/>
                </a:cubicBezTo>
                <a:cubicBezTo>
                  <a:pt x="87" y="104"/>
                  <a:pt x="89" y="105"/>
                  <a:pt x="90" y="104"/>
                </a:cubicBezTo>
                <a:cubicBezTo>
                  <a:pt x="92" y="103"/>
                  <a:pt x="90" y="103"/>
                  <a:pt x="93" y="102"/>
                </a:cubicBezTo>
                <a:cubicBezTo>
                  <a:pt x="96" y="102"/>
                  <a:pt x="97" y="102"/>
                  <a:pt x="98" y="100"/>
                </a:cubicBezTo>
                <a:cubicBezTo>
                  <a:pt x="99" y="99"/>
                  <a:pt x="99" y="100"/>
                  <a:pt x="100" y="99"/>
                </a:cubicBezTo>
                <a:cubicBezTo>
                  <a:pt x="101" y="98"/>
                  <a:pt x="102" y="97"/>
                  <a:pt x="103" y="97"/>
                </a:cubicBezTo>
                <a:cubicBezTo>
                  <a:pt x="104" y="98"/>
                  <a:pt x="105" y="99"/>
                  <a:pt x="105" y="100"/>
                </a:cubicBezTo>
                <a:cubicBezTo>
                  <a:pt x="105" y="101"/>
                  <a:pt x="106" y="103"/>
                  <a:pt x="105" y="104"/>
                </a:cubicBezTo>
                <a:cubicBezTo>
                  <a:pt x="104" y="105"/>
                  <a:pt x="104" y="106"/>
                  <a:pt x="103" y="106"/>
                </a:cubicBezTo>
                <a:cubicBezTo>
                  <a:pt x="102" y="107"/>
                  <a:pt x="99" y="109"/>
                  <a:pt x="99" y="109"/>
                </a:cubicBezTo>
                <a:cubicBezTo>
                  <a:pt x="99" y="109"/>
                  <a:pt x="99" y="111"/>
                  <a:pt x="100" y="111"/>
                </a:cubicBezTo>
                <a:cubicBezTo>
                  <a:pt x="101" y="111"/>
                  <a:pt x="103" y="108"/>
                  <a:pt x="103" y="110"/>
                </a:cubicBezTo>
                <a:cubicBezTo>
                  <a:pt x="102" y="112"/>
                  <a:pt x="105" y="113"/>
                  <a:pt x="102" y="114"/>
                </a:cubicBezTo>
                <a:cubicBezTo>
                  <a:pt x="100" y="114"/>
                  <a:pt x="98" y="113"/>
                  <a:pt x="98" y="113"/>
                </a:cubicBezTo>
                <a:cubicBezTo>
                  <a:pt x="96" y="116"/>
                  <a:pt x="96" y="116"/>
                  <a:pt x="96" y="116"/>
                </a:cubicBezTo>
                <a:cubicBezTo>
                  <a:pt x="96" y="116"/>
                  <a:pt x="94" y="115"/>
                  <a:pt x="94" y="116"/>
                </a:cubicBezTo>
                <a:cubicBezTo>
                  <a:pt x="94" y="117"/>
                  <a:pt x="95" y="119"/>
                  <a:pt x="95" y="119"/>
                </a:cubicBezTo>
                <a:cubicBezTo>
                  <a:pt x="93" y="121"/>
                  <a:pt x="93" y="121"/>
                  <a:pt x="93" y="121"/>
                </a:cubicBezTo>
                <a:cubicBezTo>
                  <a:pt x="93" y="121"/>
                  <a:pt x="90" y="120"/>
                  <a:pt x="90" y="121"/>
                </a:cubicBezTo>
                <a:cubicBezTo>
                  <a:pt x="91" y="122"/>
                  <a:pt x="92" y="124"/>
                  <a:pt x="92" y="124"/>
                </a:cubicBezTo>
                <a:cubicBezTo>
                  <a:pt x="92" y="124"/>
                  <a:pt x="92" y="126"/>
                  <a:pt x="90" y="126"/>
                </a:cubicBezTo>
                <a:cubicBezTo>
                  <a:pt x="88" y="126"/>
                  <a:pt x="86" y="126"/>
                  <a:pt x="85" y="126"/>
                </a:cubicBezTo>
                <a:cubicBezTo>
                  <a:pt x="84" y="125"/>
                  <a:pt x="84" y="125"/>
                  <a:pt x="84" y="125"/>
                </a:cubicBezTo>
                <a:cubicBezTo>
                  <a:pt x="83" y="128"/>
                  <a:pt x="83" y="128"/>
                  <a:pt x="83" y="128"/>
                </a:cubicBezTo>
                <a:cubicBezTo>
                  <a:pt x="83" y="128"/>
                  <a:pt x="84" y="129"/>
                  <a:pt x="83" y="130"/>
                </a:cubicBezTo>
                <a:cubicBezTo>
                  <a:pt x="82" y="131"/>
                  <a:pt x="79" y="131"/>
                  <a:pt x="79" y="131"/>
                </a:cubicBezTo>
                <a:cubicBezTo>
                  <a:pt x="79" y="131"/>
                  <a:pt x="78" y="131"/>
                  <a:pt x="78" y="131"/>
                </a:cubicBezTo>
                <a:cubicBezTo>
                  <a:pt x="78" y="132"/>
                  <a:pt x="77" y="134"/>
                  <a:pt x="76" y="134"/>
                </a:cubicBezTo>
                <a:cubicBezTo>
                  <a:pt x="75" y="133"/>
                  <a:pt x="73" y="132"/>
                  <a:pt x="72" y="131"/>
                </a:cubicBezTo>
                <a:cubicBezTo>
                  <a:pt x="72" y="130"/>
                  <a:pt x="71" y="126"/>
                  <a:pt x="73" y="127"/>
                </a:cubicBezTo>
                <a:cubicBezTo>
                  <a:pt x="75" y="127"/>
                  <a:pt x="77" y="128"/>
                  <a:pt x="77" y="126"/>
                </a:cubicBezTo>
                <a:cubicBezTo>
                  <a:pt x="77" y="124"/>
                  <a:pt x="76" y="123"/>
                  <a:pt x="76" y="123"/>
                </a:cubicBezTo>
                <a:cubicBezTo>
                  <a:pt x="77" y="121"/>
                  <a:pt x="77" y="121"/>
                  <a:pt x="77" y="121"/>
                </a:cubicBezTo>
                <a:close/>
                <a:moveTo>
                  <a:pt x="267" y="15"/>
                </a:moveTo>
                <a:cubicBezTo>
                  <a:pt x="267" y="15"/>
                  <a:pt x="267" y="15"/>
                  <a:pt x="267" y="15"/>
                </a:cubicBezTo>
                <a:cubicBezTo>
                  <a:pt x="268" y="15"/>
                  <a:pt x="271" y="16"/>
                  <a:pt x="271" y="15"/>
                </a:cubicBezTo>
                <a:cubicBezTo>
                  <a:pt x="271" y="15"/>
                  <a:pt x="272" y="13"/>
                  <a:pt x="272" y="13"/>
                </a:cubicBezTo>
                <a:cubicBezTo>
                  <a:pt x="271" y="12"/>
                  <a:pt x="270" y="11"/>
                  <a:pt x="269" y="12"/>
                </a:cubicBezTo>
                <a:cubicBezTo>
                  <a:pt x="268" y="12"/>
                  <a:pt x="267" y="13"/>
                  <a:pt x="267" y="13"/>
                </a:cubicBezTo>
                <a:cubicBezTo>
                  <a:pt x="267" y="14"/>
                  <a:pt x="267" y="15"/>
                  <a:pt x="267" y="15"/>
                </a:cubicBezTo>
                <a:close/>
                <a:moveTo>
                  <a:pt x="235" y="32"/>
                </a:moveTo>
                <a:cubicBezTo>
                  <a:pt x="235" y="32"/>
                  <a:pt x="235" y="32"/>
                  <a:pt x="235" y="32"/>
                </a:cubicBezTo>
                <a:cubicBezTo>
                  <a:pt x="236" y="32"/>
                  <a:pt x="237" y="30"/>
                  <a:pt x="237" y="31"/>
                </a:cubicBezTo>
                <a:cubicBezTo>
                  <a:pt x="237" y="33"/>
                  <a:pt x="238" y="33"/>
                  <a:pt x="237" y="34"/>
                </a:cubicBezTo>
                <a:cubicBezTo>
                  <a:pt x="236" y="34"/>
                  <a:pt x="234" y="36"/>
                  <a:pt x="233" y="35"/>
                </a:cubicBezTo>
                <a:cubicBezTo>
                  <a:pt x="233" y="35"/>
                  <a:pt x="234" y="31"/>
                  <a:pt x="234" y="31"/>
                </a:cubicBezTo>
                <a:cubicBezTo>
                  <a:pt x="235" y="32"/>
                  <a:pt x="235" y="32"/>
                  <a:pt x="235" y="32"/>
                </a:cubicBezTo>
                <a:close/>
                <a:moveTo>
                  <a:pt x="254" y="34"/>
                </a:moveTo>
                <a:cubicBezTo>
                  <a:pt x="254" y="34"/>
                  <a:pt x="254" y="34"/>
                  <a:pt x="254" y="34"/>
                </a:cubicBezTo>
                <a:cubicBezTo>
                  <a:pt x="254" y="34"/>
                  <a:pt x="254" y="35"/>
                  <a:pt x="252" y="34"/>
                </a:cubicBezTo>
                <a:cubicBezTo>
                  <a:pt x="249" y="34"/>
                  <a:pt x="248" y="35"/>
                  <a:pt x="248" y="33"/>
                </a:cubicBezTo>
                <a:cubicBezTo>
                  <a:pt x="248" y="32"/>
                  <a:pt x="249" y="31"/>
                  <a:pt x="247" y="30"/>
                </a:cubicBezTo>
                <a:cubicBezTo>
                  <a:pt x="245" y="30"/>
                  <a:pt x="245" y="30"/>
                  <a:pt x="245" y="30"/>
                </a:cubicBezTo>
                <a:cubicBezTo>
                  <a:pt x="245" y="30"/>
                  <a:pt x="244" y="28"/>
                  <a:pt x="245" y="27"/>
                </a:cubicBezTo>
                <a:cubicBezTo>
                  <a:pt x="247" y="25"/>
                  <a:pt x="247" y="26"/>
                  <a:pt x="248" y="26"/>
                </a:cubicBezTo>
                <a:cubicBezTo>
                  <a:pt x="250" y="26"/>
                  <a:pt x="249" y="26"/>
                  <a:pt x="251" y="27"/>
                </a:cubicBezTo>
                <a:cubicBezTo>
                  <a:pt x="253" y="27"/>
                  <a:pt x="254" y="28"/>
                  <a:pt x="254" y="26"/>
                </a:cubicBezTo>
                <a:cubicBezTo>
                  <a:pt x="254" y="25"/>
                  <a:pt x="255" y="25"/>
                  <a:pt x="253" y="23"/>
                </a:cubicBezTo>
                <a:cubicBezTo>
                  <a:pt x="252" y="21"/>
                  <a:pt x="252" y="22"/>
                  <a:pt x="251" y="21"/>
                </a:cubicBezTo>
                <a:cubicBezTo>
                  <a:pt x="250" y="19"/>
                  <a:pt x="248" y="17"/>
                  <a:pt x="249" y="16"/>
                </a:cubicBezTo>
                <a:cubicBezTo>
                  <a:pt x="249" y="15"/>
                  <a:pt x="248" y="15"/>
                  <a:pt x="250" y="13"/>
                </a:cubicBezTo>
                <a:cubicBezTo>
                  <a:pt x="253" y="12"/>
                  <a:pt x="255" y="10"/>
                  <a:pt x="256" y="10"/>
                </a:cubicBezTo>
                <a:cubicBezTo>
                  <a:pt x="257" y="10"/>
                  <a:pt x="258" y="10"/>
                  <a:pt x="258" y="11"/>
                </a:cubicBezTo>
                <a:cubicBezTo>
                  <a:pt x="258" y="13"/>
                  <a:pt x="258" y="14"/>
                  <a:pt x="257" y="15"/>
                </a:cubicBezTo>
                <a:cubicBezTo>
                  <a:pt x="256" y="15"/>
                  <a:pt x="256" y="16"/>
                  <a:pt x="256" y="16"/>
                </a:cubicBezTo>
                <a:cubicBezTo>
                  <a:pt x="256" y="16"/>
                  <a:pt x="255" y="19"/>
                  <a:pt x="257" y="19"/>
                </a:cubicBezTo>
                <a:cubicBezTo>
                  <a:pt x="259" y="18"/>
                  <a:pt x="260" y="16"/>
                  <a:pt x="260" y="15"/>
                </a:cubicBezTo>
                <a:cubicBezTo>
                  <a:pt x="261" y="14"/>
                  <a:pt x="262" y="15"/>
                  <a:pt x="261" y="13"/>
                </a:cubicBezTo>
                <a:cubicBezTo>
                  <a:pt x="261" y="11"/>
                  <a:pt x="260" y="10"/>
                  <a:pt x="261" y="10"/>
                </a:cubicBezTo>
                <a:cubicBezTo>
                  <a:pt x="262" y="10"/>
                  <a:pt x="263" y="12"/>
                  <a:pt x="264" y="10"/>
                </a:cubicBezTo>
                <a:cubicBezTo>
                  <a:pt x="266" y="7"/>
                  <a:pt x="266" y="6"/>
                  <a:pt x="266" y="6"/>
                </a:cubicBezTo>
                <a:cubicBezTo>
                  <a:pt x="266" y="6"/>
                  <a:pt x="265" y="6"/>
                  <a:pt x="267" y="5"/>
                </a:cubicBezTo>
                <a:cubicBezTo>
                  <a:pt x="269" y="4"/>
                  <a:pt x="268" y="3"/>
                  <a:pt x="269" y="2"/>
                </a:cubicBezTo>
                <a:cubicBezTo>
                  <a:pt x="270" y="1"/>
                  <a:pt x="268" y="0"/>
                  <a:pt x="271" y="0"/>
                </a:cubicBezTo>
                <a:cubicBezTo>
                  <a:pt x="273" y="1"/>
                  <a:pt x="273" y="1"/>
                  <a:pt x="274" y="2"/>
                </a:cubicBezTo>
                <a:cubicBezTo>
                  <a:pt x="275" y="2"/>
                  <a:pt x="273" y="6"/>
                  <a:pt x="272" y="6"/>
                </a:cubicBezTo>
                <a:cubicBezTo>
                  <a:pt x="271" y="6"/>
                  <a:pt x="271" y="5"/>
                  <a:pt x="269" y="6"/>
                </a:cubicBezTo>
                <a:cubicBezTo>
                  <a:pt x="268" y="7"/>
                  <a:pt x="270" y="9"/>
                  <a:pt x="269" y="10"/>
                </a:cubicBezTo>
                <a:cubicBezTo>
                  <a:pt x="268" y="11"/>
                  <a:pt x="267" y="10"/>
                  <a:pt x="266" y="11"/>
                </a:cubicBezTo>
                <a:cubicBezTo>
                  <a:pt x="265" y="12"/>
                  <a:pt x="265" y="12"/>
                  <a:pt x="265" y="13"/>
                </a:cubicBezTo>
                <a:cubicBezTo>
                  <a:pt x="265" y="14"/>
                  <a:pt x="264" y="15"/>
                  <a:pt x="263" y="16"/>
                </a:cubicBezTo>
                <a:cubicBezTo>
                  <a:pt x="263" y="16"/>
                  <a:pt x="260" y="14"/>
                  <a:pt x="263" y="16"/>
                </a:cubicBezTo>
                <a:cubicBezTo>
                  <a:pt x="266" y="18"/>
                  <a:pt x="267" y="18"/>
                  <a:pt x="266" y="19"/>
                </a:cubicBezTo>
                <a:cubicBezTo>
                  <a:pt x="265" y="19"/>
                  <a:pt x="263" y="19"/>
                  <a:pt x="262" y="20"/>
                </a:cubicBezTo>
                <a:cubicBezTo>
                  <a:pt x="261" y="20"/>
                  <a:pt x="260" y="21"/>
                  <a:pt x="262" y="22"/>
                </a:cubicBezTo>
                <a:cubicBezTo>
                  <a:pt x="264" y="23"/>
                  <a:pt x="263" y="23"/>
                  <a:pt x="264" y="23"/>
                </a:cubicBezTo>
                <a:cubicBezTo>
                  <a:pt x="265" y="22"/>
                  <a:pt x="270" y="22"/>
                  <a:pt x="270" y="23"/>
                </a:cubicBezTo>
                <a:cubicBezTo>
                  <a:pt x="269" y="25"/>
                  <a:pt x="270" y="25"/>
                  <a:pt x="268" y="26"/>
                </a:cubicBezTo>
                <a:cubicBezTo>
                  <a:pt x="265" y="27"/>
                  <a:pt x="263" y="26"/>
                  <a:pt x="262" y="25"/>
                </a:cubicBezTo>
                <a:cubicBezTo>
                  <a:pt x="261" y="25"/>
                  <a:pt x="261" y="23"/>
                  <a:pt x="261" y="26"/>
                </a:cubicBezTo>
                <a:cubicBezTo>
                  <a:pt x="262" y="29"/>
                  <a:pt x="264" y="29"/>
                  <a:pt x="263" y="29"/>
                </a:cubicBezTo>
                <a:cubicBezTo>
                  <a:pt x="261" y="29"/>
                  <a:pt x="259" y="29"/>
                  <a:pt x="259" y="29"/>
                </a:cubicBezTo>
                <a:cubicBezTo>
                  <a:pt x="259" y="29"/>
                  <a:pt x="258" y="27"/>
                  <a:pt x="259" y="30"/>
                </a:cubicBezTo>
                <a:cubicBezTo>
                  <a:pt x="260" y="33"/>
                  <a:pt x="260" y="33"/>
                  <a:pt x="260" y="33"/>
                </a:cubicBezTo>
                <a:cubicBezTo>
                  <a:pt x="260" y="33"/>
                  <a:pt x="258" y="34"/>
                  <a:pt x="258" y="34"/>
                </a:cubicBezTo>
                <a:cubicBezTo>
                  <a:pt x="258" y="35"/>
                  <a:pt x="259" y="37"/>
                  <a:pt x="260" y="38"/>
                </a:cubicBezTo>
                <a:cubicBezTo>
                  <a:pt x="260" y="38"/>
                  <a:pt x="259" y="42"/>
                  <a:pt x="258" y="42"/>
                </a:cubicBezTo>
                <a:cubicBezTo>
                  <a:pt x="258" y="42"/>
                  <a:pt x="258" y="43"/>
                  <a:pt x="257" y="44"/>
                </a:cubicBezTo>
                <a:cubicBezTo>
                  <a:pt x="256" y="45"/>
                  <a:pt x="255" y="46"/>
                  <a:pt x="255" y="46"/>
                </a:cubicBezTo>
                <a:cubicBezTo>
                  <a:pt x="253" y="52"/>
                  <a:pt x="253" y="52"/>
                  <a:pt x="253" y="52"/>
                </a:cubicBezTo>
                <a:cubicBezTo>
                  <a:pt x="253" y="52"/>
                  <a:pt x="252" y="54"/>
                  <a:pt x="251" y="52"/>
                </a:cubicBezTo>
                <a:cubicBezTo>
                  <a:pt x="251" y="50"/>
                  <a:pt x="250" y="50"/>
                  <a:pt x="251" y="49"/>
                </a:cubicBezTo>
                <a:cubicBezTo>
                  <a:pt x="252" y="49"/>
                  <a:pt x="252" y="47"/>
                  <a:pt x="253" y="46"/>
                </a:cubicBezTo>
                <a:cubicBezTo>
                  <a:pt x="253" y="45"/>
                  <a:pt x="254" y="41"/>
                  <a:pt x="254" y="41"/>
                </a:cubicBezTo>
                <a:cubicBezTo>
                  <a:pt x="254" y="41"/>
                  <a:pt x="256" y="41"/>
                  <a:pt x="257" y="40"/>
                </a:cubicBezTo>
                <a:cubicBezTo>
                  <a:pt x="257" y="40"/>
                  <a:pt x="255" y="36"/>
                  <a:pt x="255" y="36"/>
                </a:cubicBezTo>
                <a:cubicBezTo>
                  <a:pt x="256" y="34"/>
                  <a:pt x="256" y="34"/>
                  <a:pt x="256" y="34"/>
                </a:cubicBezTo>
                <a:cubicBezTo>
                  <a:pt x="254" y="34"/>
                  <a:pt x="254" y="34"/>
                  <a:pt x="254" y="34"/>
                </a:cubicBezTo>
                <a:close/>
                <a:moveTo>
                  <a:pt x="239" y="67"/>
                </a:moveTo>
                <a:cubicBezTo>
                  <a:pt x="239" y="67"/>
                  <a:pt x="239" y="67"/>
                  <a:pt x="239" y="67"/>
                </a:cubicBezTo>
                <a:cubicBezTo>
                  <a:pt x="239" y="67"/>
                  <a:pt x="242" y="63"/>
                  <a:pt x="243" y="64"/>
                </a:cubicBezTo>
                <a:cubicBezTo>
                  <a:pt x="243" y="64"/>
                  <a:pt x="243" y="65"/>
                  <a:pt x="243" y="66"/>
                </a:cubicBezTo>
                <a:cubicBezTo>
                  <a:pt x="243" y="66"/>
                  <a:pt x="244" y="68"/>
                  <a:pt x="243" y="68"/>
                </a:cubicBezTo>
                <a:cubicBezTo>
                  <a:pt x="242" y="68"/>
                  <a:pt x="241" y="68"/>
                  <a:pt x="240" y="68"/>
                </a:cubicBezTo>
                <a:cubicBezTo>
                  <a:pt x="240" y="68"/>
                  <a:pt x="239" y="67"/>
                  <a:pt x="239" y="67"/>
                </a:cubicBezTo>
                <a:close/>
                <a:moveTo>
                  <a:pt x="196" y="98"/>
                </a:moveTo>
                <a:cubicBezTo>
                  <a:pt x="196" y="98"/>
                  <a:pt x="196" y="98"/>
                  <a:pt x="196" y="98"/>
                </a:cubicBezTo>
                <a:cubicBezTo>
                  <a:pt x="198" y="96"/>
                  <a:pt x="198" y="96"/>
                  <a:pt x="198" y="96"/>
                </a:cubicBezTo>
                <a:cubicBezTo>
                  <a:pt x="201" y="97"/>
                  <a:pt x="201" y="97"/>
                  <a:pt x="201" y="97"/>
                </a:cubicBezTo>
                <a:cubicBezTo>
                  <a:pt x="201" y="97"/>
                  <a:pt x="202" y="95"/>
                  <a:pt x="202" y="97"/>
                </a:cubicBezTo>
                <a:cubicBezTo>
                  <a:pt x="201" y="99"/>
                  <a:pt x="199" y="102"/>
                  <a:pt x="199" y="102"/>
                </a:cubicBezTo>
                <a:cubicBezTo>
                  <a:pt x="199" y="102"/>
                  <a:pt x="200" y="102"/>
                  <a:pt x="198" y="103"/>
                </a:cubicBezTo>
                <a:cubicBezTo>
                  <a:pt x="196" y="104"/>
                  <a:pt x="196" y="105"/>
                  <a:pt x="195" y="103"/>
                </a:cubicBezTo>
                <a:cubicBezTo>
                  <a:pt x="194" y="102"/>
                  <a:pt x="193" y="102"/>
                  <a:pt x="193" y="101"/>
                </a:cubicBezTo>
                <a:cubicBezTo>
                  <a:pt x="194" y="100"/>
                  <a:pt x="194" y="98"/>
                  <a:pt x="194" y="98"/>
                </a:cubicBezTo>
                <a:cubicBezTo>
                  <a:pt x="196" y="98"/>
                  <a:pt x="196" y="98"/>
                  <a:pt x="196" y="98"/>
                </a:cubicBezTo>
                <a:close/>
                <a:moveTo>
                  <a:pt x="217" y="72"/>
                </a:moveTo>
                <a:cubicBezTo>
                  <a:pt x="217" y="72"/>
                  <a:pt x="217" y="72"/>
                  <a:pt x="217" y="72"/>
                </a:cubicBezTo>
                <a:cubicBezTo>
                  <a:pt x="217" y="72"/>
                  <a:pt x="218" y="70"/>
                  <a:pt x="219" y="70"/>
                </a:cubicBezTo>
                <a:cubicBezTo>
                  <a:pt x="220" y="71"/>
                  <a:pt x="221" y="71"/>
                  <a:pt x="221" y="72"/>
                </a:cubicBezTo>
                <a:cubicBezTo>
                  <a:pt x="220" y="73"/>
                  <a:pt x="219" y="74"/>
                  <a:pt x="218" y="74"/>
                </a:cubicBezTo>
                <a:cubicBezTo>
                  <a:pt x="217" y="74"/>
                  <a:pt x="217" y="72"/>
                  <a:pt x="217" y="72"/>
                </a:cubicBezTo>
                <a:close/>
                <a:moveTo>
                  <a:pt x="213" y="77"/>
                </a:moveTo>
                <a:cubicBezTo>
                  <a:pt x="213" y="77"/>
                  <a:pt x="213" y="77"/>
                  <a:pt x="213" y="77"/>
                </a:cubicBezTo>
                <a:cubicBezTo>
                  <a:pt x="213" y="77"/>
                  <a:pt x="215" y="75"/>
                  <a:pt x="216" y="76"/>
                </a:cubicBezTo>
                <a:cubicBezTo>
                  <a:pt x="216" y="76"/>
                  <a:pt x="217" y="76"/>
                  <a:pt x="216" y="77"/>
                </a:cubicBezTo>
                <a:cubicBezTo>
                  <a:pt x="216" y="78"/>
                  <a:pt x="218" y="77"/>
                  <a:pt x="215" y="78"/>
                </a:cubicBezTo>
                <a:cubicBezTo>
                  <a:pt x="213" y="80"/>
                  <a:pt x="214" y="81"/>
                  <a:pt x="212" y="80"/>
                </a:cubicBezTo>
                <a:cubicBezTo>
                  <a:pt x="211" y="79"/>
                  <a:pt x="211" y="78"/>
                  <a:pt x="211" y="77"/>
                </a:cubicBezTo>
                <a:cubicBezTo>
                  <a:pt x="211" y="77"/>
                  <a:pt x="212" y="75"/>
                  <a:pt x="212" y="75"/>
                </a:cubicBezTo>
                <a:cubicBezTo>
                  <a:pt x="213" y="76"/>
                  <a:pt x="213" y="77"/>
                  <a:pt x="213" y="77"/>
                </a:cubicBezTo>
                <a:close/>
                <a:moveTo>
                  <a:pt x="205" y="80"/>
                </a:moveTo>
                <a:cubicBezTo>
                  <a:pt x="205" y="80"/>
                  <a:pt x="205" y="80"/>
                  <a:pt x="205" y="80"/>
                </a:cubicBezTo>
                <a:cubicBezTo>
                  <a:pt x="205" y="80"/>
                  <a:pt x="207" y="81"/>
                  <a:pt x="207" y="81"/>
                </a:cubicBezTo>
                <a:cubicBezTo>
                  <a:pt x="208" y="82"/>
                  <a:pt x="208" y="81"/>
                  <a:pt x="209" y="80"/>
                </a:cubicBezTo>
                <a:cubicBezTo>
                  <a:pt x="211" y="80"/>
                  <a:pt x="209" y="80"/>
                  <a:pt x="210" y="79"/>
                </a:cubicBezTo>
                <a:cubicBezTo>
                  <a:pt x="211" y="77"/>
                  <a:pt x="210" y="78"/>
                  <a:pt x="210" y="77"/>
                </a:cubicBezTo>
                <a:cubicBezTo>
                  <a:pt x="209" y="77"/>
                  <a:pt x="209" y="77"/>
                  <a:pt x="208" y="77"/>
                </a:cubicBezTo>
                <a:cubicBezTo>
                  <a:pt x="206" y="77"/>
                  <a:pt x="205" y="80"/>
                  <a:pt x="205" y="80"/>
                </a:cubicBezTo>
                <a:close/>
                <a:moveTo>
                  <a:pt x="209" y="86"/>
                </a:moveTo>
                <a:cubicBezTo>
                  <a:pt x="209" y="86"/>
                  <a:pt x="209" y="86"/>
                  <a:pt x="209" y="86"/>
                </a:cubicBezTo>
                <a:cubicBezTo>
                  <a:pt x="209" y="86"/>
                  <a:pt x="210" y="83"/>
                  <a:pt x="211" y="83"/>
                </a:cubicBezTo>
                <a:cubicBezTo>
                  <a:pt x="212" y="84"/>
                  <a:pt x="212" y="83"/>
                  <a:pt x="212" y="84"/>
                </a:cubicBezTo>
                <a:cubicBezTo>
                  <a:pt x="212" y="85"/>
                  <a:pt x="212" y="87"/>
                  <a:pt x="211" y="87"/>
                </a:cubicBezTo>
                <a:cubicBezTo>
                  <a:pt x="210" y="87"/>
                  <a:pt x="209" y="86"/>
                  <a:pt x="209" y="86"/>
                </a:cubicBezTo>
                <a:close/>
                <a:moveTo>
                  <a:pt x="201" y="86"/>
                </a:moveTo>
                <a:cubicBezTo>
                  <a:pt x="201" y="86"/>
                  <a:pt x="201" y="86"/>
                  <a:pt x="201" y="86"/>
                </a:cubicBezTo>
                <a:cubicBezTo>
                  <a:pt x="202" y="84"/>
                  <a:pt x="202" y="84"/>
                  <a:pt x="202" y="84"/>
                </a:cubicBezTo>
                <a:cubicBezTo>
                  <a:pt x="204" y="85"/>
                  <a:pt x="204" y="85"/>
                  <a:pt x="204" y="85"/>
                </a:cubicBezTo>
                <a:cubicBezTo>
                  <a:pt x="204" y="85"/>
                  <a:pt x="205" y="86"/>
                  <a:pt x="204" y="86"/>
                </a:cubicBezTo>
                <a:cubicBezTo>
                  <a:pt x="204" y="87"/>
                  <a:pt x="203" y="87"/>
                  <a:pt x="203" y="88"/>
                </a:cubicBezTo>
                <a:cubicBezTo>
                  <a:pt x="202" y="88"/>
                  <a:pt x="201" y="87"/>
                  <a:pt x="201" y="87"/>
                </a:cubicBezTo>
                <a:cubicBezTo>
                  <a:pt x="201" y="86"/>
                  <a:pt x="201" y="86"/>
                  <a:pt x="201" y="86"/>
                </a:cubicBezTo>
                <a:close/>
                <a:moveTo>
                  <a:pt x="201" y="73"/>
                </a:moveTo>
                <a:cubicBezTo>
                  <a:pt x="201" y="73"/>
                  <a:pt x="201" y="73"/>
                  <a:pt x="201" y="73"/>
                </a:cubicBezTo>
                <a:cubicBezTo>
                  <a:pt x="201" y="73"/>
                  <a:pt x="203" y="70"/>
                  <a:pt x="203" y="70"/>
                </a:cubicBezTo>
                <a:cubicBezTo>
                  <a:pt x="204" y="70"/>
                  <a:pt x="205" y="69"/>
                  <a:pt x="205" y="71"/>
                </a:cubicBezTo>
                <a:cubicBezTo>
                  <a:pt x="205" y="73"/>
                  <a:pt x="207" y="75"/>
                  <a:pt x="204" y="75"/>
                </a:cubicBezTo>
                <a:cubicBezTo>
                  <a:pt x="202" y="75"/>
                  <a:pt x="201" y="76"/>
                  <a:pt x="201" y="75"/>
                </a:cubicBezTo>
                <a:cubicBezTo>
                  <a:pt x="200" y="74"/>
                  <a:pt x="201" y="73"/>
                  <a:pt x="201" y="73"/>
                </a:cubicBezTo>
                <a:close/>
                <a:moveTo>
                  <a:pt x="197" y="79"/>
                </a:moveTo>
                <a:cubicBezTo>
                  <a:pt x="197" y="79"/>
                  <a:pt x="197" y="79"/>
                  <a:pt x="197" y="79"/>
                </a:cubicBezTo>
                <a:cubicBezTo>
                  <a:pt x="197" y="79"/>
                  <a:pt x="199" y="77"/>
                  <a:pt x="200" y="77"/>
                </a:cubicBezTo>
                <a:cubicBezTo>
                  <a:pt x="201" y="78"/>
                  <a:pt x="202" y="78"/>
                  <a:pt x="202" y="79"/>
                </a:cubicBezTo>
                <a:cubicBezTo>
                  <a:pt x="202" y="80"/>
                  <a:pt x="202" y="80"/>
                  <a:pt x="201" y="81"/>
                </a:cubicBezTo>
                <a:cubicBezTo>
                  <a:pt x="201" y="82"/>
                  <a:pt x="200" y="82"/>
                  <a:pt x="199" y="82"/>
                </a:cubicBezTo>
                <a:cubicBezTo>
                  <a:pt x="199" y="82"/>
                  <a:pt x="197" y="79"/>
                  <a:pt x="197" y="79"/>
                </a:cubicBezTo>
                <a:close/>
                <a:moveTo>
                  <a:pt x="200" y="91"/>
                </a:moveTo>
                <a:cubicBezTo>
                  <a:pt x="200" y="91"/>
                  <a:pt x="200" y="91"/>
                  <a:pt x="200" y="91"/>
                </a:cubicBezTo>
                <a:cubicBezTo>
                  <a:pt x="200" y="91"/>
                  <a:pt x="199" y="94"/>
                  <a:pt x="199" y="95"/>
                </a:cubicBezTo>
                <a:cubicBezTo>
                  <a:pt x="199" y="96"/>
                  <a:pt x="202" y="96"/>
                  <a:pt x="203" y="95"/>
                </a:cubicBezTo>
                <a:cubicBezTo>
                  <a:pt x="203" y="95"/>
                  <a:pt x="204" y="93"/>
                  <a:pt x="204" y="93"/>
                </a:cubicBezTo>
                <a:cubicBezTo>
                  <a:pt x="204" y="93"/>
                  <a:pt x="203" y="91"/>
                  <a:pt x="202" y="90"/>
                </a:cubicBezTo>
                <a:cubicBezTo>
                  <a:pt x="201" y="89"/>
                  <a:pt x="200" y="91"/>
                  <a:pt x="200" y="91"/>
                </a:cubicBezTo>
                <a:close/>
                <a:moveTo>
                  <a:pt x="191" y="88"/>
                </a:moveTo>
                <a:cubicBezTo>
                  <a:pt x="191" y="88"/>
                  <a:pt x="191" y="88"/>
                  <a:pt x="191" y="88"/>
                </a:cubicBezTo>
                <a:cubicBezTo>
                  <a:pt x="191" y="91"/>
                  <a:pt x="191" y="91"/>
                  <a:pt x="191" y="91"/>
                </a:cubicBezTo>
                <a:cubicBezTo>
                  <a:pt x="191" y="91"/>
                  <a:pt x="193" y="93"/>
                  <a:pt x="194" y="93"/>
                </a:cubicBezTo>
                <a:cubicBezTo>
                  <a:pt x="195" y="94"/>
                  <a:pt x="195" y="93"/>
                  <a:pt x="197" y="94"/>
                </a:cubicBezTo>
                <a:cubicBezTo>
                  <a:pt x="198" y="94"/>
                  <a:pt x="198" y="93"/>
                  <a:pt x="198" y="93"/>
                </a:cubicBezTo>
                <a:cubicBezTo>
                  <a:pt x="199" y="93"/>
                  <a:pt x="199" y="93"/>
                  <a:pt x="199" y="92"/>
                </a:cubicBezTo>
                <a:cubicBezTo>
                  <a:pt x="199" y="92"/>
                  <a:pt x="197" y="91"/>
                  <a:pt x="196" y="90"/>
                </a:cubicBezTo>
                <a:cubicBezTo>
                  <a:pt x="196" y="89"/>
                  <a:pt x="196" y="89"/>
                  <a:pt x="196" y="88"/>
                </a:cubicBezTo>
                <a:cubicBezTo>
                  <a:pt x="196" y="88"/>
                  <a:pt x="197" y="87"/>
                  <a:pt x="198" y="87"/>
                </a:cubicBezTo>
                <a:cubicBezTo>
                  <a:pt x="198" y="86"/>
                  <a:pt x="198" y="84"/>
                  <a:pt x="198" y="84"/>
                </a:cubicBezTo>
                <a:cubicBezTo>
                  <a:pt x="198" y="84"/>
                  <a:pt x="196" y="84"/>
                  <a:pt x="196" y="83"/>
                </a:cubicBezTo>
                <a:cubicBezTo>
                  <a:pt x="196" y="83"/>
                  <a:pt x="195" y="82"/>
                  <a:pt x="194" y="81"/>
                </a:cubicBezTo>
                <a:cubicBezTo>
                  <a:pt x="194" y="80"/>
                  <a:pt x="192" y="80"/>
                  <a:pt x="191" y="80"/>
                </a:cubicBezTo>
                <a:cubicBezTo>
                  <a:pt x="191" y="80"/>
                  <a:pt x="190" y="83"/>
                  <a:pt x="189" y="84"/>
                </a:cubicBezTo>
                <a:cubicBezTo>
                  <a:pt x="189" y="84"/>
                  <a:pt x="188" y="86"/>
                  <a:pt x="188" y="86"/>
                </a:cubicBezTo>
                <a:cubicBezTo>
                  <a:pt x="188" y="87"/>
                  <a:pt x="188" y="88"/>
                  <a:pt x="189" y="89"/>
                </a:cubicBezTo>
                <a:cubicBezTo>
                  <a:pt x="190" y="89"/>
                  <a:pt x="191" y="88"/>
                  <a:pt x="191" y="88"/>
                </a:cubicBezTo>
                <a:close/>
                <a:moveTo>
                  <a:pt x="188" y="96"/>
                </a:moveTo>
                <a:cubicBezTo>
                  <a:pt x="188" y="96"/>
                  <a:pt x="188" y="96"/>
                  <a:pt x="188" y="96"/>
                </a:cubicBezTo>
                <a:cubicBezTo>
                  <a:pt x="187" y="96"/>
                  <a:pt x="185" y="94"/>
                  <a:pt x="185" y="94"/>
                </a:cubicBezTo>
                <a:cubicBezTo>
                  <a:pt x="185" y="94"/>
                  <a:pt x="187" y="93"/>
                  <a:pt x="187" y="92"/>
                </a:cubicBezTo>
                <a:cubicBezTo>
                  <a:pt x="188" y="92"/>
                  <a:pt x="187" y="91"/>
                  <a:pt x="189" y="91"/>
                </a:cubicBezTo>
                <a:cubicBezTo>
                  <a:pt x="191" y="92"/>
                  <a:pt x="191" y="93"/>
                  <a:pt x="191" y="93"/>
                </a:cubicBezTo>
                <a:cubicBezTo>
                  <a:pt x="191" y="93"/>
                  <a:pt x="192" y="95"/>
                  <a:pt x="192" y="96"/>
                </a:cubicBezTo>
                <a:cubicBezTo>
                  <a:pt x="192" y="96"/>
                  <a:pt x="192" y="97"/>
                  <a:pt x="192" y="97"/>
                </a:cubicBezTo>
                <a:cubicBezTo>
                  <a:pt x="192" y="98"/>
                  <a:pt x="194" y="99"/>
                  <a:pt x="191" y="99"/>
                </a:cubicBezTo>
                <a:cubicBezTo>
                  <a:pt x="189" y="99"/>
                  <a:pt x="189" y="99"/>
                  <a:pt x="189" y="99"/>
                </a:cubicBezTo>
                <a:lnTo>
                  <a:pt x="188" y="96"/>
                </a:lnTo>
                <a:close/>
              </a:path>
            </a:pathLst>
          </a:custGeom>
          <a:solidFill>
            <a:schemeClr val="accent1">
              <a:lumMod val="60000"/>
              <a:lumOff val="40000"/>
              <a:alpha val="38000"/>
            </a:schemeClr>
          </a:solidFill>
          <a:ln w="3175" cap="rnd">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50"/>
              </a:solidFill>
              <a:effectLst/>
              <a:uLnTx/>
              <a:uFillTx/>
              <a:latin typeface="Helvetica"/>
              <a:ea typeface="+mn-ea"/>
              <a:cs typeface="+mn-cs"/>
            </a:endParaRPr>
          </a:p>
        </p:txBody>
      </p:sp>
      <p:sp>
        <p:nvSpPr>
          <p:cNvPr id="69" name="Rectangle 68">
            <a:extLst>
              <a:ext uri="{FF2B5EF4-FFF2-40B4-BE49-F238E27FC236}">
                <a16:creationId xmlns:a16="http://schemas.microsoft.com/office/drawing/2014/main" id="{9A3CDF41-3335-2D17-A693-2062259CE913}"/>
              </a:ext>
            </a:extLst>
          </p:cNvPr>
          <p:cNvSpPr/>
          <p:nvPr/>
        </p:nvSpPr>
        <p:spPr>
          <a:xfrm>
            <a:off x="6752037" y="120349"/>
            <a:ext cx="2697550" cy="18135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70" name="Arc 69">
            <a:extLst>
              <a:ext uri="{FF2B5EF4-FFF2-40B4-BE49-F238E27FC236}">
                <a16:creationId xmlns:a16="http://schemas.microsoft.com/office/drawing/2014/main" id="{957722BA-B5CF-6B37-CE22-A8ED8B86C8DF}"/>
              </a:ext>
            </a:extLst>
          </p:cNvPr>
          <p:cNvSpPr/>
          <p:nvPr/>
        </p:nvSpPr>
        <p:spPr>
          <a:xfrm rot="15728365" flipH="1">
            <a:off x="7803397" y="2586408"/>
            <a:ext cx="2422923" cy="3769860"/>
          </a:xfrm>
          <a:prstGeom prst="arc">
            <a:avLst>
              <a:gd name="adj1" fmla="val 17170140"/>
              <a:gd name="adj2" fmla="val 19039329"/>
            </a:avLst>
          </a:prstGeom>
          <a:ln w="12700">
            <a:solidFill>
              <a:schemeClr val="accent1"/>
            </a:solidFill>
            <a:headEnd type="none"/>
            <a:tailEnd type="arrow"/>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nvGrpSpPr>
          <p:cNvPr id="71" name="Group 70">
            <a:extLst>
              <a:ext uri="{FF2B5EF4-FFF2-40B4-BE49-F238E27FC236}">
                <a16:creationId xmlns:a16="http://schemas.microsoft.com/office/drawing/2014/main" id="{DDAF6B0D-14AF-126D-04E5-1D9FB97924B0}"/>
              </a:ext>
            </a:extLst>
          </p:cNvPr>
          <p:cNvGrpSpPr/>
          <p:nvPr/>
        </p:nvGrpSpPr>
        <p:grpSpPr>
          <a:xfrm>
            <a:off x="7832430" y="474316"/>
            <a:ext cx="2503565" cy="3099340"/>
            <a:chOff x="1035845" y="2397510"/>
            <a:chExt cx="2332366" cy="2887401"/>
          </a:xfrm>
          <a:solidFill>
            <a:schemeClr val="accent2"/>
          </a:solidFill>
        </p:grpSpPr>
        <p:sp>
          <p:nvSpPr>
            <p:cNvPr id="72" name="Freeform 179">
              <a:extLst>
                <a:ext uri="{FF2B5EF4-FFF2-40B4-BE49-F238E27FC236}">
                  <a16:creationId xmlns:a16="http://schemas.microsoft.com/office/drawing/2014/main" id="{3FF3E10E-930A-09CA-E984-66A87A67EFC7}"/>
                </a:ext>
              </a:extLst>
            </p:cNvPr>
            <p:cNvSpPr>
              <a:spLocks noChangeArrowheads="1"/>
            </p:cNvSpPr>
            <p:nvPr/>
          </p:nvSpPr>
          <p:spPr bwMode="auto">
            <a:xfrm>
              <a:off x="1601956" y="2817496"/>
              <a:ext cx="1124663" cy="2467415"/>
            </a:xfrm>
            <a:custGeom>
              <a:avLst/>
              <a:gdLst>
                <a:gd name="T0" fmla="*/ 656 w 657"/>
                <a:gd name="T1" fmla="*/ 290 h 1245"/>
                <a:gd name="T2" fmla="*/ 648 w 657"/>
                <a:gd name="T3" fmla="*/ 213 h 1245"/>
                <a:gd name="T4" fmla="*/ 630 w 657"/>
                <a:gd name="T5" fmla="*/ 111 h 1245"/>
                <a:gd name="T6" fmla="*/ 494 w 657"/>
                <a:gd name="T7" fmla="*/ 8 h 1245"/>
                <a:gd name="T8" fmla="*/ 426 w 657"/>
                <a:gd name="T9" fmla="*/ 68 h 1245"/>
                <a:gd name="T10" fmla="*/ 358 w 657"/>
                <a:gd name="T11" fmla="*/ 94 h 1245"/>
                <a:gd name="T12" fmla="*/ 281 w 657"/>
                <a:gd name="T13" fmla="*/ 145 h 1245"/>
                <a:gd name="T14" fmla="*/ 255 w 657"/>
                <a:gd name="T15" fmla="*/ 213 h 1245"/>
                <a:gd name="T16" fmla="*/ 213 w 657"/>
                <a:gd name="T17" fmla="*/ 290 h 1245"/>
                <a:gd name="T18" fmla="*/ 170 w 657"/>
                <a:gd name="T19" fmla="*/ 349 h 1245"/>
                <a:gd name="T20" fmla="*/ 153 w 657"/>
                <a:gd name="T21" fmla="*/ 451 h 1245"/>
                <a:gd name="T22" fmla="*/ 110 w 657"/>
                <a:gd name="T23" fmla="*/ 486 h 1245"/>
                <a:gd name="T24" fmla="*/ 59 w 657"/>
                <a:gd name="T25" fmla="*/ 588 h 1245"/>
                <a:gd name="T26" fmla="*/ 51 w 657"/>
                <a:gd name="T27" fmla="*/ 699 h 1245"/>
                <a:gd name="T28" fmla="*/ 68 w 657"/>
                <a:gd name="T29" fmla="*/ 767 h 1245"/>
                <a:gd name="T30" fmla="*/ 76 w 657"/>
                <a:gd name="T31" fmla="*/ 844 h 1245"/>
                <a:gd name="T32" fmla="*/ 34 w 657"/>
                <a:gd name="T33" fmla="*/ 903 h 1245"/>
                <a:gd name="T34" fmla="*/ 0 w 657"/>
                <a:gd name="T35" fmla="*/ 937 h 1245"/>
                <a:gd name="T36" fmla="*/ 25 w 657"/>
                <a:gd name="T37" fmla="*/ 1006 h 1245"/>
                <a:gd name="T38" fmla="*/ 68 w 657"/>
                <a:gd name="T39" fmla="*/ 1116 h 1245"/>
                <a:gd name="T40" fmla="*/ 94 w 657"/>
                <a:gd name="T41" fmla="*/ 1185 h 1245"/>
                <a:gd name="T42" fmla="*/ 136 w 657"/>
                <a:gd name="T43" fmla="*/ 1227 h 1245"/>
                <a:gd name="T44" fmla="*/ 179 w 657"/>
                <a:gd name="T45" fmla="*/ 1176 h 1245"/>
                <a:gd name="T46" fmla="*/ 247 w 657"/>
                <a:gd name="T47" fmla="*/ 1151 h 1245"/>
                <a:gd name="T48" fmla="*/ 298 w 657"/>
                <a:gd name="T49" fmla="*/ 1099 h 1245"/>
                <a:gd name="T50" fmla="*/ 281 w 657"/>
                <a:gd name="T51" fmla="*/ 1065 h 1245"/>
                <a:gd name="T52" fmla="*/ 315 w 657"/>
                <a:gd name="T53" fmla="*/ 954 h 1245"/>
                <a:gd name="T54" fmla="*/ 392 w 657"/>
                <a:gd name="T55" fmla="*/ 861 h 1245"/>
                <a:gd name="T56" fmla="*/ 307 w 657"/>
                <a:gd name="T57" fmla="*/ 784 h 1245"/>
                <a:gd name="T58" fmla="*/ 315 w 657"/>
                <a:gd name="T59" fmla="*/ 673 h 1245"/>
                <a:gd name="T60" fmla="*/ 366 w 657"/>
                <a:gd name="T61" fmla="*/ 571 h 1245"/>
                <a:gd name="T62" fmla="*/ 400 w 657"/>
                <a:gd name="T63" fmla="*/ 554 h 1245"/>
                <a:gd name="T64" fmla="*/ 426 w 657"/>
                <a:gd name="T65" fmla="*/ 503 h 1245"/>
                <a:gd name="T66" fmla="*/ 469 w 657"/>
                <a:gd name="T67" fmla="*/ 486 h 1245"/>
                <a:gd name="T68" fmla="*/ 503 w 657"/>
                <a:gd name="T69" fmla="*/ 460 h 1245"/>
                <a:gd name="T70" fmla="*/ 520 w 657"/>
                <a:gd name="T71" fmla="*/ 400 h 1245"/>
                <a:gd name="T72" fmla="*/ 579 w 657"/>
                <a:gd name="T73" fmla="*/ 324 h 1245"/>
                <a:gd name="T74" fmla="*/ 656 w 657"/>
                <a:gd name="T75" fmla="*/ 324 h 1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57" h="1245">
                  <a:moveTo>
                    <a:pt x="656" y="290"/>
                  </a:moveTo>
                  <a:lnTo>
                    <a:pt x="656" y="290"/>
                  </a:lnTo>
                  <a:cubicBezTo>
                    <a:pt x="648" y="281"/>
                    <a:pt x="630" y="264"/>
                    <a:pt x="639" y="264"/>
                  </a:cubicBezTo>
                  <a:cubicBezTo>
                    <a:pt x="656" y="264"/>
                    <a:pt x="656" y="221"/>
                    <a:pt x="648" y="213"/>
                  </a:cubicBezTo>
                  <a:cubicBezTo>
                    <a:pt x="630" y="204"/>
                    <a:pt x="648" y="170"/>
                    <a:pt x="630" y="162"/>
                  </a:cubicBezTo>
                  <a:cubicBezTo>
                    <a:pt x="622" y="153"/>
                    <a:pt x="630" y="128"/>
                    <a:pt x="630" y="111"/>
                  </a:cubicBezTo>
                  <a:cubicBezTo>
                    <a:pt x="630" y="85"/>
                    <a:pt x="579" y="76"/>
                    <a:pt x="554" y="60"/>
                  </a:cubicBezTo>
                  <a:cubicBezTo>
                    <a:pt x="528" y="42"/>
                    <a:pt x="511" y="25"/>
                    <a:pt x="494" y="8"/>
                  </a:cubicBezTo>
                  <a:cubicBezTo>
                    <a:pt x="469" y="0"/>
                    <a:pt x="460" y="34"/>
                    <a:pt x="460" y="51"/>
                  </a:cubicBezTo>
                  <a:cubicBezTo>
                    <a:pt x="460" y="76"/>
                    <a:pt x="443" y="76"/>
                    <a:pt x="426" y="68"/>
                  </a:cubicBezTo>
                  <a:cubicBezTo>
                    <a:pt x="409" y="51"/>
                    <a:pt x="392" y="68"/>
                    <a:pt x="375" y="51"/>
                  </a:cubicBezTo>
                  <a:cubicBezTo>
                    <a:pt x="349" y="42"/>
                    <a:pt x="358" y="76"/>
                    <a:pt x="358" y="94"/>
                  </a:cubicBezTo>
                  <a:cubicBezTo>
                    <a:pt x="358" y="111"/>
                    <a:pt x="332" y="111"/>
                    <a:pt x="323" y="111"/>
                  </a:cubicBezTo>
                  <a:cubicBezTo>
                    <a:pt x="307" y="111"/>
                    <a:pt x="281" y="128"/>
                    <a:pt x="281" y="145"/>
                  </a:cubicBezTo>
                  <a:cubicBezTo>
                    <a:pt x="281" y="162"/>
                    <a:pt x="255" y="170"/>
                    <a:pt x="264" y="187"/>
                  </a:cubicBezTo>
                  <a:cubicBezTo>
                    <a:pt x="272" y="196"/>
                    <a:pt x="264" y="204"/>
                    <a:pt x="255" y="213"/>
                  </a:cubicBezTo>
                  <a:cubicBezTo>
                    <a:pt x="238" y="221"/>
                    <a:pt x="230" y="247"/>
                    <a:pt x="221" y="256"/>
                  </a:cubicBezTo>
                  <a:cubicBezTo>
                    <a:pt x="213" y="264"/>
                    <a:pt x="230" y="281"/>
                    <a:pt x="213" y="290"/>
                  </a:cubicBezTo>
                  <a:cubicBezTo>
                    <a:pt x="196" y="298"/>
                    <a:pt x="179" y="290"/>
                    <a:pt x="170" y="298"/>
                  </a:cubicBezTo>
                  <a:cubicBezTo>
                    <a:pt x="170" y="307"/>
                    <a:pt x="170" y="324"/>
                    <a:pt x="170" y="349"/>
                  </a:cubicBezTo>
                  <a:cubicBezTo>
                    <a:pt x="170" y="375"/>
                    <a:pt x="153" y="400"/>
                    <a:pt x="136" y="426"/>
                  </a:cubicBezTo>
                  <a:cubicBezTo>
                    <a:pt x="119" y="443"/>
                    <a:pt x="145" y="451"/>
                    <a:pt x="153" y="451"/>
                  </a:cubicBezTo>
                  <a:cubicBezTo>
                    <a:pt x="153" y="460"/>
                    <a:pt x="153" y="469"/>
                    <a:pt x="153" y="486"/>
                  </a:cubicBezTo>
                  <a:cubicBezTo>
                    <a:pt x="145" y="503"/>
                    <a:pt x="128" y="494"/>
                    <a:pt x="110" y="486"/>
                  </a:cubicBezTo>
                  <a:cubicBezTo>
                    <a:pt x="102" y="486"/>
                    <a:pt x="76" y="503"/>
                    <a:pt x="59" y="528"/>
                  </a:cubicBezTo>
                  <a:cubicBezTo>
                    <a:pt x="42" y="554"/>
                    <a:pt x="51" y="571"/>
                    <a:pt x="59" y="588"/>
                  </a:cubicBezTo>
                  <a:cubicBezTo>
                    <a:pt x="59" y="597"/>
                    <a:pt x="42" y="613"/>
                    <a:pt x="59" y="639"/>
                  </a:cubicBezTo>
                  <a:cubicBezTo>
                    <a:pt x="68" y="665"/>
                    <a:pt x="51" y="673"/>
                    <a:pt x="51" y="699"/>
                  </a:cubicBezTo>
                  <a:cubicBezTo>
                    <a:pt x="59" y="716"/>
                    <a:pt x="85" y="716"/>
                    <a:pt x="85" y="733"/>
                  </a:cubicBezTo>
                  <a:cubicBezTo>
                    <a:pt x="94" y="758"/>
                    <a:pt x="76" y="767"/>
                    <a:pt x="68" y="767"/>
                  </a:cubicBezTo>
                  <a:cubicBezTo>
                    <a:pt x="59" y="767"/>
                    <a:pt x="59" y="784"/>
                    <a:pt x="68" y="792"/>
                  </a:cubicBezTo>
                  <a:cubicBezTo>
                    <a:pt x="85" y="801"/>
                    <a:pt x="76" y="835"/>
                    <a:pt x="76" y="844"/>
                  </a:cubicBezTo>
                  <a:cubicBezTo>
                    <a:pt x="68" y="861"/>
                    <a:pt x="34" y="844"/>
                    <a:pt x="42" y="861"/>
                  </a:cubicBezTo>
                  <a:cubicBezTo>
                    <a:pt x="42" y="869"/>
                    <a:pt x="34" y="895"/>
                    <a:pt x="34" y="903"/>
                  </a:cubicBezTo>
                  <a:cubicBezTo>
                    <a:pt x="34" y="920"/>
                    <a:pt x="25" y="954"/>
                    <a:pt x="17" y="946"/>
                  </a:cubicBezTo>
                  <a:cubicBezTo>
                    <a:pt x="17" y="937"/>
                    <a:pt x="8" y="937"/>
                    <a:pt x="0" y="937"/>
                  </a:cubicBezTo>
                  <a:cubicBezTo>
                    <a:pt x="0" y="946"/>
                    <a:pt x="0" y="946"/>
                    <a:pt x="0" y="946"/>
                  </a:cubicBezTo>
                  <a:cubicBezTo>
                    <a:pt x="0" y="972"/>
                    <a:pt x="8" y="988"/>
                    <a:pt x="25" y="1006"/>
                  </a:cubicBezTo>
                  <a:cubicBezTo>
                    <a:pt x="42" y="1023"/>
                    <a:pt x="34" y="1040"/>
                    <a:pt x="42" y="1065"/>
                  </a:cubicBezTo>
                  <a:cubicBezTo>
                    <a:pt x="59" y="1082"/>
                    <a:pt x="51" y="1099"/>
                    <a:pt x="68" y="1116"/>
                  </a:cubicBezTo>
                  <a:cubicBezTo>
                    <a:pt x="85" y="1125"/>
                    <a:pt x="85" y="1133"/>
                    <a:pt x="85" y="1159"/>
                  </a:cubicBezTo>
                  <a:cubicBezTo>
                    <a:pt x="76" y="1176"/>
                    <a:pt x="94" y="1167"/>
                    <a:pt x="94" y="1185"/>
                  </a:cubicBezTo>
                  <a:cubicBezTo>
                    <a:pt x="94" y="1193"/>
                    <a:pt x="94" y="1219"/>
                    <a:pt x="94" y="1227"/>
                  </a:cubicBezTo>
                  <a:cubicBezTo>
                    <a:pt x="102" y="1244"/>
                    <a:pt x="110" y="1227"/>
                    <a:pt x="136" y="1227"/>
                  </a:cubicBezTo>
                  <a:cubicBezTo>
                    <a:pt x="162" y="1227"/>
                    <a:pt x="162" y="1210"/>
                    <a:pt x="162" y="1193"/>
                  </a:cubicBezTo>
                  <a:cubicBezTo>
                    <a:pt x="162" y="1185"/>
                    <a:pt x="170" y="1185"/>
                    <a:pt x="179" y="1176"/>
                  </a:cubicBezTo>
                  <a:cubicBezTo>
                    <a:pt x="179" y="1167"/>
                    <a:pt x="204" y="1167"/>
                    <a:pt x="221" y="1176"/>
                  </a:cubicBezTo>
                  <a:cubicBezTo>
                    <a:pt x="238" y="1185"/>
                    <a:pt x="247" y="1167"/>
                    <a:pt x="247" y="1151"/>
                  </a:cubicBezTo>
                  <a:cubicBezTo>
                    <a:pt x="255" y="1125"/>
                    <a:pt x="264" y="1151"/>
                    <a:pt x="264" y="1159"/>
                  </a:cubicBezTo>
                  <a:cubicBezTo>
                    <a:pt x="272" y="1159"/>
                    <a:pt x="289" y="1125"/>
                    <a:pt x="298" y="1099"/>
                  </a:cubicBezTo>
                  <a:cubicBezTo>
                    <a:pt x="307" y="1082"/>
                    <a:pt x="298" y="1082"/>
                    <a:pt x="281" y="1108"/>
                  </a:cubicBezTo>
                  <a:cubicBezTo>
                    <a:pt x="264" y="1125"/>
                    <a:pt x="272" y="1082"/>
                    <a:pt x="281" y="1065"/>
                  </a:cubicBezTo>
                  <a:cubicBezTo>
                    <a:pt x="281" y="1048"/>
                    <a:pt x="281" y="997"/>
                    <a:pt x="289" y="988"/>
                  </a:cubicBezTo>
                  <a:cubicBezTo>
                    <a:pt x="289" y="972"/>
                    <a:pt x="289" y="954"/>
                    <a:pt x="315" y="954"/>
                  </a:cubicBezTo>
                  <a:cubicBezTo>
                    <a:pt x="341" y="946"/>
                    <a:pt x="366" y="912"/>
                    <a:pt x="366" y="903"/>
                  </a:cubicBezTo>
                  <a:cubicBezTo>
                    <a:pt x="358" y="886"/>
                    <a:pt x="392" y="869"/>
                    <a:pt x="392" y="861"/>
                  </a:cubicBezTo>
                  <a:cubicBezTo>
                    <a:pt x="392" y="844"/>
                    <a:pt x="358" y="801"/>
                    <a:pt x="341" y="792"/>
                  </a:cubicBezTo>
                  <a:cubicBezTo>
                    <a:pt x="332" y="792"/>
                    <a:pt x="307" y="792"/>
                    <a:pt x="307" y="784"/>
                  </a:cubicBezTo>
                  <a:cubicBezTo>
                    <a:pt x="307" y="775"/>
                    <a:pt x="307" y="741"/>
                    <a:pt x="298" y="724"/>
                  </a:cubicBezTo>
                  <a:cubicBezTo>
                    <a:pt x="298" y="707"/>
                    <a:pt x="315" y="690"/>
                    <a:pt x="315" y="673"/>
                  </a:cubicBezTo>
                  <a:cubicBezTo>
                    <a:pt x="315" y="656"/>
                    <a:pt x="315" y="639"/>
                    <a:pt x="323" y="622"/>
                  </a:cubicBezTo>
                  <a:cubicBezTo>
                    <a:pt x="332" y="605"/>
                    <a:pt x="349" y="588"/>
                    <a:pt x="366" y="571"/>
                  </a:cubicBezTo>
                  <a:cubicBezTo>
                    <a:pt x="375" y="562"/>
                    <a:pt x="383" y="562"/>
                    <a:pt x="392" y="554"/>
                  </a:cubicBezTo>
                  <a:cubicBezTo>
                    <a:pt x="392" y="554"/>
                    <a:pt x="392" y="554"/>
                    <a:pt x="400" y="554"/>
                  </a:cubicBezTo>
                  <a:cubicBezTo>
                    <a:pt x="400" y="545"/>
                    <a:pt x="409" y="545"/>
                    <a:pt x="409" y="545"/>
                  </a:cubicBezTo>
                  <a:cubicBezTo>
                    <a:pt x="409" y="528"/>
                    <a:pt x="417" y="511"/>
                    <a:pt x="426" y="503"/>
                  </a:cubicBezTo>
                  <a:cubicBezTo>
                    <a:pt x="434" y="494"/>
                    <a:pt x="434" y="494"/>
                    <a:pt x="434" y="494"/>
                  </a:cubicBezTo>
                  <a:cubicBezTo>
                    <a:pt x="443" y="486"/>
                    <a:pt x="460" y="486"/>
                    <a:pt x="469" y="486"/>
                  </a:cubicBezTo>
                  <a:cubicBezTo>
                    <a:pt x="469" y="477"/>
                    <a:pt x="477" y="477"/>
                    <a:pt x="477" y="469"/>
                  </a:cubicBezTo>
                  <a:cubicBezTo>
                    <a:pt x="485" y="460"/>
                    <a:pt x="494" y="460"/>
                    <a:pt x="503" y="460"/>
                  </a:cubicBezTo>
                  <a:cubicBezTo>
                    <a:pt x="503" y="443"/>
                    <a:pt x="503" y="426"/>
                    <a:pt x="511" y="417"/>
                  </a:cubicBezTo>
                  <a:cubicBezTo>
                    <a:pt x="511" y="409"/>
                    <a:pt x="511" y="409"/>
                    <a:pt x="520" y="400"/>
                  </a:cubicBezTo>
                  <a:cubicBezTo>
                    <a:pt x="545" y="383"/>
                    <a:pt x="528" y="358"/>
                    <a:pt x="545" y="358"/>
                  </a:cubicBezTo>
                  <a:cubicBezTo>
                    <a:pt x="562" y="349"/>
                    <a:pt x="562" y="341"/>
                    <a:pt x="579" y="324"/>
                  </a:cubicBezTo>
                  <a:cubicBezTo>
                    <a:pt x="588" y="315"/>
                    <a:pt x="605" y="324"/>
                    <a:pt x="630" y="315"/>
                  </a:cubicBezTo>
                  <a:cubicBezTo>
                    <a:pt x="639" y="315"/>
                    <a:pt x="648" y="315"/>
                    <a:pt x="656" y="324"/>
                  </a:cubicBezTo>
                  <a:cubicBezTo>
                    <a:pt x="656" y="307"/>
                    <a:pt x="656" y="298"/>
                    <a:pt x="656" y="290"/>
                  </a:cubicBezTo>
                </a:path>
              </a:pathLst>
            </a:custGeom>
            <a:grpFill/>
            <a:ln w="9525">
              <a:solidFill>
                <a:schemeClr val="bg1"/>
              </a:solid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Helvetica"/>
                <a:ea typeface="+mn-ea"/>
                <a:cs typeface="+mn-cs"/>
              </a:endParaRPr>
            </a:p>
          </p:txBody>
        </p:sp>
        <p:sp>
          <p:nvSpPr>
            <p:cNvPr id="73" name="Freeform 186">
              <a:extLst>
                <a:ext uri="{FF2B5EF4-FFF2-40B4-BE49-F238E27FC236}">
                  <a16:creationId xmlns:a16="http://schemas.microsoft.com/office/drawing/2014/main" id="{1C2F04AC-99A7-4809-E642-13B419C9D8BF}"/>
                </a:ext>
              </a:extLst>
            </p:cNvPr>
            <p:cNvSpPr>
              <a:spLocks noChangeArrowheads="1"/>
            </p:cNvSpPr>
            <p:nvPr/>
          </p:nvSpPr>
          <p:spPr bwMode="auto">
            <a:xfrm>
              <a:off x="1035845" y="2397510"/>
              <a:ext cx="2332366" cy="2432409"/>
            </a:xfrm>
            <a:custGeom>
              <a:avLst/>
              <a:gdLst>
                <a:gd name="T0" fmla="*/ 1295 w 1364"/>
                <a:gd name="T1" fmla="*/ 145 h 1228"/>
                <a:gd name="T2" fmla="*/ 1320 w 1364"/>
                <a:gd name="T3" fmla="*/ 102 h 1228"/>
                <a:gd name="T4" fmla="*/ 1295 w 1364"/>
                <a:gd name="T5" fmla="*/ 51 h 1228"/>
                <a:gd name="T6" fmla="*/ 1235 w 1364"/>
                <a:gd name="T7" fmla="*/ 34 h 1228"/>
                <a:gd name="T8" fmla="*/ 1210 w 1364"/>
                <a:gd name="T9" fmla="*/ 42 h 1228"/>
                <a:gd name="T10" fmla="*/ 1184 w 1364"/>
                <a:gd name="T11" fmla="*/ 34 h 1228"/>
                <a:gd name="T12" fmla="*/ 1167 w 1364"/>
                <a:gd name="T13" fmla="*/ 34 h 1228"/>
                <a:gd name="T14" fmla="*/ 1133 w 1364"/>
                <a:gd name="T15" fmla="*/ 34 h 1228"/>
                <a:gd name="T16" fmla="*/ 1048 w 1364"/>
                <a:gd name="T17" fmla="*/ 102 h 1228"/>
                <a:gd name="T18" fmla="*/ 1099 w 1364"/>
                <a:gd name="T19" fmla="*/ 17 h 1228"/>
                <a:gd name="T20" fmla="*/ 1056 w 1364"/>
                <a:gd name="T21" fmla="*/ 25 h 1228"/>
                <a:gd name="T22" fmla="*/ 1014 w 1364"/>
                <a:gd name="T23" fmla="*/ 42 h 1228"/>
                <a:gd name="T24" fmla="*/ 945 w 1364"/>
                <a:gd name="T25" fmla="*/ 94 h 1228"/>
                <a:gd name="T26" fmla="*/ 937 w 1364"/>
                <a:gd name="T27" fmla="*/ 68 h 1228"/>
                <a:gd name="T28" fmla="*/ 894 w 1364"/>
                <a:gd name="T29" fmla="*/ 51 h 1228"/>
                <a:gd name="T30" fmla="*/ 852 w 1364"/>
                <a:gd name="T31" fmla="*/ 102 h 1228"/>
                <a:gd name="T32" fmla="*/ 826 w 1364"/>
                <a:gd name="T33" fmla="*/ 102 h 1228"/>
                <a:gd name="T34" fmla="*/ 801 w 1364"/>
                <a:gd name="T35" fmla="*/ 145 h 1228"/>
                <a:gd name="T36" fmla="*/ 732 w 1364"/>
                <a:gd name="T37" fmla="*/ 110 h 1228"/>
                <a:gd name="T38" fmla="*/ 698 w 1364"/>
                <a:gd name="T39" fmla="*/ 162 h 1228"/>
                <a:gd name="T40" fmla="*/ 613 w 1364"/>
                <a:gd name="T41" fmla="*/ 213 h 1228"/>
                <a:gd name="T42" fmla="*/ 655 w 1364"/>
                <a:gd name="T43" fmla="*/ 247 h 1228"/>
                <a:gd name="T44" fmla="*/ 570 w 1364"/>
                <a:gd name="T45" fmla="*/ 247 h 1228"/>
                <a:gd name="T46" fmla="*/ 519 w 1364"/>
                <a:gd name="T47" fmla="*/ 255 h 1228"/>
                <a:gd name="T48" fmla="*/ 451 w 1364"/>
                <a:gd name="T49" fmla="*/ 324 h 1228"/>
                <a:gd name="T50" fmla="*/ 570 w 1364"/>
                <a:gd name="T51" fmla="*/ 281 h 1228"/>
                <a:gd name="T52" fmla="*/ 587 w 1364"/>
                <a:gd name="T53" fmla="*/ 315 h 1228"/>
                <a:gd name="T54" fmla="*/ 519 w 1364"/>
                <a:gd name="T55" fmla="*/ 375 h 1228"/>
                <a:gd name="T56" fmla="*/ 442 w 1364"/>
                <a:gd name="T57" fmla="*/ 503 h 1228"/>
                <a:gd name="T58" fmla="*/ 391 w 1364"/>
                <a:gd name="T59" fmla="*/ 605 h 1228"/>
                <a:gd name="T60" fmla="*/ 357 w 1364"/>
                <a:gd name="T61" fmla="*/ 656 h 1228"/>
                <a:gd name="T62" fmla="*/ 315 w 1364"/>
                <a:gd name="T63" fmla="*/ 682 h 1228"/>
                <a:gd name="T64" fmla="*/ 145 w 1364"/>
                <a:gd name="T65" fmla="*/ 801 h 1228"/>
                <a:gd name="T66" fmla="*/ 145 w 1364"/>
                <a:gd name="T67" fmla="*/ 826 h 1228"/>
                <a:gd name="T68" fmla="*/ 43 w 1364"/>
                <a:gd name="T69" fmla="*/ 903 h 1228"/>
                <a:gd name="T70" fmla="*/ 9 w 1364"/>
                <a:gd name="T71" fmla="*/ 1023 h 1228"/>
                <a:gd name="T72" fmla="*/ 77 w 1364"/>
                <a:gd name="T73" fmla="*/ 1031 h 1228"/>
                <a:gd name="T74" fmla="*/ 34 w 1364"/>
                <a:gd name="T75" fmla="*/ 1074 h 1228"/>
                <a:gd name="T76" fmla="*/ 43 w 1364"/>
                <a:gd name="T77" fmla="*/ 1116 h 1228"/>
                <a:gd name="T78" fmla="*/ 43 w 1364"/>
                <a:gd name="T79" fmla="*/ 1159 h 1228"/>
                <a:gd name="T80" fmla="*/ 51 w 1364"/>
                <a:gd name="T81" fmla="*/ 1167 h 1228"/>
                <a:gd name="T82" fmla="*/ 120 w 1364"/>
                <a:gd name="T83" fmla="*/ 1219 h 1228"/>
                <a:gd name="T84" fmla="*/ 290 w 1364"/>
                <a:gd name="T85" fmla="*/ 1142 h 1228"/>
                <a:gd name="T86" fmla="*/ 332 w 1364"/>
                <a:gd name="T87" fmla="*/ 1150 h 1228"/>
                <a:gd name="T88" fmla="*/ 374 w 1364"/>
                <a:gd name="T89" fmla="*/ 1074 h 1228"/>
                <a:gd name="T90" fmla="*/ 400 w 1364"/>
                <a:gd name="T91" fmla="*/ 980 h 1228"/>
                <a:gd name="T92" fmla="*/ 391 w 1364"/>
                <a:gd name="T93" fmla="*/ 852 h 1228"/>
                <a:gd name="T94" fmla="*/ 442 w 1364"/>
                <a:gd name="T95" fmla="*/ 699 h 1228"/>
                <a:gd name="T96" fmla="*/ 468 w 1364"/>
                <a:gd name="T97" fmla="*/ 639 h 1228"/>
                <a:gd name="T98" fmla="*/ 545 w 1364"/>
                <a:gd name="T99" fmla="*/ 503 h 1228"/>
                <a:gd name="T100" fmla="*/ 596 w 1364"/>
                <a:gd name="T101" fmla="*/ 400 h 1228"/>
                <a:gd name="T102" fmla="*/ 690 w 1364"/>
                <a:gd name="T103" fmla="*/ 307 h 1228"/>
                <a:gd name="T104" fmla="*/ 792 w 1364"/>
                <a:gd name="T105" fmla="*/ 264 h 1228"/>
                <a:gd name="T106" fmla="*/ 860 w 1364"/>
                <a:gd name="T107" fmla="*/ 196 h 1228"/>
                <a:gd name="T108" fmla="*/ 1022 w 1364"/>
                <a:gd name="T109" fmla="*/ 247 h 1228"/>
                <a:gd name="T110" fmla="*/ 1082 w 1364"/>
                <a:gd name="T111" fmla="*/ 179 h 1228"/>
                <a:gd name="T112" fmla="*/ 1210 w 1364"/>
                <a:gd name="T113" fmla="*/ 128 h 1228"/>
                <a:gd name="T114" fmla="*/ 1286 w 1364"/>
                <a:gd name="T115" fmla="*/ 187 h 1228"/>
                <a:gd name="T116" fmla="*/ 1320 w 1364"/>
                <a:gd name="T117" fmla="*/ 145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64" h="1228">
                  <a:moveTo>
                    <a:pt x="1320" y="145"/>
                  </a:moveTo>
                  <a:lnTo>
                    <a:pt x="1320" y="145"/>
                  </a:lnTo>
                  <a:cubicBezTo>
                    <a:pt x="1320" y="162"/>
                    <a:pt x="1295" y="153"/>
                    <a:pt x="1295" y="145"/>
                  </a:cubicBezTo>
                  <a:cubicBezTo>
                    <a:pt x="1295" y="128"/>
                    <a:pt x="1261" y="119"/>
                    <a:pt x="1261" y="110"/>
                  </a:cubicBezTo>
                  <a:cubicBezTo>
                    <a:pt x="1261" y="110"/>
                    <a:pt x="1278" y="110"/>
                    <a:pt x="1286" y="119"/>
                  </a:cubicBezTo>
                  <a:cubicBezTo>
                    <a:pt x="1303" y="128"/>
                    <a:pt x="1312" y="119"/>
                    <a:pt x="1320" y="102"/>
                  </a:cubicBezTo>
                  <a:cubicBezTo>
                    <a:pt x="1337" y="94"/>
                    <a:pt x="1355" y="102"/>
                    <a:pt x="1363" y="94"/>
                  </a:cubicBezTo>
                  <a:cubicBezTo>
                    <a:pt x="1363" y="76"/>
                    <a:pt x="1337" y="68"/>
                    <a:pt x="1329" y="59"/>
                  </a:cubicBezTo>
                  <a:cubicBezTo>
                    <a:pt x="1329" y="51"/>
                    <a:pt x="1312" y="42"/>
                    <a:pt x="1295" y="51"/>
                  </a:cubicBezTo>
                  <a:cubicBezTo>
                    <a:pt x="1278" y="51"/>
                    <a:pt x="1278" y="42"/>
                    <a:pt x="1269" y="34"/>
                  </a:cubicBezTo>
                  <a:cubicBezTo>
                    <a:pt x="1261" y="34"/>
                    <a:pt x="1261" y="25"/>
                    <a:pt x="1252" y="34"/>
                  </a:cubicBezTo>
                  <a:cubicBezTo>
                    <a:pt x="1252" y="34"/>
                    <a:pt x="1244" y="34"/>
                    <a:pt x="1235" y="34"/>
                  </a:cubicBezTo>
                  <a:cubicBezTo>
                    <a:pt x="1227" y="42"/>
                    <a:pt x="1227" y="51"/>
                    <a:pt x="1227" y="59"/>
                  </a:cubicBezTo>
                  <a:cubicBezTo>
                    <a:pt x="1227" y="85"/>
                    <a:pt x="1201" y="76"/>
                    <a:pt x="1210" y="68"/>
                  </a:cubicBezTo>
                  <a:cubicBezTo>
                    <a:pt x="1218" y="59"/>
                    <a:pt x="1210" y="42"/>
                    <a:pt x="1210" y="42"/>
                  </a:cubicBezTo>
                  <a:cubicBezTo>
                    <a:pt x="1210" y="34"/>
                    <a:pt x="1210" y="34"/>
                    <a:pt x="1210" y="34"/>
                  </a:cubicBezTo>
                  <a:cubicBezTo>
                    <a:pt x="1201" y="34"/>
                    <a:pt x="1193" y="34"/>
                    <a:pt x="1193" y="34"/>
                  </a:cubicBezTo>
                  <a:cubicBezTo>
                    <a:pt x="1184" y="34"/>
                    <a:pt x="1184" y="34"/>
                    <a:pt x="1184" y="34"/>
                  </a:cubicBezTo>
                  <a:lnTo>
                    <a:pt x="1184" y="34"/>
                  </a:lnTo>
                  <a:cubicBezTo>
                    <a:pt x="1176" y="25"/>
                    <a:pt x="1167" y="34"/>
                    <a:pt x="1158" y="34"/>
                  </a:cubicBezTo>
                  <a:cubicBezTo>
                    <a:pt x="1158" y="34"/>
                    <a:pt x="1158" y="34"/>
                    <a:pt x="1167" y="34"/>
                  </a:cubicBezTo>
                  <a:cubicBezTo>
                    <a:pt x="1167" y="42"/>
                    <a:pt x="1142" y="76"/>
                    <a:pt x="1133" y="76"/>
                  </a:cubicBezTo>
                  <a:cubicBezTo>
                    <a:pt x="1124" y="76"/>
                    <a:pt x="1133" y="51"/>
                    <a:pt x="1133" y="34"/>
                  </a:cubicBezTo>
                  <a:lnTo>
                    <a:pt x="1133" y="34"/>
                  </a:lnTo>
                  <a:cubicBezTo>
                    <a:pt x="1124" y="34"/>
                    <a:pt x="1124" y="34"/>
                    <a:pt x="1116" y="34"/>
                  </a:cubicBezTo>
                  <a:cubicBezTo>
                    <a:pt x="1116" y="34"/>
                    <a:pt x="1107" y="42"/>
                    <a:pt x="1099" y="51"/>
                  </a:cubicBezTo>
                  <a:cubicBezTo>
                    <a:pt x="1073" y="76"/>
                    <a:pt x="1065" y="102"/>
                    <a:pt x="1048" y="102"/>
                  </a:cubicBezTo>
                  <a:cubicBezTo>
                    <a:pt x="1039" y="110"/>
                    <a:pt x="1039" y="85"/>
                    <a:pt x="1056" y="68"/>
                  </a:cubicBezTo>
                  <a:cubicBezTo>
                    <a:pt x="1082" y="59"/>
                    <a:pt x="1082" y="25"/>
                    <a:pt x="1090" y="25"/>
                  </a:cubicBezTo>
                  <a:cubicBezTo>
                    <a:pt x="1099" y="25"/>
                    <a:pt x="1099" y="25"/>
                    <a:pt x="1099" y="17"/>
                  </a:cubicBezTo>
                  <a:lnTo>
                    <a:pt x="1090" y="8"/>
                  </a:lnTo>
                  <a:cubicBezTo>
                    <a:pt x="1090" y="8"/>
                    <a:pt x="1090" y="8"/>
                    <a:pt x="1082" y="0"/>
                  </a:cubicBezTo>
                  <a:cubicBezTo>
                    <a:pt x="1065" y="0"/>
                    <a:pt x="1065" y="25"/>
                    <a:pt x="1056" y="25"/>
                  </a:cubicBezTo>
                  <a:cubicBezTo>
                    <a:pt x="1056" y="34"/>
                    <a:pt x="1039" y="25"/>
                    <a:pt x="1031" y="25"/>
                  </a:cubicBezTo>
                  <a:cubicBezTo>
                    <a:pt x="1031" y="34"/>
                    <a:pt x="1022" y="34"/>
                    <a:pt x="1014" y="34"/>
                  </a:cubicBezTo>
                  <a:cubicBezTo>
                    <a:pt x="1005" y="34"/>
                    <a:pt x="1005" y="42"/>
                    <a:pt x="1014" y="42"/>
                  </a:cubicBezTo>
                  <a:cubicBezTo>
                    <a:pt x="1022" y="59"/>
                    <a:pt x="1005" y="68"/>
                    <a:pt x="996" y="51"/>
                  </a:cubicBezTo>
                  <a:cubicBezTo>
                    <a:pt x="988" y="42"/>
                    <a:pt x="971" y="51"/>
                    <a:pt x="962" y="68"/>
                  </a:cubicBezTo>
                  <a:cubicBezTo>
                    <a:pt x="954" y="85"/>
                    <a:pt x="937" y="85"/>
                    <a:pt x="945" y="94"/>
                  </a:cubicBezTo>
                  <a:cubicBezTo>
                    <a:pt x="962" y="94"/>
                    <a:pt x="954" y="119"/>
                    <a:pt x="945" y="119"/>
                  </a:cubicBezTo>
                  <a:cubicBezTo>
                    <a:pt x="928" y="128"/>
                    <a:pt x="937" y="85"/>
                    <a:pt x="928" y="85"/>
                  </a:cubicBezTo>
                  <a:cubicBezTo>
                    <a:pt x="911" y="94"/>
                    <a:pt x="920" y="68"/>
                    <a:pt x="937" y="68"/>
                  </a:cubicBezTo>
                  <a:cubicBezTo>
                    <a:pt x="945" y="68"/>
                    <a:pt x="954" y="51"/>
                    <a:pt x="962" y="42"/>
                  </a:cubicBezTo>
                  <a:cubicBezTo>
                    <a:pt x="945" y="42"/>
                    <a:pt x="937" y="51"/>
                    <a:pt x="928" y="51"/>
                  </a:cubicBezTo>
                  <a:cubicBezTo>
                    <a:pt x="911" y="59"/>
                    <a:pt x="903" y="59"/>
                    <a:pt x="894" y="51"/>
                  </a:cubicBezTo>
                  <a:cubicBezTo>
                    <a:pt x="886" y="59"/>
                    <a:pt x="886" y="76"/>
                    <a:pt x="903" y="85"/>
                  </a:cubicBezTo>
                  <a:cubicBezTo>
                    <a:pt x="928" y="102"/>
                    <a:pt x="903" y="110"/>
                    <a:pt x="894" y="102"/>
                  </a:cubicBezTo>
                  <a:cubicBezTo>
                    <a:pt x="877" y="85"/>
                    <a:pt x="860" y="94"/>
                    <a:pt x="852" y="102"/>
                  </a:cubicBezTo>
                  <a:cubicBezTo>
                    <a:pt x="835" y="102"/>
                    <a:pt x="877" y="119"/>
                    <a:pt x="877" y="128"/>
                  </a:cubicBezTo>
                  <a:cubicBezTo>
                    <a:pt x="886" y="136"/>
                    <a:pt x="860" y="119"/>
                    <a:pt x="852" y="128"/>
                  </a:cubicBezTo>
                  <a:cubicBezTo>
                    <a:pt x="852" y="128"/>
                    <a:pt x="826" y="119"/>
                    <a:pt x="826" y="102"/>
                  </a:cubicBezTo>
                  <a:cubicBezTo>
                    <a:pt x="826" y="94"/>
                    <a:pt x="792" y="110"/>
                    <a:pt x="809" y="119"/>
                  </a:cubicBezTo>
                  <a:cubicBezTo>
                    <a:pt x="826" y="119"/>
                    <a:pt x="826" y="136"/>
                    <a:pt x="826" y="153"/>
                  </a:cubicBezTo>
                  <a:cubicBezTo>
                    <a:pt x="826" y="170"/>
                    <a:pt x="801" y="162"/>
                    <a:pt x="801" y="145"/>
                  </a:cubicBezTo>
                  <a:cubicBezTo>
                    <a:pt x="809" y="128"/>
                    <a:pt x="792" y="128"/>
                    <a:pt x="775" y="136"/>
                  </a:cubicBezTo>
                  <a:cubicBezTo>
                    <a:pt x="758" y="153"/>
                    <a:pt x="775" y="119"/>
                    <a:pt x="775" y="110"/>
                  </a:cubicBezTo>
                  <a:cubicBezTo>
                    <a:pt x="766" y="94"/>
                    <a:pt x="749" y="110"/>
                    <a:pt x="732" y="110"/>
                  </a:cubicBezTo>
                  <a:cubicBezTo>
                    <a:pt x="715" y="110"/>
                    <a:pt x="707" y="110"/>
                    <a:pt x="715" y="128"/>
                  </a:cubicBezTo>
                  <a:cubicBezTo>
                    <a:pt x="732" y="136"/>
                    <a:pt x="732" y="153"/>
                    <a:pt x="715" y="153"/>
                  </a:cubicBezTo>
                  <a:cubicBezTo>
                    <a:pt x="698" y="153"/>
                    <a:pt x="698" y="153"/>
                    <a:pt x="698" y="162"/>
                  </a:cubicBezTo>
                  <a:cubicBezTo>
                    <a:pt x="698" y="179"/>
                    <a:pt x="681" y="179"/>
                    <a:pt x="681" y="170"/>
                  </a:cubicBezTo>
                  <a:cubicBezTo>
                    <a:pt x="681" y="153"/>
                    <a:pt x="647" y="162"/>
                    <a:pt x="647" y="170"/>
                  </a:cubicBezTo>
                  <a:cubicBezTo>
                    <a:pt x="639" y="187"/>
                    <a:pt x="613" y="196"/>
                    <a:pt x="613" y="213"/>
                  </a:cubicBezTo>
                  <a:cubicBezTo>
                    <a:pt x="621" y="230"/>
                    <a:pt x="639" y="204"/>
                    <a:pt x="647" y="213"/>
                  </a:cubicBezTo>
                  <a:cubicBezTo>
                    <a:pt x="664" y="213"/>
                    <a:pt x="647" y="221"/>
                    <a:pt x="655" y="230"/>
                  </a:cubicBezTo>
                  <a:cubicBezTo>
                    <a:pt x="664" y="238"/>
                    <a:pt x="664" y="255"/>
                    <a:pt x="655" y="247"/>
                  </a:cubicBezTo>
                  <a:cubicBezTo>
                    <a:pt x="639" y="230"/>
                    <a:pt x="630" y="230"/>
                    <a:pt x="621" y="247"/>
                  </a:cubicBezTo>
                  <a:cubicBezTo>
                    <a:pt x="621" y="264"/>
                    <a:pt x="613" y="247"/>
                    <a:pt x="604" y="230"/>
                  </a:cubicBezTo>
                  <a:cubicBezTo>
                    <a:pt x="587" y="221"/>
                    <a:pt x="579" y="255"/>
                    <a:pt x="570" y="247"/>
                  </a:cubicBezTo>
                  <a:cubicBezTo>
                    <a:pt x="562" y="238"/>
                    <a:pt x="596" y="213"/>
                    <a:pt x="587" y="204"/>
                  </a:cubicBezTo>
                  <a:cubicBezTo>
                    <a:pt x="579" y="187"/>
                    <a:pt x="570" y="204"/>
                    <a:pt x="553" y="230"/>
                  </a:cubicBezTo>
                  <a:cubicBezTo>
                    <a:pt x="536" y="247"/>
                    <a:pt x="511" y="247"/>
                    <a:pt x="519" y="255"/>
                  </a:cubicBezTo>
                  <a:cubicBezTo>
                    <a:pt x="528" y="264"/>
                    <a:pt x="502" y="273"/>
                    <a:pt x="494" y="289"/>
                  </a:cubicBezTo>
                  <a:cubicBezTo>
                    <a:pt x="494" y="298"/>
                    <a:pt x="460" y="307"/>
                    <a:pt x="434" y="324"/>
                  </a:cubicBezTo>
                  <a:cubicBezTo>
                    <a:pt x="408" y="341"/>
                    <a:pt x="434" y="341"/>
                    <a:pt x="451" y="324"/>
                  </a:cubicBezTo>
                  <a:cubicBezTo>
                    <a:pt x="460" y="307"/>
                    <a:pt x="468" y="324"/>
                    <a:pt x="494" y="307"/>
                  </a:cubicBezTo>
                  <a:cubicBezTo>
                    <a:pt x="511" y="289"/>
                    <a:pt x="536" y="281"/>
                    <a:pt x="545" y="281"/>
                  </a:cubicBezTo>
                  <a:cubicBezTo>
                    <a:pt x="545" y="289"/>
                    <a:pt x="562" y="298"/>
                    <a:pt x="570" y="281"/>
                  </a:cubicBezTo>
                  <a:cubicBezTo>
                    <a:pt x="579" y="264"/>
                    <a:pt x="596" y="264"/>
                    <a:pt x="604" y="281"/>
                  </a:cubicBezTo>
                  <a:cubicBezTo>
                    <a:pt x="613" y="289"/>
                    <a:pt x="587" y="298"/>
                    <a:pt x="604" y="307"/>
                  </a:cubicBezTo>
                  <a:cubicBezTo>
                    <a:pt x="613" y="324"/>
                    <a:pt x="587" y="332"/>
                    <a:pt x="587" y="315"/>
                  </a:cubicBezTo>
                  <a:cubicBezTo>
                    <a:pt x="587" y="307"/>
                    <a:pt x="570" y="298"/>
                    <a:pt x="562" y="307"/>
                  </a:cubicBezTo>
                  <a:cubicBezTo>
                    <a:pt x="562" y="315"/>
                    <a:pt x="553" y="332"/>
                    <a:pt x="536" y="332"/>
                  </a:cubicBezTo>
                  <a:cubicBezTo>
                    <a:pt x="528" y="332"/>
                    <a:pt x="519" y="349"/>
                    <a:pt x="519" y="375"/>
                  </a:cubicBezTo>
                  <a:cubicBezTo>
                    <a:pt x="519" y="392"/>
                    <a:pt x="502" y="375"/>
                    <a:pt x="502" y="392"/>
                  </a:cubicBezTo>
                  <a:cubicBezTo>
                    <a:pt x="494" y="409"/>
                    <a:pt x="477" y="434"/>
                    <a:pt x="451" y="460"/>
                  </a:cubicBezTo>
                  <a:cubicBezTo>
                    <a:pt x="426" y="486"/>
                    <a:pt x="451" y="486"/>
                    <a:pt x="442" y="503"/>
                  </a:cubicBezTo>
                  <a:cubicBezTo>
                    <a:pt x="434" y="520"/>
                    <a:pt x="408" y="503"/>
                    <a:pt x="400" y="511"/>
                  </a:cubicBezTo>
                  <a:cubicBezTo>
                    <a:pt x="391" y="520"/>
                    <a:pt x="408" y="554"/>
                    <a:pt x="391" y="562"/>
                  </a:cubicBezTo>
                  <a:cubicBezTo>
                    <a:pt x="383" y="571"/>
                    <a:pt x="391" y="588"/>
                    <a:pt x="391" y="605"/>
                  </a:cubicBezTo>
                  <a:cubicBezTo>
                    <a:pt x="391" y="613"/>
                    <a:pt x="366" y="596"/>
                    <a:pt x="357" y="605"/>
                  </a:cubicBezTo>
                  <a:cubicBezTo>
                    <a:pt x="357" y="622"/>
                    <a:pt x="332" y="613"/>
                    <a:pt x="323" y="622"/>
                  </a:cubicBezTo>
                  <a:cubicBezTo>
                    <a:pt x="315" y="622"/>
                    <a:pt x="340" y="639"/>
                    <a:pt x="357" y="656"/>
                  </a:cubicBezTo>
                  <a:cubicBezTo>
                    <a:pt x="366" y="664"/>
                    <a:pt x="340" y="673"/>
                    <a:pt x="340" y="664"/>
                  </a:cubicBezTo>
                  <a:cubicBezTo>
                    <a:pt x="332" y="656"/>
                    <a:pt x="332" y="656"/>
                    <a:pt x="315" y="664"/>
                  </a:cubicBezTo>
                  <a:cubicBezTo>
                    <a:pt x="315" y="673"/>
                    <a:pt x="315" y="673"/>
                    <a:pt x="315" y="682"/>
                  </a:cubicBezTo>
                  <a:cubicBezTo>
                    <a:pt x="290" y="733"/>
                    <a:pt x="256" y="767"/>
                    <a:pt x="196" y="792"/>
                  </a:cubicBezTo>
                  <a:cubicBezTo>
                    <a:pt x="188" y="801"/>
                    <a:pt x="171" y="801"/>
                    <a:pt x="162" y="792"/>
                  </a:cubicBezTo>
                  <a:cubicBezTo>
                    <a:pt x="154" y="801"/>
                    <a:pt x="145" y="801"/>
                    <a:pt x="145" y="801"/>
                  </a:cubicBezTo>
                  <a:cubicBezTo>
                    <a:pt x="137" y="801"/>
                    <a:pt x="137" y="810"/>
                    <a:pt x="128" y="818"/>
                  </a:cubicBezTo>
                  <a:lnTo>
                    <a:pt x="128" y="818"/>
                  </a:lnTo>
                  <a:cubicBezTo>
                    <a:pt x="137" y="826"/>
                    <a:pt x="145" y="826"/>
                    <a:pt x="145" y="826"/>
                  </a:cubicBezTo>
                  <a:cubicBezTo>
                    <a:pt x="145" y="835"/>
                    <a:pt x="137" y="835"/>
                    <a:pt x="128" y="835"/>
                  </a:cubicBezTo>
                  <a:cubicBezTo>
                    <a:pt x="128" y="844"/>
                    <a:pt x="120" y="861"/>
                    <a:pt x="111" y="869"/>
                  </a:cubicBezTo>
                  <a:cubicBezTo>
                    <a:pt x="94" y="886"/>
                    <a:pt x="68" y="895"/>
                    <a:pt x="43" y="903"/>
                  </a:cubicBezTo>
                  <a:cubicBezTo>
                    <a:pt x="51" y="912"/>
                    <a:pt x="60" y="929"/>
                    <a:pt x="51" y="946"/>
                  </a:cubicBezTo>
                  <a:cubicBezTo>
                    <a:pt x="43" y="963"/>
                    <a:pt x="43" y="988"/>
                    <a:pt x="26" y="1005"/>
                  </a:cubicBezTo>
                  <a:cubicBezTo>
                    <a:pt x="26" y="1014"/>
                    <a:pt x="17" y="1014"/>
                    <a:pt x="9" y="1023"/>
                  </a:cubicBezTo>
                  <a:cubicBezTo>
                    <a:pt x="9" y="1023"/>
                    <a:pt x="0" y="1031"/>
                    <a:pt x="9" y="1039"/>
                  </a:cubicBezTo>
                  <a:cubicBezTo>
                    <a:pt x="26" y="1057"/>
                    <a:pt x="34" y="1039"/>
                    <a:pt x="34" y="1048"/>
                  </a:cubicBezTo>
                  <a:cubicBezTo>
                    <a:pt x="43" y="1065"/>
                    <a:pt x="60" y="1048"/>
                    <a:pt x="77" y="1031"/>
                  </a:cubicBezTo>
                  <a:cubicBezTo>
                    <a:pt x="94" y="1014"/>
                    <a:pt x="102" y="1057"/>
                    <a:pt x="86" y="1057"/>
                  </a:cubicBezTo>
                  <a:cubicBezTo>
                    <a:pt x="68" y="1048"/>
                    <a:pt x="51" y="1065"/>
                    <a:pt x="60" y="1074"/>
                  </a:cubicBezTo>
                  <a:cubicBezTo>
                    <a:pt x="60" y="1091"/>
                    <a:pt x="34" y="1091"/>
                    <a:pt x="34" y="1074"/>
                  </a:cubicBezTo>
                  <a:cubicBezTo>
                    <a:pt x="34" y="1048"/>
                    <a:pt x="9" y="1074"/>
                    <a:pt x="17" y="1091"/>
                  </a:cubicBezTo>
                  <a:cubicBezTo>
                    <a:pt x="26" y="1099"/>
                    <a:pt x="17" y="1108"/>
                    <a:pt x="17" y="1125"/>
                  </a:cubicBezTo>
                  <a:cubicBezTo>
                    <a:pt x="17" y="1133"/>
                    <a:pt x="34" y="1133"/>
                    <a:pt x="43" y="1116"/>
                  </a:cubicBezTo>
                  <a:cubicBezTo>
                    <a:pt x="51" y="1099"/>
                    <a:pt x="68" y="1108"/>
                    <a:pt x="68" y="1116"/>
                  </a:cubicBezTo>
                  <a:cubicBezTo>
                    <a:pt x="77" y="1133"/>
                    <a:pt x="60" y="1125"/>
                    <a:pt x="60" y="1142"/>
                  </a:cubicBezTo>
                  <a:cubicBezTo>
                    <a:pt x="60" y="1159"/>
                    <a:pt x="51" y="1150"/>
                    <a:pt x="43" y="1159"/>
                  </a:cubicBezTo>
                  <a:lnTo>
                    <a:pt x="51" y="1167"/>
                  </a:lnTo>
                  <a:lnTo>
                    <a:pt x="51" y="1167"/>
                  </a:lnTo>
                  <a:cubicBezTo>
                    <a:pt x="51" y="1159"/>
                    <a:pt x="51" y="1167"/>
                    <a:pt x="51" y="1167"/>
                  </a:cubicBezTo>
                  <a:cubicBezTo>
                    <a:pt x="60" y="1176"/>
                    <a:pt x="60" y="1176"/>
                    <a:pt x="68" y="1176"/>
                  </a:cubicBezTo>
                  <a:cubicBezTo>
                    <a:pt x="86" y="1185"/>
                    <a:pt x="94" y="1193"/>
                    <a:pt x="102" y="1201"/>
                  </a:cubicBezTo>
                  <a:cubicBezTo>
                    <a:pt x="111" y="1210"/>
                    <a:pt x="111" y="1210"/>
                    <a:pt x="120" y="1219"/>
                  </a:cubicBezTo>
                  <a:cubicBezTo>
                    <a:pt x="128" y="1227"/>
                    <a:pt x="137" y="1227"/>
                    <a:pt x="154" y="1227"/>
                  </a:cubicBezTo>
                  <a:cubicBezTo>
                    <a:pt x="188" y="1219"/>
                    <a:pt x="247" y="1159"/>
                    <a:pt x="256" y="1150"/>
                  </a:cubicBezTo>
                  <a:cubicBezTo>
                    <a:pt x="256" y="1133"/>
                    <a:pt x="273" y="1150"/>
                    <a:pt x="290" y="1142"/>
                  </a:cubicBezTo>
                  <a:cubicBezTo>
                    <a:pt x="299" y="1125"/>
                    <a:pt x="290" y="1099"/>
                    <a:pt x="299" y="1099"/>
                  </a:cubicBezTo>
                  <a:cubicBezTo>
                    <a:pt x="307" y="1091"/>
                    <a:pt x="315" y="1125"/>
                    <a:pt x="323" y="1125"/>
                  </a:cubicBezTo>
                  <a:cubicBezTo>
                    <a:pt x="332" y="1133"/>
                    <a:pt x="332" y="1133"/>
                    <a:pt x="332" y="1150"/>
                  </a:cubicBezTo>
                  <a:cubicBezTo>
                    <a:pt x="340" y="1150"/>
                    <a:pt x="349" y="1150"/>
                    <a:pt x="349" y="1159"/>
                  </a:cubicBezTo>
                  <a:cubicBezTo>
                    <a:pt x="357" y="1167"/>
                    <a:pt x="366" y="1133"/>
                    <a:pt x="366" y="1116"/>
                  </a:cubicBezTo>
                  <a:cubicBezTo>
                    <a:pt x="366" y="1108"/>
                    <a:pt x="374" y="1082"/>
                    <a:pt x="374" y="1074"/>
                  </a:cubicBezTo>
                  <a:cubicBezTo>
                    <a:pt x="366" y="1057"/>
                    <a:pt x="400" y="1074"/>
                    <a:pt x="408" y="1057"/>
                  </a:cubicBezTo>
                  <a:cubicBezTo>
                    <a:pt x="408" y="1048"/>
                    <a:pt x="417" y="1014"/>
                    <a:pt x="400" y="1005"/>
                  </a:cubicBezTo>
                  <a:cubicBezTo>
                    <a:pt x="391" y="997"/>
                    <a:pt x="391" y="980"/>
                    <a:pt x="400" y="980"/>
                  </a:cubicBezTo>
                  <a:cubicBezTo>
                    <a:pt x="408" y="980"/>
                    <a:pt x="426" y="971"/>
                    <a:pt x="417" y="946"/>
                  </a:cubicBezTo>
                  <a:cubicBezTo>
                    <a:pt x="417" y="929"/>
                    <a:pt x="391" y="929"/>
                    <a:pt x="383" y="912"/>
                  </a:cubicBezTo>
                  <a:cubicBezTo>
                    <a:pt x="383" y="886"/>
                    <a:pt x="400" y="878"/>
                    <a:pt x="391" y="852"/>
                  </a:cubicBezTo>
                  <a:cubicBezTo>
                    <a:pt x="374" y="826"/>
                    <a:pt x="391" y="810"/>
                    <a:pt x="391" y="801"/>
                  </a:cubicBezTo>
                  <a:cubicBezTo>
                    <a:pt x="383" y="784"/>
                    <a:pt x="374" y="767"/>
                    <a:pt x="391" y="741"/>
                  </a:cubicBezTo>
                  <a:cubicBezTo>
                    <a:pt x="408" y="716"/>
                    <a:pt x="434" y="699"/>
                    <a:pt x="442" y="699"/>
                  </a:cubicBezTo>
                  <a:cubicBezTo>
                    <a:pt x="460" y="707"/>
                    <a:pt x="477" y="716"/>
                    <a:pt x="485" y="699"/>
                  </a:cubicBezTo>
                  <a:cubicBezTo>
                    <a:pt x="485" y="682"/>
                    <a:pt x="485" y="673"/>
                    <a:pt x="485" y="664"/>
                  </a:cubicBezTo>
                  <a:cubicBezTo>
                    <a:pt x="477" y="664"/>
                    <a:pt x="451" y="656"/>
                    <a:pt x="468" y="639"/>
                  </a:cubicBezTo>
                  <a:cubicBezTo>
                    <a:pt x="485" y="613"/>
                    <a:pt x="502" y="588"/>
                    <a:pt x="502" y="562"/>
                  </a:cubicBezTo>
                  <a:cubicBezTo>
                    <a:pt x="502" y="537"/>
                    <a:pt x="502" y="520"/>
                    <a:pt x="502" y="511"/>
                  </a:cubicBezTo>
                  <a:cubicBezTo>
                    <a:pt x="511" y="503"/>
                    <a:pt x="528" y="511"/>
                    <a:pt x="545" y="503"/>
                  </a:cubicBezTo>
                  <a:cubicBezTo>
                    <a:pt x="562" y="494"/>
                    <a:pt x="545" y="477"/>
                    <a:pt x="553" y="469"/>
                  </a:cubicBezTo>
                  <a:cubicBezTo>
                    <a:pt x="562" y="460"/>
                    <a:pt x="570" y="434"/>
                    <a:pt x="587" y="426"/>
                  </a:cubicBezTo>
                  <a:cubicBezTo>
                    <a:pt x="596" y="417"/>
                    <a:pt x="604" y="409"/>
                    <a:pt x="596" y="400"/>
                  </a:cubicBezTo>
                  <a:cubicBezTo>
                    <a:pt x="587" y="383"/>
                    <a:pt x="613" y="375"/>
                    <a:pt x="613" y="358"/>
                  </a:cubicBezTo>
                  <a:cubicBezTo>
                    <a:pt x="613" y="341"/>
                    <a:pt x="639" y="324"/>
                    <a:pt x="655" y="324"/>
                  </a:cubicBezTo>
                  <a:cubicBezTo>
                    <a:pt x="664" y="324"/>
                    <a:pt x="690" y="324"/>
                    <a:pt x="690" y="307"/>
                  </a:cubicBezTo>
                  <a:cubicBezTo>
                    <a:pt x="690" y="289"/>
                    <a:pt x="681" y="255"/>
                    <a:pt x="707" y="264"/>
                  </a:cubicBezTo>
                  <a:cubicBezTo>
                    <a:pt x="724" y="281"/>
                    <a:pt x="741" y="264"/>
                    <a:pt x="758" y="281"/>
                  </a:cubicBezTo>
                  <a:cubicBezTo>
                    <a:pt x="775" y="289"/>
                    <a:pt x="792" y="289"/>
                    <a:pt x="792" y="264"/>
                  </a:cubicBezTo>
                  <a:cubicBezTo>
                    <a:pt x="792" y="247"/>
                    <a:pt x="801" y="213"/>
                    <a:pt x="826" y="221"/>
                  </a:cubicBezTo>
                  <a:lnTo>
                    <a:pt x="826" y="230"/>
                  </a:lnTo>
                  <a:cubicBezTo>
                    <a:pt x="835" y="213"/>
                    <a:pt x="852" y="196"/>
                    <a:pt x="860" y="196"/>
                  </a:cubicBezTo>
                  <a:cubicBezTo>
                    <a:pt x="886" y="204"/>
                    <a:pt x="894" y="238"/>
                    <a:pt x="920" y="247"/>
                  </a:cubicBezTo>
                  <a:cubicBezTo>
                    <a:pt x="945" y="247"/>
                    <a:pt x="971" y="264"/>
                    <a:pt x="980" y="247"/>
                  </a:cubicBezTo>
                  <a:cubicBezTo>
                    <a:pt x="988" y="238"/>
                    <a:pt x="1005" y="255"/>
                    <a:pt x="1022" y="247"/>
                  </a:cubicBezTo>
                  <a:cubicBezTo>
                    <a:pt x="1031" y="247"/>
                    <a:pt x="1031" y="281"/>
                    <a:pt x="1048" y="255"/>
                  </a:cubicBezTo>
                  <a:cubicBezTo>
                    <a:pt x="1065" y="238"/>
                    <a:pt x="1048" y="221"/>
                    <a:pt x="1073" y="230"/>
                  </a:cubicBezTo>
                  <a:cubicBezTo>
                    <a:pt x="1099" y="230"/>
                    <a:pt x="1082" y="196"/>
                    <a:pt x="1082" y="179"/>
                  </a:cubicBezTo>
                  <a:cubicBezTo>
                    <a:pt x="1082" y="162"/>
                    <a:pt x="1116" y="153"/>
                    <a:pt x="1116" y="136"/>
                  </a:cubicBezTo>
                  <a:cubicBezTo>
                    <a:pt x="1116" y="128"/>
                    <a:pt x="1158" y="136"/>
                    <a:pt x="1167" y="128"/>
                  </a:cubicBezTo>
                  <a:cubicBezTo>
                    <a:pt x="1176" y="119"/>
                    <a:pt x="1201" y="110"/>
                    <a:pt x="1210" y="128"/>
                  </a:cubicBezTo>
                  <a:cubicBezTo>
                    <a:pt x="1218" y="145"/>
                    <a:pt x="1261" y="153"/>
                    <a:pt x="1269" y="170"/>
                  </a:cubicBezTo>
                  <a:cubicBezTo>
                    <a:pt x="1269" y="179"/>
                    <a:pt x="1269" y="187"/>
                    <a:pt x="1269" y="196"/>
                  </a:cubicBezTo>
                  <a:cubicBezTo>
                    <a:pt x="1269" y="187"/>
                    <a:pt x="1278" y="187"/>
                    <a:pt x="1286" y="187"/>
                  </a:cubicBezTo>
                  <a:cubicBezTo>
                    <a:pt x="1303" y="187"/>
                    <a:pt x="1320" y="162"/>
                    <a:pt x="1329" y="162"/>
                  </a:cubicBezTo>
                  <a:cubicBezTo>
                    <a:pt x="1346" y="170"/>
                    <a:pt x="1355" y="162"/>
                    <a:pt x="1363" y="145"/>
                  </a:cubicBezTo>
                  <a:cubicBezTo>
                    <a:pt x="1346" y="136"/>
                    <a:pt x="1320" y="136"/>
                    <a:pt x="1320" y="145"/>
                  </a:cubicBezTo>
                </a:path>
              </a:pathLst>
            </a:custGeom>
            <a:grpFill/>
            <a:ln w="9525">
              <a:solidFill>
                <a:schemeClr val="bg1"/>
              </a:solid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Helvetica"/>
                <a:ea typeface="+mn-ea"/>
                <a:cs typeface="+mn-cs"/>
              </a:endParaRPr>
            </a:p>
          </p:txBody>
        </p:sp>
      </p:grpSp>
      <p:sp>
        <p:nvSpPr>
          <p:cNvPr id="75" name="Oval 74">
            <a:extLst>
              <a:ext uri="{FF2B5EF4-FFF2-40B4-BE49-F238E27FC236}">
                <a16:creationId xmlns:a16="http://schemas.microsoft.com/office/drawing/2014/main" id="{8945CCD8-402A-C121-C232-B1750A2445C3}"/>
              </a:ext>
            </a:extLst>
          </p:cNvPr>
          <p:cNvSpPr/>
          <p:nvPr/>
        </p:nvSpPr>
        <p:spPr>
          <a:xfrm>
            <a:off x="8075612" y="3703927"/>
            <a:ext cx="2407121" cy="2407121"/>
          </a:xfrm>
          <a:prstGeom prst="ellipse">
            <a:avLst/>
          </a:prstGeom>
          <a:solidFill>
            <a:schemeClr val="bg1"/>
          </a:solidFill>
          <a:ln>
            <a:noFill/>
          </a:ln>
          <a:effectLst>
            <a:outerShdw blurRad="185707"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pic>
        <p:nvPicPr>
          <p:cNvPr id="77" name="Picture 76">
            <a:extLst>
              <a:ext uri="{FF2B5EF4-FFF2-40B4-BE49-F238E27FC236}">
                <a16:creationId xmlns:a16="http://schemas.microsoft.com/office/drawing/2014/main" id="{6A975368-1B79-EEA4-F543-9D81CB1680A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662751" y="4490658"/>
            <a:ext cx="1251878" cy="352091"/>
          </a:xfrm>
          <a:prstGeom prst="rect">
            <a:avLst/>
          </a:prstGeom>
        </p:spPr>
      </p:pic>
      <p:pic>
        <p:nvPicPr>
          <p:cNvPr id="79" name="Picture 78">
            <a:extLst>
              <a:ext uri="{FF2B5EF4-FFF2-40B4-BE49-F238E27FC236}">
                <a16:creationId xmlns:a16="http://schemas.microsoft.com/office/drawing/2014/main" id="{F7A14E80-4249-65B4-AC43-07808CE9C35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524389" y="4066654"/>
            <a:ext cx="1528602" cy="289000"/>
          </a:xfrm>
          <a:prstGeom prst="rect">
            <a:avLst/>
          </a:prstGeom>
        </p:spPr>
      </p:pic>
      <p:pic>
        <p:nvPicPr>
          <p:cNvPr id="82" name="Picture 81">
            <a:extLst>
              <a:ext uri="{FF2B5EF4-FFF2-40B4-BE49-F238E27FC236}">
                <a16:creationId xmlns:a16="http://schemas.microsoft.com/office/drawing/2014/main" id="{C8220DCD-B82A-EBE4-55AC-E553513C907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707696" y="5016833"/>
            <a:ext cx="1161989" cy="344966"/>
          </a:xfrm>
          <a:prstGeom prst="rect">
            <a:avLst/>
          </a:prstGeom>
        </p:spPr>
      </p:pic>
      <p:pic>
        <p:nvPicPr>
          <p:cNvPr id="83" name="Picture 82">
            <a:extLst>
              <a:ext uri="{FF2B5EF4-FFF2-40B4-BE49-F238E27FC236}">
                <a16:creationId xmlns:a16="http://schemas.microsoft.com/office/drawing/2014/main" id="{79260FAA-67DD-CA01-71D1-67CE17990C9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919221" y="5509430"/>
            <a:ext cx="738939" cy="415656"/>
          </a:xfrm>
          <a:prstGeom prst="rect">
            <a:avLst/>
          </a:prstGeom>
        </p:spPr>
      </p:pic>
      <p:pic>
        <p:nvPicPr>
          <p:cNvPr id="86" name="Picture 85">
            <a:extLst>
              <a:ext uri="{FF2B5EF4-FFF2-40B4-BE49-F238E27FC236}">
                <a16:creationId xmlns:a16="http://schemas.microsoft.com/office/drawing/2014/main" id="{4F8A1E8F-71E9-2E13-72C4-43D4E467EDDA}"/>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863360" y="4440284"/>
            <a:ext cx="992764" cy="607338"/>
          </a:xfrm>
          <a:prstGeom prst="rect">
            <a:avLst/>
          </a:prstGeom>
        </p:spPr>
      </p:pic>
      <p:sp>
        <p:nvSpPr>
          <p:cNvPr id="2" name="Title 1">
            <a:extLst>
              <a:ext uri="{FF2B5EF4-FFF2-40B4-BE49-F238E27FC236}">
                <a16:creationId xmlns:a16="http://schemas.microsoft.com/office/drawing/2014/main" id="{991BC5B6-AB97-32E9-7699-9CA34CB0629F}"/>
              </a:ext>
            </a:extLst>
          </p:cNvPr>
          <p:cNvSpPr>
            <a:spLocks noGrp="1"/>
          </p:cNvSpPr>
          <p:nvPr>
            <p:ph type="title"/>
          </p:nvPr>
        </p:nvSpPr>
        <p:spPr>
          <a:xfrm>
            <a:off x="741777" y="365126"/>
            <a:ext cx="10671895" cy="1247672"/>
          </a:xfrm>
        </p:spPr>
        <p:txBody>
          <a:bodyPr vert="horz">
            <a:normAutofit/>
          </a:bodyPr>
          <a:lstStyle/>
          <a:p>
            <a:r>
              <a:rPr lang="en-US">
                <a:latin typeface="Helvetica Light" panose="020B0403020202020204" pitchFamily="34" charset="0"/>
              </a:rPr>
              <a:t>UK trends continue to drive opportunities </a:t>
            </a:r>
          </a:p>
        </p:txBody>
      </p:sp>
      <p:grpSp>
        <p:nvGrpSpPr>
          <p:cNvPr id="10" name="Group 9">
            <a:extLst>
              <a:ext uri="{FF2B5EF4-FFF2-40B4-BE49-F238E27FC236}">
                <a16:creationId xmlns:a16="http://schemas.microsoft.com/office/drawing/2014/main" id="{041CED43-CD3F-0D5F-DFD6-0402A726467F}"/>
              </a:ext>
            </a:extLst>
          </p:cNvPr>
          <p:cNvGrpSpPr/>
          <p:nvPr/>
        </p:nvGrpSpPr>
        <p:grpSpPr>
          <a:xfrm>
            <a:off x="839789" y="1315169"/>
            <a:ext cx="4061263" cy="4543895"/>
            <a:chOff x="6815333" y="1219200"/>
            <a:chExt cx="4061263" cy="4543895"/>
          </a:xfrm>
        </p:grpSpPr>
        <p:sp>
          <p:nvSpPr>
            <p:cNvPr id="6" name="Rectangle 5">
              <a:extLst>
                <a:ext uri="{FF2B5EF4-FFF2-40B4-BE49-F238E27FC236}">
                  <a16:creationId xmlns:a16="http://schemas.microsoft.com/office/drawing/2014/main" id="{4AF8C70C-A701-01A5-370D-8744F9A03F91}"/>
                </a:ext>
              </a:extLst>
            </p:cNvPr>
            <p:cNvSpPr/>
            <p:nvPr/>
          </p:nvSpPr>
          <p:spPr>
            <a:xfrm>
              <a:off x="6815333" y="1241159"/>
              <a:ext cx="4056720" cy="4521936"/>
            </a:xfrm>
            <a:prstGeom prst="rect">
              <a:avLst/>
            </a:prstGeom>
            <a:solidFill>
              <a:srgbClr val="EF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cxnSp>
          <p:nvCxnSpPr>
            <p:cNvPr id="7" name="Straight Arrow Connector 6">
              <a:extLst>
                <a:ext uri="{FF2B5EF4-FFF2-40B4-BE49-F238E27FC236}">
                  <a16:creationId xmlns:a16="http://schemas.microsoft.com/office/drawing/2014/main" id="{54AB2F86-3A90-2FB6-A1AE-E8E713551BC4}"/>
                </a:ext>
              </a:extLst>
            </p:cNvPr>
            <p:cNvCxnSpPr>
              <a:cxnSpLocks/>
            </p:cNvCxnSpPr>
            <p:nvPr/>
          </p:nvCxnSpPr>
          <p:spPr>
            <a:xfrm>
              <a:off x="6815333" y="1219200"/>
              <a:ext cx="4056720" cy="0"/>
            </a:xfrm>
            <a:prstGeom prst="straightConnector1">
              <a:avLst/>
            </a:prstGeom>
            <a:ln w="19050">
              <a:solidFill>
                <a:schemeClr val="accent2"/>
              </a:solidFill>
              <a:headEnd type="none"/>
              <a:tailEnd type="none"/>
            </a:ln>
          </p:spPr>
          <p:style>
            <a:lnRef idx="3">
              <a:schemeClr val="accent1"/>
            </a:lnRef>
            <a:fillRef idx="0">
              <a:schemeClr val="accent1"/>
            </a:fillRef>
            <a:effectRef idx="2">
              <a:schemeClr val="accent1"/>
            </a:effectRef>
            <a:fontRef idx="minor">
              <a:schemeClr val="tx1"/>
            </a:fontRef>
          </p:style>
        </p:cxnSp>
        <p:cxnSp>
          <p:nvCxnSpPr>
            <p:cNvPr id="36" name="Straight Arrow Connector 35">
              <a:extLst>
                <a:ext uri="{FF2B5EF4-FFF2-40B4-BE49-F238E27FC236}">
                  <a16:creationId xmlns:a16="http://schemas.microsoft.com/office/drawing/2014/main" id="{66D3AD97-53F6-29F1-F491-C425C8C7D6C1}"/>
                </a:ext>
              </a:extLst>
            </p:cNvPr>
            <p:cNvCxnSpPr>
              <a:cxnSpLocks/>
            </p:cNvCxnSpPr>
            <p:nvPr/>
          </p:nvCxnSpPr>
          <p:spPr>
            <a:xfrm>
              <a:off x="6815333" y="4793096"/>
              <a:ext cx="4056720" cy="0"/>
            </a:xfrm>
            <a:prstGeom prst="straightConnector1">
              <a:avLst/>
            </a:prstGeom>
            <a:ln w="19050">
              <a:solidFill>
                <a:schemeClr val="accent2"/>
              </a:solidFill>
              <a:headEnd type="none"/>
              <a:tailEnd type="none"/>
            </a:ln>
          </p:spPr>
          <p:style>
            <a:lnRef idx="3">
              <a:schemeClr val="accent1"/>
            </a:lnRef>
            <a:fillRef idx="0">
              <a:schemeClr val="accent1"/>
            </a:fillRef>
            <a:effectRef idx="2">
              <a:schemeClr val="accent1"/>
            </a:effectRef>
            <a:fontRef idx="minor">
              <a:schemeClr val="tx1"/>
            </a:fontRef>
          </p:style>
        </p:cxnSp>
        <p:sp>
          <p:nvSpPr>
            <p:cNvPr id="38" name="Text Placeholder 3">
              <a:extLst>
                <a:ext uri="{FF2B5EF4-FFF2-40B4-BE49-F238E27FC236}">
                  <a16:creationId xmlns:a16="http://schemas.microsoft.com/office/drawing/2014/main" id="{370E9603-0C36-313F-8A74-86AF46EF1D1A}"/>
                </a:ext>
              </a:extLst>
            </p:cNvPr>
            <p:cNvSpPr txBox="1">
              <a:spLocks/>
            </p:cNvSpPr>
            <p:nvPr/>
          </p:nvSpPr>
          <p:spPr>
            <a:xfrm>
              <a:off x="7134965" y="1394134"/>
              <a:ext cx="3620122" cy="1852806"/>
            </a:xfrm>
            <a:prstGeom prst="rect">
              <a:avLst/>
            </a:prstGeom>
          </p:spPr>
          <p:txBody>
            <a:bodyPr lIns="91440" tIns="45720" rIns="91440" bIns="45720"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800" b="1" i="0" u="none" strike="noStrike" kern="1200" cap="none" spc="0" normalizeH="0" baseline="0" noProof="0">
                  <a:ln>
                    <a:noFill/>
                  </a:ln>
                  <a:solidFill>
                    <a:srgbClr val="1E1E50"/>
                  </a:solidFill>
                  <a:effectLst/>
                  <a:uLnTx/>
                  <a:uFillTx/>
                  <a:latin typeface="Helvetica"/>
                  <a:ea typeface="+mn-ea"/>
                  <a:cs typeface="Helvetica"/>
                </a:rPr>
                <a:t>UK facing challenges,</a:t>
              </a:r>
              <a:br>
                <a:rPr kumimoji="0" lang="en-GB" sz="1800" b="1" i="0" u="none" strike="noStrike" kern="1200" cap="none" spc="0" normalizeH="0" baseline="0" noProof="0">
                  <a:ln>
                    <a:noFill/>
                  </a:ln>
                  <a:solidFill>
                    <a:srgbClr val="1E1E50"/>
                  </a:solidFill>
                  <a:effectLst/>
                  <a:uLnTx/>
                  <a:uFillTx/>
                  <a:latin typeface="Helvetica" pitchFamily="2" charset="0"/>
                  <a:ea typeface="+mn-ea"/>
                  <a:cs typeface="+mn-cs"/>
                </a:rPr>
              </a:br>
              <a:r>
                <a:rPr kumimoji="0" lang="en-GB" sz="1800" b="1" i="0" u="none" strike="noStrike" kern="1200" cap="none" spc="0" normalizeH="0" baseline="0" noProof="0">
                  <a:ln>
                    <a:noFill/>
                  </a:ln>
                  <a:solidFill>
                    <a:srgbClr val="1E1E50"/>
                  </a:solidFill>
                  <a:effectLst/>
                  <a:uLnTx/>
                  <a:uFillTx/>
                  <a:latin typeface="Helvetica"/>
                  <a:ea typeface="+mn-ea"/>
                  <a:cs typeface="Helvetica"/>
                </a:rPr>
                <a:t>some already overcome by Scandinavian retailers: </a:t>
              </a:r>
              <a:endParaRPr kumimoji="0" lang="en-GB" sz="1800" b="1" i="0" u="none" strike="noStrike" kern="1200" cap="none" spc="0" normalizeH="0" baseline="0" noProof="0">
                <a:ln>
                  <a:noFill/>
                </a:ln>
                <a:solidFill>
                  <a:srgbClr val="1E1E50"/>
                </a:solidFill>
                <a:effectLst/>
                <a:uLnTx/>
                <a:uFillTx/>
                <a:latin typeface="Helvetica" pitchFamily="2" charset="0"/>
                <a:ea typeface="+mn-ea"/>
                <a:cs typeface="+mn-cs"/>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GB" b="1" i="0" u="none" strike="noStrike" kern="1200" cap="none" spc="0" normalizeH="0" baseline="0" noProof="0">
                <a:ln>
                  <a:noFill/>
                </a:ln>
                <a:solidFill>
                  <a:srgbClr val="1E1E50"/>
                </a:solidFill>
                <a:effectLst/>
                <a:uLnTx/>
                <a:uFillTx/>
                <a:latin typeface="Helvetica" pitchFamily="2" charset="0"/>
                <a:ea typeface="+mn-ea"/>
                <a:cs typeface="+mn-cs"/>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1E1E50"/>
                  </a:solidFill>
                  <a:effectLst/>
                  <a:uLnTx/>
                  <a:uFillTx/>
                  <a:latin typeface="Helvetica Light"/>
                  <a:ea typeface="+mn-ea"/>
                  <a:cs typeface="+mn-cs"/>
                </a:rPr>
                <a:t>Labour costs increasing </a:t>
              </a:r>
              <a:endParaRPr kumimoji="0" lang="en-GB" sz="1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1E1E50"/>
                  </a:solidFill>
                  <a:effectLst/>
                  <a:uLnTx/>
                  <a:uFillTx/>
                  <a:latin typeface="Helvetica Light"/>
                  <a:ea typeface="+mn-ea"/>
                  <a:cs typeface="+mn-cs"/>
                </a:rPr>
                <a:t>Labour scarcity </a:t>
              </a:r>
              <a:endParaRPr kumimoji="0" lang="en-GB" sz="1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1E1E50"/>
                  </a:solidFill>
                  <a:effectLst/>
                  <a:uLnTx/>
                  <a:uFillTx/>
                  <a:latin typeface="Helvetica Light"/>
                  <a:ea typeface="+mn-ea"/>
                  <a:cs typeface="+mn-cs"/>
                </a:rPr>
                <a:t>Inflation means frequent</a:t>
              </a:r>
              <a:br>
                <a:rPr kumimoji="0" lang="en-GB" sz="1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br>
              <a:r>
                <a:rPr kumimoji="0" lang="en-GB" sz="1800" b="0" i="0" u="none" strike="noStrike" kern="1200" cap="none" spc="0" normalizeH="0" baseline="0" noProof="0">
                  <a:ln>
                    <a:noFill/>
                  </a:ln>
                  <a:solidFill>
                    <a:srgbClr val="1E1E50"/>
                  </a:solidFill>
                  <a:effectLst/>
                  <a:uLnTx/>
                  <a:uFillTx/>
                  <a:latin typeface="Helvetica Light"/>
                  <a:ea typeface="+mn-ea"/>
                  <a:cs typeface="+mn-cs"/>
                </a:rPr>
                <a:t>price changes/promotion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1E1E50"/>
                  </a:solidFill>
                  <a:effectLst/>
                  <a:uLnTx/>
                  <a:uFillTx/>
                  <a:latin typeface="Helvetica Light"/>
                  <a:ea typeface="+mn-ea"/>
                  <a:cs typeface="+mn-cs"/>
                </a:rPr>
                <a:t>Rising theft and retail crime</a:t>
              </a:r>
              <a:endParaRPr kumimoji="0" lang="en-GB" sz="1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grpSp>
          <p:nvGrpSpPr>
            <p:cNvPr id="9" name="Group 8">
              <a:extLst>
                <a:ext uri="{FF2B5EF4-FFF2-40B4-BE49-F238E27FC236}">
                  <a16:creationId xmlns:a16="http://schemas.microsoft.com/office/drawing/2014/main" id="{B3837B25-F881-9638-C459-C2F744A075E8}"/>
                </a:ext>
              </a:extLst>
            </p:cNvPr>
            <p:cNvGrpSpPr/>
            <p:nvPr/>
          </p:nvGrpSpPr>
          <p:grpSpPr>
            <a:xfrm>
              <a:off x="8648228" y="4577628"/>
              <a:ext cx="390930" cy="403108"/>
              <a:chOff x="7668226" y="4675602"/>
              <a:chExt cx="390930" cy="403108"/>
            </a:xfrm>
          </p:grpSpPr>
          <p:sp>
            <p:nvSpPr>
              <p:cNvPr id="48" name="Oval 47">
                <a:extLst>
                  <a:ext uri="{FF2B5EF4-FFF2-40B4-BE49-F238E27FC236}">
                    <a16:creationId xmlns:a16="http://schemas.microsoft.com/office/drawing/2014/main" id="{4AC8E21B-18DA-0B98-7494-4CF03A8785B6}"/>
                  </a:ext>
                </a:extLst>
              </p:cNvPr>
              <p:cNvSpPr/>
              <p:nvPr/>
            </p:nvSpPr>
            <p:spPr bwMode="auto">
              <a:xfrm rot="21409266">
                <a:off x="7668227" y="4675602"/>
                <a:ext cx="390929" cy="390929"/>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B800"/>
                  </a:solidFill>
                  <a:effectLst/>
                  <a:uLnTx/>
                  <a:uFillTx/>
                  <a:latin typeface="Helvetica"/>
                  <a:ea typeface="+mn-ea"/>
                  <a:cs typeface="+mn-cs"/>
                </a:endParaRPr>
              </a:p>
            </p:txBody>
          </p:sp>
          <p:pic>
            <p:nvPicPr>
              <p:cNvPr id="49" name="Graphic 48">
                <a:extLst>
                  <a:ext uri="{FF2B5EF4-FFF2-40B4-BE49-F238E27FC236}">
                    <a16:creationId xmlns:a16="http://schemas.microsoft.com/office/drawing/2014/main" id="{FB2F6A71-09BD-8D83-F457-C3968E07AC56}"/>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rot="5400000">
                <a:off x="7668226" y="4687781"/>
                <a:ext cx="390929" cy="390929"/>
              </a:xfrm>
              <a:prstGeom prst="rect">
                <a:avLst/>
              </a:prstGeom>
            </p:spPr>
          </p:pic>
        </p:grpSp>
        <p:sp>
          <p:nvSpPr>
            <p:cNvPr id="37" name="Text Placeholder 3">
              <a:extLst>
                <a:ext uri="{FF2B5EF4-FFF2-40B4-BE49-F238E27FC236}">
                  <a16:creationId xmlns:a16="http://schemas.microsoft.com/office/drawing/2014/main" id="{928CDB21-0FEF-974B-6043-8F0FBE6C8FAC}"/>
                </a:ext>
              </a:extLst>
            </p:cNvPr>
            <p:cNvSpPr txBox="1">
              <a:spLocks/>
            </p:cNvSpPr>
            <p:nvPr/>
          </p:nvSpPr>
          <p:spPr>
            <a:xfrm>
              <a:off x="6819876" y="5182385"/>
              <a:ext cx="4056720" cy="412008"/>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800" b="1" i="0" u="none" strike="noStrike" kern="1200" cap="none" spc="0" normalizeH="0" baseline="0" noProof="0">
                  <a:ln>
                    <a:noFill/>
                  </a:ln>
                  <a:solidFill>
                    <a:srgbClr val="1E1E50"/>
                  </a:solidFill>
                  <a:effectLst/>
                  <a:uLnTx/>
                  <a:uFillTx/>
                  <a:latin typeface="Helvetica" pitchFamily="2" charset="0"/>
                  <a:ea typeface="+mn-ea"/>
                  <a:cs typeface="+mn-cs"/>
                </a:rPr>
                <a:t>Driving opportunities</a:t>
              </a:r>
              <a:endParaRPr kumimoji="0" lang="en-GB" sz="1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grpSp>
      <p:sp>
        <p:nvSpPr>
          <p:cNvPr id="89" name="Arc 88">
            <a:extLst>
              <a:ext uri="{FF2B5EF4-FFF2-40B4-BE49-F238E27FC236}">
                <a16:creationId xmlns:a16="http://schemas.microsoft.com/office/drawing/2014/main" id="{E3F2F024-6252-3195-A8FE-AA6BDCBE59B9}"/>
              </a:ext>
            </a:extLst>
          </p:cNvPr>
          <p:cNvSpPr/>
          <p:nvPr/>
        </p:nvSpPr>
        <p:spPr>
          <a:xfrm rot="1621688" flipH="1">
            <a:off x="7334652" y="3164172"/>
            <a:ext cx="4373227" cy="3820536"/>
          </a:xfrm>
          <a:prstGeom prst="arc">
            <a:avLst>
              <a:gd name="adj1" fmla="val 19936987"/>
              <a:gd name="adj2" fmla="val 390280"/>
            </a:avLst>
          </a:prstGeom>
          <a:ln w="12700">
            <a:solidFill>
              <a:schemeClr val="accent1"/>
            </a:solidFill>
            <a:headEnd type="none"/>
            <a:tailEnd type="arrow"/>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Tree>
    <p:extLst>
      <p:ext uri="{BB962C8B-B14F-4D97-AF65-F5344CB8AC3E}">
        <p14:creationId xmlns:p14="http://schemas.microsoft.com/office/powerpoint/2010/main" val="31744818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1A908BE-3FA4-2B03-9305-0E5DFBDC57F9}"/>
              </a:ext>
            </a:extLst>
          </p:cNvPr>
          <p:cNvGraphicFramePr>
            <a:graphicFrameLocks noChangeAspect="1"/>
          </p:cNvGraphicFramePr>
          <p:nvPr>
            <p:custDataLst>
              <p:tags r:id="rId1"/>
            </p:custDataLst>
            <p:extLst>
              <p:ext uri="{D42A27DB-BD31-4B8C-83A1-F6EECF244321}">
                <p14:modId xmlns:p14="http://schemas.microsoft.com/office/powerpoint/2010/main" val="36315022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01A908BE-3FA4-2B03-9305-0E5DFBDC57F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F1D8800-558E-67CE-0883-F0A2B9FF39F5}"/>
              </a:ext>
            </a:extLst>
          </p:cNvPr>
          <p:cNvSpPr>
            <a:spLocks noGrp="1"/>
          </p:cNvSpPr>
          <p:nvPr>
            <p:ph type="title"/>
          </p:nvPr>
        </p:nvSpPr>
        <p:spPr/>
        <p:txBody>
          <a:bodyPr vert="horz"/>
          <a:lstStyle/>
          <a:p>
            <a:r>
              <a:rPr lang="en-US"/>
              <a:t>Market opportunities: </a:t>
            </a:r>
            <a:r>
              <a:rPr lang="en-US" b="1">
                <a:latin typeface="Helvetica" pitchFamily="2" charset="0"/>
              </a:rPr>
              <a:t>UK</a:t>
            </a:r>
          </a:p>
        </p:txBody>
      </p:sp>
      <p:sp>
        <p:nvSpPr>
          <p:cNvPr id="29" name="TextBox 28">
            <a:extLst>
              <a:ext uri="{FF2B5EF4-FFF2-40B4-BE49-F238E27FC236}">
                <a16:creationId xmlns:a16="http://schemas.microsoft.com/office/drawing/2014/main" id="{F935E57E-7EB3-F933-9D7B-A50DCBFF361A}"/>
              </a:ext>
            </a:extLst>
          </p:cNvPr>
          <p:cNvSpPr txBox="1"/>
          <p:nvPr/>
        </p:nvSpPr>
        <p:spPr>
          <a:xfrm>
            <a:off x="190173" y="3240905"/>
            <a:ext cx="1284668" cy="43088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41E50"/>
                </a:solidFill>
                <a:effectLst/>
                <a:uLnTx/>
                <a:uFillTx/>
                <a:latin typeface="Helvetica Light"/>
                <a:ea typeface="+mn-ea"/>
                <a:cs typeface="+mn-cs"/>
              </a:rPr>
              <a:t>Market</a:t>
            </a:r>
            <a:br>
              <a:rPr kumimoji="0" lang="en-US" sz="1100" b="0" i="0" u="none" strike="noStrike" kern="1200" cap="none" spc="0" normalizeH="0" baseline="0" noProof="0">
                <a:ln>
                  <a:noFill/>
                </a:ln>
                <a:solidFill>
                  <a:srgbClr val="141E50"/>
                </a:solidFill>
                <a:effectLst/>
                <a:uLnTx/>
                <a:uFillTx/>
                <a:latin typeface="Helvetica Light"/>
                <a:ea typeface="+mn-ea"/>
                <a:cs typeface="+mn-cs"/>
              </a:rPr>
            </a:br>
            <a:r>
              <a:rPr kumimoji="0" lang="en-US" sz="1100" b="0" i="0" u="none" strike="noStrike" kern="1200" cap="none" spc="0" normalizeH="0" baseline="0" noProof="0">
                <a:ln>
                  <a:noFill/>
                </a:ln>
                <a:solidFill>
                  <a:srgbClr val="141E50"/>
                </a:solidFill>
                <a:effectLst/>
                <a:uLnTx/>
                <a:uFillTx/>
                <a:latin typeface="Helvetica Light"/>
                <a:ea typeface="+mn-ea"/>
                <a:cs typeface="+mn-cs"/>
              </a:rPr>
              <a:t>Insights</a:t>
            </a:r>
          </a:p>
        </p:txBody>
      </p:sp>
      <p:grpSp>
        <p:nvGrpSpPr>
          <p:cNvPr id="78" name="Group 77">
            <a:extLst>
              <a:ext uri="{FF2B5EF4-FFF2-40B4-BE49-F238E27FC236}">
                <a16:creationId xmlns:a16="http://schemas.microsoft.com/office/drawing/2014/main" id="{C0C6F571-193F-FC69-59A6-3DB6DE9ECBF2}"/>
              </a:ext>
            </a:extLst>
          </p:cNvPr>
          <p:cNvGrpSpPr/>
          <p:nvPr/>
        </p:nvGrpSpPr>
        <p:grpSpPr>
          <a:xfrm>
            <a:off x="1533873" y="1151623"/>
            <a:ext cx="1497392" cy="5011170"/>
            <a:chOff x="1533873" y="1151623"/>
            <a:chExt cx="1497392" cy="5011170"/>
          </a:xfrm>
        </p:grpSpPr>
        <p:sp>
          <p:nvSpPr>
            <p:cNvPr id="9" name="Rectangle 8">
              <a:extLst>
                <a:ext uri="{FF2B5EF4-FFF2-40B4-BE49-F238E27FC236}">
                  <a16:creationId xmlns:a16="http://schemas.microsoft.com/office/drawing/2014/main" id="{6DCE2DD6-A67D-3DA9-4963-EF9CC755DF44}"/>
                </a:ext>
              </a:extLst>
            </p:cNvPr>
            <p:cNvSpPr/>
            <p:nvPr/>
          </p:nvSpPr>
          <p:spPr>
            <a:xfrm>
              <a:off x="1533873" y="1151623"/>
              <a:ext cx="1497392" cy="4620909"/>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7" name="Rectangle 16">
              <a:extLst>
                <a:ext uri="{FF2B5EF4-FFF2-40B4-BE49-F238E27FC236}">
                  <a16:creationId xmlns:a16="http://schemas.microsoft.com/office/drawing/2014/main" id="{14EE21D7-BA67-D80C-E10D-6DC22C07B3D9}"/>
                </a:ext>
              </a:extLst>
            </p:cNvPr>
            <p:cNvSpPr/>
            <p:nvPr/>
          </p:nvSpPr>
          <p:spPr>
            <a:xfrm>
              <a:off x="1533873" y="3069937"/>
              <a:ext cx="1497392" cy="188807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22" name="Rectangle 21">
              <a:extLst>
                <a:ext uri="{FF2B5EF4-FFF2-40B4-BE49-F238E27FC236}">
                  <a16:creationId xmlns:a16="http://schemas.microsoft.com/office/drawing/2014/main" id="{040E86F5-7801-17FE-7D76-F97374756A7F}"/>
                </a:ext>
              </a:extLst>
            </p:cNvPr>
            <p:cNvSpPr/>
            <p:nvPr/>
          </p:nvSpPr>
          <p:spPr>
            <a:xfrm>
              <a:off x="1533873" y="5578749"/>
              <a:ext cx="1497392" cy="584044"/>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43" name="Text Placeholder 2">
              <a:extLst>
                <a:ext uri="{FF2B5EF4-FFF2-40B4-BE49-F238E27FC236}">
                  <a16:creationId xmlns:a16="http://schemas.microsoft.com/office/drawing/2014/main" id="{06958418-B9C4-57DF-1EB7-DBFE99F4F38D}"/>
                </a:ext>
              </a:extLst>
            </p:cNvPr>
            <p:cNvSpPr txBox="1">
              <a:spLocks/>
            </p:cNvSpPr>
            <p:nvPr/>
          </p:nvSpPr>
          <p:spPr>
            <a:xfrm>
              <a:off x="1533873" y="2434159"/>
              <a:ext cx="1497392" cy="546663"/>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800" b="1" i="0" kern="1200">
                  <a:solidFill>
                    <a:schemeClr val="accent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err="1">
                  <a:ln>
                    <a:noFill/>
                  </a:ln>
                  <a:solidFill>
                    <a:srgbClr val="2832DC"/>
                  </a:solidFill>
                  <a:effectLst/>
                  <a:uLnTx/>
                  <a:uFillTx/>
                  <a:latin typeface="Helvetica" pitchFamily="2" charset="0"/>
                  <a:ea typeface="+mn-ea"/>
                  <a:cs typeface="+mn-cs"/>
                </a:rPr>
                <a:t>Vensafe</a:t>
              </a:r>
              <a:endParaRPr kumimoji="0" lang="en-US" sz="1400" b="1" i="0" u="none" strike="noStrike" kern="1200" cap="none" spc="0" normalizeH="0" baseline="0" noProof="0">
                <a:ln>
                  <a:noFill/>
                </a:ln>
                <a:solidFill>
                  <a:srgbClr val="2832DC"/>
                </a:solidFill>
                <a:effectLst/>
                <a:uLnTx/>
                <a:uFillTx/>
                <a:latin typeface="Helvetica" pitchFamily="2" charset="0"/>
                <a:ea typeface="+mn-ea"/>
                <a:cs typeface="+mn-cs"/>
              </a:endParaRPr>
            </a:p>
          </p:txBody>
        </p:sp>
        <p:sp>
          <p:nvSpPr>
            <p:cNvPr id="44" name="Text Placeholder 3">
              <a:extLst>
                <a:ext uri="{FF2B5EF4-FFF2-40B4-BE49-F238E27FC236}">
                  <a16:creationId xmlns:a16="http://schemas.microsoft.com/office/drawing/2014/main" id="{8E07EE7C-5D83-A982-D6A6-8BC900483D75}"/>
                </a:ext>
              </a:extLst>
            </p:cNvPr>
            <p:cNvSpPr txBox="1">
              <a:spLocks/>
            </p:cNvSpPr>
            <p:nvPr/>
          </p:nvSpPr>
          <p:spPr>
            <a:xfrm>
              <a:off x="1538843" y="3255125"/>
              <a:ext cx="1487453" cy="1404052"/>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141E50"/>
                  </a:solidFill>
                  <a:effectLst/>
                  <a:uLnTx/>
                  <a:uFillTx/>
                  <a:latin typeface="Helvetica Light"/>
                  <a:ea typeface="+mn-ea"/>
                  <a:cs typeface="+mn-cs"/>
                </a:rPr>
                <a:t>Entirely untapped market in the UK. No other solution exists quite like it on the market, yet theft continue to soar</a:t>
              </a:r>
              <a:endParaRPr kumimoji="0" lang="en-US" sz="11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45" name="Text Placeholder 3">
              <a:extLst>
                <a:ext uri="{FF2B5EF4-FFF2-40B4-BE49-F238E27FC236}">
                  <a16:creationId xmlns:a16="http://schemas.microsoft.com/office/drawing/2014/main" id="{25D07F18-3CBE-24D6-D401-539FEE8BD51A}"/>
                </a:ext>
              </a:extLst>
            </p:cNvPr>
            <p:cNvSpPr txBox="1">
              <a:spLocks/>
            </p:cNvSpPr>
            <p:nvPr/>
          </p:nvSpPr>
          <p:spPr>
            <a:xfrm>
              <a:off x="1533874" y="5056623"/>
              <a:ext cx="1497391" cy="469879"/>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b="0" i="0" u="none" strike="noStrike" kern="1200" cap="none" spc="0" normalizeH="0" baseline="0" noProof="0">
                  <a:ln>
                    <a:noFill/>
                  </a:ln>
                  <a:solidFill>
                    <a:srgbClr val="1E1E50"/>
                  </a:solidFill>
                  <a:effectLst/>
                  <a:uLnTx/>
                  <a:uFillTx/>
                  <a:latin typeface="Helvetica Light"/>
                  <a:ea typeface="+mn-ea"/>
                  <a:cs typeface="+mn-cs"/>
                </a:rPr>
                <a:t>0</a:t>
              </a:r>
              <a:r>
                <a:rPr kumimoji="0" lang="en-GB" sz="2000" b="0" i="0" u="none" strike="noStrike" kern="1200" cap="none" spc="0" normalizeH="0" baseline="0" noProof="0">
                  <a:ln>
                    <a:noFill/>
                  </a:ln>
                  <a:solidFill>
                    <a:srgbClr val="1E1E50"/>
                  </a:solidFill>
                  <a:effectLst/>
                  <a:uLnTx/>
                  <a:uFillTx/>
                  <a:latin typeface="Helvetica Light"/>
                  <a:ea typeface="+mn-ea"/>
                  <a:cs typeface="+mn-cs"/>
                </a:rPr>
                <a:t>%</a:t>
              </a:r>
              <a:endParaRPr kumimoji="0" lang="en-US" sz="3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46" name="Text Placeholder 3">
              <a:extLst>
                <a:ext uri="{FF2B5EF4-FFF2-40B4-BE49-F238E27FC236}">
                  <a16:creationId xmlns:a16="http://schemas.microsoft.com/office/drawing/2014/main" id="{29F68E01-2408-D590-1887-861DE3844114}"/>
                </a:ext>
              </a:extLst>
            </p:cNvPr>
            <p:cNvSpPr txBox="1">
              <a:spLocks/>
            </p:cNvSpPr>
            <p:nvPr/>
          </p:nvSpPr>
          <p:spPr>
            <a:xfrm>
              <a:off x="1538843" y="5743286"/>
              <a:ext cx="1487453" cy="254970"/>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1E1E50"/>
                  </a:solidFill>
                  <a:effectLst/>
                  <a:uLnTx/>
                  <a:uFillTx/>
                  <a:latin typeface="Helvetica" pitchFamily="2" charset="0"/>
                  <a:ea typeface="+mn-ea"/>
                  <a:cs typeface="+mn-cs"/>
                </a:rPr>
                <a:t>HIGH</a:t>
              </a:r>
            </a:p>
          </p:txBody>
        </p:sp>
        <p:pic>
          <p:nvPicPr>
            <p:cNvPr id="67" name="Bilde 40" descr="Et bilde som inneholder tekst&#10;&#10;Automatisk generert beskrivelse">
              <a:extLst>
                <a:ext uri="{FF2B5EF4-FFF2-40B4-BE49-F238E27FC236}">
                  <a16:creationId xmlns:a16="http://schemas.microsoft.com/office/drawing/2014/main" id="{7F1FFE45-6738-DA86-EF64-A51F63B82E2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781232" y="1434666"/>
              <a:ext cx="1002674" cy="1112255"/>
            </a:xfrm>
            <a:prstGeom prst="rect">
              <a:avLst/>
            </a:prstGeom>
            <a:effectLst>
              <a:outerShdw blurRad="128960" dist="71004" dir="2700000" algn="tl" rotWithShape="0">
                <a:schemeClr val="accent1">
                  <a:lumMod val="75000"/>
                  <a:alpha val="40000"/>
                </a:schemeClr>
              </a:outerShdw>
            </a:effectLst>
          </p:spPr>
        </p:pic>
      </p:grpSp>
      <p:grpSp>
        <p:nvGrpSpPr>
          <p:cNvPr id="74" name="Group 73">
            <a:extLst>
              <a:ext uri="{FF2B5EF4-FFF2-40B4-BE49-F238E27FC236}">
                <a16:creationId xmlns:a16="http://schemas.microsoft.com/office/drawing/2014/main" id="{8DCE6D18-CB75-BEE5-4E7F-B2B2DE3BF29E}"/>
              </a:ext>
            </a:extLst>
          </p:cNvPr>
          <p:cNvGrpSpPr/>
          <p:nvPr/>
        </p:nvGrpSpPr>
        <p:grpSpPr>
          <a:xfrm>
            <a:off x="6340257" y="1151623"/>
            <a:ext cx="1497392" cy="5011170"/>
            <a:chOff x="6342718" y="1151623"/>
            <a:chExt cx="1497392" cy="5011170"/>
          </a:xfrm>
        </p:grpSpPr>
        <p:sp>
          <p:nvSpPr>
            <p:cNvPr id="8" name="Rectangle 7">
              <a:extLst>
                <a:ext uri="{FF2B5EF4-FFF2-40B4-BE49-F238E27FC236}">
                  <a16:creationId xmlns:a16="http://schemas.microsoft.com/office/drawing/2014/main" id="{A514DAEF-6B47-A729-423B-E157F1EE90B6}"/>
                </a:ext>
              </a:extLst>
            </p:cNvPr>
            <p:cNvSpPr/>
            <p:nvPr/>
          </p:nvSpPr>
          <p:spPr>
            <a:xfrm>
              <a:off x="6342718" y="1151623"/>
              <a:ext cx="1497392" cy="4620909"/>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6" name="Rectangle 15">
              <a:extLst>
                <a:ext uri="{FF2B5EF4-FFF2-40B4-BE49-F238E27FC236}">
                  <a16:creationId xmlns:a16="http://schemas.microsoft.com/office/drawing/2014/main" id="{9C8472EC-C533-780D-C941-934FF5B8B216}"/>
                </a:ext>
              </a:extLst>
            </p:cNvPr>
            <p:cNvSpPr/>
            <p:nvPr/>
          </p:nvSpPr>
          <p:spPr>
            <a:xfrm>
              <a:off x="6342718" y="3069937"/>
              <a:ext cx="1497392" cy="188807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23" name="Rectangle 22">
              <a:extLst>
                <a:ext uri="{FF2B5EF4-FFF2-40B4-BE49-F238E27FC236}">
                  <a16:creationId xmlns:a16="http://schemas.microsoft.com/office/drawing/2014/main" id="{696A0CDB-2884-C63F-7078-7BADE8F10A2C}"/>
                </a:ext>
              </a:extLst>
            </p:cNvPr>
            <p:cNvSpPr/>
            <p:nvPr/>
          </p:nvSpPr>
          <p:spPr>
            <a:xfrm>
              <a:off x="6342718" y="5578749"/>
              <a:ext cx="1497392" cy="584044"/>
            </a:xfrm>
            <a:prstGeom prst="rect">
              <a:avLst/>
            </a:prstGeom>
            <a:solidFill>
              <a:srgbClr val="FF99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48" name="Text Placeholder 2">
              <a:extLst>
                <a:ext uri="{FF2B5EF4-FFF2-40B4-BE49-F238E27FC236}">
                  <a16:creationId xmlns:a16="http://schemas.microsoft.com/office/drawing/2014/main" id="{00F9F6E0-582B-E6C6-065B-65D408CB1E9A}"/>
                </a:ext>
              </a:extLst>
            </p:cNvPr>
            <p:cNvSpPr txBox="1">
              <a:spLocks/>
            </p:cNvSpPr>
            <p:nvPr/>
          </p:nvSpPr>
          <p:spPr>
            <a:xfrm>
              <a:off x="6342718" y="2443689"/>
              <a:ext cx="1497392" cy="546663"/>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800" b="1" i="0" kern="1200">
                  <a:solidFill>
                    <a:schemeClr val="accent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2832DC"/>
                  </a:solidFill>
                  <a:effectLst/>
                  <a:uLnTx/>
                  <a:uFillTx/>
                  <a:latin typeface="Helvetica" pitchFamily="2" charset="0"/>
                  <a:ea typeface="+mn-ea"/>
                  <a:cs typeface="+mn-cs"/>
                </a:rPr>
                <a:t>Electronic Shelf Labels</a:t>
              </a:r>
            </a:p>
          </p:txBody>
        </p:sp>
        <p:sp>
          <p:nvSpPr>
            <p:cNvPr id="49" name="Text Placeholder 3">
              <a:extLst>
                <a:ext uri="{FF2B5EF4-FFF2-40B4-BE49-F238E27FC236}">
                  <a16:creationId xmlns:a16="http://schemas.microsoft.com/office/drawing/2014/main" id="{A35EE312-8400-67D5-2882-38900100F759}"/>
                </a:ext>
              </a:extLst>
            </p:cNvPr>
            <p:cNvSpPr txBox="1">
              <a:spLocks/>
            </p:cNvSpPr>
            <p:nvPr/>
          </p:nvSpPr>
          <p:spPr>
            <a:xfrm>
              <a:off x="6347688" y="3264655"/>
              <a:ext cx="1487453" cy="1404052"/>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141E50"/>
                  </a:solidFill>
                  <a:effectLst/>
                  <a:uLnTx/>
                  <a:uFillTx/>
                  <a:latin typeface="Helvetica Light"/>
                  <a:ea typeface="+mn-ea"/>
                  <a:cs typeface="+mn-cs"/>
                </a:rPr>
                <a:t>Many grocery retailers testing solution as business case improves with labour costs rising</a:t>
              </a:r>
              <a:endParaRPr kumimoji="0" lang="en-US" sz="11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50" name="Text Placeholder 3">
              <a:extLst>
                <a:ext uri="{FF2B5EF4-FFF2-40B4-BE49-F238E27FC236}">
                  <a16:creationId xmlns:a16="http://schemas.microsoft.com/office/drawing/2014/main" id="{CBD82277-CA2C-2794-8B56-F9CC6382BFD5}"/>
                </a:ext>
              </a:extLst>
            </p:cNvPr>
            <p:cNvSpPr txBox="1">
              <a:spLocks/>
            </p:cNvSpPr>
            <p:nvPr/>
          </p:nvSpPr>
          <p:spPr>
            <a:xfrm>
              <a:off x="6342719" y="5056623"/>
              <a:ext cx="1497391" cy="469879"/>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b="0" i="0" u="none" strike="noStrike" kern="1200" cap="none" spc="0" normalizeH="0" baseline="0" noProof="0">
                  <a:ln>
                    <a:noFill/>
                  </a:ln>
                  <a:solidFill>
                    <a:srgbClr val="1E1E50"/>
                  </a:solidFill>
                  <a:effectLst/>
                  <a:uLnTx/>
                  <a:uFillTx/>
                  <a:latin typeface="Helvetica Light"/>
                  <a:ea typeface="+mn-ea"/>
                  <a:cs typeface="+mn-cs"/>
                </a:rPr>
                <a:t>30</a:t>
              </a:r>
              <a:r>
                <a:rPr kumimoji="0" lang="en-GB" sz="2000" b="0" i="0" u="none" strike="noStrike" kern="1200" cap="none" spc="0" normalizeH="0" baseline="0" noProof="0">
                  <a:ln>
                    <a:noFill/>
                  </a:ln>
                  <a:solidFill>
                    <a:srgbClr val="1E1E50"/>
                  </a:solidFill>
                  <a:effectLst/>
                  <a:uLnTx/>
                  <a:uFillTx/>
                  <a:latin typeface="Helvetica Light"/>
                  <a:ea typeface="+mn-ea"/>
                  <a:cs typeface="+mn-cs"/>
                </a:rPr>
                <a:t>%</a:t>
              </a:r>
              <a:endParaRPr kumimoji="0" lang="en-US" sz="3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51" name="Text Placeholder 3">
              <a:extLst>
                <a:ext uri="{FF2B5EF4-FFF2-40B4-BE49-F238E27FC236}">
                  <a16:creationId xmlns:a16="http://schemas.microsoft.com/office/drawing/2014/main" id="{C3542050-85D8-9935-ADAB-22F4C87DF7A0}"/>
                </a:ext>
              </a:extLst>
            </p:cNvPr>
            <p:cNvSpPr txBox="1">
              <a:spLocks/>
            </p:cNvSpPr>
            <p:nvPr/>
          </p:nvSpPr>
          <p:spPr>
            <a:xfrm>
              <a:off x="6347688" y="5743286"/>
              <a:ext cx="1487453" cy="254970"/>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1E1E50"/>
                  </a:solidFill>
                  <a:effectLst/>
                  <a:uLnTx/>
                  <a:uFillTx/>
                  <a:latin typeface="Helvetica" pitchFamily="2" charset="0"/>
                  <a:ea typeface="+mn-ea"/>
                  <a:cs typeface="+mn-cs"/>
                </a:rPr>
                <a:t>MID</a:t>
              </a:r>
            </a:p>
          </p:txBody>
        </p:sp>
        <p:pic>
          <p:nvPicPr>
            <p:cNvPr id="68" name="Bilde 43" descr="Et bilde som inneholder tekst&#10;&#10;Automatisk generert beskrivelse">
              <a:extLst>
                <a:ext uri="{FF2B5EF4-FFF2-40B4-BE49-F238E27FC236}">
                  <a16:creationId xmlns:a16="http://schemas.microsoft.com/office/drawing/2014/main" id="{DF87BB9E-F8FB-1B66-5FE9-E8AC7A7D517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363103" y="1595332"/>
              <a:ext cx="1456622" cy="768772"/>
            </a:xfrm>
            <a:prstGeom prst="rect">
              <a:avLst/>
            </a:prstGeom>
            <a:effectLst>
              <a:outerShdw blurRad="128960" dist="71004" dir="2700000" algn="tl" rotWithShape="0">
                <a:schemeClr val="accent1">
                  <a:lumMod val="75000"/>
                  <a:alpha val="40000"/>
                </a:schemeClr>
              </a:outerShdw>
            </a:effectLst>
          </p:spPr>
        </p:pic>
      </p:grpSp>
      <p:grpSp>
        <p:nvGrpSpPr>
          <p:cNvPr id="76" name="Group 75">
            <a:extLst>
              <a:ext uri="{FF2B5EF4-FFF2-40B4-BE49-F238E27FC236}">
                <a16:creationId xmlns:a16="http://schemas.microsoft.com/office/drawing/2014/main" id="{D545242E-5AA6-61AE-44CC-F49F6E1C373D}"/>
              </a:ext>
            </a:extLst>
          </p:cNvPr>
          <p:cNvGrpSpPr/>
          <p:nvPr/>
        </p:nvGrpSpPr>
        <p:grpSpPr>
          <a:xfrm>
            <a:off x="3136001" y="1151623"/>
            <a:ext cx="1497392" cy="5011170"/>
            <a:chOff x="3140924" y="1151623"/>
            <a:chExt cx="1497392" cy="5011170"/>
          </a:xfrm>
        </p:grpSpPr>
        <p:sp>
          <p:nvSpPr>
            <p:cNvPr id="6" name="Rectangle 5">
              <a:extLst>
                <a:ext uri="{FF2B5EF4-FFF2-40B4-BE49-F238E27FC236}">
                  <a16:creationId xmlns:a16="http://schemas.microsoft.com/office/drawing/2014/main" id="{0FC33968-3014-D8BB-5CFA-AF2BE4C1A018}"/>
                </a:ext>
              </a:extLst>
            </p:cNvPr>
            <p:cNvSpPr/>
            <p:nvPr/>
          </p:nvSpPr>
          <p:spPr>
            <a:xfrm>
              <a:off x="3140924" y="1151623"/>
              <a:ext cx="1497392" cy="4620909"/>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4" name="Rectangle 13">
              <a:extLst>
                <a:ext uri="{FF2B5EF4-FFF2-40B4-BE49-F238E27FC236}">
                  <a16:creationId xmlns:a16="http://schemas.microsoft.com/office/drawing/2014/main" id="{98F976FE-A338-5E55-B6A3-EE1EC6D639B5}"/>
                </a:ext>
              </a:extLst>
            </p:cNvPr>
            <p:cNvSpPr/>
            <p:nvPr/>
          </p:nvSpPr>
          <p:spPr>
            <a:xfrm>
              <a:off x="3140924" y="3069937"/>
              <a:ext cx="1497392" cy="188807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24" name="Rectangle 23">
              <a:extLst>
                <a:ext uri="{FF2B5EF4-FFF2-40B4-BE49-F238E27FC236}">
                  <a16:creationId xmlns:a16="http://schemas.microsoft.com/office/drawing/2014/main" id="{9EB1D6FC-5565-E3A4-21D5-F5C7C5E426F6}"/>
                </a:ext>
              </a:extLst>
            </p:cNvPr>
            <p:cNvSpPr/>
            <p:nvPr/>
          </p:nvSpPr>
          <p:spPr>
            <a:xfrm>
              <a:off x="3140924" y="5578749"/>
              <a:ext cx="1497392" cy="584044"/>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52" name="Text Placeholder 2">
              <a:extLst>
                <a:ext uri="{FF2B5EF4-FFF2-40B4-BE49-F238E27FC236}">
                  <a16:creationId xmlns:a16="http://schemas.microsoft.com/office/drawing/2014/main" id="{8415DCD9-1E20-789D-8C1A-CBC3E1E965E4}"/>
                </a:ext>
              </a:extLst>
            </p:cNvPr>
            <p:cNvSpPr txBox="1">
              <a:spLocks/>
            </p:cNvSpPr>
            <p:nvPr/>
          </p:nvSpPr>
          <p:spPr>
            <a:xfrm>
              <a:off x="3140924" y="2339852"/>
              <a:ext cx="1497392" cy="760579"/>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800" b="1" i="0" kern="1200">
                  <a:solidFill>
                    <a:schemeClr val="accent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2832DC"/>
                  </a:solidFill>
                  <a:effectLst/>
                  <a:uLnTx/>
                  <a:uFillTx/>
                  <a:latin typeface="Helvetica" pitchFamily="2" charset="0"/>
                  <a:ea typeface="+mn-ea"/>
                  <a:cs typeface="+mn-cs"/>
                </a:rPr>
                <a:t>Micro Fulfillment</a:t>
              </a:r>
            </a:p>
          </p:txBody>
        </p:sp>
        <p:sp>
          <p:nvSpPr>
            <p:cNvPr id="53" name="Text Placeholder 3">
              <a:extLst>
                <a:ext uri="{FF2B5EF4-FFF2-40B4-BE49-F238E27FC236}">
                  <a16:creationId xmlns:a16="http://schemas.microsoft.com/office/drawing/2014/main" id="{50FE5E7E-1CB8-0F21-CB73-D582FC426879}"/>
                </a:ext>
              </a:extLst>
            </p:cNvPr>
            <p:cNvSpPr txBox="1">
              <a:spLocks/>
            </p:cNvSpPr>
            <p:nvPr/>
          </p:nvSpPr>
          <p:spPr>
            <a:xfrm>
              <a:off x="3145894" y="3267776"/>
              <a:ext cx="1487453" cy="1404052"/>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141E50"/>
                  </a:solidFill>
                  <a:effectLst/>
                  <a:uLnTx/>
                  <a:uFillTx/>
                  <a:latin typeface="Helvetica Light"/>
                  <a:ea typeface="+mn-ea"/>
                  <a:cs typeface="+mn-cs"/>
                </a:rPr>
                <a:t>Latent demand for automation in UK, market conditions have delayed investment decisions</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100" b="0" i="0" u="none" strike="noStrike" kern="1200" cap="none" spc="0" normalizeH="0" baseline="0" noProof="0">
                <a:ln>
                  <a:noFill/>
                </a:ln>
                <a:solidFill>
                  <a:srgbClr val="1E1E50"/>
                </a:solidFill>
                <a:effectLst/>
                <a:highlight>
                  <a:srgbClr val="FFFF00"/>
                </a:highlight>
                <a:uLnTx/>
                <a:uFillTx/>
                <a:latin typeface="Helvetica Light" panose="020B0403020202020204" pitchFamily="34" charset="0"/>
                <a:ea typeface="+mn-ea"/>
                <a:cs typeface="+mn-cs"/>
              </a:endParaRPr>
            </a:p>
          </p:txBody>
        </p:sp>
        <p:sp>
          <p:nvSpPr>
            <p:cNvPr id="54" name="Text Placeholder 3">
              <a:extLst>
                <a:ext uri="{FF2B5EF4-FFF2-40B4-BE49-F238E27FC236}">
                  <a16:creationId xmlns:a16="http://schemas.microsoft.com/office/drawing/2014/main" id="{9E72819D-0D2A-98C5-E081-9928BA9E4C88}"/>
                </a:ext>
              </a:extLst>
            </p:cNvPr>
            <p:cNvSpPr txBox="1">
              <a:spLocks/>
            </p:cNvSpPr>
            <p:nvPr/>
          </p:nvSpPr>
          <p:spPr>
            <a:xfrm>
              <a:off x="3140925" y="5056623"/>
              <a:ext cx="1497391" cy="469879"/>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b="0" i="0" u="none" strike="noStrike" kern="1200" cap="none" spc="0" normalizeH="0" baseline="0" noProof="0">
                  <a:ln>
                    <a:noFill/>
                  </a:ln>
                  <a:solidFill>
                    <a:srgbClr val="1E1E50"/>
                  </a:solidFill>
                  <a:effectLst/>
                  <a:uLnTx/>
                  <a:uFillTx/>
                  <a:latin typeface="Helvetica Light"/>
                  <a:ea typeface="+mn-ea"/>
                  <a:cs typeface="+mn-cs"/>
                </a:rPr>
                <a:t>10</a:t>
              </a:r>
              <a:r>
                <a:rPr kumimoji="0" lang="en-GB" sz="2000" b="0" i="0" u="none" strike="noStrike" kern="1200" cap="none" spc="0" normalizeH="0" baseline="0" noProof="0">
                  <a:ln>
                    <a:noFill/>
                  </a:ln>
                  <a:solidFill>
                    <a:srgbClr val="1E1E50"/>
                  </a:solidFill>
                  <a:effectLst/>
                  <a:uLnTx/>
                  <a:uFillTx/>
                  <a:latin typeface="Helvetica Light"/>
                  <a:ea typeface="+mn-ea"/>
                  <a:cs typeface="+mn-cs"/>
                </a:rPr>
                <a:t>%</a:t>
              </a:r>
              <a:endParaRPr kumimoji="0" lang="en-US" sz="3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55" name="Text Placeholder 3">
              <a:extLst>
                <a:ext uri="{FF2B5EF4-FFF2-40B4-BE49-F238E27FC236}">
                  <a16:creationId xmlns:a16="http://schemas.microsoft.com/office/drawing/2014/main" id="{F6431D7D-38EE-1033-53F6-4C65F2AA5CC6}"/>
                </a:ext>
              </a:extLst>
            </p:cNvPr>
            <p:cNvSpPr txBox="1">
              <a:spLocks/>
            </p:cNvSpPr>
            <p:nvPr/>
          </p:nvSpPr>
          <p:spPr>
            <a:xfrm>
              <a:off x="3145894" y="5743286"/>
              <a:ext cx="1487453" cy="254970"/>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1E1E50"/>
                  </a:solidFill>
                  <a:effectLst/>
                  <a:uLnTx/>
                  <a:uFillTx/>
                  <a:latin typeface="Helvetica" pitchFamily="2" charset="0"/>
                  <a:ea typeface="+mn-ea"/>
                  <a:cs typeface="+mn-cs"/>
                </a:rPr>
                <a:t>HIGH</a:t>
              </a:r>
            </a:p>
          </p:txBody>
        </p:sp>
        <p:pic>
          <p:nvPicPr>
            <p:cNvPr id="69" name="Picture 68">
              <a:extLst>
                <a:ext uri="{FF2B5EF4-FFF2-40B4-BE49-F238E27FC236}">
                  <a16:creationId xmlns:a16="http://schemas.microsoft.com/office/drawing/2014/main" id="{D62B6195-B0A8-85AC-7C9C-91501FE1BF9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359164" y="1427640"/>
              <a:ext cx="1060913" cy="785076"/>
            </a:xfrm>
            <a:prstGeom prst="rect">
              <a:avLst/>
            </a:prstGeom>
          </p:spPr>
        </p:pic>
      </p:grpSp>
      <p:grpSp>
        <p:nvGrpSpPr>
          <p:cNvPr id="77" name="Group 76">
            <a:extLst>
              <a:ext uri="{FF2B5EF4-FFF2-40B4-BE49-F238E27FC236}">
                <a16:creationId xmlns:a16="http://schemas.microsoft.com/office/drawing/2014/main" id="{9A056633-A8A7-E272-4842-E2AB6A51F183}"/>
              </a:ext>
            </a:extLst>
          </p:cNvPr>
          <p:cNvGrpSpPr/>
          <p:nvPr/>
        </p:nvGrpSpPr>
        <p:grpSpPr>
          <a:xfrm>
            <a:off x="4738129" y="1151623"/>
            <a:ext cx="1497392" cy="5011170"/>
            <a:chOff x="4741821" y="1151623"/>
            <a:chExt cx="1497392" cy="5011170"/>
          </a:xfrm>
        </p:grpSpPr>
        <p:sp>
          <p:nvSpPr>
            <p:cNvPr id="7" name="Rectangle 6">
              <a:extLst>
                <a:ext uri="{FF2B5EF4-FFF2-40B4-BE49-F238E27FC236}">
                  <a16:creationId xmlns:a16="http://schemas.microsoft.com/office/drawing/2014/main" id="{517B9631-0697-F1CE-A623-C14A1E0E3985}"/>
                </a:ext>
              </a:extLst>
            </p:cNvPr>
            <p:cNvSpPr/>
            <p:nvPr/>
          </p:nvSpPr>
          <p:spPr>
            <a:xfrm>
              <a:off x="4741821" y="1151623"/>
              <a:ext cx="1497392" cy="4620909"/>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5" name="Rectangle 14">
              <a:extLst>
                <a:ext uri="{FF2B5EF4-FFF2-40B4-BE49-F238E27FC236}">
                  <a16:creationId xmlns:a16="http://schemas.microsoft.com/office/drawing/2014/main" id="{D64917E1-7F7A-3257-4CC5-B066E53E61C0}"/>
                </a:ext>
              </a:extLst>
            </p:cNvPr>
            <p:cNvSpPr/>
            <p:nvPr/>
          </p:nvSpPr>
          <p:spPr>
            <a:xfrm>
              <a:off x="4741821" y="3069937"/>
              <a:ext cx="1497392" cy="188807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25" name="Rectangle 24">
              <a:extLst>
                <a:ext uri="{FF2B5EF4-FFF2-40B4-BE49-F238E27FC236}">
                  <a16:creationId xmlns:a16="http://schemas.microsoft.com/office/drawing/2014/main" id="{2CDD4513-0B8D-7401-6BE5-8C593908CC27}"/>
                </a:ext>
              </a:extLst>
            </p:cNvPr>
            <p:cNvSpPr/>
            <p:nvPr/>
          </p:nvSpPr>
          <p:spPr>
            <a:xfrm>
              <a:off x="4741821" y="5678124"/>
              <a:ext cx="1497392" cy="3852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56" name="Rectangle 55">
              <a:extLst>
                <a:ext uri="{FF2B5EF4-FFF2-40B4-BE49-F238E27FC236}">
                  <a16:creationId xmlns:a16="http://schemas.microsoft.com/office/drawing/2014/main" id="{B7D0DB77-0050-708E-7C90-81F751C2830F}"/>
                </a:ext>
              </a:extLst>
            </p:cNvPr>
            <p:cNvSpPr/>
            <p:nvPr/>
          </p:nvSpPr>
          <p:spPr>
            <a:xfrm>
              <a:off x="4741821" y="5578749"/>
              <a:ext cx="1497392" cy="584044"/>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58" name="Text Placeholder 2">
              <a:extLst>
                <a:ext uri="{FF2B5EF4-FFF2-40B4-BE49-F238E27FC236}">
                  <a16:creationId xmlns:a16="http://schemas.microsoft.com/office/drawing/2014/main" id="{1D5D6650-1A03-05D6-557D-F98F99891791}"/>
                </a:ext>
              </a:extLst>
            </p:cNvPr>
            <p:cNvSpPr txBox="1">
              <a:spLocks/>
            </p:cNvSpPr>
            <p:nvPr/>
          </p:nvSpPr>
          <p:spPr>
            <a:xfrm>
              <a:off x="4741821" y="2443689"/>
              <a:ext cx="1497392" cy="546663"/>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800" b="1" i="0" kern="1200">
                  <a:solidFill>
                    <a:schemeClr val="accent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2832DC"/>
                  </a:solidFill>
                  <a:effectLst/>
                  <a:uLnTx/>
                  <a:uFillTx/>
                  <a:latin typeface="Helvetica" pitchFamily="2" charset="0"/>
                  <a:ea typeface="+mn-ea"/>
                  <a:cs typeface="+mn-cs"/>
                </a:rPr>
                <a:t>Grocery Lockers</a:t>
              </a:r>
            </a:p>
          </p:txBody>
        </p:sp>
        <p:sp>
          <p:nvSpPr>
            <p:cNvPr id="59" name="Text Placeholder 3">
              <a:extLst>
                <a:ext uri="{FF2B5EF4-FFF2-40B4-BE49-F238E27FC236}">
                  <a16:creationId xmlns:a16="http://schemas.microsoft.com/office/drawing/2014/main" id="{1DF36C65-53A1-ED89-760D-47D57E6471AC}"/>
                </a:ext>
              </a:extLst>
            </p:cNvPr>
            <p:cNvSpPr txBox="1">
              <a:spLocks/>
            </p:cNvSpPr>
            <p:nvPr/>
          </p:nvSpPr>
          <p:spPr>
            <a:xfrm>
              <a:off x="4746791" y="3264655"/>
              <a:ext cx="1487453" cy="1404052"/>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141E50"/>
                  </a:solidFill>
                  <a:effectLst/>
                  <a:uLnTx/>
                  <a:uFillTx/>
                  <a:latin typeface="Helvetica Light"/>
                  <a:ea typeface="+mn-ea"/>
                  <a:cs typeface="+mn-cs"/>
                </a:rPr>
                <a:t>Many grocery retailers have</a:t>
              </a:r>
              <a:br>
                <a:rPr kumimoji="0" lang="en-GB" sz="1100" b="0" i="0" u="none" strike="noStrike" kern="1200" cap="none" spc="0" normalizeH="0" baseline="0" noProof="0">
                  <a:ln>
                    <a:noFill/>
                  </a:ln>
                  <a:solidFill>
                    <a:srgbClr val="141E50"/>
                  </a:solidFill>
                  <a:effectLst/>
                  <a:uLnTx/>
                  <a:uFillTx/>
                  <a:latin typeface="Helvetica Light"/>
                  <a:ea typeface="+mn-ea"/>
                  <a:cs typeface="+mn-cs"/>
                </a:rPr>
              </a:br>
              <a:r>
                <a:rPr kumimoji="0" lang="en-GB" sz="1100" b="0" i="0" u="none" strike="noStrike" kern="1200" cap="none" spc="0" normalizeH="0" baseline="0" noProof="0">
                  <a:ln>
                    <a:noFill/>
                  </a:ln>
                  <a:solidFill>
                    <a:srgbClr val="141E50"/>
                  </a:solidFill>
                  <a:effectLst/>
                  <a:uLnTx/>
                  <a:uFillTx/>
                  <a:latin typeface="Helvetica Light"/>
                  <a:ea typeface="+mn-ea"/>
                  <a:cs typeface="+mn-cs"/>
                </a:rPr>
                <a:t>tested lockers</a:t>
              </a:r>
              <a:br>
                <a:rPr kumimoji="0" lang="en-GB" sz="1100" b="0" i="0" u="none" strike="noStrike" kern="1200" cap="none" spc="0" normalizeH="0" baseline="0" noProof="0">
                  <a:ln>
                    <a:noFill/>
                  </a:ln>
                  <a:solidFill>
                    <a:srgbClr val="141E50"/>
                  </a:solidFill>
                  <a:effectLst/>
                  <a:uLnTx/>
                  <a:uFillTx/>
                  <a:latin typeface="Helvetica Light"/>
                  <a:ea typeface="+mn-ea"/>
                  <a:cs typeface="+mn-cs"/>
                </a:rPr>
              </a:br>
              <a:r>
                <a:rPr kumimoji="0" lang="en-GB" sz="1100" b="0" i="0" u="none" strike="noStrike" kern="1200" cap="none" spc="0" normalizeH="0" baseline="0" noProof="0">
                  <a:ln>
                    <a:noFill/>
                  </a:ln>
                  <a:solidFill>
                    <a:srgbClr val="141E50"/>
                  </a:solidFill>
                  <a:effectLst/>
                  <a:uLnTx/>
                  <a:uFillTx/>
                  <a:latin typeface="Helvetica Light"/>
                  <a:ea typeface="+mn-ea"/>
                  <a:cs typeface="+mn-cs"/>
                </a:rPr>
                <a:t>in the past and now faced with last mile cost increases</a:t>
              </a:r>
              <a:endParaRPr kumimoji="0" lang="en-US" sz="11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60" name="Text Placeholder 3">
              <a:extLst>
                <a:ext uri="{FF2B5EF4-FFF2-40B4-BE49-F238E27FC236}">
                  <a16:creationId xmlns:a16="http://schemas.microsoft.com/office/drawing/2014/main" id="{E64D3B8C-61CF-090C-2E78-2E2D12C55D99}"/>
                </a:ext>
              </a:extLst>
            </p:cNvPr>
            <p:cNvSpPr txBox="1">
              <a:spLocks/>
            </p:cNvSpPr>
            <p:nvPr/>
          </p:nvSpPr>
          <p:spPr>
            <a:xfrm>
              <a:off x="4741822" y="5056623"/>
              <a:ext cx="1497391" cy="469879"/>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b="0" i="0" u="none" strike="noStrike" kern="1200" cap="none" spc="0" normalizeH="0" baseline="0" noProof="0">
                  <a:ln>
                    <a:noFill/>
                  </a:ln>
                  <a:solidFill>
                    <a:srgbClr val="1E1E50"/>
                  </a:solidFill>
                  <a:effectLst/>
                  <a:uLnTx/>
                  <a:uFillTx/>
                  <a:latin typeface="Helvetica Light"/>
                  <a:ea typeface="+mn-ea"/>
                  <a:cs typeface="+mn-cs"/>
                </a:rPr>
                <a:t>5</a:t>
              </a:r>
              <a:r>
                <a:rPr kumimoji="0" lang="en-GB" sz="2000" b="0" i="0" u="none" strike="noStrike" kern="1200" cap="none" spc="0" normalizeH="0" baseline="0" noProof="0">
                  <a:ln>
                    <a:noFill/>
                  </a:ln>
                  <a:solidFill>
                    <a:srgbClr val="1E1E50"/>
                  </a:solidFill>
                  <a:effectLst/>
                  <a:uLnTx/>
                  <a:uFillTx/>
                  <a:latin typeface="Helvetica Light"/>
                  <a:ea typeface="+mn-ea"/>
                  <a:cs typeface="+mn-cs"/>
                </a:rPr>
                <a:t>%</a:t>
              </a:r>
              <a:endParaRPr kumimoji="0" lang="en-US" sz="3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64" name="Text Placeholder 3">
              <a:extLst>
                <a:ext uri="{FF2B5EF4-FFF2-40B4-BE49-F238E27FC236}">
                  <a16:creationId xmlns:a16="http://schemas.microsoft.com/office/drawing/2014/main" id="{E01B0972-0C27-E4F9-B774-B265BBB71280}"/>
                </a:ext>
              </a:extLst>
            </p:cNvPr>
            <p:cNvSpPr txBox="1">
              <a:spLocks/>
            </p:cNvSpPr>
            <p:nvPr/>
          </p:nvSpPr>
          <p:spPr>
            <a:xfrm>
              <a:off x="4746791" y="5743286"/>
              <a:ext cx="1487453" cy="254970"/>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1E1E50"/>
                  </a:solidFill>
                  <a:effectLst/>
                  <a:uLnTx/>
                  <a:uFillTx/>
                  <a:latin typeface="Helvetica" pitchFamily="2" charset="0"/>
                  <a:ea typeface="+mn-ea"/>
                  <a:cs typeface="+mn-cs"/>
                </a:rPr>
                <a:t>HIGH</a:t>
              </a:r>
            </a:p>
          </p:txBody>
        </p:sp>
        <p:pic>
          <p:nvPicPr>
            <p:cNvPr id="70" name="Bilde 6" descr="Et bilde som inneholder tekst, projektor&#10;&#10;Automatisk generert beskrivelse">
              <a:extLst>
                <a:ext uri="{FF2B5EF4-FFF2-40B4-BE49-F238E27FC236}">
                  <a16:creationId xmlns:a16="http://schemas.microsoft.com/office/drawing/2014/main" id="{09ED82F0-4944-E547-067E-73510753EFA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898399" y="1305801"/>
              <a:ext cx="1184236" cy="1108738"/>
            </a:xfrm>
            <a:prstGeom prst="rect">
              <a:avLst/>
            </a:prstGeom>
            <a:effectLst>
              <a:outerShdw blurRad="128960" dist="71004" dir="2700000" algn="tl" rotWithShape="0">
                <a:schemeClr val="accent1">
                  <a:lumMod val="75000"/>
                  <a:alpha val="40000"/>
                </a:schemeClr>
              </a:outerShdw>
            </a:effectLst>
          </p:spPr>
        </p:pic>
      </p:grpSp>
      <p:grpSp>
        <p:nvGrpSpPr>
          <p:cNvPr id="73" name="Group 72">
            <a:extLst>
              <a:ext uri="{FF2B5EF4-FFF2-40B4-BE49-F238E27FC236}">
                <a16:creationId xmlns:a16="http://schemas.microsoft.com/office/drawing/2014/main" id="{D9AA368C-4A99-2A67-0D4F-EA247304D04A}"/>
              </a:ext>
            </a:extLst>
          </p:cNvPr>
          <p:cNvGrpSpPr/>
          <p:nvPr/>
        </p:nvGrpSpPr>
        <p:grpSpPr>
          <a:xfrm>
            <a:off x="7942385" y="1151623"/>
            <a:ext cx="1497392" cy="5011170"/>
            <a:chOff x="7943615" y="1151623"/>
            <a:chExt cx="1497392" cy="5011170"/>
          </a:xfrm>
        </p:grpSpPr>
        <p:sp>
          <p:nvSpPr>
            <p:cNvPr id="10" name="Rectangle 9">
              <a:extLst>
                <a:ext uri="{FF2B5EF4-FFF2-40B4-BE49-F238E27FC236}">
                  <a16:creationId xmlns:a16="http://schemas.microsoft.com/office/drawing/2014/main" id="{798F32B0-C85F-92F2-5D41-DEDE0F366C15}"/>
                </a:ext>
              </a:extLst>
            </p:cNvPr>
            <p:cNvSpPr/>
            <p:nvPr/>
          </p:nvSpPr>
          <p:spPr>
            <a:xfrm>
              <a:off x="7943615" y="1151623"/>
              <a:ext cx="1497392" cy="4620909"/>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8" name="Rectangle 17">
              <a:extLst>
                <a:ext uri="{FF2B5EF4-FFF2-40B4-BE49-F238E27FC236}">
                  <a16:creationId xmlns:a16="http://schemas.microsoft.com/office/drawing/2014/main" id="{1339665A-4ADF-75A1-2FBD-5E07B331484D}"/>
                </a:ext>
              </a:extLst>
            </p:cNvPr>
            <p:cNvSpPr/>
            <p:nvPr/>
          </p:nvSpPr>
          <p:spPr>
            <a:xfrm>
              <a:off x="7943615" y="3069937"/>
              <a:ext cx="1497392" cy="188807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26" name="Rectangle 25">
              <a:extLst>
                <a:ext uri="{FF2B5EF4-FFF2-40B4-BE49-F238E27FC236}">
                  <a16:creationId xmlns:a16="http://schemas.microsoft.com/office/drawing/2014/main" id="{85DD823D-BB1C-55F0-8F99-C07FA4B17E12}"/>
                </a:ext>
              </a:extLst>
            </p:cNvPr>
            <p:cNvSpPr/>
            <p:nvPr/>
          </p:nvSpPr>
          <p:spPr>
            <a:xfrm>
              <a:off x="7943615" y="5678124"/>
              <a:ext cx="1497392" cy="3852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57" name="Rectangle 56">
              <a:extLst>
                <a:ext uri="{FF2B5EF4-FFF2-40B4-BE49-F238E27FC236}">
                  <a16:creationId xmlns:a16="http://schemas.microsoft.com/office/drawing/2014/main" id="{9F239999-501E-596F-BCCB-F6D71590BD69}"/>
                </a:ext>
              </a:extLst>
            </p:cNvPr>
            <p:cNvSpPr/>
            <p:nvPr/>
          </p:nvSpPr>
          <p:spPr>
            <a:xfrm>
              <a:off x="7943615" y="5578749"/>
              <a:ext cx="1497392" cy="584044"/>
            </a:xfrm>
            <a:prstGeom prst="rect">
              <a:avLst/>
            </a:prstGeom>
            <a:solidFill>
              <a:srgbClr val="FF99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61" name="Text Placeholder 2">
              <a:extLst>
                <a:ext uri="{FF2B5EF4-FFF2-40B4-BE49-F238E27FC236}">
                  <a16:creationId xmlns:a16="http://schemas.microsoft.com/office/drawing/2014/main" id="{9DECBC99-E169-29EA-017F-6B9EE59E85C5}"/>
                </a:ext>
              </a:extLst>
            </p:cNvPr>
            <p:cNvSpPr txBox="1">
              <a:spLocks/>
            </p:cNvSpPr>
            <p:nvPr/>
          </p:nvSpPr>
          <p:spPr>
            <a:xfrm>
              <a:off x="7943615" y="2443689"/>
              <a:ext cx="1497392" cy="546663"/>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800" b="1" i="0" kern="1200">
                  <a:solidFill>
                    <a:schemeClr val="accent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2832DC"/>
                  </a:solidFill>
                  <a:effectLst/>
                  <a:uLnTx/>
                  <a:uFillTx/>
                  <a:latin typeface="Helvetica" pitchFamily="2" charset="0"/>
                  <a:ea typeface="+mn-ea"/>
                  <a:cs typeface="+mn-cs"/>
                </a:rPr>
                <a:t>Self-</a:t>
              </a:r>
              <a:br>
                <a:rPr kumimoji="0" lang="en-US" sz="1400" b="1" i="0" u="none" strike="noStrike" kern="1200" cap="none" spc="0" normalizeH="0" baseline="0" noProof="0">
                  <a:ln>
                    <a:noFill/>
                  </a:ln>
                  <a:solidFill>
                    <a:srgbClr val="2832DC"/>
                  </a:solidFill>
                  <a:effectLst/>
                  <a:uLnTx/>
                  <a:uFillTx/>
                  <a:latin typeface="Helvetica" pitchFamily="2" charset="0"/>
                  <a:ea typeface="+mn-ea"/>
                  <a:cs typeface="+mn-cs"/>
                </a:rPr>
              </a:br>
              <a:r>
                <a:rPr kumimoji="0" lang="en-US" sz="1400" b="1" i="0" u="none" strike="noStrike" kern="1200" cap="none" spc="0" normalizeH="0" baseline="0" noProof="0">
                  <a:ln>
                    <a:noFill/>
                  </a:ln>
                  <a:solidFill>
                    <a:srgbClr val="2832DC"/>
                  </a:solidFill>
                  <a:effectLst/>
                  <a:uLnTx/>
                  <a:uFillTx/>
                  <a:latin typeface="Helvetica" pitchFamily="2" charset="0"/>
                  <a:ea typeface="+mn-ea"/>
                  <a:cs typeface="+mn-cs"/>
                </a:rPr>
                <a:t>Checkout</a:t>
              </a:r>
            </a:p>
          </p:txBody>
        </p:sp>
        <p:sp>
          <p:nvSpPr>
            <p:cNvPr id="62" name="Text Placeholder 3">
              <a:extLst>
                <a:ext uri="{FF2B5EF4-FFF2-40B4-BE49-F238E27FC236}">
                  <a16:creationId xmlns:a16="http://schemas.microsoft.com/office/drawing/2014/main" id="{CB62BCDC-4B74-A45B-2062-E351AA4855EF}"/>
                </a:ext>
              </a:extLst>
            </p:cNvPr>
            <p:cNvSpPr txBox="1">
              <a:spLocks/>
            </p:cNvSpPr>
            <p:nvPr/>
          </p:nvSpPr>
          <p:spPr>
            <a:xfrm>
              <a:off x="7948585" y="3264655"/>
              <a:ext cx="1487453" cy="1404052"/>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141E50"/>
                  </a:solidFill>
                  <a:effectLst/>
                  <a:uLnTx/>
                  <a:uFillTx/>
                  <a:latin typeface="Helvetica Light"/>
                  <a:ea typeface="+mn-ea"/>
                  <a:cs typeface="+mn-cs"/>
                </a:rPr>
                <a:t>Used by almost all grocery retailers, many coming to end of life-cycles and looking for next generation solutions</a:t>
              </a:r>
              <a:endParaRPr kumimoji="0" lang="en-US" sz="11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63" name="Text Placeholder 3">
              <a:extLst>
                <a:ext uri="{FF2B5EF4-FFF2-40B4-BE49-F238E27FC236}">
                  <a16:creationId xmlns:a16="http://schemas.microsoft.com/office/drawing/2014/main" id="{178484D5-27F2-299B-18BB-7C0850040244}"/>
                </a:ext>
              </a:extLst>
            </p:cNvPr>
            <p:cNvSpPr txBox="1">
              <a:spLocks/>
            </p:cNvSpPr>
            <p:nvPr/>
          </p:nvSpPr>
          <p:spPr>
            <a:xfrm>
              <a:off x="7943616" y="5056623"/>
              <a:ext cx="1497391" cy="469879"/>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b="0" i="0" u="none" strike="noStrike" kern="1200" cap="none" spc="0" normalizeH="0" baseline="0" noProof="0">
                  <a:ln>
                    <a:noFill/>
                  </a:ln>
                  <a:solidFill>
                    <a:srgbClr val="1E1E50"/>
                  </a:solidFill>
                  <a:effectLst/>
                  <a:uLnTx/>
                  <a:uFillTx/>
                  <a:latin typeface="Helvetica Light"/>
                  <a:ea typeface="+mn-ea"/>
                  <a:cs typeface="+mn-cs"/>
                </a:rPr>
                <a:t>100</a:t>
              </a:r>
              <a:r>
                <a:rPr kumimoji="0" lang="en-GB" sz="2000" b="0" i="0" u="none" strike="noStrike" kern="1200" cap="none" spc="0" normalizeH="0" baseline="0" noProof="0">
                  <a:ln>
                    <a:noFill/>
                  </a:ln>
                  <a:solidFill>
                    <a:srgbClr val="1E1E50"/>
                  </a:solidFill>
                  <a:effectLst/>
                  <a:uLnTx/>
                  <a:uFillTx/>
                  <a:latin typeface="Helvetica Light"/>
                  <a:ea typeface="+mn-ea"/>
                  <a:cs typeface="+mn-cs"/>
                </a:rPr>
                <a:t>%</a:t>
              </a:r>
              <a:endParaRPr kumimoji="0" lang="en-US" sz="3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66" name="Text Placeholder 3">
              <a:extLst>
                <a:ext uri="{FF2B5EF4-FFF2-40B4-BE49-F238E27FC236}">
                  <a16:creationId xmlns:a16="http://schemas.microsoft.com/office/drawing/2014/main" id="{A1D2FFCE-7C66-1C46-56EE-AEC2FBD8B85D}"/>
                </a:ext>
              </a:extLst>
            </p:cNvPr>
            <p:cNvSpPr txBox="1">
              <a:spLocks/>
            </p:cNvSpPr>
            <p:nvPr/>
          </p:nvSpPr>
          <p:spPr>
            <a:xfrm>
              <a:off x="7948585" y="5743286"/>
              <a:ext cx="1487453" cy="254970"/>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1E1E50"/>
                  </a:solidFill>
                  <a:effectLst/>
                  <a:uLnTx/>
                  <a:uFillTx/>
                  <a:latin typeface="Helvetica" pitchFamily="2" charset="0"/>
                  <a:ea typeface="+mn-ea"/>
                  <a:cs typeface="+mn-cs"/>
                </a:rPr>
                <a:t>MID</a:t>
              </a:r>
            </a:p>
          </p:txBody>
        </p:sp>
        <p:pic>
          <p:nvPicPr>
            <p:cNvPr id="71" name="Bilde 42">
              <a:extLst>
                <a:ext uri="{FF2B5EF4-FFF2-40B4-BE49-F238E27FC236}">
                  <a16:creationId xmlns:a16="http://schemas.microsoft.com/office/drawing/2014/main" id="{B0D52682-3605-9F1F-CD6B-43F0D48DACA6}"/>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rot="21429955">
              <a:off x="8124077" y="1243267"/>
              <a:ext cx="1136469" cy="1233806"/>
            </a:xfrm>
            <a:prstGeom prst="rect">
              <a:avLst/>
            </a:prstGeom>
            <a:effectLst>
              <a:outerShdw blurRad="128960" dist="71004" dir="2700000" algn="tl" rotWithShape="0">
                <a:schemeClr val="accent1">
                  <a:lumMod val="75000"/>
                  <a:alpha val="40000"/>
                </a:schemeClr>
              </a:outerShdw>
            </a:effectLst>
          </p:spPr>
        </p:pic>
      </p:grpSp>
      <p:grpSp>
        <p:nvGrpSpPr>
          <p:cNvPr id="75" name="Group 74">
            <a:extLst>
              <a:ext uri="{FF2B5EF4-FFF2-40B4-BE49-F238E27FC236}">
                <a16:creationId xmlns:a16="http://schemas.microsoft.com/office/drawing/2014/main" id="{E975ECF5-58A7-C0A1-311D-F54641AD4C81}"/>
              </a:ext>
            </a:extLst>
          </p:cNvPr>
          <p:cNvGrpSpPr/>
          <p:nvPr/>
        </p:nvGrpSpPr>
        <p:grpSpPr>
          <a:xfrm>
            <a:off x="9544512" y="1151623"/>
            <a:ext cx="1497392" cy="5011170"/>
            <a:chOff x="9544512" y="1151623"/>
            <a:chExt cx="1497392" cy="5011170"/>
          </a:xfrm>
        </p:grpSpPr>
        <p:sp>
          <p:nvSpPr>
            <p:cNvPr id="5" name="Rectangle 4">
              <a:extLst>
                <a:ext uri="{FF2B5EF4-FFF2-40B4-BE49-F238E27FC236}">
                  <a16:creationId xmlns:a16="http://schemas.microsoft.com/office/drawing/2014/main" id="{2185325A-CC8C-042C-2DAE-54E10E81EB90}"/>
                </a:ext>
              </a:extLst>
            </p:cNvPr>
            <p:cNvSpPr/>
            <p:nvPr/>
          </p:nvSpPr>
          <p:spPr>
            <a:xfrm>
              <a:off x="9544512" y="1151623"/>
              <a:ext cx="1497392" cy="4620909"/>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3" name="Rectangle 12">
              <a:extLst>
                <a:ext uri="{FF2B5EF4-FFF2-40B4-BE49-F238E27FC236}">
                  <a16:creationId xmlns:a16="http://schemas.microsoft.com/office/drawing/2014/main" id="{A20D8C61-7FB7-F4A0-51CE-B87230CE5F98}"/>
                </a:ext>
              </a:extLst>
            </p:cNvPr>
            <p:cNvSpPr/>
            <p:nvPr/>
          </p:nvSpPr>
          <p:spPr>
            <a:xfrm>
              <a:off x="9544512" y="3069937"/>
              <a:ext cx="1497392" cy="188807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21" name="Rectangle 20">
              <a:extLst>
                <a:ext uri="{FF2B5EF4-FFF2-40B4-BE49-F238E27FC236}">
                  <a16:creationId xmlns:a16="http://schemas.microsoft.com/office/drawing/2014/main" id="{4F817ECF-2CFC-A612-9E90-866B09823F72}"/>
                </a:ext>
              </a:extLst>
            </p:cNvPr>
            <p:cNvSpPr/>
            <p:nvPr/>
          </p:nvSpPr>
          <p:spPr>
            <a:xfrm>
              <a:off x="9544512" y="5578749"/>
              <a:ext cx="1497392" cy="584044"/>
            </a:xfrm>
            <a:prstGeom prst="rect">
              <a:avLst/>
            </a:prstGeom>
            <a:solidFill>
              <a:srgbClr val="FF99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9" name="Text Placeholder 3">
              <a:extLst>
                <a:ext uri="{FF2B5EF4-FFF2-40B4-BE49-F238E27FC236}">
                  <a16:creationId xmlns:a16="http://schemas.microsoft.com/office/drawing/2014/main" id="{E9B59963-CFCF-E67F-E04E-9CBC1C6E4539}"/>
                </a:ext>
              </a:extLst>
            </p:cNvPr>
            <p:cNvSpPr txBox="1">
              <a:spLocks/>
            </p:cNvSpPr>
            <p:nvPr/>
          </p:nvSpPr>
          <p:spPr>
            <a:xfrm>
              <a:off x="9544513" y="5056623"/>
              <a:ext cx="1497391" cy="469879"/>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b="0" i="0" u="none" strike="noStrike" kern="1200" cap="none" spc="0" normalizeH="0" baseline="0" noProof="0">
                  <a:ln>
                    <a:noFill/>
                  </a:ln>
                  <a:solidFill>
                    <a:srgbClr val="1E1E50"/>
                  </a:solidFill>
                  <a:effectLst/>
                  <a:uLnTx/>
                  <a:uFillTx/>
                  <a:latin typeface="Helvetica Light"/>
                  <a:ea typeface="+mn-ea"/>
                  <a:cs typeface="+mn-cs"/>
                </a:rPr>
                <a:t>80</a:t>
              </a:r>
              <a:r>
                <a:rPr kumimoji="0" lang="en-GB" sz="2000" b="0" i="0" u="none" strike="noStrike" kern="1200" cap="none" spc="0" normalizeH="0" baseline="0" noProof="0">
                  <a:ln>
                    <a:noFill/>
                  </a:ln>
                  <a:solidFill>
                    <a:srgbClr val="1E1E50"/>
                  </a:solidFill>
                  <a:effectLst/>
                  <a:uLnTx/>
                  <a:uFillTx/>
                  <a:latin typeface="Helvetica Light"/>
                  <a:ea typeface="+mn-ea"/>
                  <a:cs typeface="+mn-cs"/>
                </a:rPr>
                <a:t>%</a:t>
              </a:r>
              <a:endParaRPr kumimoji="0" lang="en-US" sz="3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27" name="Text Placeholder 3">
              <a:extLst>
                <a:ext uri="{FF2B5EF4-FFF2-40B4-BE49-F238E27FC236}">
                  <a16:creationId xmlns:a16="http://schemas.microsoft.com/office/drawing/2014/main" id="{01C638ED-BC69-C1FC-C97B-5416FB54817A}"/>
                </a:ext>
              </a:extLst>
            </p:cNvPr>
            <p:cNvSpPr txBox="1">
              <a:spLocks/>
            </p:cNvSpPr>
            <p:nvPr/>
          </p:nvSpPr>
          <p:spPr>
            <a:xfrm>
              <a:off x="9549482" y="5743286"/>
              <a:ext cx="1487453" cy="254970"/>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1E1E50"/>
                  </a:solidFill>
                  <a:effectLst/>
                  <a:uLnTx/>
                  <a:uFillTx/>
                  <a:latin typeface="Helvetica" pitchFamily="2" charset="0"/>
                  <a:ea typeface="+mn-ea"/>
                  <a:cs typeface="+mn-cs"/>
                </a:rPr>
                <a:t>MID</a:t>
              </a:r>
            </a:p>
          </p:txBody>
        </p:sp>
        <p:pic>
          <p:nvPicPr>
            <p:cNvPr id="42" name="Bilde 3" descr="Et bilde som inneholder leke, datamaskin, bord, pult&#10;&#10;Automatisk generert beskrivelse">
              <a:extLst>
                <a:ext uri="{FF2B5EF4-FFF2-40B4-BE49-F238E27FC236}">
                  <a16:creationId xmlns:a16="http://schemas.microsoft.com/office/drawing/2014/main" id="{DF70D6F5-8A7E-0284-2C98-85430CF695B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742705" y="1540795"/>
              <a:ext cx="1101007" cy="795936"/>
            </a:xfrm>
            <a:prstGeom prst="rect">
              <a:avLst/>
            </a:prstGeom>
            <a:effectLst>
              <a:outerShdw blurRad="128960" dist="71004" dir="2700000" algn="tl" rotWithShape="0">
                <a:schemeClr val="accent1">
                  <a:lumMod val="75000"/>
                  <a:alpha val="40000"/>
                </a:schemeClr>
              </a:outerShdw>
            </a:effectLst>
          </p:spPr>
        </p:pic>
        <p:sp>
          <p:nvSpPr>
            <p:cNvPr id="32" name="Text Placeholder 3">
              <a:extLst>
                <a:ext uri="{FF2B5EF4-FFF2-40B4-BE49-F238E27FC236}">
                  <a16:creationId xmlns:a16="http://schemas.microsoft.com/office/drawing/2014/main" id="{D69CA1F4-23CD-CF7B-24EA-BE14F3710B8D}"/>
                </a:ext>
              </a:extLst>
            </p:cNvPr>
            <p:cNvSpPr txBox="1">
              <a:spLocks/>
            </p:cNvSpPr>
            <p:nvPr/>
          </p:nvSpPr>
          <p:spPr>
            <a:xfrm>
              <a:off x="9549482" y="3264655"/>
              <a:ext cx="1487453" cy="1404052"/>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141E50"/>
                  </a:solidFill>
                  <a:effectLst/>
                  <a:uLnTx/>
                  <a:uFillTx/>
                  <a:latin typeface="Helvetica Light"/>
                  <a:ea typeface="+mn-ea"/>
                  <a:cs typeface="+mn-cs"/>
                </a:rPr>
                <a:t>Currently</a:t>
              </a:r>
              <a:br>
                <a:rPr kumimoji="0" lang="en-GB" sz="1100" b="0" i="0" u="none" strike="noStrike" kern="1200" cap="none" spc="0" normalizeH="0" baseline="0" noProof="0">
                  <a:ln>
                    <a:noFill/>
                  </a:ln>
                  <a:solidFill>
                    <a:srgbClr val="141E50"/>
                  </a:solidFill>
                  <a:effectLst/>
                  <a:uLnTx/>
                  <a:uFillTx/>
                  <a:latin typeface="Helvetica Light"/>
                  <a:ea typeface="+mn-ea"/>
                  <a:cs typeface="+mn-cs"/>
                </a:rPr>
              </a:br>
              <a:r>
                <a:rPr kumimoji="0" lang="en-GB" sz="1100" b="0" i="0" u="none" strike="noStrike" kern="1200" cap="none" spc="0" normalizeH="0" baseline="0" noProof="0">
                  <a:ln>
                    <a:noFill/>
                  </a:ln>
                  <a:solidFill>
                    <a:srgbClr val="141E50"/>
                  </a:solidFill>
                  <a:effectLst/>
                  <a:uLnTx/>
                  <a:uFillTx/>
                  <a:latin typeface="Helvetica Light"/>
                  <a:ea typeface="+mn-ea"/>
                  <a:cs typeface="+mn-cs"/>
                </a:rPr>
                <a:t>e-commerce is</a:t>
              </a:r>
              <a:br>
                <a:rPr kumimoji="0" lang="en-GB" sz="1100" b="0" i="0" u="none" strike="noStrike" kern="1200" cap="none" spc="0" normalizeH="0" baseline="0" noProof="0">
                  <a:ln>
                    <a:noFill/>
                  </a:ln>
                  <a:solidFill>
                    <a:srgbClr val="141E50"/>
                  </a:solidFill>
                  <a:effectLst/>
                  <a:uLnTx/>
                  <a:uFillTx/>
                  <a:latin typeface="Helvetica Light"/>
                  <a:ea typeface="+mn-ea"/>
                  <a:cs typeface="+mn-cs"/>
                </a:rPr>
              </a:br>
              <a:r>
                <a:rPr kumimoji="0" lang="en-GB" sz="1100" b="0" i="0" u="none" strike="noStrike" kern="1200" cap="none" spc="0" normalizeH="0" baseline="0" noProof="0">
                  <a:ln>
                    <a:noFill/>
                  </a:ln>
                  <a:solidFill>
                    <a:srgbClr val="141E50"/>
                  </a:solidFill>
                  <a:effectLst/>
                  <a:uLnTx/>
                  <a:uFillTx/>
                  <a:latin typeface="Helvetica Light"/>
                  <a:ea typeface="+mn-ea"/>
                  <a:cs typeface="+mn-cs"/>
                </a:rPr>
                <a:t>12% in UK, all players except</a:t>
              </a:r>
              <a:br>
                <a:rPr kumimoji="0" lang="en-GB" sz="1100" b="0" i="0" u="none" strike="noStrike" kern="1200" cap="none" spc="0" normalizeH="0" baseline="0" noProof="0">
                  <a:ln>
                    <a:noFill/>
                  </a:ln>
                  <a:solidFill>
                    <a:srgbClr val="141E50"/>
                  </a:solidFill>
                  <a:effectLst/>
                  <a:uLnTx/>
                  <a:uFillTx/>
                  <a:latin typeface="Helvetica Light"/>
                  <a:ea typeface="+mn-ea"/>
                  <a:cs typeface="+mn-cs"/>
                </a:rPr>
              </a:br>
              <a:r>
                <a:rPr kumimoji="0" lang="en-GB" sz="1100" b="0" i="0" u="none" strike="noStrike" kern="1200" cap="none" spc="0" normalizeH="0" baseline="0" noProof="0">
                  <a:ln>
                    <a:noFill/>
                  </a:ln>
                  <a:solidFill>
                    <a:srgbClr val="141E50"/>
                  </a:solidFill>
                  <a:effectLst/>
                  <a:uLnTx/>
                  <a:uFillTx/>
                  <a:latin typeface="Helvetica Light"/>
                  <a:ea typeface="+mn-ea"/>
                  <a:cs typeface="+mn-cs"/>
                </a:rPr>
                <a:t>ALDI and LIDL</a:t>
              </a:r>
              <a:br>
                <a:rPr kumimoji="0" lang="en-GB" sz="1100" b="0" i="0" u="none" strike="noStrike" kern="1200" cap="none" spc="0" normalizeH="0" baseline="0" noProof="0">
                  <a:ln>
                    <a:noFill/>
                  </a:ln>
                  <a:solidFill>
                    <a:srgbClr val="141E50"/>
                  </a:solidFill>
                  <a:effectLst/>
                  <a:uLnTx/>
                  <a:uFillTx/>
                  <a:latin typeface="Helvetica Light"/>
                  <a:ea typeface="+mn-ea"/>
                  <a:cs typeface="+mn-cs"/>
                </a:rPr>
              </a:br>
              <a:r>
                <a:rPr kumimoji="0" lang="en-GB" sz="1100" b="0" i="0" u="none" strike="noStrike" kern="1200" cap="none" spc="0" normalizeH="0" baseline="0" noProof="0">
                  <a:ln>
                    <a:noFill/>
                  </a:ln>
                  <a:solidFill>
                    <a:srgbClr val="141E50"/>
                  </a:solidFill>
                  <a:effectLst/>
                  <a:uLnTx/>
                  <a:uFillTx/>
                  <a:latin typeface="Helvetica Light"/>
                  <a:ea typeface="+mn-ea"/>
                  <a:cs typeface="+mn-cs"/>
                </a:rPr>
                <a:t>already have</a:t>
              </a:r>
              <a:br>
                <a:rPr kumimoji="0" lang="en-GB" sz="1100" b="0" i="0" u="none" strike="noStrike" kern="1200" cap="none" spc="0" normalizeH="0" baseline="0" noProof="0">
                  <a:ln>
                    <a:noFill/>
                  </a:ln>
                  <a:solidFill>
                    <a:srgbClr val="141E50"/>
                  </a:solidFill>
                  <a:effectLst/>
                  <a:uLnTx/>
                  <a:uFillTx/>
                  <a:latin typeface="Helvetica Light"/>
                  <a:ea typeface="+mn-ea"/>
                  <a:cs typeface="+mn-cs"/>
                </a:rPr>
              </a:br>
              <a:r>
                <a:rPr kumimoji="0" lang="en-GB" sz="1100" b="0" i="0" u="none" strike="noStrike" kern="1200" cap="none" spc="0" normalizeH="0" baseline="0" noProof="0">
                  <a:ln>
                    <a:noFill/>
                  </a:ln>
                  <a:solidFill>
                    <a:srgbClr val="141E50"/>
                  </a:solidFill>
                  <a:effectLst/>
                  <a:uLnTx/>
                  <a:uFillTx/>
                  <a:latin typeface="Helvetica Light"/>
                  <a:ea typeface="+mn-ea"/>
                  <a:cs typeface="+mn-cs"/>
                </a:rPr>
                <a:t>order picking</a:t>
              </a:r>
              <a:br>
                <a:rPr kumimoji="0" lang="en-GB" sz="1100" b="0" i="0" u="none" strike="noStrike" kern="1200" cap="none" spc="0" normalizeH="0" baseline="0" noProof="0">
                  <a:ln>
                    <a:noFill/>
                  </a:ln>
                  <a:solidFill>
                    <a:srgbClr val="141E50"/>
                  </a:solidFill>
                  <a:effectLst/>
                  <a:uLnTx/>
                  <a:uFillTx/>
                  <a:latin typeface="Helvetica Light"/>
                  <a:ea typeface="+mn-ea"/>
                  <a:cs typeface="+mn-cs"/>
                </a:rPr>
              </a:br>
              <a:r>
                <a:rPr kumimoji="0" lang="en-GB" sz="1100" b="0" i="0" u="none" strike="noStrike" kern="1200" cap="none" spc="0" normalizeH="0" baseline="0" noProof="0">
                  <a:ln>
                    <a:noFill/>
                  </a:ln>
                  <a:solidFill>
                    <a:srgbClr val="141E50"/>
                  </a:solidFill>
                  <a:effectLst/>
                  <a:uLnTx/>
                  <a:uFillTx/>
                  <a:latin typeface="Helvetica Light"/>
                  <a:ea typeface="+mn-ea"/>
                  <a:cs typeface="+mn-cs"/>
                </a:rPr>
                <a:t>in place</a:t>
              </a:r>
              <a:endParaRPr kumimoji="0" lang="en-US" sz="11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39" name="Text Placeholder 2">
              <a:extLst>
                <a:ext uri="{FF2B5EF4-FFF2-40B4-BE49-F238E27FC236}">
                  <a16:creationId xmlns:a16="http://schemas.microsoft.com/office/drawing/2014/main" id="{1B574B3F-1FBA-5F95-65FA-462BE7570E41}"/>
                </a:ext>
              </a:extLst>
            </p:cNvPr>
            <p:cNvSpPr txBox="1">
              <a:spLocks/>
            </p:cNvSpPr>
            <p:nvPr/>
          </p:nvSpPr>
          <p:spPr>
            <a:xfrm>
              <a:off x="9544512" y="2443689"/>
              <a:ext cx="1497392" cy="546663"/>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800" b="1" i="0" kern="1200">
                  <a:solidFill>
                    <a:schemeClr val="accent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2832DC"/>
                  </a:solidFill>
                  <a:effectLst/>
                  <a:uLnTx/>
                  <a:uFillTx/>
                  <a:latin typeface="Helvetica" pitchFamily="2" charset="0"/>
                  <a:ea typeface="+mn-ea"/>
                  <a:cs typeface="+mn-cs"/>
                </a:rPr>
                <a:t>Order</a:t>
              </a:r>
              <a:br>
                <a:rPr kumimoji="0" lang="en-US" sz="1400" b="1" i="0" u="none" strike="noStrike" kern="1200" cap="none" spc="0" normalizeH="0" baseline="0" noProof="0">
                  <a:ln>
                    <a:noFill/>
                  </a:ln>
                  <a:solidFill>
                    <a:srgbClr val="2832DC"/>
                  </a:solidFill>
                  <a:effectLst/>
                  <a:uLnTx/>
                  <a:uFillTx/>
                  <a:latin typeface="Helvetica" pitchFamily="2" charset="0"/>
                  <a:ea typeface="+mn-ea"/>
                  <a:cs typeface="+mn-cs"/>
                </a:rPr>
              </a:br>
              <a:r>
                <a:rPr kumimoji="0" lang="en-US" sz="1400" b="1" i="0" u="none" strike="noStrike" kern="1200" cap="none" spc="0" normalizeH="0" baseline="0" noProof="0">
                  <a:ln>
                    <a:noFill/>
                  </a:ln>
                  <a:solidFill>
                    <a:srgbClr val="2832DC"/>
                  </a:solidFill>
                  <a:effectLst/>
                  <a:uLnTx/>
                  <a:uFillTx/>
                  <a:latin typeface="Helvetica" pitchFamily="2" charset="0"/>
                  <a:ea typeface="+mn-ea"/>
                  <a:cs typeface="+mn-cs"/>
                </a:rPr>
                <a:t>Picking</a:t>
              </a:r>
            </a:p>
          </p:txBody>
        </p:sp>
      </p:grpSp>
      <p:sp>
        <p:nvSpPr>
          <p:cNvPr id="65" name="TextBox 64">
            <a:extLst>
              <a:ext uri="{FF2B5EF4-FFF2-40B4-BE49-F238E27FC236}">
                <a16:creationId xmlns:a16="http://schemas.microsoft.com/office/drawing/2014/main" id="{2E5A8EE9-9BBC-8464-E540-F50BBBC7980F}"/>
              </a:ext>
            </a:extLst>
          </p:cNvPr>
          <p:cNvSpPr txBox="1"/>
          <p:nvPr/>
        </p:nvSpPr>
        <p:spPr>
          <a:xfrm>
            <a:off x="190173" y="5076119"/>
            <a:ext cx="1284668" cy="43088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41E50"/>
                </a:solidFill>
                <a:effectLst/>
                <a:uLnTx/>
                <a:uFillTx/>
                <a:latin typeface="Helvetica Light"/>
                <a:ea typeface="+mn-ea"/>
                <a:cs typeface="+mn-cs"/>
              </a:rPr>
              <a:t>Solution Penetration</a:t>
            </a:r>
          </a:p>
        </p:txBody>
      </p:sp>
      <p:sp>
        <p:nvSpPr>
          <p:cNvPr id="72" name="TextBox 71">
            <a:extLst>
              <a:ext uri="{FF2B5EF4-FFF2-40B4-BE49-F238E27FC236}">
                <a16:creationId xmlns:a16="http://schemas.microsoft.com/office/drawing/2014/main" id="{727F5788-74B3-040A-FC32-2265F8ABE5F1}"/>
              </a:ext>
            </a:extLst>
          </p:cNvPr>
          <p:cNvSpPr txBox="1"/>
          <p:nvPr/>
        </p:nvSpPr>
        <p:spPr>
          <a:xfrm>
            <a:off x="190173" y="5655328"/>
            <a:ext cx="1284668" cy="43088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41E50"/>
                </a:solidFill>
                <a:effectLst/>
                <a:uLnTx/>
                <a:uFillTx/>
                <a:latin typeface="Helvetica Light"/>
                <a:ea typeface="+mn-ea"/>
                <a:cs typeface="+mn-cs"/>
              </a:rPr>
              <a:t>Opportunity </a:t>
            </a:r>
            <a:r>
              <a:rPr kumimoji="0" lang="en-US" sz="1100" b="0" i="0" u="none" strike="noStrike" kern="1200" cap="none" spc="0" normalizeH="0" baseline="0" noProof="0" err="1">
                <a:ln>
                  <a:noFill/>
                </a:ln>
                <a:solidFill>
                  <a:srgbClr val="141E50"/>
                </a:solidFill>
                <a:effectLst/>
                <a:uLnTx/>
                <a:uFillTx/>
                <a:latin typeface="Helvetica Light"/>
                <a:ea typeface="+mn-ea"/>
                <a:cs typeface="+mn-cs"/>
              </a:rPr>
              <a:t>Likelihoo</a:t>
            </a:r>
            <a:r>
              <a:rPr kumimoji="0" lang="en-US" sz="1100" b="0" i="0" u="none" strike="noStrike" kern="1200" cap="none" spc="0" normalizeH="0" baseline="0" noProof="0">
                <a:ln>
                  <a:noFill/>
                </a:ln>
                <a:solidFill>
                  <a:srgbClr val="141E50"/>
                </a:solidFill>
                <a:effectLst/>
                <a:uLnTx/>
                <a:uFillTx/>
                <a:latin typeface="Helvetica Light"/>
                <a:ea typeface="+mn-ea"/>
                <a:cs typeface="+mn-cs"/>
              </a:rPr>
              <a:t>d</a:t>
            </a:r>
          </a:p>
        </p:txBody>
      </p:sp>
    </p:spTree>
    <p:extLst>
      <p:ext uri="{BB962C8B-B14F-4D97-AF65-F5344CB8AC3E}">
        <p14:creationId xmlns:p14="http://schemas.microsoft.com/office/powerpoint/2010/main" val="23034119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1F4BEB-CF65-3821-2DFF-256D6C361ACB}"/>
              </a:ext>
            </a:extLst>
          </p:cNvPr>
          <p:cNvSpPr/>
          <p:nvPr/>
        </p:nvSpPr>
        <p:spPr>
          <a:xfrm>
            <a:off x="5521569" y="4546513"/>
            <a:ext cx="5166360" cy="1491195"/>
          </a:xfrm>
          <a:prstGeom prst="rect">
            <a:avLst/>
          </a:prstGeom>
          <a:solidFill>
            <a:schemeClr val="accent4">
              <a:lumMod val="20000"/>
              <a:lumOff val="80000"/>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3" name="Rectangle 2">
            <a:extLst>
              <a:ext uri="{FF2B5EF4-FFF2-40B4-BE49-F238E27FC236}">
                <a16:creationId xmlns:a16="http://schemas.microsoft.com/office/drawing/2014/main" id="{9DC3B2AE-F4DA-FDDE-7705-B0AA42E6DC71}"/>
              </a:ext>
            </a:extLst>
          </p:cNvPr>
          <p:cNvSpPr/>
          <p:nvPr/>
        </p:nvSpPr>
        <p:spPr>
          <a:xfrm>
            <a:off x="5521569" y="2976846"/>
            <a:ext cx="5166360" cy="1491195"/>
          </a:xfrm>
          <a:prstGeom prst="rect">
            <a:avLst/>
          </a:prstGeom>
          <a:solidFill>
            <a:schemeClr val="accent4">
              <a:lumMod val="20000"/>
              <a:lumOff val="80000"/>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4" name="Rectangle 3">
            <a:extLst>
              <a:ext uri="{FF2B5EF4-FFF2-40B4-BE49-F238E27FC236}">
                <a16:creationId xmlns:a16="http://schemas.microsoft.com/office/drawing/2014/main" id="{8D269335-72D1-58FE-7126-00F9ABFBD672}"/>
              </a:ext>
            </a:extLst>
          </p:cNvPr>
          <p:cNvSpPr/>
          <p:nvPr/>
        </p:nvSpPr>
        <p:spPr>
          <a:xfrm>
            <a:off x="731838" y="1532374"/>
            <a:ext cx="4518587" cy="4584857"/>
          </a:xfrm>
          <a:prstGeom prst="rect">
            <a:avLst/>
          </a:prstGeom>
          <a:solidFill>
            <a:schemeClr val="accent4">
              <a:lumMod val="20000"/>
              <a:lumOff val="80000"/>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aphicFrame>
        <p:nvGraphicFramePr>
          <p:cNvPr id="7" name="think-cell data - do not delete" hidden="1">
            <a:extLst>
              <a:ext uri="{FF2B5EF4-FFF2-40B4-BE49-F238E27FC236}">
                <a16:creationId xmlns:a16="http://schemas.microsoft.com/office/drawing/2014/main" id="{3DAD23F4-754F-98A3-D660-3E6718EA43D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3DAD23F4-754F-98A3-D660-3E6718EA43D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0619DC-6895-6969-4897-60F84D9C6961}"/>
              </a:ext>
            </a:extLst>
          </p:cNvPr>
          <p:cNvSpPr>
            <a:spLocks noGrp="1"/>
          </p:cNvSpPr>
          <p:nvPr>
            <p:ph type="title"/>
          </p:nvPr>
        </p:nvSpPr>
        <p:spPr/>
        <p:txBody>
          <a:bodyPr vert="horz">
            <a:normAutofit/>
          </a:bodyPr>
          <a:lstStyle/>
          <a:p>
            <a:r>
              <a:rPr lang="en-US"/>
              <a:t>Sainsbury’s picked StrongPoint</a:t>
            </a:r>
          </a:p>
        </p:txBody>
      </p:sp>
      <p:sp>
        <p:nvSpPr>
          <p:cNvPr id="9" name="Rectangle 8">
            <a:extLst>
              <a:ext uri="{FF2B5EF4-FFF2-40B4-BE49-F238E27FC236}">
                <a16:creationId xmlns:a16="http://schemas.microsoft.com/office/drawing/2014/main" id="{C04C7EE3-2D5F-63D9-DD09-7BE4AB6C6184}"/>
              </a:ext>
            </a:extLst>
          </p:cNvPr>
          <p:cNvSpPr/>
          <p:nvPr/>
        </p:nvSpPr>
        <p:spPr>
          <a:xfrm>
            <a:off x="5521569" y="1532375"/>
            <a:ext cx="5166360" cy="1365998"/>
          </a:xfrm>
          <a:prstGeom prst="rect">
            <a:avLst/>
          </a:prstGeom>
          <a:solidFill>
            <a:schemeClr val="accent4">
              <a:lumMod val="20000"/>
              <a:lumOff val="80000"/>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38" name="TextBox 37">
            <a:extLst>
              <a:ext uri="{FF2B5EF4-FFF2-40B4-BE49-F238E27FC236}">
                <a16:creationId xmlns:a16="http://schemas.microsoft.com/office/drawing/2014/main" id="{EFE61E24-A319-A624-74A6-0D0343CCC6C8}"/>
              </a:ext>
            </a:extLst>
          </p:cNvPr>
          <p:cNvSpPr txBox="1"/>
          <p:nvPr/>
        </p:nvSpPr>
        <p:spPr>
          <a:xfrm>
            <a:off x="5473934" y="1164598"/>
            <a:ext cx="5213994"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832DC">
                    <a:lumMod val="75000"/>
                  </a:srgbClr>
                </a:solidFill>
                <a:effectLst/>
                <a:uLnTx/>
                <a:uFillTx/>
                <a:latin typeface="Helvetica" pitchFamily="2" charset="0"/>
                <a:ea typeface="+mn-ea"/>
                <a:cs typeface="+mn-cs"/>
              </a:rPr>
              <a:t>Potential additional </a:t>
            </a:r>
            <a:r>
              <a:rPr kumimoji="0" lang="en-GB" sz="1600" b="1" i="0" u="none" strike="noStrike" kern="1200" cap="none" spc="0" normalizeH="0" baseline="0" noProof="0" err="1">
                <a:ln>
                  <a:noFill/>
                </a:ln>
                <a:solidFill>
                  <a:srgbClr val="2832DC">
                    <a:lumMod val="75000"/>
                  </a:srgbClr>
                </a:solidFill>
                <a:effectLst/>
                <a:uLnTx/>
                <a:uFillTx/>
                <a:latin typeface="Helvetica" pitchFamily="2" charset="0"/>
                <a:ea typeface="+mn-ea"/>
                <a:cs typeface="+mn-cs"/>
              </a:rPr>
              <a:t>StrongPoint</a:t>
            </a:r>
            <a:r>
              <a:rPr kumimoji="0" lang="en-GB" sz="1600" b="1" i="0" u="none" strike="noStrike" kern="1200" cap="none" spc="0" normalizeH="0" baseline="0" noProof="0">
                <a:ln>
                  <a:noFill/>
                </a:ln>
                <a:solidFill>
                  <a:srgbClr val="2832DC">
                    <a:lumMod val="75000"/>
                  </a:srgbClr>
                </a:solidFill>
                <a:effectLst/>
                <a:uLnTx/>
                <a:uFillTx/>
                <a:latin typeface="Helvetica" pitchFamily="2" charset="0"/>
                <a:ea typeface="+mn-ea"/>
                <a:cs typeface="+mn-cs"/>
              </a:rPr>
              <a:t> solutions</a:t>
            </a:r>
            <a:endParaRPr kumimoji="0" lang="en-US" sz="1600" b="1" i="0" u="none" strike="noStrike" kern="1200" cap="none" spc="0" normalizeH="0" baseline="0" noProof="0">
              <a:ln>
                <a:noFill/>
              </a:ln>
              <a:solidFill>
                <a:srgbClr val="2832DC">
                  <a:lumMod val="75000"/>
                </a:srgbClr>
              </a:solidFill>
              <a:effectLst/>
              <a:uLnTx/>
              <a:uFillTx/>
              <a:latin typeface="Helvetica" pitchFamily="2" charset="0"/>
              <a:ea typeface="+mn-ea"/>
              <a:cs typeface="+mn-cs"/>
            </a:endParaRPr>
          </a:p>
        </p:txBody>
      </p:sp>
      <p:cxnSp>
        <p:nvCxnSpPr>
          <p:cNvPr id="40" name="Straight Connector 39">
            <a:extLst>
              <a:ext uri="{FF2B5EF4-FFF2-40B4-BE49-F238E27FC236}">
                <a16:creationId xmlns:a16="http://schemas.microsoft.com/office/drawing/2014/main" id="{ACEFAF25-A26C-B218-6E26-F079C296C935}"/>
              </a:ext>
            </a:extLst>
          </p:cNvPr>
          <p:cNvCxnSpPr>
            <a:cxnSpLocks/>
          </p:cNvCxnSpPr>
          <p:nvPr/>
        </p:nvCxnSpPr>
        <p:spPr>
          <a:xfrm>
            <a:off x="731839" y="1532374"/>
            <a:ext cx="4518587"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42" name="Straight Connector 41">
            <a:extLst>
              <a:ext uri="{FF2B5EF4-FFF2-40B4-BE49-F238E27FC236}">
                <a16:creationId xmlns:a16="http://schemas.microsoft.com/office/drawing/2014/main" id="{240872A2-E132-0A27-AD76-5464BB171920}"/>
              </a:ext>
            </a:extLst>
          </p:cNvPr>
          <p:cNvCxnSpPr>
            <a:cxnSpLocks/>
          </p:cNvCxnSpPr>
          <p:nvPr/>
        </p:nvCxnSpPr>
        <p:spPr>
          <a:xfrm>
            <a:off x="5517690" y="1532374"/>
            <a:ext cx="5156279" cy="0"/>
          </a:xfrm>
          <a:prstGeom prst="line">
            <a:avLst/>
          </a:prstGeom>
          <a:ln w="12700"/>
        </p:spPr>
        <p:style>
          <a:lnRef idx="1">
            <a:schemeClr val="accent2"/>
          </a:lnRef>
          <a:fillRef idx="0">
            <a:schemeClr val="accent2"/>
          </a:fillRef>
          <a:effectRef idx="0">
            <a:schemeClr val="accent2"/>
          </a:effectRef>
          <a:fontRef idx="minor">
            <a:schemeClr val="tx1"/>
          </a:fontRef>
        </p:style>
      </p:cxnSp>
      <p:pic>
        <p:nvPicPr>
          <p:cNvPr id="16" name="Picture 15" descr="A person in a purple uniform&#10;&#10;Description automatically generated">
            <a:extLst>
              <a:ext uri="{FF2B5EF4-FFF2-40B4-BE49-F238E27FC236}">
                <a16:creationId xmlns:a16="http://schemas.microsoft.com/office/drawing/2014/main" id="{6807FBC2-672B-1CE8-61D6-5F9F0807A93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263460" y="1897353"/>
            <a:ext cx="3409697" cy="3844977"/>
          </a:xfrm>
          <a:prstGeom prst="rect">
            <a:avLst/>
          </a:prstGeom>
          <a:ln>
            <a:solidFill>
              <a:schemeClr val="accent1"/>
            </a:solidFill>
          </a:ln>
          <a:effectLst>
            <a:outerShdw blurRad="101603" dist="38100" dir="2700000" algn="tl" rotWithShape="0">
              <a:prstClr val="black">
                <a:alpha val="40000"/>
              </a:prstClr>
            </a:outerShdw>
          </a:effectLst>
        </p:spPr>
      </p:pic>
      <p:sp>
        <p:nvSpPr>
          <p:cNvPr id="28" name="TextBox 27">
            <a:extLst>
              <a:ext uri="{FF2B5EF4-FFF2-40B4-BE49-F238E27FC236}">
                <a16:creationId xmlns:a16="http://schemas.microsoft.com/office/drawing/2014/main" id="{94DD6BE4-1109-DBF9-8447-B8C9D4AE0510}"/>
              </a:ext>
            </a:extLst>
          </p:cNvPr>
          <p:cNvSpPr txBox="1"/>
          <p:nvPr/>
        </p:nvSpPr>
        <p:spPr>
          <a:xfrm>
            <a:off x="679730" y="1164598"/>
            <a:ext cx="451858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832DC">
                    <a:lumMod val="75000"/>
                  </a:srgbClr>
                </a:solidFill>
                <a:effectLst/>
                <a:uLnTx/>
                <a:uFillTx/>
                <a:latin typeface="Helvetica" pitchFamily="2" charset="0"/>
                <a:ea typeface="+mn-ea"/>
                <a:cs typeface="+mn-cs"/>
              </a:rPr>
              <a:t>Contract signed Q1 2024</a:t>
            </a:r>
            <a:endParaRPr kumimoji="0" lang="en-US" sz="1600" b="1" i="0" u="none" strike="noStrike" kern="1200" cap="none" spc="0" normalizeH="0" baseline="0" noProof="0">
              <a:ln>
                <a:noFill/>
              </a:ln>
              <a:solidFill>
                <a:srgbClr val="2832DC">
                  <a:lumMod val="75000"/>
                </a:srgbClr>
              </a:solidFill>
              <a:effectLst/>
              <a:uLnTx/>
              <a:uFillTx/>
              <a:latin typeface="Helvetica" pitchFamily="2" charset="0"/>
              <a:ea typeface="+mn-ea"/>
              <a:cs typeface="+mn-cs"/>
            </a:endParaRPr>
          </a:p>
        </p:txBody>
      </p:sp>
      <p:pic>
        <p:nvPicPr>
          <p:cNvPr id="1028" name="Picture 4" descr="8 tips to maximize grocery locker operational efficiency - StrongPoint">
            <a:extLst>
              <a:ext uri="{FF2B5EF4-FFF2-40B4-BE49-F238E27FC236}">
                <a16:creationId xmlns:a16="http://schemas.microsoft.com/office/drawing/2014/main" id="{E1F3F92E-A329-1CD2-9C9F-5D2C0F50A67B}"/>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8353546" y="3034097"/>
            <a:ext cx="2235759" cy="1370263"/>
          </a:xfrm>
          <a:prstGeom prst="rect">
            <a:avLst/>
          </a:prstGeom>
          <a:ln>
            <a:solidFill>
              <a:schemeClr val="accent1"/>
            </a:solidFill>
          </a:ln>
          <a:effectLst/>
          <a:extLst>
            <a:ext uri="{909E8E84-426E-40DD-AFC4-6F175D3DCCD1}">
              <a14:hiddenFill xmlns:a14="http://schemas.microsoft.com/office/drawing/2010/main">
                <a:solidFill>
                  <a:srgbClr val="FFFFFF"/>
                </a:solidFill>
              </a14:hiddenFill>
            </a:ext>
          </a:extLst>
        </p:spPr>
      </p:pic>
      <p:pic>
        <p:nvPicPr>
          <p:cNvPr id="1030" name="Picture 6" descr="Picture2">
            <a:extLst>
              <a:ext uri="{FF2B5EF4-FFF2-40B4-BE49-F238E27FC236}">
                <a16:creationId xmlns:a16="http://schemas.microsoft.com/office/drawing/2014/main" id="{BB47F8A9-099C-36F0-E2E2-97DCA99D17A9}"/>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8353544" y="1615208"/>
            <a:ext cx="2235759" cy="1243257"/>
          </a:xfrm>
          <a:prstGeom prst="rect">
            <a:avLst/>
          </a:prstGeom>
          <a:ln>
            <a:solidFill>
              <a:schemeClr val="accent1"/>
            </a:solidFill>
          </a:ln>
          <a:effectLst/>
          <a:extLst>
            <a:ext uri="{909E8E84-426E-40DD-AFC4-6F175D3DCCD1}">
              <a14:hiddenFill xmlns:a14="http://schemas.microsoft.com/office/drawing/2010/main">
                <a:solidFill>
                  <a:srgbClr val="FFFFFF"/>
                </a:solidFill>
              </a14:hiddenFill>
            </a:ext>
          </a:extLst>
        </p:spPr>
      </p:pic>
      <p:pic>
        <p:nvPicPr>
          <p:cNvPr id="1032" name="Picture 8" descr="Big time efficiency savings with electronic shelf labels - StrongPoint">
            <a:extLst>
              <a:ext uri="{FF2B5EF4-FFF2-40B4-BE49-F238E27FC236}">
                <a16:creationId xmlns:a16="http://schemas.microsoft.com/office/drawing/2014/main" id="{A0AC4E47-35BC-3D03-334A-8968A2B67765}"/>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8353545" y="4619015"/>
            <a:ext cx="2235759" cy="1324586"/>
          </a:xfrm>
          <a:prstGeom prst="rect">
            <a:avLst/>
          </a:prstGeom>
          <a:ln>
            <a:solidFill>
              <a:schemeClr val="accent1"/>
            </a:solidFill>
          </a:ln>
          <a:effectLst/>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7BF54D67-9F6A-D700-44D7-21BCCC9556A2}"/>
              </a:ext>
            </a:extLst>
          </p:cNvPr>
          <p:cNvSpPr txBox="1"/>
          <p:nvPr/>
        </p:nvSpPr>
        <p:spPr>
          <a:xfrm>
            <a:off x="6905615" y="2077278"/>
            <a:ext cx="1244267"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err="1">
                <a:ln>
                  <a:noFill/>
                </a:ln>
                <a:solidFill>
                  <a:srgbClr val="141E50"/>
                </a:solidFill>
                <a:effectLst/>
                <a:uLnTx/>
                <a:uFillTx/>
                <a:latin typeface="Helvetica" pitchFamily="2" charset="0"/>
                <a:ea typeface="+mn-ea"/>
                <a:cs typeface="+mn-cs"/>
              </a:rPr>
              <a:t>Vensafe</a:t>
            </a:r>
            <a:endParaRPr kumimoji="0" lang="en-GB" sz="1600" b="1" i="0" u="none" strike="noStrike" kern="1200" cap="none" spc="0" normalizeH="0" baseline="0" noProof="0">
              <a:ln>
                <a:noFill/>
              </a:ln>
              <a:solidFill>
                <a:srgbClr val="141E50"/>
              </a:solidFill>
              <a:effectLst/>
              <a:uLnTx/>
              <a:uFillTx/>
              <a:latin typeface="Helvetica" pitchFamily="2" charset="0"/>
              <a:ea typeface="+mn-ea"/>
              <a:cs typeface="+mn-cs"/>
            </a:endParaRPr>
          </a:p>
        </p:txBody>
      </p:sp>
      <p:sp>
        <p:nvSpPr>
          <p:cNvPr id="13" name="TextBox 12">
            <a:extLst>
              <a:ext uri="{FF2B5EF4-FFF2-40B4-BE49-F238E27FC236}">
                <a16:creationId xmlns:a16="http://schemas.microsoft.com/office/drawing/2014/main" id="{DE33EC11-856F-1503-50F5-CDD50871D32A}"/>
              </a:ext>
            </a:extLst>
          </p:cNvPr>
          <p:cNvSpPr txBox="1"/>
          <p:nvPr/>
        </p:nvSpPr>
        <p:spPr>
          <a:xfrm>
            <a:off x="6183922" y="3513403"/>
            <a:ext cx="1965960"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141E50"/>
                </a:solidFill>
                <a:effectLst/>
                <a:uLnTx/>
                <a:uFillTx/>
                <a:latin typeface="Helvetica" pitchFamily="2" charset="0"/>
                <a:ea typeface="+mn-ea"/>
                <a:cs typeface="+mn-cs"/>
              </a:rPr>
              <a:t>Grocery Lockers </a:t>
            </a:r>
          </a:p>
        </p:txBody>
      </p:sp>
      <p:sp>
        <p:nvSpPr>
          <p:cNvPr id="15" name="TextBox 14">
            <a:extLst>
              <a:ext uri="{FF2B5EF4-FFF2-40B4-BE49-F238E27FC236}">
                <a16:creationId xmlns:a16="http://schemas.microsoft.com/office/drawing/2014/main" id="{6E5F168D-A6EE-A46A-52F5-904274F011FF}"/>
              </a:ext>
            </a:extLst>
          </p:cNvPr>
          <p:cNvSpPr txBox="1"/>
          <p:nvPr/>
        </p:nvSpPr>
        <p:spPr>
          <a:xfrm>
            <a:off x="5629083" y="5156348"/>
            <a:ext cx="2675948"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141E50"/>
                </a:solidFill>
                <a:effectLst/>
                <a:uLnTx/>
                <a:uFillTx/>
                <a:latin typeface="Helvetica" pitchFamily="2" charset="0"/>
                <a:ea typeface="+mn-ea"/>
                <a:cs typeface="+mn-cs"/>
              </a:rPr>
              <a:t>Electronic Shelf Labels</a:t>
            </a:r>
          </a:p>
        </p:txBody>
      </p:sp>
    </p:spTree>
    <p:extLst>
      <p:ext uri="{BB962C8B-B14F-4D97-AF65-F5344CB8AC3E}">
        <p14:creationId xmlns:p14="http://schemas.microsoft.com/office/powerpoint/2010/main" val="14315647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arking garage with a sign&#10;&#10;Description automatically generated">
            <a:extLst>
              <a:ext uri="{FF2B5EF4-FFF2-40B4-BE49-F238E27FC236}">
                <a16:creationId xmlns:a16="http://schemas.microsoft.com/office/drawing/2014/main" id="{37368772-4F6F-E152-A674-CEEDDE1F2280}"/>
              </a:ext>
            </a:extLst>
          </p:cNvPr>
          <p:cNvPicPr>
            <a:picLocks noChangeAspect="1"/>
          </p:cNvPicPr>
          <p:nvPr/>
        </p:nvPicPr>
        <p:blipFill rotWithShape="1">
          <a:blip r:embed="rId3" cstate="screen">
            <a:alphaModFix amt="31000"/>
            <a:extLst>
              <a:ext uri="{28A0092B-C50C-407E-A947-70E740481C1C}">
                <a14:useLocalDpi xmlns:a14="http://schemas.microsoft.com/office/drawing/2010/main"/>
              </a:ext>
            </a:extLst>
          </a:blip>
          <a:srcRect/>
          <a:stretch/>
        </p:blipFill>
        <p:spPr>
          <a:xfrm>
            <a:off x="0" y="1"/>
            <a:ext cx="12192000" cy="6858000"/>
          </a:xfrm>
          <a:prstGeom prst="rect">
            <a:avLst/>
          </a:prstGeom>
        </p:spPr>
      </p:pic>
      <p:graphicFrame>
        <p:nvGraphicFramePr>
          <p:cNvPr id="3" name="think-cell data - do not delete" hidden="1">
            <a:extLst>
              <a:ext uri="{FF2B5EF4-FFF2-40B4-BE49-F238E27FC236}">
                <a16:creationId xmlns:a16="http://schemas.microsoft.com/office/drawing/2014/main" id="{7671BB0A-FE7C-719D-597A-B4EB0C6E021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7671BB0A-FE7C-719D-597A-B4EB0C6E021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31F06077-752C-07E8-8179-979719D4AC4F}"/>
              </a:ext>
            </a:extLst>
          </p:cNvPr>
          <p:cNvSpPr>
            <a:spLocks noGrp="1"/>
          </p:cNvSpPr>
          <p:nvPr>
            <p:ph type="title"/>
          </p:nvPr>
        </p:nvSpPr>
        <p:spPr>
          <a:xfrm>
            <a:off x="1227692" y="3373234"/>
            <a:ext cx="8394291" cy="1886926"/>
          </a:xfrm>
          <a:prstGeom prst="rect">
            <a:avLst/>
          </a:prstGeom>
        </p:spPr>
        <p:txBody>
          <a:bodyPr vert="horz" lIns="91440" tIns="45720" rIns="91440" bIns="45720" anchor="b">
            <a:normAutofit/>
          </a:bodyPr>
          <a:lstStyle>
            <a:lvl1pPr>
              <a:defRPr sz="4000" b="0" i="0">
                <a:solidFill>
                  <a:schemeClr val="bg1"/>
                </a:solidFill>
                <a:latin typeface="Helvetica Light" panose="020B0403020202020204" pitchFamily="34" charset="0"/>
              </a:defRPr>
            </a:lvl1pPr>
          </a:lstStyle>
          <a:p>
            <a:r>
              <a:rPr lang="en-US" sz="6600"/>
              <a:t>Spain</a:t>
            </a:r>
          </a:p>
        </p:txBody>
      </p:sp>
      <p:cxnSp>
        <p:nvCxnSpPr>
          <p:cNvPr id="10" name="Straight Connector 9">
            <a:extLst>
              <a:ext uri="{FF2B5EF4-FFF2-40B4-BE49-F238E27FC236}">
                <a16:creationId xmlns:a16="http://schemas.microsoft.com/office/drawing/2014/main" id="{19C55B9A-411C-CCD2-7C44-86752FEDAFEE}"/>
              </a:ext>
            </a:extLst>
          </p:cNvPr>
          <p:cNvCxnSpPr>
            <a:cxnSpLocks/>
          </p:cNvCxnSpPr>
          <p:nvPr/>
        </p:nvCxnSpPr>
        <p:spPr>
          <a:xfrm>
            <a:off x="1315186" y="5260160"/>
            <a:ext cx="85977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Bilde 3">
            <a:extLst>
              <a:ext uri="{FF2B5EF4-FFF2-40B4-BE49-F238E27FC236}">
                <a16:creationId xmlns:a16="http://schemas.microsoft.com/office/drawing/2014/main" id="{1CFE7C1A-03C1-DA39-0257-9C11128F2B8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315186" y="5601342"/>
            <a:ext cx="2737020" cy="478520"/>
          </a:xfrm>
          <a:prstGeom prst="rect">
            <a:avLst/>
          </a:prstGeom>
        </p:spPr>
      </p:pic>
    </p:spTree>
    <p:extLst>
      <p:ext uri="{BB962C8B-B14F-4D97-AF65-F5344CB8AC3E}">
        <p14:creationId xmlns:p14="http://schemas.microsoft.com/office/powerpoint/2010/main" val="6213573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Rectangle 126">
            <a:extLst>
              <a:ext uri="{FF2B5EF4-FFF2-40B4-BE49-F238E27FC236}">
                <a16:creationId xmlns:a16="http://schemas.microsoft.com/office/drawing/2014/main" id="{730B5C3B-9627-EF03-F965-0143498A4A93}"/>
              </a:ext>
            </a:extLst>
          </p:cNvPr>
          <p:cNvSpPr/>
          <p:nvPr/>
        </p:nvSpPr>
        <p:spPr>
          <a:xfrm>
            <a:off x="717329" y="1585655"/>
            <a:ext cx="11505151" cy="4329185"/>
          </a:xfrm>
          <a:prstGeom prst="rect">
            <a:avLst/>
          </a:prstGeom>
          <a:solidFill>
            <a:schemeClr val="accent4">
              <a:lumMod val="20000"/>
              <a:lumOff val="80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7" name="Title 1">
            <a:extLst>
              <a:ext uri="{FF2B5EF4-FFF2-40B4-BE49-F238E27FC236}">
                <a16:creationId xmlns:a16="http://schemas.microsoft.com/office/drawing/2014/main" id="{3233D1D5-DDFB-8B77-E484-D47521D22FC4}"/>
              </a:ext>
            </a:extLst>
          </p:cNvPr>
          <p:cNvSpPr txBox="1">
            <a:spLocks/>
          </p:cNvSpPr>
          <p:nvPr/>
        </p:nvSpPr>
        <p:spPr>
          <a:xfrm>
            <a:off x="728947" y="475753"/>
            <a:ext cx="8991981" cy="657738"/>
          </a:xfrm>
          <a:prstGeom prst="rect">
            <a:avLst/>
          </a:prstGeom>
        </p:spPr>
        <p:txBody>
          <a:bodyPr anchor="t">
            <a:normAutofit/>
          </a:bodyPr>
          <a:lstStyle>
            <a:lvl1pPr algn="l" defTabSz="914400" rtl="0" eaLnBrk="1" latinLnBrk="0" hangingPunct="1">
              <a:lnSpc>
                <a:spcPct val="90000"/>
              </a:lnSpc>
              <a:spcBef>
                <a:spcPct val="0"/>
              </a:spcBef>
              <a:buNone/>
              <a:defRPr sz="4000" b="0" i="0" kern="1200">
                <a:solidFill>
                  <a:schemeClr val="accent1"/>
                </a:solidFill>
                <a:latin typeface="Helvetica Light" panose="020B0403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a:ln>
                  <a:noFill/>
                </a:ln>
                <a:solidFill>
                  <a:srgbClr val="2832DC"/>
                </a:solidFill>
                <a:effectLst/>
                <a:uLnTx/>
                <a:uFillTx/>
                <a:latin typeface="Helvetica Light" panose="020B0403020202020204" pitchFamily="34" charset="0"/>
                <a:ea typeface="+mj-ea"/>
                <a:cs typeface="+mj-cs"/>
              </a:rPr>
              <a:t>StrongPoint at a glance</a:t>
            </a:r>
            <a:endParaRPr kumimoji="0" lang="en-US" sz="4000" b="1" i="0" u="none" strike="noStrike" kern="1200" cap="none" spc="0" normalizeH="0" baseline="0" noProof="0">
              <a:ln>
                <a:noFill/>
              </a:ln>
              <a:solidFill>
                <a:srgbClr val="2832DC"/>
              </a:solidFill>
              <a:effectLst/>
              <a:uLnTx/>
              <a:uFillTx/>
              <a:latin typeface="Helvetica" pitchFamily="2" charset="0"/>
              <a:ea typeface="+mj-ea"/>
              <a:cs typeface="+mj-cs"/>
            </a:endParaRPr>
          </a:p>
        </p:txBody>
      </p:sp>
      <p:sp>
        <p:nvSpPr>
          <p:cNvPr id="19" name="Text Placeholder 3">
            <a:extLst>
              <a:ext uri="{FF2B5EF4-FFF2-40B4-BE49-F238E27FC236}">
                <a16:creationId xmlns:a16="http://schemas.microsoft.com/office/drawing/2014/main" id="{EE566DF3-D001-BA78-841B-E38B6EC0885B}"/>
              </a:ext>
            </a:extLst>
          </p:cNvPr>
          <p:cNvSpPr txBox="1">
            <a:spLocks/>
          </p:cNvSpPr>
          <p:nvPr/>
        </p:nvSpPr>
        <p:spPr>
          <a:xfrm>
            <a:off x="1460949" y="2810614"/>
            <a:ext cx="1670348" cy="863512"/>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Countries with</a:t>
            </a:r>
            <a:br>
              <a:rPr kumimoji="0" lang="en-US"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br>
            <a:r>
              <a:rPr kumimoji="0" lang="en-US"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full sales, service and support </a:t>
            </a:r>
          </a:p>
        </p:txBody>
      </p:sp>
      <p:sp>
        <p:nvSpPr>
          <p:cNvPr id="20" name="Text Placeholder 3">
            <a:extLst>
              <a:ext uri="{FF2B5EF4-FFF2-40B4-BE49-F238E27FC236}">
                <a16:creationId xmlns:a16="http://schemas.microsoft.com/office/drawing/2014/main" id="{2D5EB13F-F026-72D3-4B84-BB701343E0EF}"/>
              </a:ext>
            </a:extLst>
          </p:cNvPr>
          <p:cNvSpPr txBox="1">
            <a:spLocks/>
          </p:cNvSpPr>
          <p:nvPr/>
        </p:nvSpPr>
        <p:spPr>
          <a:xfrm>
            <a:off x="2596893" y="2810614"/>
            <a:ext cx="1244906" cy="863512"/>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9</a:t>
            </a:r>
            <a:endParaRPr kumimoji="0" lang="en-US"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pic>
        <p:nvPicPr>
          <p:cNvPr id="35" name="Graphic 34">
            <a:extLst>
              <a:ext uri="{FF2B5EF4-FFF2-40B4-BE49-F238E27FC236}">
                <a16:creationId xmlns:a16="http://schemas.microsoft.com/office/drawing/2014/main" id="{7AC3F19E-EFEA-66AC-90BC-593C2A7248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30672" y="3017158"/>
            <a:ext cx="450425" cy="450425"/>
          </a:xfrm>
          <a:prstGeom prst="rect">
            <a:avLst/>
          </a:prstGeom>
        </p:spPr>
      </p:pic>
      <p:sp>
        <p:nvSpPr>
          <p:cNvPr id="15" name="Text Placeholder 3">
            <a:extLst>
              <a:ext uri="{FF2B5EF4-FFF2-40B4-BE49-F238E27FC236}">
                <a16:creationId xmlns:a16="http://schemas.microsoft.com/office/drawing/2014/main" id="{608E1258-2150-6210-4724-E3311B08E331}"/>
              </a:ext>
            </a:extLst>
          </p:cNvPr>
          <p:cNvSpPr txBox="1">
            <a:spLocks/>
          </p:cNvSpPr>
          <p:nvPr/>
        </p:nvSpPr>
        <p:spPr>
          <a:xfrm>
            <a:off x="1460949" y="1729772"/>
            <a:ext cx="1494022" cy="861613"/>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Years in business</a:t>
            </a:r>
          </a:p>
        </p:txBody>
      </p:sp>
      <p:sp>
        <p:nvSpPr>
          <p:cNvPr id="16" name="Text Placeholder 3">
            <a:extLst>
              <a:ext uri="{FF2B5EF4-FFF2-40B4-BE49-F238E27FC236}">
                <a16:creationId xmlns:a16="http://schemas.microsoft.com/office/drawing/2014/main" id="{E2D87F27-6494-1F8D-FD2A-E05C5FCD1136}"/>
              </a:ext>
            </a:extLst>
          </p:cNvPr>
          <p:cNvSpPr txBox="1">
            <a:spLocks/>
          </p:cNvSpPr>
          <p:nvPr/>
        </p:nvSpPr>
        <p:spPr>
          <a:xfrm>
            <a:off x="2596893" y="1729772"/>
            <a:ext cx="1244906" cy="861613"/>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39</a:t>
            </a:r>
            <a:endParaRPr kumimoji="0" lang="en-US"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pic>
        <p:nvPicPr>
          <p:cNvPr id="37" name="Graphic 36">
            <a:extLst>
              <a:ext uri="{FF2B5EF4-FFF2-40B4-BE49-F238E27FC236}">
                <a16:creationId xmlns:a16="http://schemas.microsoft.com/office/drawing/2014/main" id="{94515375-548B-50D1-15D1-64E8D316A1AC}"/>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95308" y="1900002"/>
            <a:ext cx="521153" cy="521153"/>
          </a:xfrm>
          <a:prstGeom prst="rect">
            <a:avLst/>
          </a:prstGeom>
        </p:spPr>
      </p:pic>
      <p:sp>
        <p:nvSpPr>
          <p:cNvPr id="43" name="Text Placeholder 3">
            <a:extLst>
              <a:ext uri="{FF2B5EF4-FFF2-40B4-BE49-F238E27FC236}">
                <a16:creationId xmlns:a16="http://schemas.microsoft.com/office/drawing/2014/main" id="{1CDE7D55-72CE-61FF-A246-062BF8E71A4F}"/>
              </a:ext>
            </a:extLst>
          </p:cNvPr>
          <p:cNvSpPr txBox="1">
            <a:spLocks/>
          </p:cNvSpPr>
          <p:nvPr/>
        </p:nvSpPr>
        <p:spPr>
          <a:xfrm>
            <a:off x="1481224" y="4936708"/>
            <a:ext cx="1494022" cy="863512"/>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Countries covered with partners </a:t>
            </a:r>
          </a:p>
        </p:txBody>
      </p:sp>
      <p:sp>
        <p:nvSpPr>
          <p:cNvPr id="45" name="Text Placeholder 3">
            <a:extLst>
              <a:ext uri="{FF2B5EF4-FFF2-40B4-BE49-F238E27FC236}">
                <a16:creationId xmlns:a16="http://schemas.microsoft.com/office/drawing/2014/main" id="{D03CA81D-654D-FB65-F37D-84720E786376}"/>
              </a:ext>
            </a:extLst>
          </p:cNvPr>
          <p:cNvSpPr txBox="1">
            <a:spLocks/>
          </p:cNvSpPr>
          <p:nvPr/>
        </p:nvSpPr>
        <p:spPr>
          <a:xfrm>
            <a:off x="2617168" y="4936708"/>
            <a:ext cx="1244906" cy="863512"/>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20</a:t>
            </a:r>
            <a:endParaRPr kumimoji="0" lang="en-US"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pic>
        <p:nvPicPr>
          <p:cNvPr id="126" name="Graphic 125">
            <a:extLst>
              <a:ext uri="{FF2B5EF4-FFF2-40B4-BE49-F238E27FC236}">
                <a16:creationId xmlns:a16="http://schemas.microsoft.com/office/drawing/2014/main" id="{5C16B17C-C40E-9AB7-31F4-388DC4B0DCAA}"/>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88991" y="5122860"/>
            <a:ext cx="574337" cy="574337"/>
          </a:xfrm>
          <a:prstGeom prst="rect">
            <a:avLst/>
          </a:prstGeom>
        </p:spPr>
      </p:pic>
      <p:sp>
        <p:nvSpPr>
          <p:cNvPr id="21" name="Text Placeholder 3">
            <a:extLst>
              <a:ext uri="{FF2B5EF4-FFF2-40B4-BE49-F238E27FC236}">
                <a16:creationId xmlns:a16="http://schemas.microsoft.com/office/drawing/2014/main" id="{8E20CA5D-0C81-9877-ECFC-D33937E49EAF}"/>
              </a:ext>
            </a:extLst>
          </p:cNvPr>
          <p:cNvSpPr txBox="1">
            <a:spLocks/>
          </p:cNvSpPr>
          <p:nvPr/>
        </p:nvSpPr>
        <p:spPr>
          <a:xfrm>
            <a:off x="4777781" y="3841824"/>
            <a:ext cx="1975749" cy="865600"/>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Listed on Oslo</a:t>
            </a:r>
            <a:br>
              <a:rPr kumimoji="0" lang="en-US"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br>
            <a:r>
              <a:rPr kumimoji="0" lang="en-US"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Stock Exchange</a:t>
            </a:r>
            <a:br>
              <a:rPr kumimoji="0" lang="en-US"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br>
            <a:r>
              <a:rPr kumimoji="0" lang="en-US"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since </a:t>
            </a:r>
          </a:p>
        </p:txBody>
      </p:sp>
      <p:sp>
        <p:nvSpPr>
          <p:cNvPr id="22" name="Text Placeholder 3">
            <a:extLst>
              <a:ext uri="{FF2B5EF4-FFF2-40B4-BE49-F238E27FC236}">
                <a16:creationId xmlns:a16="http://schemas.microsoft.com/office/drawing/2014/main" id="{BB782AD9-E3B8-0E44-D249-5CD47F5D476F}"/>
              </a:ext>
            </a:extLst>
          </p:cNvPr>
          <p:cNvSpPr txBox="1">
            <a:spLocks/>
          </p:cNvSpPr>
          <p:nvPr/>
        </p:nvSpPr>
        <p:spPr>
          <a:xfrm>
            <a:off x="6326249" y="3841824"/>
            <a:ext cx="1244906" cy="865600"/>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2003</a:t>
            </a:r>
            <a:endParaRPr kumimoji="0" lang="en-US"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grpSp>
        <p:nvGrpSpPr>
          <p:cNvPr id="68" name="Group 67">
            <a:extLst>
              <a:ext uri="{FF2B5EF4-FFF2-40B4-BE49-F238E27FC236}">
                <a16:creationId xmlns:a16="http://schemas.microsoft.com/office/drawing/2014/main" id="{7E9917AB-60C9-5D52-17D1-B4E759BCD356}"/>
              </a:ext>
            </a:extLst>
          </p:cNvPr>
          <p:cNvGrpSpPr/>
          <p:nvPr/>
        </p:nvGrpSpPr>
        <p:grpSpPr>
          <a:xfrm>
            <a:off x="4209874" y="3956479"/>
            <a:ext cx="490136" cy="636291"/>
            <a:chOff x="4209526" y="4300195"/>
            <a:chExt cx="490136" cy="636291"/>
          </a:xfrm>
        </p:grpSpPr>
        <p:pic>
          <p:nvPicPr>
            <p:cNvPr id="41" name="Picture 40">
              <a:extLst>
                <a:ext uri="{FF2B5EF4-FFF2-40B4-BE49-F238E27FC236}">
                  <a16:creationId xmlns:a16="http://schemas.microsoft.com/office/drawing/2014/main" id="{A7FA81AE-C1C4-7E71-E30C-9CE78C3079BF}"/>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b="-1"/>
            <a:stretch/>
          </p:blipFill>
          <p:spPr>
            <a:xfrm>
              <a:off x="4209526" y="4300195"/>
              <a:ext cx="490136" cy="202897"/>
            </a:xfrm>
            <a:prstGeom prst="rect">
              <a:avLst/>
            </a:prstGeom>
          </p:spPr>
        </p:pic>
        <p:pic>
          <p:nvPicPr>
            <p:cNvPr id="33" name="Picture 32">
              <a:extLst>
                <a:ext uri="{FF2B5EF4-FFF2-40B4-BE49-F238E27FC236}">
                  <a16:creationId xmlns:a16="http://schemas.microsoft.com/office/drawing/2014/main" id="{78BFB3BD-FC35-C078-C8E5-93DBEB0924ED}"/>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t="-1" b="-10880"/>
            <a:stretch/>
          </p:blipFill>
          <p:spPr>
            <a:xfrm>
              <a:off x="4310728" y="4570512"/>
              <a:ext cx="311085" cy="365974"/>
            </a:xfrm>
            <a:prstGeom prst="rect">
              <a:avLst/>
            </a:prstGeom>
          </p:spPr>
        </p:pic>
      </p:grpSp>
      <p:sp>
        <p:nvSpPr>
          <p:cNvPr id="5" name="Text Placeholder 3">
            <a:extLst>
              <a:ext uri="{FF2B5EF4-FFF2-40B4-BE49-F238E27FC236}">
                <a16:creationId xmlns:a16="http://schemas.microsoft.com/office/drawing/2014/main" id="{8F4929D5-4AC7-CF73-054A-1C6D21A0662C}"/>
              </a:ext>
            </a:extLst>
          </p:cNvPr>
          <p:cNvSpPr txBox="1">
            <a:spLocks/>
          </p:cNvSpPr>
          <p:nvPr/>
        </p:nvSpPr>
        <p:spPr>
          <a:xfrm>
            <a:off x="4777781" y="2791273"/>
            <a:ext cx="1607145" cy="863512"/>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NOK annual revenue</a:t>
            </a:r>
          </a:p>
        </p:txBody>
      </p:sp>
      <p:sp>
        <p:nvSpPr>
          <p:cNvPr id="27" name="Text Placeholder 3">
            <a:extLst>
              <a:ext uri="{FF2B5EF4-FFF2-40B4-BE49-F238E27FC236}">
                <a16:creationId xmlns:a16="http://schemas.microsoft.com/office/drawing/2014/main" id="{70D709AD-1D52-8896-BDFB-0B39107AC3E9}"/>
              </a:ext>
            </a:extLst>
          </p:cNvPr>
          <p:cNvSpPr txBox="1">
            <a:spLocks/>
          </p:cNvSpPr>
          <p:nvPr/>
        </p:nvSpPr>
        <p:spPr>
          <a:xfrm>
            <a:off x="6077057" y="2791273"/>
            <a:ext cx="1494098" cy="863512"/>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1.35Bn</a:t>
            </a:r>
            <a:endParaRPr kumimoji="0" lang="en-US"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grpSp>
        <p:nvGrpSpPr>
          <p:cNvPr id="129" name="Group 128">
            <a:extLst>
              <a:ext uri="{FF2B5EF4-FFF2-40B4-BE49-F238E27FC236}">
                <a16:creationId xmlns:a16="http://schemas.microsoft.com/office/drawing/2014/main" id="{2DF04339-1ACF-346C-8FC1-0F830BB0A2E5}"/>
              </a:ext>
            </a:extLst>
          </p:cNvPr>
          <p:cNvGrpSpPr/>
          <p:nvPr/>
        </p:nvGrpSpPr>
        <p:grpSpPr>
          <a:xfrm>
            <a:off x="4166452" y="2933931"/>
            <a:ext cx="578197" cy="578197"/>
            <a:chOff x="4059568" y="3584731"/>
            <a:chExt cx="687018" cy="687018"/>
          </a:xfrm>
        </p:grpSpPr>
        <p:grpSp>
          <p:nvGrpSpPr>
            <p:cNvPr id="128" name="Group 127">
              <a:extLst>
                <a:ext uri="{FF2B5EF4-FFF2-40B4-BE49-F238E27FC236}">
                  <a16:creationId xmlns:a16="http://schemas.microsoft.com/office/drawing/2014/main" id="{E5C83877-4FD9-A544-777D-BE0EEEAC2B14}"/>
                </a:ext>
              </a:extLst>
            </p:cNvPr>
            <p:cNvGrpSpPr/>
            <p:nvPr/>
          </p:nvGrpSpPr>
          <p:grpSpPr>
            <a:xfrm>
              <a:off x="4059568" y="3584731"/>
              <a:ext cx="687018" cy="687018"/>
              <a:chOff x="4059568" y="3584731"/>
              <a:chExt cx="687018" cy="687018"/>
            </a:xfrm>
          </p:grpSpPr>
          <p:pic>
            <p:nvPicPr>
              <p:cNvPr id="106" name="Graphic 105">
                <a:extLst>
                  <a:ext uri="{FF2B5EF4-FFF2-40B4-BE49-F238E27FC236}">
                    <a16:creationId xmlns:a16="http://schemas.microsoft.com/office/drawing/2014/main" id="{489A8F64-75EB-0A59-6050-3D0987F0774F}"/>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059568" y="3584731"/>
                <a:ext cx="687018" cy="687018"/>
              </a:xfrm>
              <a:prstGeom prst="rect">
                <a:avLst/>
              </a:prstGeom>
            </p:spPr>
          </p:pic>
          <p:sp>
            <p:nvSpPr>
              <p:cNvPr id="125" name="Oval 124">
                <a:extLst>
                  <a:ext uri="{FF2B5EF4-FFF2-40B4-BE49-F238E27FC236}">
                    <a16:creationId xmlns:a16="http://schemas.microsoft.com/office/drawing/2014/main" id="{943F3044-1A52-B76E-AD29-A12D14DA46B2}"/>
                  </a:ext>
                </a:extLst>
              </p:cNvPr>
              <p:cNvSpPr/>
              <p:nvPr/>
            </p:nvSpPr>
            <p:spPr>
              <a:xfrm>
                <a:off x="4241874" y="3964119"/>
                <a:ext cx="160031" cy="160031"/>
              </a:xfrm>
              <a:prstGeom prst="ellipse">
                <a:avLst/>
              </a:prstGeom>
              <a:solidFill>
                <a:srgbClr val="F2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pSp>
        <p:sp>
          <p:nvSpPr>
            <p:cNvPr id="107" name="Text Placeholder 3">
              <a:extLst>
                <a:ext uri="{FF2B5EF4-FFF2-40B4-BE49-F238E27FC236}">
                  <a16:creationId xmlns:a16="http://schemas.microsoft.com/office/drawing/2014/main" id="{96C99AD2-91E3-CF33-5D3A-D4DBA6B0452C}"/>
                </a:ext>
              </a:extLst>
            </p:cNvPr>
            <p:cNvSpPr txBox="1">
              <a:spLocks/>
            </p:cNvSpPr>
            <p:nvPr/>
          </p:nvSpPr>
          <p:spPr>
            <a:xfrm>
              <a:off x="4192393" y="3919654"/>
              <a:ext cx="255134" cy="265142"/>
            </a:xfrm>
            <a:prstGeom prst="rect">
              <a:avLst/>
            </a:prstGeom>
          </p:spPr>
          <p:txBody>
            <a:bodyPr lIns="0" tIns="0" rIns="0" bIns="0"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Kr</a:t>
              </a:r>
              <a:endParaRPr kumimoji="0" lang="en-US" sz="800" b="1"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grpSp>
      <p:grpSp>
        <p:nvGrpSpPr>
          <p:cNvPr id="4" name="Group 3">
            <a:extLst>
              <a:ext uri="{FF2B5EF4-FFF2-40B4-BE49-F238E27FC236}">
                <a16:creationId xmlns:a16="http://schemas.microsoft.com/office/drawing/2014/main" id="{15A30E02-96AB-3F90-09D7-5949D553F28D}"/>
              </a:ext>
            </a:extLst>
          </p:cNvPr>
          <p:cNvGrpSpPr/>
          <p:nvPr/>
        </p:nvGrpSpPr>
        <p:grpSpPr>
          <a:xfrm>
            <a:off x="4129724" y="1594687"/>
            <a:ext cx="3506035" cy="4309759"/>
            <a:chOff x="4129724" y="1594687"/>
            <a:chExt cx="3506035" cy="4309759"/>
          </a:xfrm>
        </p:grpSpPr>
        <p:cxnSp>
          <p:nvCxnSpPr>
            <p:cNvPr id="24" name="Straight Connector 23">
              <a:extLst>
                <a:ext uri="{FF2B5EF4-FFF2-40B4-BE49-F238E27FC236}">
                  <a16:creationId xmlns:a16="http://schemas.microsoft.com/office/drawing/2014/main" id="{089A648D-C211-D0BB-96A6-66C729509009}"/>
                </a:ext>
              </a:extLst>
            </p:cNvPr>
            <p:cNvCxnSpPr/>
            <p:nvPr/>
          </p:nvCxnSpPr>
          <p:spPr>
            <a:xfrm>
              <a:off x="4129724" y="1594687"/>
              <a:ext cx="3492411"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25" name="Straight Connector 24">
              <a:extLst>
                <a:ext uri="{FF2B5EF4-FFF2-40B4-BE49-F238E27FC236}">
                  <a16:creationId xmlns:a16="http://schemas.microsoft.com/office/drawing/2014/main" id="{87941C4C-4EA3-6884-8696-E1B426152E5F}"/>
                </a:ext>
              </a:extLst>
            </p:cNvPr>
            <p:cNvCxnSpPr>
              <a:cxnSpLocks/>
            </p:cNvCxnSpPr>
            <p:nvPr/>
          </p:nvCxnSpPr>
          <p:spPr>
            <a:xfrm>
              <a:off x="4133130" y="2672127"/>
              <a:ext cx="3492411"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26" name="Straight Connector 25">
              <a:extLst>
                <a:ext uri="{FF2B5EF4-FFF2-40B4-BE49-F238E27FC236}">
                  <a16:creationId xmlns:a16="http://schemas.microsoft.com/office/drawing/2014/main" id="{98C24C35-AD63-5141-F560-0DDD6595B8ED}"/>
                </a:ext>
              </a:extLst>
            </p:cNvPr>
            <p:cNvCxnSpPr>
              <a:cxnSpLocks/>
            </p:cNvCxnSpPr>
            <p:nvPr/>
          </p:nvCxnSpPr>
          <p:spPr>
            <a:xfrm>
              <a:off x="4136536" y="3749567"/>
              <a:ext cx="3492411"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28" name="Straight Connector 27">
              <a:extLst>
                <a:ext uri="{FF2B5EF4-FFF2-40B4-BE49-F238E27FC236}">
                  <a16:creationId xmlns:a16="http://schemas.microsoft.com/office/drawing/2014/main" id="{3612920F-9719-3553-35A1-117D9EE1F752}"/>
                </a:ext>
              </a:extLst>
            </p:cNvPr>
            <p:cNvCxnSpPr>
              <a:cxnSpLocks/>
            </p:cNvCxnSpPr>
            <p:nvPr/>
          </p:nvCxnSpPr>
          <p:spPr>
            <a:xfrm>
              <a:off x="4139942" y="5904446"/>
              <a:ext cx="3492411"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2" name="Straight Connector 1">
              <a:extLst>
                <a:ext uri="{FF2B5EF4-FFF2-40B4-BE49-F238E27FC236}">
                  <a16:creationId xmlns:a16="http://schemas.microsoft.com/office/drawing/2014/main" id="{2A6C1BD4-FF70-4D9E-84E1-34DA7EB1EE2F}"/>
                </a:ext>
              </a:extLst>
            </p:cNvPr>
            <p:cNvCxnSpPr>
              <a:cxnSpLocks/>
            </p:cNvCxnSpPr>
            <p:nvPr/>
          </p:nvCxnSpPr>
          <p:spPr>
            <a:xfrm>
              <a:off x="4143348" y="4827007"/>
              <a:ext cx="3492411" cy="0"/>
            </a:xfrm>
            <a:prstGeom prst="line">
              <a:avLst/>
            </a:prstGeom>
            <a:ln w="12700"/>
          </p:spPr>
          <p:style>
            <a:lnRef idx="1">
              <a:schemeClr val="accent2"/>
            </a:lnRef>
            <a:fillRef idx="0">
              <a:schemeClr val="accent2"/>
            </a:fillRef>
            <a:effectRef idx="0">
              <a:schemeClr val="accent2"/>
            </a:effectRef>
            <a:fontRef idx="minor">
              <a:schemeClr val="tx1"/>
            </a:fontRef>
          </p:style>
        </p:cxnSp>
      </p:grpSp>
      <p:grpSp>
        <p:nvGrpSpPr>
          <p:cNvPr id="63" name="Group 62">
            <a:extLst>
              <a:ext uri="{FF2B5EF4-FFF2-40B4-BE49-F238E27FC236}">
                <a16:creationId xmlns:a16="http://schemas.microsoft.com/office/drawing/2014/main" id="{B6FD941B-0918-6CD8-F5CA-B85DD9B1F812}"/>
              </a:ext>
            </a:extLst>
          </p:cNvPr>
          <p:cNvGrpSpPr/>
          <p:nvPr/>
        </p:nvGrpSpPr>
        <p:grpSpPr>
          <a:xfrm>
            <a:off x="4294929" y="4962154"/>
            <a:ext cx="381091" cy="722933"/>
            <a:chOff x="842557" y="5079641"/>
            <a:chExt cx="381091" cy="722933"/>
          </a:xfrm>
        </p:grpSpPr>
        <p:pic>
          <p:nvPicPr>
            <p:cNvPr id="39" name="Picture 38">
              <a:extLst>
                <a:ext uri="{FF2B5EF4-FFF2-40B4-BE49-F238E27FC236}">
                  <a16:creationId xmlns:a16="http://schemas.microsoft.com/office/drawing/2014/main" id="{6FE262CA-0020-42F4-A36E-138AE610D85C}"/>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b="-845"/>
            <a:stretch/>
          </p:blipFill>
          <p:spPr>
            <a:xfrm>
              <a:off x="842557" y="5079641"/>
              <a:ext cx="381091" cy="399730"/>
            </a:xfrm>
            <a:prstGeom prst="rect">
              <a:avLst/>
            </a:prstGeom>
          </p:spPr>
        </p:pic>
        <p:pic>
          <p:nvPicPr>
            <p:cNvPr id="40" name="Picture 39">
              <a:extLst>
                <a:ext uri="{FF2B5EF4-FFF2-40B4-BE49-F238E27FC236}">
                  <a16:creationId xmlns:a16="http://schemas.microsoft.com/office/drawing/2014/main" id="{27A0845D-A6B1-670B-D92D-BBE513C3B989}"/>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93025" y="5508706"/>
              <a:ext cx="280155" cy="293868"/>
            </a:xfrm>
            <a:prstGeom prst="rect">
              <a:avLst/>
            </a:prstGeom>
          </p:spPr>
        </p:pic>
      </p:grpSp>
      <p:sp>
        <p:nvSpPr>
          <p:cNvPr id="3" name="Text Placeholder 3">
            <a:extLst>
              <a:ext uri="{FF2B5EF4-FFF2-40B4-BE49-F238E27FC236}">
                <a16:creationId xmlns:a16="http://schemas.microsoft.com/office/drawing/2014/main" id="{3A2EDB6C-757E-8A2D-2F94-80A273ED842F}"/>
              </a:ext>
            </a:extLst>
          </p:cNvPr>
          <p:cNvSpPr txBox="1">
            <a:spLocks/>
          </p:cNvSpPr>
          <p:nvPr/>
        </p:nvSpPr>
        <p:spPr>
          <a:xfrm>
            <a:off x="4798056" y="4924521"/>
            <a:ext cx="1494022" cy="863512"/>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GRI reporting &amp; member of UN Global Compact</a:t>
            </a:r>
          </a:p>
        </p:txBody>
      </p:sp>
      <p:sp>
        <p:nvSpPr>
          <p:cNvPr id="42" name="Text Placeholder 3">
            <a:extLst>
              <a:ext uri="{FF2B5EF4-FFF2-40B4-BE49-F238E27FC236}">
                <a16:creationId xmlns:a16="http://schemas.microsoft.com/office/drawing/2014/main" id="{CAD696A0-02C0-4E1E-31FF-9D05599B645C}"/>
              </a:ext>
            </a:extLst>
          </p:cNvPr>
          <p:cNvSpPr txBox="1">
            <a:spLocks/>
          </p:cNvSpPr>
          <p:nvPr/>
        </p:nvSpPr>
        <p:spPr>
          <a:xfrm>
            <a:off x="6346524" y="4939608"/>
            <a:ext cx="1244906" cy="854120"/>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2021</a:t>
            </a:r>
            <a:endParaRPr kumimoji="0" lang="en-US"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17" name="Text Placeholder 3">
            <a:extLst>
              <a:ext uri="{FF2B5EF4-FFF2-40B4-BE49-F238E27FC236}">
                <a16:creationId xmlns:a16="http://schemas.microsoft.com/office/drawing/2014/main" id="{5268A676-CABC-65AB-B58C-57C328E6C211}"/>
              </a:ext>
            </a:extLst>
          </p:cNvPr>
          <p:cNvSpPr txBox="1">
            <a:spLocks/>
          </p:cNvSpPr>
          <p:nvPr/>
        </p:nvSpPr>
        <p:spPr>
          <a:xfrm>
            <a:off x="1460949" y="3870928"/>
            <a:ext cx="1494022" cy="854120"/>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No. of employees</a:t>
            </a:r>
          </a:p>
        </p:txBody>
      </p:sp>
      <p:sp>
        <p:nvSpPr>
          <p:cNvPr id="18" name="Text Placeholder 3">
            <a:extLst>
              <a:ext uri="{FF2B5EF4-FFF2-40B4-BE49-F238E27FC236}">
                <a16:creationId xmlns:a16="http://schemas.microsoft.com/office/drawing/2014/main" id="{4E77816E-6CF4-BA25-0DB2-B8664EF7D29F}"/>
              </a:ext>
            </a:extLst>
          </p:cNvPr>
          <p:cNvSpPr txBox="1">
            <a:spLocks/>
          </p:cNvSpPr>
          <p:nvPr/>
        </p:nvSpPr>
        <p:spPr>
          <a:xfrm>
            <a:off x="2596893" y="3870928"/>
            <a:ext cx="1244906" cy="854120"/>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500+</a:t>
            </a:r>
            <a:endParaRPr kumimoji="0" lang="en-US"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pic>
        <p:nvPicPr>
          <p:cNvPr id="44" name="Graphic 43">
            <a:extLst>
              <a:ext uri="{FF2B5EF4-FFF2-40B4-BE49-F238E27FC236}">
                <a16:creationId xmlns:a16="http://schemas.microsoft.com/office/drawing/2014/main" id="{3F346567-99A3-1968-7511-C0F9CB5FFF30}"/>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70457" y="3981508"/>
            <a:ext cx="570855" cy="570855"/>
          </a:xfrm>
          <a:prstGeom prst="rect">
            <a:avLst/>
          </a:prstGeom>
        </p:spPr>
      </p:pic>
      <p:sp>
        <p:nvSpPr>
          <p:cNvPr id="29" name="Text Placeholder 3">
            <a:extLst>
              <a:ext uri="{FF2B5EF4-FFF2-40B4-BE49-F238E27FC236}">
                <a16:creationId xmlns:a16="http://schemas.microsoft.com/office/drawing/2014/main" id="{A5D869A5-8DEC-C6E1-BDFD-892D3958544B}"/>
              </a:ext>
            </a:extLst>
          </p:cNvPr>
          <p:cNvSpPr txBox="1">
            <a:spLocks/>
          </p:cNvSpPr>
          <p:nvPr/>
        </p:nvSpPr>
        <p:spPr>
          <a:xfrm>
            <a:off x="4777781" y="1729772"/>
            <a:ext cx="1494022" cy="861613"/>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R</a:t>
            </a:r>
            <a:r>
              <a:rPr kumimoji="0" lang="en-NO"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evenue from grocery retailers</a:t>
            </a:r>
            <a:endParaRPr kumimoji="0" lang="en-US"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30" name="Text Placeholder 3">
            <a:extLst>
              <a:ext uri="{FF2B5EF4-FFF2-40B4-BE49-F238E27FC236}">
                <a16:creationId xmlns:a16="http://schemas.microsoft.com/office/drawing/2014/main" id="{F15E8557-7E20-0FC9-B0A6-E2A8E63201B7}"/>
              </a:ext>
            </a:extLst>
          </p:cNvPr>
          <p:cNvSpPr txBox="1">
            <a:spLocks/>
          </p:cNvSpPr>
          <p:nvPr/>
        </p:nvSpPr>
        <p:spPr>
          <a:xfrm>
            <a:off x="6326249" y="1729772"/>
            <a:ext cx="1244906" cy="861613"/>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gt;80%</a:t>
            </a:r>
            <a:endParaRPr kumimoji="0" lang="en-US"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pic>
        <p:nvPicPr>
          <p:cNvPr id="133" name="Graphic 132">
            <a:extLst>
              <a:ext uri="{FF2B5EF4-FFF2-40B4-BE49-F238E27FC236}">
                <a16:creationId xmlns:a16="http://schemas.microsoft.com/office/drawing/2014/main" id="{0C07B0E0-0F7F-4D11-1766-E59CC2BED25D}"/>
              </a:ext>
            </a:extLst>
          </p:cNvPr>
          <p:cNvPicPr>
            <a:picLocks noChangeAspect="1"/>
          </p:cNvPicPr>
          <p:nvPr/>
        </p:nvPicPr>
        <p:blipFill>
          <a:blip r:embed="rId17" cstate="print">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4240812" y="1918915"/>
            <a:ext cx="483327" cy="483327"/>
          </a:xfrm>
          <a:prstGeom prst="rect">
            <a:avLst/>
          </a:prstGeom>
        </p:spPr>
      </p:pic>
      <p:grpSp>
        <p:nvGrpSpPr>
          <p:cNvPr id="55" name="Group 54">
            <a:extLst>
              <a:ext uri="{FF2B5EF4-FFF2-40B4-BE49-F238E27FC236}">
                <a16:creationId xmlns:a16="http://schemas.microsoft.com/office/drawing/2014/main" id="{A2A12269-0744-589A-DF9C-03FC7D8D6A72}"/>
              </a:ext>
            </a:extLst>
          </p:cNvPr>
          <p:cNvGrpSpPr/>
          <p:nvPr/>
        </p:nvGrpSpPr>
        <p:grpSpPr>
          <a:xfrm>
            <a:off x="8078269" y="1628090"/>
            <a:ext cx="3760417" cy="4242129"/>
            <a:chOff x="8442098" y="-912675"/>
            <a:chExt cx="5043547" cy="5689629"/>
          </a:xfrm>
          <a:solidFill>
            <a:schemeClr val="accent6">
              <a:lumMod val="60000"/>
              <a:lumOff val="40000"/>
              <a:alpha val="19000"/>
            </a:schemeClr>
          </a:solidFill>
        </p:grpSpPr>
        <p:sp>
          <p:nvSpPr>
            <p:cNvPr id="56" name="Freeform 22">
              <a:extLst>
                <a:ext uri="{FF2B5EF4-FFF2-40B4-BE49-F238E27FC236}">
                  <a16:creationId xmlns:a16="http://schemas.microsoft.com/office/drawing/2014/main" id="{A7907B17-1664-43FB-D9B5-E67167C73F55}"/>
                </a:ext>
              </a:extLst>
            </p:cNvPr>
            <p:cNvSpPr/>
            <p:nvPr/>
          </p:nvSpPr>
          <p:spPr>
            <a:xfrm>
              <a:off x="10920010" y="1994731"/>
              <a:ext cx="957530" cy="865059"/>
            </a:xfrm>
            <a:custGeom>
              <a:avLst/>
              <a:gdLst>
                <a:gd name="connsiteX0" fmla="*/ 2366 w 205001"/>
                <a:gd name="connsiteY0" fmla="*/ 37077 h 185203"/>
                <a:gd name="connsiteX1" fmla="*/ 1901 w 205001"/>
                <a:gd name="connsiteY1" fmla="*/ 61966 h 185203"/>
                <a:gd name="connsiteX2" fmla="*/ 3342 w 205001"/>
                <a:gd name="connsiteY2" fmla="*/ 71485 h 185203"/>
                <a:gd name="connsiteX3" fmla="*/ 8127 w 205001"/>
                <a:gd name="connsiteY3" fmla="*/ 83140 h 185203"/>
                <a:gd name="connsiteX4" fmla="*/ 11007 w 205001"/>
                <a:gd name="connsiteY4" fmla="*/ 95863 h 185203"/>
                <a:gd name="connsiteX5" fmla="*/ 16257 w 205001"/>
                <a:gd name="connsiteY5" fmla="*/ 114948 h 185203"/>
                <a:gd name="connsiteX6" fmla="*/ 16907 w 205001"/>
                <a:gd name="connsiteY6" fmla="*/ 125628 h 185203"/>
                <a:gd name="connsiteX7" fmla="*/ 29404 w 205001"/>
                <a:gd name="connsiteY7" fmla="*/ 133661 h 185203"/>
                <a:gd name="connsiteX8" fmla="*/ 43621 w 205001"/>
                <a:gd name="connsiteY8" fmla="*/ 144712 h 185203"/>
                <a:gd name="connsiteX9" fmla="*/ 55049 w 205001"/>
                <a:gd name="connsiteY9" fmla="*/ 150238 h 185203"/>
                <a:gd name="connsiteX10" fmla="*/ 67128 w 205001"/>
                <a:gd name="connsiteY10" fmla="*/ 147870 h 185203"/>
                <a:gd name="connsiteX11" fmla="*/ 72796 w 205001"/>
                <a:gd name="connsiteY11" fmla="*/ 156553 h 185203"/>
                <a:gd name="connsiteX12" fmla="*/ 87059 w 205001"/>
                <a:gd name="connsiteY12" fmla="*/ 160500 h 185203"/>
                <a:gd name="connsiteX13" fmla="*/ 97001 w 205001"/>
                <a:gd name="connsiteY13" fmla="*/ 174709 h 185203"/>
                <a:gd name="connsiteX14" fmla="*/ 109823 w 205001"/>
                <a:gd name="connsiteY14" fmla="*/ 173130 h 185203"/>
                <a:gd name="connsiteX15" fmla="*/ 128360 w 205001"/>
                <a:gd name="connsiteY15" fmla="*/ 175499 h 185203"/>
                <a:gd name="connsiteX16" fmla="*/ 144713 w 205001"/>
                <a:gd name="connsiteY16" fmla="*/ 177077 h 185203"/>
                <a:gd name="connsiteX17" fmla="*/ 163203 w 205001"/>
                <a:gd name="connsiteY17" fmla="*/ 181814 h 185203"/>
                <a:gd name="connsiteX18" fmla="*/ 175840 w 205001"/>
                <a:gd name="connsiteY18" fmla="*/ 185203 h 185203"/>
                <a:gd name="connsiteX19" fmla="*/ 174957 w 205001"/>
                <a:gd name="connsiteY19" fmla="*/ 169508 h 185203"/>
                <a:gd name="connsiteX20" fmla="*/ 195027 w 205001"/>
                <a:gd name="connsiteY20" fmla="*/ 146709 h 185203"/>
                <a:gd name="connsiteX21" fmla="*/ 204597 w 205001"/>
                <a:gd name="connsiteY21" fmla="*/ 138258 h 185203"/>
                <a:gd name="connsiteX22" fmla="*/ 196003 w 205001"/>
                <a:gd name="connsiteY22" fmla="*/ 114948 h 185203"/>
                <a:gd name="connsiteX23" fmla="*/ 194562 w 205001"/>
                <a:gd name="connsiteY23" fmla="*/ 93727 h 185203"/>
                <a:gd name="connsiteX24" fmla="*/ 187408 w 205001"/>
                <a:gd name="connsiteY24" fmla="*/ 81561 h 185203"/>
                <a:gd name="connsiteX25" fmla="*/ 199858 w 205001"/>
                <a:gd name="connsiteY25" fmla="*/ 69395 h 185203"/>
                <a:gd name="connsiteX26" fmla="*/ 198929 w 205001"/>
                <a:gd name="connsiteY26" fmla="*/ 48732 h 185203"/>
                <a:gd name="connsiteX27" fmla="*/ 195584 w 205001"/>
                <a:gd name="connsiteY27" fmla="*/ 30715 h 185203"/>
                <a:gd name="connsiteX28" fmla="*/ 178860 w 205001"/>
                <a:gd name="connsiteY28" fmla="*/ 17481 h 185203"/>
                <a:gd name="connsiteX29" fmla="*/ 178070 w 205001"/>
                <a:gd name="connsiteY29" fmla="*/ 16367 h 185203"/>
                <a:gd name="connsiteX30" fmla="*/ 121995 w 205001"/>
                <a:gd name="connsiteY30" fmla="*/ 13766 h 185203"/>
                <a:gd name="connsiteX31" fmla="*/ 111077 w 205001"/>
                <a:gd name="connsiteY31" fmla="*/ 9355 h 185203"/>
                <a:gd name="connsiteX32" fmla="*/ 99277 w 205001"/>
                <a:gd name="connsiteY32" fmla="*/ 16088 h 185203"/>
                <a:gd name="connsiteX33" fmla="*/ 89103 w 205001"/>
                <a:gd name="connsiteY33" fmla="*/ 1275 h 185203"/>
                <a:gd name="connsiteX34" fmla="*/ 41902 w 205001"/>
                <a:gd name="connsiteY34" fmla="*/ 16088 h 185203"/>
                <a:gd name="connsiteX35" fmla="*/ 8452 w 205001"/>
                <a:gd name="connsiteY35" fmla="*/ 28811 h 185203"/>
                <a:gd name="connsiteX36" fmla="*/ 2273 w 205001"/>
                <a:gd name="connsiteY36" fmla="*/ 34198 h 185203"/>
                <a:gd name="connsiteX37" fmla="*/ 2366 w 205001"/>
                <a:gd name="connsiteY37" fmla="*/ 37123 h 185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5001" h="185203">
                  <a:moveTo>
                    <a:pt x="2366" y="37077"/>
                  </a:moveTo>
                  <a:cubicBezTo>
                    <a:pt x="3806" y="41302"/>
                    <a:pt x="5247" y="56161"/>
                    <a:pt x="1901" y="61966"/>
                  </a:cubicBezTo>
                  <a:cubicBezTo>
                    <a:pt x="-1443" y="67770"/>
                    <a:pt x="-3" y="69395"/>
                    <a:pt x="3342" y="71485"/>
                  </a:cubicBezTo>
                  <a:cubicBezTo>
                    <a:pt x="6687" y="73621"/>
                    <a:pt x="8127" y="78914"/>
                    <a:pt x="8127" y="83140"/>
                  </a:cubicBezTo>
                  <a:cubicBezTo>
                    <a:pt x="8127" y="87365"/>
                    <a:pt x="10496" y="86855"/>
                    <a:pt x="11007" y="95863"/>
                  </a:cubicBezTo>
                  <a:cubicBezTo>
                    <a:pt x="11472" y="104871"/>
                    <a:pt x="13377" y="111233"/>
                    <a:pt x="16257" y="114948"/>
                  </a:cubicBezTo>
                  <a:cubicBezTo>
                    <a:pt x="18487" y="117827"/>
                    <a:pt x="18069" y="122284"/>
                    <a:pt x="16907" y="125628"/>
                  </a:cubicBezTo>
                  <a:cubicBezTo>
                    <a:pt x="20903" y="128924"/>
                    <a:pt x="25409" y="132082"/>
                    <a:pt x="29404" y="133661"/>
                  </a:cubicBezTo>
                  <a:cubicBezTo>
                    <a:pt x="39393" y="137608"/>
                    <a:pt x="42970" y="140765"/>
                    <a:pt x="43621" y="144712"/>
                  </a:cubicBezTo>
                  <a:cubicBezTo>
                    <a:pt x="44364" y="148659"/>
                    <a:pt x="52912" y="155764"/>
                    <a:pt x="55049" y="150238"/>
                  </a:cubicBezTo>
                  <a:cubicBezTo>
                    <a:pt x="57186" y="144712"/>
                    <a:pt x="62854" y="147870"/>
                    <a:pt x="67128" y="147870"/>
                  </a:cubicBezTo>
                  <a:cubicBezTo>
                    <a:pt x="71403" y="147870"/>
                    <a:pt x="72146" y="153396"/>
                    <a:pt x="72796" y="156553"/>
                  </a:cubicBezTo>
                  <a:cubicBezTo>
                    <a:pt x="73539" y="159711"/>
                    <a:pt x="83481" y="158132"/>
                    <a:pt x="87059" y="160500"/>
                  </a:cubicBezTo>
                  <a:cubicBezTo>
                    <a:pt x="90590" y="162868"/>
                    <a:pt x="92030" y="171552"/>
                    <a:pt x="97001" y="174709"/>
                  </a:cubicBezTo>
                  <a:cubicBezTo>
                    <a:pt x="102018" y="177867"/>
                    <a:pt x="106246" y="170762"/>
                    <a:pt x="109823" y="173130"/>
                  </a:cubicBezTo>
                  <a:cubicBezTo>
                    <a:pt x="113354" y="175499"/>
                    <a:pt x="122645" y="177867"/>
                    <a:pt x="128360" y="175499"/>
                  </a:cubicBezTo>
                  <a:cubicBezTo>
                    <a:pt x="134028" y="173130"/>
                    <a:pt x="137605" y="177867"/>
                    <a:pt x="144713" y="177077"/>
                  </a:cubicBezTo>
                  <a:cubicBezTo>
                    <a:pt x="151821" y="176288"/>
                    <a:pt x="161113" y="179399"/>
                    <a:pt x="163203" y="181814"/>
                  </a:cubicBezTo>
                  <a:cubicBezTo>
                    <a:pt x="164318" y="183067"/>
                    <a:pt x="170358" y="184275"/>
                    <a:pt x="175840" y="185203"/>
                  </a:cubicBezTo>
                  <a:cubicBezTo>
                    <a:pt x="177233" y="181953"/>
                    <a:pt x="174493" y="171969"/>
                    <a:pt x="174957" y="169508"/>
                  </a:cubicBezTo>
                  <a:cubicBezTo>
                    <a:pt x="175421" y="166862"/>
                    <a:pt x="192193" y="150424"/>
                    <a:pt x="195027" y="146709"/>
                  </a:cubicBezTo>
                  <a:cubicBezTo>
                    <a:pt x="197907" y="142994"/>
                    <a:pt x="202228" y="142994"/>
                    <a:pt x="204597" y="138258"/>
                  </a:cubicBezTo>
                  <a:cubicBezTo>
                    <a:pt x="207013" y="133475"/>
                    <a:pt x="197907" y="118105"/>
                    <a:pt x="196003" y="114948"/>
                  </a:cubicBezTo>
                  <a:cubicBezTo>
                    <a:pt x="194098" y="111790"/>
                    <a:pt x="193122" y="99067"/>
                    <a:pt x="194562" y="93727"/>
                  </a:cubicBezTo>
                  <a:cubicBezTo>
                    <a:pt x="196003" y="88433"/>
                    <a:pt x="187408" y="85276"/>
                    <a:pt x="187408" y="81561"/>
                  </a:cubicBezTo>
                  <a:cubicBezTo>
                    <a:pt x="187408" y="77846"/>
                    <a:pt x="195538" y="71485"/>
                    <a:pt x="199858" y="69395"/>
                  </a:cubicBezTo>
                  <a:cubicBezTo>
                    <a:pt x="204179" y="67259"/>
                    <a:pt x="202739" y="52446"/>
                    <a:pt x="198929" y="48732"/>
                  </a:cubicBezTo>
                  <a:cubicBezTo>
                    <a:pt x="195073" y="45017"/>
                    <a:pt x="193168" y="38145"/>
                    <a:pt x="195584" y="30715"/>
                  </a:cubicBezTo>
                  <a:cubicBezTo>
                    <a:pt x="197954" y="23285"/>
                    <a:pt x="181229" y="17481"/>
                    <a:pt x="178860" y="17481"/>
                  </a:cubicBezTo>
                  <a:cubicBezTo>
                    <a:pt x="178441" y="17481"/>
                    <a:pt x="178209" y="17017"/>
                    <a:pt x="178070" y="16367"/>
                  </a:cubicBezTo>
                  <a:cubicBezTo>
                    <a:pt x="163110" y="19431"/>
                    <a:pt x="124876" y="15020"/>
                    <a:pt x="121995" y="13766"/>
                  </a:cubicBezTo>
                  <a:cubicBezTo>
                    <a:pt x="120090" y="12930"/>
                    <a:pt x="115259" y="11027"/>
                    <a:pt x="111077" y="9355"/>
                  </a:cubicBezTo>
                  <a:cubicBezTo>
                    <a:pt x="109173" y="12838"/>
                    <a:pt x="105224" y="16088"/>
                    <a:pt x="99277" y="16088"/>
                  </a:cubicBezTo>
                  <a:cubicBezTo>
                    <a:pt x="90032" y="16088"/>
                    <a:pt x="89382" y="5826"/>
                    <a:pt x="89103" y="1275"/>
                  </a:cubicBezTo>
                  <a:cubicBezTo>
                    <a:pt x="88778" y="-3322"/>
                    <a:pt x="51797" y="5176"/>
                    <a:pt x="41902" y="16088"/>
                  </a:cubicBezTo>
                  <a:cubicBezTo>
                    <a:pt x="32053" y="27047"/>
                    <a:pt x="9056" y="22775"/>
                    <a:pt x="8452" y="28811"/>
                  </a:cubicBezTo>
                  <a:cubicBezTo>
                    <a:pt x="7987" y="33176"/>
                    <a:pt x="4550" y="35451"/>
                    <a:pt x="2273" y="34198"/>
                  </a:cubicBezTo>
                  <a:cubicBezTo>
                    <a:pt x="2134" y="35266"/>
                    <a:pt x="2087" y="36241"/>
                    <a:pt x="2366" y="37123"/>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57" name="Freeform 26">
              <a:extLst>
                <a:ext uri="{FF2B5EF4-FFF2-40B4-BE49-F238E27FC236}">
                  <a16:creationId xmlns:a16="http://schemas.microsoft.com/office/drawing/2014/main" id="{DC1404FB-8576-59B6-19D8-59E5DDF79378}"/>
                </a:ext>
              </a:extLst>
            </p:cNvPr>
            <p:cNvSpPr/>
            <p:nvPr/>
          </p:nvSpPr>
          <p:spPr>
            <a:xfrm>
              <a:off x="10468637" y="2873246"/>
              <a:ext cx="741045" cy="372831"/>
            </a:xfrm>
            <a:custGeom>
              <a:avLst/>
              <a:gdLst>
                <a:gd name="connsiteX0" fmla="*/ 133845 w 158653"/>
                <a:gd name="connsiteY0" fmla="*/ 7105 h 79821"/>
                <a:gd name="connsiteX1" fmla="*/ 113915 w 158653"/>
                <a:gd name="connsiteY1" fmla="*/ 0 h 79821"/>
                <a:gd name="connsiteX2" fmla="*/ 110337 w 158653"/>
                <a:gd name="connsiteY2" fmla="*/ 11051 h 79821"/>
                <a:gd name="connsiteX3" fmla="*/ 91568 w 158653"/>
                <a:gd name="connsiteY3" fmla="*/ 12305 h 79821"/>
                <a:gd name="connsiteX4" fmla="*/ 79861 w 158653"/>
                <a:gd name="connsiteY4" fmla="*/ 21128 h 79821"/>
                <a:gd name="connsiteX5" fmla="*/ 71266 w 158653"/>
                <a:gd name="connsiteY5" fmla="*/ 35940 h 79821"/>
                <a:gd name="connsiteX6" fmla="*/ 62672 w 158653"/>
                <a:gd name="connsiteY6" fmla="*/ 42813 h 79821"/>
                <a:gd name="connsiteX7" fmla="*/ 40651 w 158653"/>
                <a:gd name="connsiteY7" fmla="*/ 47549 h 79821"/>
                <a:gd name="connsiteX8" fmla="*/ 28200 w 158653"/>
                <a:gd name="connsiteY8" fmla="*/ 48617 h 79821"/>
                <a:gd name="connsiteX9" fmla="*/ 15285 w 158653"/>
                <a:gd name="connsiteY9" fmla="*/ 50707 h 79821"/>
                <a:gd name="connsiteX10" fmla="*/ 2834 w 158653"/>
                <a:gd name="connsiteY10" fmla="*/ 46992 h 79821"/>
                <a:gd name="connsiteX11" fmla="*/ 418 w 158653"/>
                <a:gd name="connsiteY11" fmla="*/ 59715 h 79821"/>
                <a:gd name="connsiteX12" fmla="*/ 11429 w 158653"/>
                <a:gd name="connsiteY12" fmla="*/ 66077 h 79821"/>
                <a:gd name="connsiteX13" fmla="*/ 24809 w 158653"/>
                <a:gd name="connsiteY13" fmla="*/ 69234 h 79821"/>
                <a:gd name="connsiteX14" fmla="*/ 38188 w 158653"/>
                <a:gd name="connsiteY14" fmla="*/ 64451 h 79821"/>
                <a:gd name="connsiteX15" fmla="*/ 55424 w 158653"/>
                <a:gd name="connsiteY15" fmla="*/ 61805 h 79821"/>
                <a:gd name="connsiteX16" fmla="*/ 59745 w 158653"/>
                <a:gd name="connsiteY16" fmla="*/ 71881 h 79821"/>
                <a:gd name="connsiteX17" fmla="*/ 79350 w 158653"/>
                <a:gd name="connsiteY17" fmla="*/ 75039 h 79821"/>
                <a:gd name="connsiteX18" fmla="*/ 103276 w 158653"/>
                <a:gd name="connsiteY18" fmla="*/ 79821 h 79821"/>
                <a:gd name="connsiteX19" fmla="*/ 121906 w 158653"/>
                <a:gd name="connsiteY19" fmla="*/ 72392 h 79821"/>
                <a:gd name="connsiteX20" fmla="*/ 136726 w 158653"/>
                <a:gd name="connsiteY20" fmla="*/ 67098 h 79821"/>
                <a:gd name="connsiteX21" fmla="*/ 136818 w 158653"/>
                <a:gd name="connsiteY21" fmla="*/ 67191 h 79821"/>
                <a:gd name="connsiteX22" fmla="*/ 140303 w 158653"/>
                <a:gd name="connsiteY22" fmla="*/ 61573 h 79821"/>
                <a:gd name="connsiteX23" fmla="*/ 143787 w 158653"/>
                <a:gd name="connsiteY23" fmla="*/ 51078 h 79821"/>
                <a:gd name="connsiteX24" fmla="*/ 146296 w 158653"/>
                <a:gd name="connsiteY24" fmla="*/ 41698 h 79821"/>
                <a:gd name="connsiteX25" fmla="*/ 155773 w 158653"/>
                <a:gd name="connsiteY25" fmla="*/ 35616 h 79821"/>
                <a:gd name="connsiteX26" fmla="*/ 158654 w 158653"/>
                <a:gd name="connsiteY26" fmla="*/ 29254 h 79821"/>
                <a:gd name="connsiteX27" fmla="*/ 150198 w 158653"/>
                <a:gd name="connsiteY27" fmla="*/ 9380 h 79821"/>
                <a:gd name="connsiteX28" fmla="*/ 133799 w 158653"/>
                <a:gd name="connsiteY28" fmla="*/ 7012 h 7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8653" h="79821">
                  <a:moveTo>
                    <a:pt x="133845" y="7105"/>
                  </a:moveTo>
                  <a:cubicBezTo>
                    <a:pt x="128177" y="0"/>
                    <a:pt x="113915" y="0"/>
                    <a:pt x="113915" y="0"/>
                  </a:cubicBezTo>
                  <a:cubicBezTo>
                    <a:pt x="113915" y="0"/>
                    <a:pt x="112474" y="7105"/>
                    <a:pt x="110337" y="11051"/>
                  </a:cubicBezTo>
                  <a:cubicBezTo>
                    <a:pt x="108526" y="14348"/>
                    <a:pt x="98212" y="14302"/>
                    <a:pt x="91568" y="12305"/>
                  </a:cubicBezTo>
                  <a:cubicBezTo>
                    <a:pt x="89664" y="15045"/>
                    <a:pt x="81069" y="17181"/>
                    <a:pt x="79861" y="21128"/>
                  </a:cubicBezTo>
                  <a:cubicBezTo>
                    <a:pt x="78421" y="25911"/>
                    <a:pt x="67921" y="23264"/>
                    <a:pt x="71266" y="35940"/>
                  </a:cubicBezTo>
                  <a:cubicBezTo>
                    <a:pt x="74611" y="48664"/>
                    <a:pt x="66017" y="44438"/>
                    <a:pt x="62672" y="42813"/>
                  </a:cubicBezTo>
                  <a:cubicBezTo>
                    <a:pt x="59327" y="41234"/>
                    <a:pt x="44507" y="43324"/>
                    <a:pt x="40651" y="47549"/>
                  </a:cubicBezTo>
                  <a:cubicBezTo>
                    <a:pt x="36841" y="51775"/>
                    <a:pt x="31545" y="50707"/>
                    <a:pt x="28200" y="48617"/>
                  </a:cubicBezTo>
                  <a:cubicBezTo>
                    <a:pt x="24855" y="46481"/>
                    <a:pt x="18165" y="45460"/>
                    <a:pt x="15285" y="50707"/>
                  </a:cubicBezTo>
                  <a:cubicBezTo>
                    <a:pt x="12404" y="56000"/>
                    <a:pt x="7155" y="46481"/>
                    <a:pt x="2834" y="46992"/>
                  </a:cubicBezTo>
                  <a:cubicBezTo>
                    <a:pt x="-1486" y="47503"/>
                    <a:pt x="418" y="57579"/>
                    <a:pt x="418" y="59715"/>
                  </a:cubicBezTo>
                  <a:cubicBezTo>
                    <a:pt x="418" y="61851"/>
                    <a:pt x="7108" y="68166"/>
                    <a:pt x="11429" y="66077"/>
                  </a:cubicBezTo>
                  <a:cubicBezTo>
                    <a:pt x="15749" y="63941"/>
                    <a:pt x="20999" y="66587"/>
                    <a:pt x="24809" y="69234"/>
                  </a:cubicBezTo>
                  <a:cubicBezTo>
                    <a:pt x="28618" y="71881"/>
                    <a:pt x="35819" y="67098"/>
                    <a:pt x="38188" y="64451"/>
                  </a:cubicBezTo>
                  <a:cubicBezTo>
                    <a:pt x="40604" y="61805"/>
                    <a:pt x="53984" y="61805"/>
                    <a:pt x="55424" y="61805"/>
                  </a:cubicBezTo>
                  <a:cubicBezTo>
                    <a:pt x="56865" y="61805"/>
                    <a:pt x="57329" y="70302"/>
                    <a:pt x="59745" y="71881"/>
                  </a:cubicBezTo>
                  <a:cubicBezTo>
                    <a:pt x="62114" y="73460"/>
                    <a:pt x="71220" y="74528"/>
                    <a:pt x="79350" y="75039"/>
                  </a:cubicBezTo>
                  <a:cubicBezTo>
                    <a:pt x="87480" y="75549"/>
                    <a:pt x="99420" y="79821"/>
                    <a:pt x="103276" y="79821"/>
                  </a:cubicBezTo>
                  <a:cubicBezTo>
                    <a:pt x="107132" y="79821"/>
                    <a:pt x="113311" y="72392"/>
                    <a:pt x="121906" y="72392"/>
                  </a:cubicBezTo>
                  <a:cubicBezTo>
                    <a:pt x="130500" y="72392"/>
                    <a:pt x="135285" y="66587"/>
                    <a:pt x="136726" y="67098"/>
                  </a:cubicBezTo>
                  <a:cubicBezTo>
                    <a:pt x="136726" y="67098"/>
                    <a:pt x="136772" y="67145"/>
                    <a:pt x="136818" y="67191"/>
                  </a:cubicBezTo>
                  <a:cubicBezTo>
                    <a:pt x="137422" y="64219"/>
                    <a:pt x="138445" y="61851"/>
                    <a:pt x="140303" y="61573"/>
                  </a:cubicBezTo>
                  <a:cubicBezTo>
                    <a:pt x="143787" y="61015"/>
                    <a:pt x="141278" y="54375"/>
                    <a:pt x="143787" y="51078"/>
                  </a:cubicBezTo>
                  <a:cubicBezTo>
                    <a:pt x="146296" y="47781"/>
                    <a:pt x="141789" y="41141"/>
                    <a:pt x="146296" y="41698"/>
                  </a:cubicBezTo>
                  <a:cubicBezTo>
                    <a:pt x="150802" y="42256"/>
                    <a:pt x="155773" y="42813"/>
                    <a:pt x="155773" y="35616"/>
                  </a:cubicBezTo>
                  <a:cubicBezTo>
                    <a:pt x="155773" y="33201"/>
                    <a:pt x="156935" y="31065"/>
                    <a:pt x="158654" y="29254"/>
                  </a:cubicBezTo>
                  <a:cubicBezTo>
                    <a:pt x="153729" y="21592"/>
                    <a:pt x="150198" y="9380"/>
                    <a:pt x="150198" y="9380"/>
                  </a:cubicBezTo>
                  <a:cubicBezTo>
                    <a:pt x="150198" y="9380"/>
                    <a:pt x="139513" y="14116"/>
                    <a:pt x="133799" y="7012"/>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58" name="Freeform 48">
              <a:extLst>
                <a:ext uri="{FF2B5EF4-FFF2-40B4-BE49-F238E27FC236}">
                  <a16:creationId xmlns:a16="http://schemas.microsoft.com/office/drawing/2014/main" id="{39A96BEF-26A4-D648-108D-527CCD060B5A}"/>
                </a:ext>
              </a:extLst>
            </p:cNvPr>
            <p:cNvSpPr/>
            <p:nvPr/>
          </p:nvSpPr>
          <p:spPr>
            <a:xfrm>
              <a:off x="11107702" y="2924722"/>
              <a:ext cx="649579" cy="405303"/>
            </a:xfrm>
            <a:custGeom>
              <a:avLst/>
              <a:gdLst>
                <a:gd name="connsiteX0" fmla="*/ 135332 w 139071"/>
                <a:gd name="connsiteY0" fmla="*/ 15957 h 86773"/>
                <a:gd name="connsiteX1" fmla="*/ 130268 w 139071"/>
                <a:gd name="connsiteY1" fmla="*/ 12521 h 86773"/>
                <a:gd name="connsiteX2" fmla="*/ 116702 w 139071"/>
                <a:gd name="connsiteY2" fmla="*/ 7135 h 86773"/>
                <a:gd name="connsiteX3" fmla="*/ 96772 w 139071"/>
                <a:gd name="connsiteY3" fmla="*/ 30 h 86773"/>
                <a:gd name="connsiteX4" fmla="*/ 76795 w 139071"/>
                <a:gd name="connsiteY4" fmla="*/ 14239 h 86773"/>
                <a:gd name="connsiteX5" fmla="*/ 53984 w 139071"/>
                <a:gd name="connsiteY5" fmla="*/ 22133 h 86773"/>
                <a:gd name="connsiteX6" fmla="*/ 24762 w 139071"/>
                <a:gd name="connsiteY6" fmla="*/ 22133 h 86773"/>
                <a:gd name="connsiteX7" fmla="*/ 21835 w 139071"/>
                <a:gd name="connsiteY7" fmla="*/ 18372 h 86773"/>
                <a:gd name="connsiteX8" fmla="*/ 18955 w 139071"/>
                <a:gd name="connsiteY8" fmla="*/ 24733 h 86773"/>
                <a:gd name="connsiteX9" fmla="*/ 9478 w 139071"/>
                <a:gd name="connsiteY9" fmla="*/ 30816 h 86773"/>
                <a:gd name="connsiteX10" fmla="*/ 6969 w 139071"/>
                <a:gd name="connsiteY10" fmla="*/ 40196 h 86773"/>
                <a:gd name="connsiteX11" fmla="*/ 3484 w 139071"/>
                <a:gd name="connsiteY11" fmla="*/ 50690 h 86773"/>
                <a:gd name="connsiteX12" fmla="*/ 0 w 139071"/>
                <a:gd name="connsiteY12" fmla="*/ 56309 h 86773"/>
                <a:gd name="connsiteX13" fmla="*/ 5157 w 139071"/>
                <a:gd name="connsiteY13" fmla="*/ 65225 h 86773"/>
                <a:gd name="connsiteX14" fmla="*/ 4646 w 139071"/>
                <a:gd name="connsiteY14" fmla="*/ 65735 h 86773"/>
                <a:gd name="connsiteX15" fmla="*/ 22578 w 139071"/>
                <a:gd name="connsiteY15" fmla="*/ 80548 h 86773"/>
                <a:gd name="connsiteX16" fmla="*/ 44646 w 139071"/>
                <a:gd name="connsiteY16" fmla="*/ 86074 h 86773"/>
                <a:gd name="connsiteX17" fmla="*/ 74565 w 139071"/>
                <a:gd name="connsiteY17" fmla="*/ 75812 h 86773"/>
                <a:gd name="connsiteX18" fmla="*/ 83810 w 139071"/>
                <a:gd name="connsiteY18" fmla="*/ 78969 h 86773"/>
                <a:gd name="connsiteX19" fmla="*/ 89896 w 139071"/>
                <a:gd name="connsiteY19" fmla="*/ 80084 h 86773"/>
                <a:gd name="connsiteX20" fmla="*/ 102718 w 139071"/>
                <a:gd name="connsiteY20" fmla="*/ 70054 h 86773"/>
                <a:gd name="connsiteX21" fmla="*/ 122324 w 139071"/>
                <a:gd name="connsiteY21" fmla="*/ 34020 h 86773"/>
                <a:gd name="connsiteX22" fmla="*/ 136679 w 139071"/>
                <a:gd name="connsiteY22" fmla="*/ 23944 h 86773"/>
                <a:gd name="connsiteX23" fmla="*/ 135239 w 139071"/>
                <a:gd name="connsiteY23" fmla="*/ 16004 h 8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9071" h="86773">
                  <a:moveTo>
                    <a:pt x="135332" y="15957"/>
                  </a:moveTo>
                  <a:cubicBezTo>
                    <a:pt x="133659" y="15354"/>
                    <a:pt x="131847" y="14100"/>
                    <a:pt x="130268" y="12521"/>
                  </a:cubicBezTo>
                  <a:cubicBezTo>
                    <a:pt x="124275" y="11035"/>
                    <a:pt x="118468" y="9085"/>
                    <a:pt x="116702" y="7135"/>
                  </a:cubicBezTo>
                  <a:cubicBezTo>
                    <a:pt x="113171" y="3188"/>
                    <a:pt x="98909" y="820"/>
                    <a:pt x="96772" y="30"/>
                  </a:cubicBezTo>
                  <a:cubicBezTo>
                    <a:pt x="94635" y="-759"/>
                    <a:pt x="81116" y="14239"/>
                    <a:pt x="76795" y="14239"/>
                  </a:cubicBezTo>
                  <a:cubicBezTo>
                    <a:pt x="72474" y="14239"/>
                    <a:pt x="53984" y="16607"/>
                    <a:pt x="53984" y="22133"/>
                  </a:cubicBezTo>
                  <a:cubicBezTo>
                    <a:pt x="53984" y="27659"/>
                    <a:pt x="31220" y="28448"/>
                    <a:pt x="24762" y="22133"/>
                  </a:cubicBezTo>
                  <a:cubicBezTo>
                    <a:pt x="23740" y="21158"/>
                    <a:pt x="22764" y="19811"/>
                    <a:pt x="21835" y="18372"/>
                  </a:cubicBezTo>
                  <a:cubicBezTo>
                    <a:pt x="20116" y="20136"/>
                    <a:pt x="18955" y="22272"/>
                    <a:pt x="18955" y="24733"/>
                  </a:cubicBezTo>
                  <a:cubicBezTo>
                    <a:pt x="18955" y="31931"/>
                    <a:pt x="13984" y="31374"/>
                    <a:pt x="9478" y="30816"/>
                  </a:cubicBezTo>
                  <a:cubicBezTo>
                    <a:pt x="4971" y="30259"/>
                    <a:pt x="9478" y="36899"/>
                    <a:pt x="6969" y="40196"/>
                  </a:cubicBezTo>
                  <a:cubicBezTo>
                    <a:pt x="4460" y="43493"/>
                    <a:pt x="6969" y="50133"/>
                    <a:pt x="3484" y="50690"/>
                  </a:cubicBezTo>
                  <a:cubicBezTo>
                    <a:pt x="1626" y="50969"/>
                    <a:pt x="604" y="53337"/>
                    <a:pt x="0" y="56309"/>
                  </a:cubicBezTo>
                  <a:cubicBezTo>
                    <a:pt x="1487" y="57098"/>
                    <a:pt x="5157" y="65225"/>
                    <a:pt x="5157" y="65225"/>
                  </a:cubicBezTo>
                  <a:cubicBezTo>
                    <a:pt x="5157" y="65225"/>
                    <a:pt x="4971" y="65410"/>
                    <a:pt x="4646" y="65735"/>
                  </a:cubicBezTo>
                  <a:cubicBezTo>
                    <a:pt x="9478" y="68939"/>
                    <a:pt x="19419" y="75812"/>
                    <a:pt x="22578" y="80548"/>
                  </a:cubicBezTo>
                  <a:cubicBezTo>
                    <a:pt x="26853" y="86863"/>
                    <a:pt x="38978" y="87652"/>
                    <a:pt x="44646" y="86074"/>
                  </a:cubicBezTo>
                  <a:cubicBezTo>
                    <a:pt x="50360" y="84495"/>
                    <a:pt x="74565" y="75812"/>
                    <a:pt x="74565" y="75812"/>
                  </a:cubicBezTo>
                  <a:cubicBezTo>
                    <a:pt x="74565" y="75812"/>
                    <a:pt x="80279" y="78180"/>
                    <a:pt x="83810" y="78969"/>
                  </a:cubicBezTo>
                  <a:cubicBezTo>
                    <a:pt x="84646" y="79155"/>
                    <a:pt x="86923" y="79573"/>
                    <a:pt x="89896" y="80084"/>
                  </a:cubicBezTo>
                  <a:cubicBezTo>
                    <a:pt x="91615" y="78087"/>
                    <a:pt x="97004" y="76369"/>
                    <a:pt x="102718" y="70054"/>
                  </a:cubicBezTo>
                  <a:cubicBezTo>
                    <a:pt x="109408" y="62624"/>
                    <a:pt x="119443" y="36156"/>
                    <a:pt x="122324" y="34020"/>
                  </a:cubicBezTo>
                  <a:cubicBezTo>
                    <a:pt x="125204" y="31884"/>
                    <a:pt x="132870" y="27148"/>
                    <a:pt x="136679" y="23944"/>
                  </a:cubicBezTo>
                  <a:cubicBezTo>
                    <a:pt x="140489" y="20786"/>
                    <a:pt x="139560" y="17582"/>
                    <a:pt x="135239" y="16004"/>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59" name="Freeform 49">
              <a:extLst>
                <a:ext uri="{FF2B5EF4-FFF2-40B4-BE49-F238E27FC236}">
                  <a16:creationId xmlns:a16="http://schemas.microsoft.com/office/drawing/2014/main" id="{4435CBA9-26E9-2ED5-DDAF-A632DAE3EBDF}"/>
                </a:ext>
              </a:extLst>
            </p:cNvPr>
            <p:cNvSpPr/>
            <p:nvPr/>
          </p:nvSpPr>
          <p:spPr>
            <a:xfrm>
              <a:off x="8524453" y="3870761"/>
              <a:ext cx="336009" cy="656447"/>
            </a:xfrm>
            <a:custGeom>
              <a:avLst/>
              <a:gdLst>
                <a:gd name="connsiteX0" fmla="*/ 70126 w 71937"/>
                <a:gd name="connsiteY0" fmla="*/ 14479 h 140541"/>
                <a:gd name="connsiteX1" fmla="*/ 64691 w 71937"/>
                <a:gd name="connsiteY1" fmla="*/ 5006 h 140541"/>
                <a:gd name="connsiteX2" fmla="*/ 51497 w 71937"/>
                <a:gd name="connsiteY2" fmla="*/ 2452 h 140541"/>
                <a:gd name="connsiteX3" fmla="*/ 42948 w 71937"/>
                <a:gd name="connsiteY3" fmla="*/ 2452 h 140541"/>
                <a:gd name="connsiteX4" fmla="*/ 31706 w 71937"/>
                <a:gd name="connsiteY4" fmla="*/ 1942 h 140541"/>
                <a:gd name="connsiteX5" fmla="*/ 31798 w 71937"/>
                <a:gd name="connsiteY5" fmla="*/ 2267 h 140541"/>
                <a:gd name="connsiteX6" fmla="*/ 31938 w 71937"/>
                <a:gd name="connsiteY6" fmla="*/ 18008 h 140541"/>
                <a:gd name="connsiteX7" fmla="*/ 28268 w 71937"/>
                <a:gd name="connsiteY7" fmla="*/ 27109 h 140541"/>
                <a:gd name="connsiteX8" fmla="*/ 18558 w 71937"/>
                <a:gd name="connsiteY8" fmla="*/ 36025 h 140541"/>
                <a:gd name="connsiteX9" fmla="*/ 19162 w 71937"/>
                <a:gd name="connsiteY9" fmla="*/ 43222 h 140541"/>
                <a:gd name="connsiteX10" fmla="*/ 9778 w 71937"/>
                <a:gd name="connsiteY10" fmla="*/ 61564 h 140541"/>
                <a:gd name="connsiteX11" fmla="*/ 3506 w 71937"/>
                <a:gd name="connsiteY11" fmla="*/ 74241 h 140541"/>
                <a:gd name="connsiteX12" fmla="*/ 11775 w 71937"/>
                <a:gd name="connsiteY12" fmla="*/ 95090 h 140541"/>
                <a:gd name="connsiteX13" fmla="*/ 14656 w 71937"/>
                <a:gd name="connsiteY13" fmla="*/ 135720 h 140541"/>
                <a:gd name="connsiteX14" fmla="*/ 31241 w 71937"/>
                <a:gd name="connsiteY14" fmla="*/ 140317 h 140541"/>
                <a:gd name="connsiteX15" fmla="*/ 48477 w 71937"/>
                <a:gd name="connsiteY15" fmla="*/ 136556 h 140541"/>
                <a:gd name="connsiteX16" fmla="*/ 45364 w 71937"/>
                <a:gd name="connsiteY16" fmla="*/ 128801 h 140541"/>
                <a:gd name="connsiteX17" fmla="*/ 53912 w 71937"/>
                <a:gd name="connsiteY17" fmla="*/ 114174 h 140541"/>
                <a:gd name="connsiteX18" fmla="*/ 49267 w 71937"/>
                <a:gd name="connsiteY18" fmla="*/ 102148 h 140541"/>
                <a:gd name="connsiteX19" fmla="*/ 54702 w 71937"/>
                <a:gd name="connsiteY19" fmla="*/ 89239 h 140541"/>
                <a:gd name="connsiteX20" fmla="*/ 48477 w 71937"/>
                <a:gd name="connsiteY20" fmla="*/ 76330 h 140541"/>
                <a:gd name="connsiteX21" fmla="*/ 53912 w 71937"/>
                <a:gd name="connsiteY21" fmla="*/ 66904 h 140541"/>
                <a:gd name="connsiteX22" fmla="*/ 57769 w 71937"/>
                <a:gd name="connsiteY22" fmla="*/ 50559 h 140541"/>
                <a:gd name="connsiteX23" fmla="*/ 56189 w 71937"/>
                <a:gd name="connsiteY23" fmla="*/ 28224 h 140541"/>
                <a:gd name="connsiteX24" fmla="*/ 70173 w 71937"/>
                <a:gd name="connsiteY24" fmla="*/ 14479 h 140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937" h="140541">
                  <a:moveTo>
                    <a:pt x="70126" y="14479"/>
                  </a:moveTo>
                  <a:cubicBezTo>
                    <a:pt x="76305" y="7607"/>
                    <a:pt x="64691" y="10160"/>
                    <a:pt x="64691" y="5006"/>
                  </a:cubicBezTo>
                  <a:cubicBezTo>
                    <a:pt x="64691" y="-148"/>
                    <a:pt x="56932" y="-1866"/>
                    <a:pt x="51497" y="2452"/>
                  </a:cubicBezTo>
                  <a:cubicBezTo>
                    <a:pt x="46061" y="6771"/>
                    <a:pt x="47594" y="2452"/>
                    <a:pt x="42948" y="2452"/>
                  </a:cubicBezTo>
                  <a:cubicBezTo>
                    <a:pt x="39650" y="2452"/>
                    <a:pt x="34493" y="3242"/>
                    <a:pt x="31706" y="1942"/>
                  </a:cubicBezTo>
                  <a:cubicBezTo>
                    <a:pt x="31706" y="2034"/>
                    <a:pt x="31798" y="2174"/>
                    <a:pt x="31798" y="2267"/>
                  </a:cubicBezTo>
                  <a:cubicBezTo>
                    <a:pt x="32821" y="8303"/>
                    <a:pt x="33285" y="12064"/>
                    <a:pt x="31938" y="18008"/>
                  </a:cubicBezTo>
                  <a:cubicBezTo>
                    <a:pt x="31195" y="21212"/>
                    <a:pt x="29708" y="24184"/>
                    <a:pt x="28268" y="27109"/>
                  </a:cubicBezTo>
                  <a:cubicBezTo>
                    <a:pt x="26316" y="31103"/>
                    <a:pt x="22600" y="34028"/>
                    <a:pt x="18558" y="36025"/>
                  </a:cubicBezTo>
                  <a:cubicBezTo>
                    <a:pt x="18790" y="38439"/>
                    <a:pt x="18976" y="40807"/>
                    <a:pt x="19162" y="43222"/>
                  </a:cubicBezTo>
                  <a:cubicBezTo>
                    <a:pt x="19627" y="50605"/>
                    <a:pt x="15631" y="57292"/>
                    <a:pt x="9778" y="61564"/>
                  </a:cubicBezTo>
                  <a:cubicBezTo>
                    <a:pt x="7780" y="66997"/>
                    <a:pt x="5596" y="71547"/>
                    <a:pt x="3506" y="74241"/>
                  </a:cubicBezTo>
                  <a:cubicBezTo>
                    <a:pt x="-4810" y="84828"/>
                    <a:pt x="3181" y="87660"/>
                    <a:pt x="11775" y="95090"/>
                  </a:cubicBezTo>
                  <a:cubicBezTo>
                    <a:pt x="20370" y="102519"/>
                    <a:pt x="14656" y="129359"/>
                    <a:pt x="14656" y="135720"/>
                  </a:cubicBezTo>
                  <a:cubicBezTo>
                    <a:pt x="14656" y="142082"/>
                    <a:pt x="22321" y="140317"/>
                    <a:pt x="31241" y="140317"/>
                  </a:cubicBezTo>
                  <a:cubicBezTo>
                    <a:pt x="36584" y="140317"/>
                    <a:pt x="42577" y="137717"/>
                    <a:pt x="48477" y="136556"/>
                  </a:cubicBezTo>
                  <a:cubicBezTo>
                    <a:pt x="46712" y="133584"/>
                    <a:pt x="45364" y="130705"/>
                    <a:pt x="45364" y="128801"/>
                  </a:cubicBezTo>
                  <a:cubicBezTo>
                    <a:pt x="45364" y="123647"/>
                    <a:pt x="45364" y="115892"/>
                    <a:pt x="53912" y="114174"/>
                  </a:cubicBezTo>
                  <a:cubicBezTo>
                    <a:pt x="62461" y="112456"/>
                    <a:pt x="51590" y="104702"/>
                    <a:pt x="49267" y="102148"/>
                  </a:cubicBezTo>
                  <a:cubicBezTo>
                    <a:pt x="46944" y="99594"/>
                    <a:pt x="50057" y="89239"/>
                    <a:pt x="54702" y="89239"/>
                  </a:cubicBezTo>
                  <a:cubicBezTo>
                    <a:pt x="59348" y="89239"/>
                    <a:pt x="54702" y="83249"/>
                    <a:pt x="48477" y="76330"/>
                  </a:cubicBezTo>
                  <a:cubicBezTo>
                    <a:pt x="42298" y="69458"/>
                    <a:pt x="48477" y="66904"/>
                    <a:pt x="53912" y="66904"/>
                  </a:cubicBezTo>
                  <a:cubicBezTo>
                    <a:pt x="59348" y="66904"/>
                    <a:pt x="52380" y="56595"/>
                    <a:pt x="57769" y="50559"/>
                  </a:cubicBezTo>
                  <a:cubicBezTo>
                    <a:pt x="63204" y="44522"/>
                    <a:pt x="56189" y="33378"/>
                    <a:pt x="56189" y="28224"/>
                  </a:cubicBezTo>
                  <a:cubicBezTo>
                    <a:pt x="56189" y="23069"/>
                    <a:pt x="63948" y="21351"/>
                    <a:pt x="70173" y="14479"/>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0" name="Freeform 50">
              <a:extLst>
                <a:ext uri="{FF2B5EF4-FFF2-40B4-BE49-F238E27FC236}">
                  <a16:creationId xmlns:a16="http://schemas.microsoft.com/office/drawing/2014/main" id="{BAA856C5-54FC-039C-4A01-FCCA0A07EB84}"/>
                </a:ext>
              </a:extLst>
            </p:cNvPr>
            <p:cNvSpPr/>
            <p:nvPr/>
          </p:nvSpPr>
          <p:spPr>
            <a:xfrm>
              <a:off x="9814605" y="2219970"/>
              <a:ext cx="412525" cy="391916"/>
            </a:xfrm>
            <a:custGeom>
              <a:avLst/>
              <a:gdLst>
                <a:gd name="connsiteX0" fmla="*/ 87248 w 88319"/>
                <a:gd name="connsiteY0" fmla="*/ 16206 h 83907"/>
                <a:gd name="connsiteX1" fmla="*/ 86644 w 88319"/>
                <a:gd name="connsiteY1" fmla="*/ 0 h 83907"/>
                <a:gd name="connsiteX2" fmla="*/ 81208 w 88319"/>
                <a:gd name="connsiteY2" fmla="*/ 2415 h 83907"/>
                <a:gd name="connsiteX3" fmla="*/ 78328 w 88319"/>
                <a:gd name="connsiteY3" fmla="*/ 1207 h 83907"/>
                <a:gd name="connsiteX4" fmla="*/ 59884 w 88319"/>
                <a:gd name="connsiteY4" fmla="*/ 10262 h 83907"/>
                <a:gd name="connsiteX5" fmla="*/ 50592 w 88319"/>
                <a:gd name="connsiteY5" fmla="*/ 9891 h 83907"/>
                <a:gd name="connsiteX6" fmla="*/ 50592 w 88319"/>
                <a:gd name="connsiteY6" fmla="*/ 19735 h 83907"/>
                <a:gd name="connsiteX7" fmla="*/ 41347 w 88319"/>
                <a:gd name="connsiteY7" fmla="*/ 22289 h 83907"/>
                <a:gd name="connsiteX8" fmla="*/ 38420 w 88319"/>
                <a:gd name="connsiteY8" fmla="*/ 27768 h 83907"/>
                <a:gd name="connsiteX9" fmla="*/ 33775 w 88319"/>
                <a:gd name="connsiteY9" fmla="*/ 33804 h 83907"/>
                <a:gd name="connsiteX10" fmla="*/ 19605 w 88319"/>
                <a:gd name="connsiteY10" fmla="*/ 51125 h 83907"/>
                <a:gd name="connsiteX11" fmla="*/ 3391 w 88319"/>
                <a:gd name="connsiteY11" fmla="*/ 67748 h 83907"/>
                <a:gd name="connsiteX12" fmla="*/ 0 w 88319"/>
                <a:gd name="connsiteY12" fmla="*/ 69931 h 83907"/>
                <a:gd name="connsiteX13" fmla="*/ 7665 w 88319"/>
                <a:gd name="connsiteY13" fmla="*/ 72949 h 83907"/>
                <a:gd name="connsiteX14" fmla="*/ 28153 w 88319"/>
                <a:gd name="connsiteY14" fmla="*/ 65380 h 83907"/>
                <a:gd name="connsiteX15" fmla="*/ 42788 w 88319"/>
                <a:gd name="connsiteY15" fmla="*/ 67562 h 83907"/>
                <a:gd name="connsiteX16" fmla="*/ 58398 w 88319"/>
                <a:gd name="connsiteY16" fmla="*/ 79403 h 83907"/>
                <a:gd name="connsiteX17" fmla="*/ 63090 w 88319"/>
                <a:gd name="connsiteY17" fmla="*/ 83908 h 83907"/>
                <a:gd name="connsiteX18" fmla="*/ 65552 w 88319"/>
                <a:gd name="connsiteY18" fmla="*/ 65612 h 83907"/>
                <a:gd name="connsiteX19" fmla="*/ 66806 w 88319"/>
                <a:gd name="connsiteY19" fmla="*/ 54329 h 83907"/>
                <a:gd name="connsiteX20" fmla="*/ 78932 w 88319"/>
                <a:gd name="connsiteY20" fmla="*/ 47967 h 83907"/>
                <a:gd name="connsiteX21" fmla="*/ 83392 w 88319"/>
                <a:gd name="connsiteY21" fmla="*/ 40166 h 83907"/>
                <a:gd name="connsiteX22" fmla="*/ 76377 w 88319"/>
                <a:gd name="connsiteY22" fmla="*/ 27443 h 83907"/>
                <a:gd name="connsiteX23" fmla="*/ 87248 w 88319"/>
                <a:gd name="connsiteY23" fmla="*/ 16159 h 83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319" h="83907">
                  <a:moveTo>
                    <a:pt x="87248" y="16206"/>
                  </a:moveTo>
                  <a:cubicBezTo>
                    <a:pt x="89106" y="13141"/>
                    <a:pt x="88316" y="6826"/>
                    <a:pt x="86644" y="0"/>
                  </a:cubicBezTo>
                  <a:cubicBezTo>
                    <a:pt x="85808" y="2508"/>
                    <a:pt x="84089" y="4318"/>
                    <a:pt x="81208" y="2415"/>
                  </a:cubicBezTo>
                  <a:cubicBezTo>
                    <a:pt x="80326" y="1857"/>
                    <a:pt x="79350" y="1486"/>
                    <a:pt x="78328" y="1207"/>
                  </a:cubicBezTo>
                  <a:cubicBezTo>
                    <a:pt x="73961" y="6919"/>
                    <a:pt x="67224" y="10912"/>
                    <a:pt x="59884" y="10262"/>
                  </a:cubicBezTo>
                  <a:cubicBezTo>
                    <a:pt x="56771" y="9983"/>
                    <a:pt x="53705" y="9937"/>
                    <a:pt x="50592" y="9891"/>
                  </a:cubicBezTo>
                  <a:cubicBezTo>
                    <a:pt x="48734" y="13466"/>
                    <a:pt x="48734" y="17460"/>
                    <a:pt x="50592" y="19735"/>
                  </a:cubicBezTo>
                  <a:cubicBezTo>
                    <a:pt x="53659" y="23403"/>
                    <a:pt x="44460" y="25493"/>
                    <a:pt x="41347" y="22289"/>
                  </a:cubicBezTo>
                  <a:cubicBezTo>
                    <a:pt x="40418" y="24239"/>
                    <a:pt x="39443" y="26143"/>
                    <a:pt x="38420" y="27768"/>
                  </a:cubicBezTo>
                  <a:cubicBezTo>
                    <a:pt x="37492" y="29254"/>
                    <a:pt x="35587" y="31808"/>
                    <a:pt x="33775" y="33804"/>
                  </a:cubicBezTo>
                  <a:cubicBezTo>
                    <a:pt x="32613" y="41513"/>
                    <a:pt x="26806" y="48013"/>
                    <a:pt x="19605" y="51125"/>
                  </a:cubicBezTo>
                  <a:cubicBezTo>
                    <a:pt x="16818" y="58043"/>
                    <a:pt x="8920" y="64126"/>
                    <a:pt x="3391" y="67748"/>
                  </a:cubicBezTo>
                  <a:cubicBezTo>
                    <a:pt x="2323" y="68491"/>
                    <a:pt x="1161" y="69188"/>
                    <a:pt x="0" y="69931"/>
                  </a:cubicBezTo>
                  <a:cubicBezTo>
                    <a:pt x="3531" y="71742"/>
                    <a:pt x="6365" y="72949"/>
                    <a:pt x="7665" y="72949"/>
                  </a:cubicBezTo>
                  <a:cubicBezTo>
                    <a:pt x="13519" y="72949"/>
                    <a:pt x="24251" y="69745"/>
                    <a:pt x="28153" y="65380"/>
                  </a:cubicBezTo>
                  <a:cubicBezTo>
                    <a:pt x="32056" y="61062"/>
                    <a:pt x="38885" y="63244"/>
                    <a:pt x="42788" y="67562"/>
                  </a:cubicBezTo>
                  <a:cubicBezTo>
                    <a:pt x="46690" y="71881"/>
                    <a:pt x="52544" y="72949"/>
                    <a:pt x="58398" y="79403"/>
                  </a:cubicBezTo>
                  <a:cubicBezTo>
                    <a:pt x="59884" y="81075"/>
                    <a:pt x="61510" y="82561"/>
                    <a:pt x="63090" y="83908"/>
                  </a:cubicBezTo>
                  <a:cubicBezTo>
                    <a:pt x="63647" y="79357"/>
                    <a:pt x="63740" y="70302"/>
                    <a:pt x="65552" y="65612"/>
                  </a:cubicBezTo>
                  <a:cubicBezTo>
                    <a:pt x="67457" y="60690"/>
                    <a:pt x="63647" y="54329"/>
                    <a:pt x="66806" y="54329"/>
                  </a:cubicBezTo>
                  <a:cubicBezTo>
                    <a:pt x="69966" y="54329"/>
                    <a:pt x="78932" y="54329"/>
                    <a:pt x="78932" y="47967"/>
                  </a:cubicBezTo>
                  <a:cubicBezTo>
                    <a:pt x="78932" y="41605"/>
                    <a:pt x="81487" y="43742"/>
                    <a:pt x="83392" y="40166"/>
                  </a:cubicBezTo>
                  <a:cubicBezTo>
                    <a:pt x="85297" y="36637"/>
                    <a:pt x="77631" y="29579"/>
                    <a:pt x="76377" y="27443"/>
                  </a:cubicBezTo>
                  <a:cubicBezTo>
                    <a:pt x="75122" y="25353"/>
                    <a:pt x="82137" y="24610"/>
                    <a:pt x="87248" y="16159"/>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1" name="Freeform 53">
              <a:extLst>
                <a:ext uri="{FF2B5EF4-FFF2-40B4-BE49-F238E27FC236}">
                  <a16:creationId xmlns:a16="http://schemas.microsoft.com/office/drawing/2014/main" id="{59F907BD-3F23-8052-5498-64A1B0352D6E}"/>
                </a:ext>
              </a:extLst>
            </p:cNvPr>
            <p:cNvSpPr/>
            <p:nvPr/>
          </p:nvSpPr>
          <p:spPr>
            <a:xfrm>
              <a:off x="10080138" y="2717299"/>
              <a:ext cx="66689" cy="103023"/>
            </a:xfrm>
            <a:custGeom>
              <a:avLst/>
              <a:gdLst>
                <a:gd name="connsiteX0" fmla="*/ 7588 w 14278"/>
                <a:gd name="connsiteY0" fmla="*/ 0 h 22056"/>
                <a:gd name="connsiteX1" fmla="*/ 62 w 14278"/>
                <a:gd name="connsiteY1" fmla="*/ 20292 h 22056"/>
                <a:gd name="connsiteX2" fmla="*/ 14278 w 14278"/>
                <a:gd name="connsiteY2" fmla="*/ 22056 h 22056"/>
                <a:gd name="connsiteX3" fmla="*/ 7449 w 14278"/>
                <a:gd name="connsiteY3" fmla="*/ 2275 h 22056"/>
                <a:gd name="connsiteX4" fmla="*/ 7588 w 14278"/>
                <a:gd name="connsiteY4" fmla="*/ 0 h 22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78" h="22056">
                  <a:moveTo>
                    <a:pt x="7588" y="0"/>
                  </a:moveTo>
                  <a:cubicBezTo>
                    <a:pt x="3360" y="2647"/>
                    <a:pt x="-542" y="8312"/>
                    <a:pt x="62" y="20292"/>
                  </a:cubicBezTo>
                  <a:cubicBezTo>
                    <a:pt x="4197" y="20153"/>
                    <a:pt x="10050" y="20710"/>
                    <a:pt x="14278" y="22056"/>
                  </a:cubicBezTo>
                  <a:cubicBezTo>
                    <a:pt x="13256" y="9008"/>
                    <a:pt x="8657" y="4969"/>
                    <a:pt x="7449" y="2275"/>
                  </a:cubicBezTo>
                  <a:cubicBezTo>
                    <a:pt x="7123" y="1532"/>
                    <a:pt x="7216" y="789"/>
                    <a:pt x="7588" y="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2" name="Freeform 54">
              <a:extLst>
                <a:ext uri="{FF2B5EF4-FFF2-40B4-BE49-F238E27FC236}">
                  <a16:creationId xmlns:a16="http://schemas.microsoft.com/office/drawing/2014/main" id="{66D43FB9-23D3-DF30-3535-C5155F02B211}"/>
                </a:ext>
              </a:extLst>
            </p:cNvPr>
            <p:cNvSpPr/>
            <p:nvPr/>
          </p:nvSpPr>
          <p:spPr>
            <a:xfrm>
              <a:off x="9747334" y="2514827"/>
              <a:ext cx="388627" cy="299361"/>
            </a:xfrm>
            <a:custGeom>
              <a:avLst/>
              <a:gdLst>
                <a:gd name="connsiteX0" fmla="*/ 2788 w 83202"/>
                <a:gd name="connsiteY0" fmla="*/ 16834 h 64091"/>
                <a:gd name="connsiteX1" fmla="*/ 10453 w 83202"/>
                <a:gd name="connsiteY1" fmla="*/ 25842 h 64091"/>
                <a:gd name="connsiteX2" fmla="*/ 21464 w 83202"/>
                <a:gd name="connsiteY2" fmla="*/ 33272 h 64091"/>
                <a:gd name="connsiteX3" fmla="*/ 34843 w 83202"/>
                <a:gd name="connsiteY3" fmla="*/ 42280 h 64091"/>
                <a:gd name="connsiteX4" fmla="*/ 41069 w 83202"/>
                <a:gd name="connsiteY4" fmla="*/ 50221 h 64091"/>
                <a:gd name="connsiteX5" fmla="*/ 50639 w 83202"/>
                <a:gd name="connsiteY5" fmla="*/ 44927 h 64091"/>
                <a:gd name="connsiteX6" fmla="*/ 56864 w 83202"/>
                <a:gd name="connsiteY6" fmla="*/ 56071 h 64091"/>
                <a:gd name="connsiteX7" fmla="*/ 67875 w 83202"/>
                <a:gd name="connsiteY7" fmla="*/ 64012 h 64091"/>
                <a:gd name="connsiteX8" fmla="*/ 71313 w 83202"/>
                <a:gd name="connsiteY8" fmla="*/ 63687 h 64091"/>
                <a:gd name="connsiteX9" fmla="*/ 78839 w 83202"/>
                <a:gd name="connsiteY9" fmla="*/ 43395 h 64091"/>
                <a:gd name="connsiteX10" fmla="*/ 83160 w 83202"/>
                <a:gd name="connsiteY10" fmla="*/ 36476 h 64091"/>
                <a:gd name="connsiteX11" fmla="*/ 77399 w 83202"/>
                <a:gd name="connsiteY11" fmla="*/ 21663 h 64091"/>
                <a:gd name="connsiteX12" fmla="*/ 77492 w 83202"/>
                <a:gd name="connsiteY12" fmla="*/ 20874 h 64091"/>
                <a:gd name="connsiteX13" fmla="*/ 72800 w 83202"/>
                <a:gd name="connsiteY13" fmla="*/ 16370 h 64091"/>
                <a:gd name="connsiteX14" fmla="*/ 57190 w 83202"/>
                <a:gd name="connsiteY14" fmla="*/ 4529 h 64091"/>
                <a:gd name="connsiteX15" fmla="*/ 42556 w 83202"/>
                <a:gd name="connsiteY15" fmla="*/ 2346 h 64091"/>
                <a:gd name="connsiteX16" fmla="*/ 22067 w 83202"/>
                <a:gd name="connsiteY16" fmla="*/ 9915 h 64091"/>
                <a:gd name="connsiteX17" fmla="*/ 14402 w 83202"/>
                <a:gd name="connsiteY17" fmla="*/ 6897 h 64091"/>
                <a:gd name="connsiteX18" fmla="*/ 0 w 83202"/>
                <a:gd name="connsiteY18" fmla="*/ 13723 h 64091"/>
                <a:gd name="connsiteX19" fmla="*/ 2788 w 83202"/>
                <a:gd name="connsiteY19" fmla="*/ 16880 h 64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202" h="64091">
                  <a:moveTo>
                    <a:pt x="2788" y="16834"/>
                  </a:moveTo>
                  <a:cubicBezTo>
                    <a:pt x="3252" y="20549"/>
                    <a:pt x="8548" y="29557"/>
                    <a:pt x="10453" y="25842"/>
                  </a:cubicBezTo>
                  <a:cubicBezTo>
                    <a:pt x="12358" y="22127"/>
                    <a:pt x="17143" y="30625"/>
                    <a:pt x="21464" y="33272"/>
                  </a:cubicBezTo>
                  <a:cubicBezTo>
                    <a:pt x="25784" y="35919"/>
                    <a:pt x="34379" y="39076"/>
                    <a:pt x="34843" y="42280"/>
                  </a:cubicBezTo>
                  <a:cubicBezTo>
                    <a:pt x="35308" y="45438"/>
                    <a:pt x="36748" y="52356"/>
                    <a:pt x="41069" y="50221"/>
                  </a:cubicBezTo>
                  <a:cubicBezTo>
                    <a:pt x="45389" y="48085"/>
                    <a:pt x="50639" y="40701"/>
                    <a:pt x="50639" y="44927"/>
                  </a:cubicBezTo>
                  <a:cubicBezTo>
                    <a:pt x="50639" y="49152"/>
                    <a:pt x="52079" y="57139"/>
                    <a:pt x="56864" y="56071"/>
                  </a:cubicBezTo>
                  <a:cubicBezTo>
                    <a:pt x="61650" y="55003"/>
                    <a:pt x="63090" y="65080"/>
                    <a:pt x="67875" y="64012"/>
                  </a:cubicBezTo>
                  <a:cubicBezTo>
                    <a:pt x="68758" y="63826"/>
                    <a:pt x="69919" y="63733"/>
                    <a:pt x="71313" y="63687"/>
                  </a:cubicBezTo>
                  <a:cubicBezTo>
                    <a:pt x="70709" y="51706"/>
                    <a:pt x="74611" y="46041"/>
                    <a:pt x="78839" y="43395"/>
                  </a:cubicBezTo>
                  <a:cubicBezTo>
                    <a:pt x="79815" y="41305"/>
                    <a:pt x="82695" y="39076"/>
                    <a:pt x="83160" y="36476"/>
                  </a:cubicBezTo>
                  <a:cubicBezTo>
                    <a:pt x="83810" y="32947"/>
                    <a:pt x="76795" y="25889"/>
                    <a:pt x="77399" y="21663"/>
                  </a:cubicBezTo>
                  <a:cubicBezTo>
                    <a:pt x="77399" y="21431"/>
                    <a:pt x="77445" y="21152"/>
                    <a:pt x="77492" y="20874"/>
                  </a:cubicBezTo>
                  <a:cubicBezTo>
                    <a:pt x="75912" y="19527"/>
                    <a:pt x="74286" y="18041"/>
                    <a:pt x="72800" y="16370"/>
                  </a:cubicBezTo>
                  <a:cubicBezTo>
                    <a:pt x="66946" y="9915"/>
                    <a:pt x="61092" y="8847"/>
                    <a:pt x="57190" y="4529"/>
                  </a:cubicBezTo>
                  <a:cubicBezTo>
                    <a:pt x="53287" y="210"/>
                    <a:pt x="46458" y="-1972"/>
                    <a:pt x="42556" y="2346"/>
                  </a:cubicBezTo>
                  <a:cubicBezTo>
                    <a:pt x="38653" y="6665"/>
                    <a:pt x="27921" y="9915"/>
                    <a:pt x="22067" y="9915"/>
                  </a:cubicBezTo>
                  <a:cubicBezTo>
                    <a:pt x="20720" y="9915"/>
                    <a:pt x="17933" y="8708"/>
                    <a:pt x="14402" y="6897"/>
                  </a:cubicBezTo>
                  <a:cubicBezTo>
                    <a:pt x="9803" y="9869"/>
                    <a:pt x="4878" y="12655"/>
                    <a:pt x="0" y="13723"/>
                  </a:cubicBezTo>
                  <a:cubicBezTo>
                    <a:pt x="976" y="15209"/>
                    <a:pt x="2462" y="14419"/>
                    <a:pt x="2788" y="1688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4" name="Freeform 61">
              <a:extLst>
                <a:ext uri="{FF2B5EF4-FFF2-40B4-BE49-F238E27FC236}">
                  <a16:creationId xmlns:a16="http://schemas.microsoft.com/office/drawing/2014/main" id="{31CC254C-67FB-54B1-D5BF-F71A36372237}"/>
                </a:ext>
              </a:extLst>
            </p:cNvPr>
            <p:cNvSpPr/>
            <p:nvPr/>
          </p:nvSpPr>
          <p:spPr>
            <a:xfrm>
              <a:off x="11525545" y="2969542"/>
              <a:ext cx="908105" cy="654786"/>
            </a:xfrm>
            <a:custGeom>
              <a:avLst/>
              <a:gdLst>
                <a:gd name="connsiteX0" fmla="*/ 174422 w 194419"/>
                <a:gd name="connsiteY0" fmla="*/ 93752 h 140186"/>
                <a:gd name="connsiteX1" fmla="*/ 166106 w 194419"/>
                <a:gd name="connsiteY1" fmla="*/ 88133 h 140186"/>
                <a:gd name="connsiteX2" fmla="*/ 166663 w 194419"/>
                <a:gd name="connsiteY2" fmla="*/ 87297 h 140186"/>
                <a:gd name="connsiteX3" fmla="*/ 162947 w 194419"/>
                <a:gd name="connsiteY3" fmla="*/ 60412 h 140186"/>
                <a:gd name="connsiteX4" fmla="*/ 149288 w 194419"/>
                <a:gd name="connsiteY4" fmla="*/ 26932 h 140186"/>
                <a:gd name="connsiteX5" fmla="*/ 135072 w 194419"/>
                <a:gd name="connsiteY5" fmla="*/ 0 h 140186"/>
                <a:gd name="connsiteX6" fmla="*/ 124666 w 194419"/>
                <a:gd name="connsiteY6" fmla="*/ 5479 h 140186"/>
                <a:gd name="connsiteX7" fmla="*/ 112540 w 194419"/>
                <a:gd name="connsiteY7" fmla="*/ 12537 h 140186"/>
                <a:gd name="connsiteX8" fmla="*/ 101715 w 194419"/>
                <a:gd name="connsiteY8" fmla="*/ 13930 h 140186"/>
                <a:gd name="connsiteX9" fmla="*/ 92145 w 194419"/>
                <a:gd name="connsiteY9" fmla="*/ 16763 h 140186"/>
                <a:gd name="connsiteX10" fmla="*/ 79369 w 194419"/>
                <a:gd name="connsiteY10" fmla="*/ 12537 h 140186"/>
                <a:gd name="connsiteX11" fmla="*/ 57720 w 194419"/>
                <a:gd name="connsiteY11" fmla="*/ 8312 h 140186"/>
                <a:gd name="connsiteX12" fmla="*/ 49404 w 194419"/>
                <a:gd name="connsiteY12" fmla="*/ 9101 h 140186"/>
                <a:gd name="connsiteX13" fmla="*/ 47360 w 194419"/>
                <a:gd name="connsiteY13" fmla="*/ 14302 h 140186"/>
                <a:gd name="connsiteX14" fmla="*/ 33004 w 194419"/>
                <a:gd name="connsiteY14" fmla="*/ 24378 h 140186"/>
                <a:gd name="connsiteX15" fmla="*/ 13399 w 194419"/>
                <a:gd name="connsiteY15" fmla="*/ 60412 h 140186"/>
                <a:gd name="connsiteX16" fmla="*/ 19 w 194419"/>
                <a:gd name="connsiteY16" fmla="*/ 71509 h 140186"/>
                <a:gd name="connsiteX17" fmla="*/ 7685 w 194419"/>
                <a:gd name="connsiteY17" fmla="*/ 85301 h 140186"/>
                <a:gd name="connsiteX18" fmla="*/ 14839 w 194419"/>
                <a:gd name="connsiteY18" fmla="*/ 93752 h 140186"/>
                <a:gd name="connsiteX19" fmla="*/ 17720 w 194419"/>
                <a:gd name="connsiteY19" fmla="*/ 108611 h 140186"/>
                <a:gd name="connsiteX20" fmla="*/ 41646 w 194419"/>
                <a:gd name="connsiteY20" fmla="*/ 116551 h 140186"/>
                <a:gd name="connsiteX21" fmla="*/ 42946 w 194419"/>
                <a:gd name="connsiteY21" fmla="*/ 126999 h 140186"/>
                <a:gd name="connsiteX22" fmla="*/ 55258 w 194419"/>
                <a:gd name="connsiteY22" fmla="*/ 136147 h 140186"/>
                <a:gd name="connsiteX23" fmla="*/ 78208 w 194419"/>
                <a:gd name="connsiteY23" fmla="*/ 138979 h 140186"/>
                <a:gd name="connsiteX24" fmla="*/ 101158 w 194419"/>
                <a:gd name="connsiteY24" fmla="*/ 139676 h 140186"/>
                <a:gd name="connsiteX25" fmla="*/ 116443 w 194419"/>
                <a:gd name="connsiteY25" fmla="*/ 132618 h 140186"/>
                <a:gd name="connsiteX26" fmla="*/ 141994 w 194419"/>
                <a:gd name="connsiteY26" fmla="*/ 127649 h 140186"/>
                <a:gd name="connsiteX27" fmla="*/ 159230 w 194419"/>
                <a:gd name="connsiteY27" fmla="*/ 133314 h 140186"/>
                <a:gd name="connsiteX28" fmla="*/ 172332 w 194419"/>
                <a:gd name="connsiteY28" fmla="*/ 140186 h 140186"/>
                <a:gd name="connsiteX29" fmla="*/ 172332 w 194419"/>
                <a:gd name="connsiteY29" fmla="*/ 127649 h 140186"/>
                <a:gd name="connsiteX30" fmla="*/ 183156 w 194419"/>
                <a:gd name="connsiteY30" fmla="*/ 108239 h 140186"/>
                <a:gd name="connsiteX31" fmla="*/ 194306 w 194419"/>
                <a:gd name="connsiteY31" fmla="*/ 95191 h 140186"/>
                <a:gd name="connsiteX32" fmla="*/ 194259 w 194419"/>
                <a:gd name="connsiteY32" fmla="*/ 94077 h 140186"/>
                <a:gd name="connsiteX33" fmla="*/ 186687 w 194419"/>
                <a:gd name="connsiteY33" fmla="*/ 88133 h 140186"/>
                <a:gd name="connsiteX34" fmla="*/ 174561 w 194419"/>
                <a:gd name="connsiteY34" fmla="*/ 93752 h 140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4419" h="140186">
                  <a:moveTo>
                    <a:pt x="174422" y="93752"/>
                  </a:moveTo>
                  <a:cubicBezTo>
                    <a:pt x="169962" y="93055"/>
                    <a:pt x="164201" y="90966"/>
                    <a:pt x="166106" y="88133"/>
                  </a:cubicBezTo>
                  <a:cubicBezTo>
                    <a:pt x="166246" y="87947"/>
                    <a:pt x="166478" y="87576"/>
                    <a:pt x="166663" y="87297"/>
                  </a:cubicBezTo>
                  <a:cubicBezTo>
                    <a:pt x="160671" y="81957"/>
                    <a:pt x="159137" y="64637"/>
                    <a:pt x="162947" y="60412"/>
                  </a:cubicBezTo>
                  <a:cubicBezTo>
                    <a:pt x="167825" y="55025"/>
                    <a:pt x="155142" y="34501"/>
                    <a:pt x="149288" y="26932"/>
                  </a:cubicBezTo>
                  <a:cubicBezTo>
                    <a:pt x="146547" y="23403"/>
                    <a:pt x="140601" y="11562"/>
                    <a:pt x="135072" y="0"/>
                  </a:cubicBezTo>
                  <a:cubicBezTo>
                    <a:pt x="130008" y="1811"/>
                    <a:pt x="125548" y="3854"/>
                    <a:pt x="124666" y="5479"/>
                  </a:cubicBezTo>
                  <a:cubicBezTo>
                    <a:pt x="122761" y="9008"/>
                    <a:pt x="116350" y="12537"/>
                    <a:pt x="112540" y="12537"/>
                  </a:cubicBezTo>
                  <a:cubicBezTo>
                    <a:pt x="108731" y="12537"/>
                    <a:pt x="104875" y="10401"/>
                    <a:pt x="101715" y="13930"/>
                  </a:cubicBezTo>
                  <a:cubicBezTo>
                    <a:pt x="98510" y="17460"/>
                    <a:pt x="94050" y="18852"/>
                    <a:pt x="92145" y="16763"/>
                  </a:cubicBezTo>
                  <a:cubicBezTo>
                    <a:pt x="90240" y="14627"/>
                    <a:pt x="83876" y="12537"/>
                    <a:pt x="79369" y="12537"/>
                  </a:cubicBezTo>
                  <a:cubicBezTo>
                    <a:pt x="74863" y="12537"/>
                    <a:pt x="60879" y="8312"/>
                    <a:pt x="57720" y="8312"/>
                  </a:cubicBezTo>
                  <a:cubicBezTo>
                    <a:pt x="55815" y="8312"/>
                    <a:pt x="52749" y="8590"/>
                    <a:pt x="49404" y="9101"/>
                  </a:cubicBezTo>
                  <a:cubicBezTo>
                    <a:pt x="50147" y="10634"/>
                    <a:pt x="49543" y="12444"/>
                    <a:pt x="47360" y="14302"/>
                  </a:cubicBezTo>
                  <a:cubicBezTo>
                    <a:pt x="43550" y="17460"/>
                    <a:pt x="35885" y="22242"/>
                    <a:pt x="33004" y="24378"/>
                  </a:cubicBezTo>
                  <a:cubicBezTo>
                    <a:pt x="30124" y="26468"/>
                    <a:pt x="20089" y="52982"/>
                    <a:pt x="13399" y="60412"/>
                  </a:cubicBezTo>
                  <a:cubicBezTo>
                    <a:pt x="6709" y="67841"/>
                    <a:pt x="484" y="68909"/>
                    <a:pt x="19" y="71509"/>
                  </a:cubicBezTo>
                  <a:cubicBezTo>
                    <a:pt x="-445" y="74156"/>
                    <a:pt x="7685" y="81075"/>
                    <a:pt x="7685" y="85301"/>
                  </a:cubicBezTo>
                  <a:cubicBezTo>
                    <a:pt x="7685" y="89526"/>
                    <a:pt x="9589" y="93752"/>
                    <a:pt x="14839" y="93752"/>
                  </a:cubicBezTo>
                  <a:cubicBezTo>
                    <a:pt x="20089" y="93752"/>
                    <a:pt x="14375" y="107543"/>
                    <a:pt x="17720" y="108611"/>
                  </a:cubicBezTo>
                  <a:cubicBezTo>
                    <a:pt x="21065" y="109679"/>
                    <a:pt x="41646" y="111258"/>
                    <a:pt x="41646" y="116551"/>
                  </a:cubicBezTo>
                  <a:cubicBezTo>
                    <a:pt x="41646" y="120684"/>
                    <a:pt x="43922" y="124120"/>
                    <a:pt x="42946" y="126999"/>
                  </a:cubicBezTo>
                  <a:cubicBezTo>
                    <a:pt x="48707" y="128067"/>
                    <a:pt x="52981" y="136797"/>
                    <a:pt x="55258" y="136147"/>
                  </a:cubicBezTo>
                  <a:cubicBezTo>
                    <a:pt x="57813" y="135450"/>
                    <a:pt x="75049" y="139676"/>
                    <a:pt x="78208" y="138979"/>
                  </a:cubicBezTo>
                  <a:cubicBezTo>
                    <a:pt x="81413" y="138283"/>
                    <a:pt x="96047" y="138979"/>
                    <a:pt x="101158" y="139676"/>
                  </a:cubicBezTo>
                  <a:cubicBezTo>
                    <a:pt x="106268" y="140372"/>
                    <a:pt x="111983" y="137540"/>
                    <a:pt x="116443" y="132618"/>
                  </a:cubicBezTo>
                  <a:cubicBezTo>
                    <a:pt x="120903" y="127649"/>
                    <a:pt x="136884" y="126953"/>
                    <a:pt x="141994" y="127649"/>
                  </a:cubicBezTo>
                  <a:cubicBezTo>
                    <a:pt x="147058" y="128346"/>
                    <a:pt x="157279" y="129785"/>
                    <a:pt x="159230" y="133314"/>
                  </a:cubicBezTo>
                  <a:cubicBezTo>
                    <a:pt x="160252" y="135125"/>
                    <a:pt x="166246" y="137911"/>
                    <a:pt x="172332" y="140186"/>
                  </a:cubicBezTo>
                  <a:cubicBezTo>
                    <a:pt x="173075" y="136657"/>
                    <a:pt x="172145" y="132107"/>
                    <a:pt x="172332" y="127649"/>
                  </a:cubicBezTo>
                  <a:cubicBezTo>
                    <a:pt x="172656" y="120220"/>
                    <a:pt x="176466" y="108936"/>
                    <a:pt x="183156" y="108239"/>
                  </a:cubicBezTo>
                  <a:cubicBezTo>
                    <a:pt x="189846" y="107543"/>
                    <a:pt x="195282" y="107543"/>
                    <a:pt x="194306" y="95191"/>
                  </a:cubicBezTo>
                  <a:cubicBezTo>
                    <a:pt x="194306" y="94773"/>
                    <a:pt x="194306" y="94448"/>
                    <a:pt x="194259" y="94077"/>
                  </a:cubicBezTo>
                  <a:cubicBezTo>
                    <a:pt x="190868" y="90873"/>
                    <a:pt x="187709" y="88133"/>
                    <a:pt x="186687" y="88133"/>
                  </a:cubicBezTo>
                  <a:cubicBezTo>
                    <a:pt x="184132" y="88133"/>
                    <a:pt x="176466" y="94077"/>
                    <a:pt x="174561" y="93752"/>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5" name="Freeform 62">
              <a:extLst>
                <a:ext uri="{FF2B5EF4-FFF2-40B4-BE49-F238E27FC236}">
                  <a16:creationId xmlns:a16="http://schemas.microsoft.com/office/drawing/2014/main" id="{C1D87417-4DBA-4208-EB69-E5D3A19BA5D6}"/>
                </a:ext>
              </a:extLst>
            </p:cNvPr>
            <p:cNvSpPr/>
            <p:nvPr/>
          </p:nvSpPr>
          <p:spPr>
            <a:xfrm>
              <a:off x="11568774" y="1483736"/>
              <a:ext cx="731547" cy="387250"/>
            </a:xfrm>
            <a:custGeom>
              <a:avLst/>
              <a:gdLst>
                <a:gd name="connsiteX0" fmla="*/ 51345 w 156619"/>
                <a:gd name="connsiteY0" fmla="*/ 57834 h 82908"/>
                <a:gd name="connsiteX1" fmla="*/ 78663 w 156619"/>
                <a:gd name="connsiteY1" fmla="*/ 57834 h 82908"/>
                <a:gd name="connsiteX2" fmla="*/ 91346 w 156619"/>
                <a:gd name="connsiteY2" fmla="*/ 63220 h 82908"/>
                <a:gd name="connsiteX3" fmla="*/ 111834 w 156619"/>
                <a:gd name="connsiteY3" fmla="*/ 75107 h 82908"/>
                <a:gd name="connsiteX4" fmla="*/ 122751 w 156619"/>
                <a:gd name="connsiteY4" fmla="*/ 82908 h 82908"/>
                <a:gd name="connsiteX5" fmla="*/ 126932 w 156619"/>
                <a:gd name="connsiteY5" fmla="*/ 77754 h 82908"/>
                <a:gd name="connsiteX6" fmla="*/ 141613 w 156619"/>
                <a:gd name="connsiteY6" fmla="*/ 75618 h 82908"/>
                <a:gd name="connsiteX7" fmla="*/ 149929 w 156619"/>
                <a:gd name="connsiteY7" fmla="*/ 67121 h 82908"/>
                <a:gd name="connsiteX8" fmla="*/ 156619 w 156619"/>
                <a:gd name="connsiteY8" fmla="*/ 64149 h 82908"/>
                <a:gd name="connsiteX9" fmla="*/ 151973 w 156619"/>
                <a:gd name="connsiteY9" fmla="*/ 49475 h 82908"/>
                <a:gd name="connsiteX10" fmla="*/ 145283 w 156619"/>
                <a:gd name="connsiteY10" fmla="*/ 35684 h 82908"/>
                <a:gd name="connsiteX11" fmla="*/ 142867 w 156619"/>
                <a:gd name="connsiteY11" fmla="*/ 22450 h 82908"/>
                <a:gd name="connsiteX12" fmla="*/ 139244 w 156619"/>
                <a:gd name="connsiteY12" fmla="*/ 16368 h 82908"/>
                <a:gd name="connsiteX13" fmla="*/ 118663 w 156619"/>
                <a:gd name="connsiteY13" fmla="*/ 14882 h 82908"/>
                <a:gd name="connsiteX14" fmla="*/ 96967 w 156619"/>
                <a:gd name="connsiteY14" fmla="*/ 765 h 82908"/>
                <a:gd name="connsiteX15" fmla="*/ 73738 w 156619"/>
                <a:gd name="connsiteY15" fmla="*/ 1137 h 82908"/>
                <a:gd name="connsiteX16" fmla="*/ 71787 w 156619"/>
                <a:gd name="connsiteY16" fmla="*/ 24772 h 82908"/>
                <a:gd name="connsiteX17" fmla="*/ 54272 w 156619"/>
                <a:gd name="connsiteY17" fmla="*/ 33966 h 82908"/>
                <a:gd name="connsiteX18" fmla="*/ 35132 w 156619"/>
                <a:gd name="connsiteY18" fmla="*/ 9217 h 82908"/>
                <a:gd name="connsiteX19" fmla="*/ 14365 w 156619"/>
                <a:gd name="connsiteY19" fmla="*/ 19804 h 82908"/>
                <a:gd name="connsiteX20" fmla="*/ 5770 w 156619"/>
                <a:gd name="connsiteY20" fmla="*/ 38888 h 82908"/>
                <a:gd name="connsiteX21" fmla="*/ 2565 w 156619"/>
                <a:gd name="connsiteY21" fmla="*/ 61502 h 82908"/>
                <a:gd name="connsiteX22" fmla="*/ 3122 w 156619"/>
                <a:gd name="connsiteY22" fmla="*/ 62756 h 82908"/>
                <a:gd name="connsiteX23" fmla="*/ 20219 w 156619"/>
                <a:gd name="connsiteY23" fmla="*/ 57834 h 82908"/>
                <a:gd name="connsiteX24" fmla="*/ 51392 w 156619"/>
                <a:gd name="connsiteY24" fmla="*/ 57834 h 8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6619" h="82908">
                  <a:moveTo>
                    <a:pt x="51345" y="57834"/>
                  </a:moveTo>
                  <a:cubicBezTo>
                    <a:pt x="57199" y="57834"/>
                    <a:pt x="70858" y="61084"/>
                    <a:pt x="78663" y="57834"/>
                  </a:cubicBezTo>
                  <a:cubicBezTo>
                    <a:pt x="86468" y="54583"/>
                    <a:pt x="86468" y="64335"/>
                    <a:pt x="91346" y="63220"/>
                  </a:cubicBezTo>
                  <a:cubicBezTo>
                    <a:pt x="96224" y="62152"/>
                    <a:pt x="105980" y="69721"/>
                    <a:pt x="111834" y="75107"/>
                  </a:cubicBezTo>
                  <a:cubicBezTo>
                    <a:pt x="114946" y="77986"/>
                    <a:pt x="118663" y="80262"/>
                    <a:pt x="122751" y="82908"/>
                  </a:cubicBezTo>
                  <a:cubicBezTo>
                    <a:pt x="123680" y="81144"/>
                    <a:pt x="124935" y="79426"/>
                    <a:pt x="126932" y="77754"/>
                  </a:cubicBezTo>
                  <a:cubicBezTo>
                    <a:pt x="132043" y="73529"/>
                    <a:pt x="137153" y="75618"/>
                    <a:pt x="141613" y="75618"/>
                  </a:cubicBezTo>
                  <a:cubicBezTo>
                    <a:pt x="146073" y="75618"/>
                    <a:pt x="146724" y="69953"/>
                    <a:pt x="149929" y="67121"/>
                  </a:cubicBezTo>
                  <a:cubicBezTo>
                    <a:pt x="151741" y="65542"/>
                    <a:pt x="154528" y="64613"/>
                    <a:pt x="156619" y="64149"/>
                  </a:cubicBezTo>
                  <a:cubicBezTo>
                    <a:pt x="154900" y="60248"/>
                    <a:pt x="154807" y="52633"/>
                    <a:pt x="151973" y="49475"/>
                  </a:cubicBezTo>
                  <a:cubicBezTo>
                    <a:pt x="148628" y="45761"/>
                    <a:pt x="143843" y="39399"/>
                    <a:pt x="145283" y="35684"/>
                  </a:cubicBezTo>
                  <a:cubicBezTo>
                    <a:pt x="146724" y="31970"/>
                    <a:pt x="146724" y="26676"/>
                    <a:pt x="142867" y="22450"/>
                  </a:cubicBezTo>
                  <a:cubicBezTo>
                    <a:pt x="141195" y="20593"/>
                    <a:pt x="139894" y="18411"/>
                    <a:pt x="139244" y="16368"/>
                  </a:cubicBezTo>
                  <a:cubicBezTo>
                    <a:pt x="131485" y="15253"/>
                    <a:pt x="120986" y="13999"/>
                    <a:pt x="118663" y="14882"/>
                  </a:cubicBezTo>
                  <a:cubicBezTo>
                    <a:pt x="114854" y="16321"/>
                    <a:pt x="99522" y="2855"/>
                    <a:pt x="96967" y="765"/>
                  </a:cubicBezTo>
                  <a:cubicBezTo>
                    <a:pt x="95295" y="-628"/>
                    <a:pt x="83959" y="115"/>
                    <a:pt x="73738" y="1137"/>
                  </a:cubicBezTo>
                  <a:cubicBezTo>
                    <a:pt x="67838" y="8334"/>
                    <a:pt x="72112" y="13674"/>
                    <a:pt x="71787" y="24772"/>
                  </a:cubicBezTo>
                  <a:cubicBezTo>
                    <a:pt x="71462" y="36102"/>
                    <a:pt x="60312" y="33966"/>
                    <a:pt x="54272" y="33966"/>
                  </a:cubicBezTo>
                  <a:cubicBezTo>
                    <a:pt x="48233" y="33966"/>
                    <a:pt x="38337" y="13814"/>
                    <a:pt x="35132" y="9217"/>
                  </a:cubicBezTo>
                  <a:cubicBezTo>
                    <a:pt x="31926" y="4620"/>
                    <a:pt x="21705" y="14882"/>
                    <a:pt x="14365" y="19804"/>
                  </a:cubicBezTo>
                  <a:cubicBezTo>
                    <a:pt x="7025" y="24772"/>
                    <a:pt x="10834" y="34291"/>
                    <a:pt x="5770" y="38888"/>
                  </a:cubicBezTo>
                  <a:cubicBezTo>
                    <a:pt x="660" y="43485"/>
                    <a:pt x="-2499" y="51240"/>
                    <a:pt x="2565" y="61502"/>
                  </a:cubicBezTo>
                  <a:cubicBezTo>
                    <a:pt x="2751" y="61920"/>
                    <a:pt x="2890" y="62338"/>
                    <a:pt x="3122" y="62756"/>
                  </a:cubicBezTo>
                  <a:cubicBezTo>
                    <a:pt x="9487" y="62199"/>
                    <a:pt x="16270" y="60898"/>
                    <a:pt x="20219" y="57834"/>
                  </a:cubicBezTo>
                  <a:cubicBezTo>
                    <a:pt x="27048" y="52447"/>
                    <a:pt x="45585" y="57834"/>
                    <a:pt x="51392" y="57834"/>
                  </a:cubicBezTo>
                  <a:close/>
                </a:path>
              </a:pathLst>
            </a:custGeom>
            <a:solidFill>
              <a:schemeClr val="accent1"/>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6" name="Freeform 63">
              <a:extLst>
                <a:ext uri="{FF2B5EF4-FFF2-40B4-BE49-F238E27FC236}">
                  <a16:creationId xmlns:a16="http://schemas.microsoft.com/office/drawing/2014/main" id="{074B3B69-EB10-7C8D-2EF8-47E4D7B81BE3}"/>
                </a:ext>
              </a:extLst>
            </p:cNvPr>
            <p:cNvSpPr/>
            <p:nvPr/>
          </p:nvSpPr>
          <p:spPr>
            <a:xfrm>
              <a:off x="11564276" y="1742688"/>
              <a:ext cx="577631" cy="392637"/>
            </a:xfrm>
            <a:custGeom>
              <a:avLst/>
              <a:gdLst>
                <a:gd name="connsiteX0" fmla="*/ 16071 w 123667"/>
                <a:gd name="connsiteY0" fmla="*/ 41213 h 84061"/>
                <a:gd name="connsiteX1" fmla="*/ 28987 w 123667"/>
                <a:gd name="connsiteY1" fmla="*/ 46507 h 84061"/>
                <a:gd name="connsiteX2" fmla="*/ 40926 w 123667"/>
                <a:gd name="connsiteY2" fmla="*/ 54447 h 84061"/>
                <a:gd name="connsiteX3" fmla="*/ 40926 w 123667"/>
                <a:gd name="connsiteY3" fmla="*/ 71396 h 84061"/>
                <a:gd name="connsiteX4" fmla="*/ 57837 w 123667"/>
                <a:gd name="connsiteY4" fmla="*/ 82494 h 84061"/>
                <a:gd name="connsiteX5" fmla="*/ 73633 w 123667"/>
                <a:gd name="connsiteY5" fmla="*/ 83748 h 84061"/>
                <a:gd name="connsiteX6" fmla="*/ 84457 w 123667"/>
                <a:gd name="connsiteY6" fmla="*/ 78083 h 84061"/>
                <a:gd name="connsiteX7" fmla="*/ 98487 w 123667"/>
                <a:gd name="connsiteY7" fmla="*/ 73160 h 84061"/>
                <a:gd name="connsiteX8" fmla="*/ 101693 w 123667"/>
                <a:gd name="connsiteY8" fmla="*/ 61830 h 84061"/>
                <a:gd name="connsiteX9" fmla="*/ 112564 w 123667"/>
                <a:gd name="connsiteY9" fmla="*/ 50547 h 84061"/>
                <a:gd name="connsiteX10" fmla="*/ 119579 w 123667"/>
                <a:gd name="connsiteY10" fmla="*/ 44185 h 84061"/>
                <a:gd name="connsiteX11" fmla="*/ 122135 w 123667"/>
                <a:gd name="connsiteY11" fmla="*/ 34991 h 84061"/>
                <a:gd name="connsiteX12" fmla="*/ 123668 w 123667"/>
                <a:gd name="connsiteY12" fmla="*/ 27469 h 84061"/>
                <a:gd name="connsiteX13" fmla="*/ 112750 w 123667"/>
                <a:gd name="connsiteY13" fmla="*/ 19668 h 84061"/>
                <a:gd name="connsiteX14" fmla="*/ 92262 w 123667"/>
                <a:gd name="connsiteY14" fmla="*/ 7780 h 84061"/>
                <a:gd name="connsiteX15" fmla="*/ 79579 w 123667"/>
                <a:gd name="connsiteY15" fmla="*/ 2394 h 84061"/>
                <a:gd name="connsiteX16" fmla="*/ 52262 w 123667"/>
                <a:gd name="connsiteY16" fmla="*/ 2394 h 84061"/>
                <a:gd name="connsiteX17" fmla="*/ 21089 w 123667"/>
                <a:gd name="connsiteY17" fmla="*/ 2394 h 84061"/>
                <a:gd name="connsiteX18" fmla="*/ 3992 w 123667"/>
                <a:gd name="connsiteY18" fmla="*/ 7316 h 84061"/>
                <a:gd name="connsiteX19" fmla="*/ 1855 w 123667"/>
                <a:gd name="connsiteY19" fmla="*/ 33273 h 84061"/>
                <a:gd name="connsiteX20" fmla="*/ 2924 w 123667"/>
                <a:gd name="connsiteY20" fmla="*/ 39913 h 84061"/>
                <a:gd name="connsiteX21" fmla="*/ 16025 w 123667"/>
                <a:gd name="connsiteY21" fmla="*/ 41213 h 8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3667" h="84061">
                  <a:moveTo>
                    <a:pt x="16071" y="41213"/>
                  </a:moveTo>
                  <a:cubicBezTo>
                    <a:pt x="18441" y="44928"/>
                    <a:pt x="26106" y="48086"/>
                    <a:pt x="28987" y="46507"/>
                  </a:cubicBezTo>
                  <a:cubicBezTo>
                    <a:pt x="31867" y="44928"/>
                    <a:pt x="40926" y="50222"/>
                    <a:pt x="40926" y="54447"/>
                  </a:cubicBezTo>
                  <a:cubicBezTo>
                    <a:pt x="40926" y="58673"/>
                    <a:pt x="38557" y="71396"/>
                    <a:pt x="40926" y="71396"/>
                  </a:cubicBezTo>
                  <a:cubicBezTo>
                    <a:pt x="43110" y="71396"/>
                    <a:pt x="56861" y="76132"/>
                    <a:pt x="57837" y="82494"/>
                  </a:cubicBezTo>
                  <a:cubicBezTo>
                    <a:pt x="64016" y="82633"/>
                    <a:pt x="71031" y="83005"/>
                    <a:pt x="73633" y="83748"/>
                  </a:cubicBezTo>
                  <a:cubicBezTo>
                    <a:pt x="78743" y="85141"/>
                    <a:pt x="81902" y="81658"/>
                    <a:pt x="84457" y="78083"/>
                  </a:cubicBezTo>
                  <a:cubicBezTo>
                    <a:pt x="87012" y="74553"/>
                    <a:pt x="95932" y="73160"/>
                    <a:pt x="98487" y="73160"/>
                  </a:cubicBezTo>
                  <a:cubicBezTo>
                    <a:pt x="101043" y="73160"/>
                    <a:pt x="101043" y="65406"/>
                    <a:pt x="101693" y="61830"/>
                  </a:cubicBezTo>
                  <a:cubicBezTo>
                    <a:pt x="102343" y="58301"/>
                    <a:pt x="108708" y="51940"/>
                    <a:pt x="112564" y="50547"/>
                  </a:cubicBezTo>
                  <a:cubicBezTo>
                    <a:pt x="116420" y="49107"/>
                    <a:pt x="115770" y="44185"/>
                    <a:pt x="119579" y="44185"/>
                  </a:cubicBezTo>
                  <a:cubicBezTo>
                    <a:pt x="123389" y="44185"/>
                    <a:pt x="122785" y="38520"/>
                    <a:pt x="122135" y="34991"/>
                  </a:cubicBezTo>
                  <a:cubicBezTo>
                    <a:pt x="121763" y="32855"/>
                    <a:pt x="122228" y="30162"/>
                    <a:pt x="123668" y="27469"/>
                  </a:cubicBezTo>
                  <a:cubicBezTo>
                    <a:pt x="119579" y="24822"/>
                    <a:pt x="115863" y="22547"/>
                    <a:pt x="112750" y="19668"/>
                  </a:cubicBezTo>
                  <a:cubicBezTo>
                    <a:pt x="106896" y="14281"/>
                    <a:pt x="97140" y="6712"/>
                    <a:pt x="92262" y="7780"/>
                  </a:cubicBezTo>
                  <a:cubicBezTo>
                    <a:pt x="87384" y="8895"/>
                    <a:pt x="87384" y="-857"/>
                    <a:pt x="79579" y="2394"/>
                  </a:cubicBezTo>
                  <a:cubicBezTo>
                    <a:pt x="71774" y="5644"/>
                    <a:pt x="58116" y="2394"/>
                    <a:pt x="52262" y="2394"/>
                  </a:cubicBezTo>
                  <a:cubicBezTo>
                    <a:pt x="46408" y="2394"/>
                    <a:pt x="27872" y="-2992"/>
                    <a:pt x="21089" y="2394"/>
                  </a:cubicBezTo>
                  <a:cubicBezTo>
                    <a:pt x="17186" y="5459"/>
                    <a:pt x="10403" y="6759"/>
                    <a:pt x="3992" y="7316"/>
                  </a:cubicBezTo>
                  <a:cubicBezTo>
                    <a:pt x="8359" y="17160"/>
                    <a:pt x="6780" y="27144"/>
                    <a:pt x="1855" y="33273"/>
                  </a:cubicBezTo>
                  <a:cubicBezTo>
                    <a:pt x="-1629" y="37638"/>
                    <a:pt x="415" y="38195"/>
                    <a:pt x="2924" y="39913"/>
                  </a:cubicBezTo>
                  <a:cubicBezTo>
                    <a:pt x="8173" y="39356"/>
                    <a:pt x="14120" y="38242"/>
                    <a:pt x="16025" y="41213"/>
                  </a:cubicBezTo>
                  <a:close/>
                </a:path>
              </a:pathLst>
            </a:custGeom>
            <a:solidFill>
              <a:schemeClr val="accent1"/>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7" name="Freeform 64">
              <a:extLst>
                <a:ext uri="{FF2B5EF4-FFF2-40B4-BE49-F238E27FC236}">
                  <a16:creationId xmlns:a16="http://schemas.microsoft.com/office/drawing/2014/main" id="{01BCC07F-80BF-E7D8-40FF-72F64FE42F4B}"/>
                </a:ext>
              </a:extLst>
            </p:cNvPr>
            <p:cNvSpPr/>
            <p:nvPr/>
          </p:nvSpPr>
          <p:spPr>
            <a:xfrm>
              <a:off x="10121603" y="3070596"/>
              <a:ext cx="450540" cy="264401"/>
            </a:xfrm>
            <a:custGeom>
              <a:avLst/>
              <a:gdLst>
                <a:gd name="connsiteX0" fmla="*/ 85773 w 96458"/>
                <a:gd name="connsiteY0" fmla="*/ 23917 h 56607"/>
                <a:gd name="connsiteX1" fmla="*/ 74763 w 96458"/>
                <a:gd name="connsiteY1" fmla="*/ 17556 h 56607"/>
                <a:gd name="connsiteX2" fmla="*/ 74763 w 96458"/>
                <a:gd name="connsiteY2" fmla="*/ 7526 h 56607"/>
                <a:gd name="connsiteX3" fmla="*/ 62312 w 96458"/>
                <a:gd name="connsiteY3" fmla="*/ 1490 h 56607"/>
                <a:gd name="connsiteX4" fmla="*/ 47631 w 96458"/>
                <a:gd name="connsiteY4" fmla="*/ 2186 h 56607"/>
                <a:gd name="connsiteX5" fmla="*/ 29327 w 96458"/>
                <a:gd name="connsiteY5" fmla="*/ 2882 h 56607"/>
                <a:gd name="connsiteX6" fmla="*/ 26400 w 96458"/>
                <a:gd name="connsiteY6" fmla="*/ 6412 h 56607"/>
                <a:gd name="connsiteX7" fmla="*/ 15389 w 96458"/>
                <a:gd name="connsiteY7" fmla="*/ 16488 h 56607"/>
                <a:gd name="connsiteX8" fmla="*/ 1499 w 96458"/>
                <a:gd name="connsiteY8" fmla="*/ 35573 h 56607"/>
                <a:gd name="connsiteX9" fmla="*/ 4379 w 96458"/>
                <a:gd name="connsiteY9" fmla="*/ 43513 h 56607"/>
                <a:gd name="connsiteX10" fmla="*/ 13949 w 96458"/>
                <a:gd name="connsiteY10" fmla="*/ 44581 h 56607"/>
                <a:gd name="connsiteX11" fmla="*/ 17759 w 96458"/>
                <a:gd name="connsiteY11" fmla="*/ 56236 h 56607"/>
                <a:gd name="connsiteX12" fmla="*/ 17712 w 96458"/>
                <a:gd name="connsiteY12" fmla="*/ 56608 h 56607"/>
                <a:gd name="connsiteX13" fmla="*/ 36110 w 96458"/>
                <a:gd name="connsiteY13" fmla="*/ 55168 h 56607"/>
                <a:gd name="connsiteX14" fmla="*/ 46934 w 96458"/>
                <a:gd name="connsiteY14" fmla="*/ 38219 h 56607"/>
                <a:gd name="connsiteX15" fmla="*/ 59060 w 96458"/>
                <a:gd name="connsiteY15" fmla="*/ 54472 h 56607"/>
                <a:gd name="connsiteX16" fmla="*/ 64821 w 96458"/>
                <a:gd name="connsiteY16" fmla="*/ 45974 h 56607"/>
                <a:gd name="connsiteX17" fmla="*/ 72486 w 96458"/>
                <a:gd name="connsiteY17" fmla="*/ 41052 h 56607"/>
                <a:gd name="connsiteX18" fmla="*/ 82707 w 96458"/>
                <a:gd name="connsiteY18" fmla="*/ 38219 h 56607"/>
                <a:gd name="connsiteX19" fmla="*/ 89072 w 96458"/>
                <a:gd name="connsiteY19" fmla="*/ 35433 h 56607"/>
                <a:gd name="connsiteX20" fmla="*/ 92277 w 96458"/>
                <a:gd name="connsiteY20" fmla="*/ 29768 h 56607"/>
                <a:gd name="connsiteX21" fmla="*/ 96458 w 96458"/>
                <a:gd name="connsiteY21" fmla="*/ 25496 h 56607"/>
                <a:gd name="connsiteX22" fmla="*/ 85727 w 96458"/>
                <a:gd name="connsiteY22" fmla="*/ 23964 h 56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6458" h="56607">
                  <a:moveTo>
                    <a:pt x="85773" y="23917"/>
                  </a:moveTo>
                  <a:cubicBezTo>
                    <a:pt x="81453" y="26007"/>
                    <a:pt x="74763" y="19692"/>
                    <a:pt x="74763" y="17556"/>
                  </a:cubicBezTo>
                  <a:cubicBezTo>
                    <a:pt x="74763" y="16070"/>
                    <a:pt x="73880" y="10823"/>
                    <a:pt x="74763" y="7526"/>
                  </a:cubicBezTo>
                  <a:cubicBezTo>
                    <a:pt x="71232" y="5483"/>
                    <a:pt x="66122" y="2743"/>
                    <a:pt x="62312" y="1490"/>
                  </a:cubicBezTo>
                  <a:cubicBezTo>
                    <a:pt x="55947" y="-600"/>
                    <a:pt x="52742" y="-600"/>
                    <a:pt x="47631" y="2186"/>
                  </a:cubicBezTo>
                  <a:cubicBezTo>
                    <a:pt x="44379" y="3997"/>
                    <a:pt x="35413" y="3486"/>
                    <a:pt x="29327" y="2882"/>
                  </a:cubicBezTo>
                  <a:cubicBezTo>
                    <a:pt x="28769" y="4972"/>
                    <a:pt x="27933" y="6412"/>
                    <a:pt x="26400" y="6412"/>
                  </a:cubicBezTo>
                  <a:cubicBezTo>
                    <a:pt x="22079" y="6412"/>
                    <a:pt x="16365" y="11194"/>
                    <a:pt x="15389" y="16488"/>
                  </a:cubicBezTo>
                  <a:cubicBezTo>
                    <a:pt x="14414" y="21781"/>
                    <a:pt x="4379" y="26007"/>
                    <a:pt x="1499" y="35573"/>
                  </a:cubicBezTo>
                  <a:cubicBezTo>
                    <a:pt x="-1382" y="45092"/>
                    <a:pt x="58" y="49364"/>
                    <a:pt x="4379" y="43513"/>
                  </a:cubicBezTo>
                  <a:cubicBezTo>
                    <a:pt x="8699" y="37709"/>
                    <a:pt x="13949" y="39798"/>
                    <a:pt x="13949" y="44581"/>
                  </a:cubicBezTo>
                  <a:cubicBezTo>
                    <a:pt x="13949" y="49364"/>
                    <a:pt x="19710" y="49874"/>
                    <a:pt x="17759" y="56236"/>
                  </a:cubicBezTo>
                  <a:cubicBezTo>
                    <a:pt x="17759" y="56375"/>
                    <a:pt x="17759" y="56468"/>
                    <a:pt x="17712" y="56608"/>
                  </a:cubicBezTo>
                  <a:cubicBezTo>
                    <a:pt x="24263" y="55957"/>
                    <a:pt x="33369" y="55168"/>
                    <a:pt x="36110" y="55168"/>
                  </a:cubicBezTo>
                  <a:cubicBezTo>
                    <a:pt x="40570" y="55168"/>
                    <a:pt x="45030" y="39659"/>
                    <a:pt x="46934" y="38219"/>
                  </a:cubicBezTo>
                  <a:cubicBezTo>
                    <a:pt x="48839" y="36826"/>
                    <a:pt x="53949" y="49549"/>
                    <a:pt x="59060" y="54472"/>
                  </a:cubicBezTo>
                  <a:cubicBezTo>
                    <a:pt x="64170" y="59394"/>
                    <a:pt x="64821" y="50246"/>
                    <a:pt x="64821" y="45974"/>
                  </a:cubicBezTo>
                  <a:cubicBezTo>
                    <a:pt x="64821" y="41702"/>
                    <a:pt x="69281" y="40309"/>
                    <a:pt x="72486" y="41052"/>
                  </a:cubicBezTo>
                  <a:cubicBezTo>
                    <a:pt x="75692" y="41748"/>
                    <a:pt x="82707" y="43141"/>
                    <a:pt x="82707" y="38219"/>
                  </a:cubicBezTo>
                  <a:cubicBezTo>
                    <a:pt x="82707" y="33297"/>
                    <a:pt x="86516" y="35433"/>
                    <a:pt x="89072" y="35433"/>
                  </a:cubicBezTo>
                  <a:cubicBezTo>
                    <a:pt x="91627" y="35433"/>
                    <a:pt x="92277" y="29768"/>
                    <a:pt x="92277" y="29768"/>
                  </a:cubicBezTo>
                  <a:lnTo>
                    <a:pt x="96458" y="25496"/>
                  </a:lnTo>
                  <a:cubicBezTo>
                    <a:pt x="93067" y="23592"/>
                    <a:pt x="89118" y="22292"/>
                    <a:pt x="85727" y="23964"/>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9" name="Freeform 67">
              <a:extLst>
                <a:ext uri="{FF2B5EF4-FFF2-40B4-BE49-F238E27FC236}">
                  <a16:creationId xmlns:a16="http://schemas.microsoft.com/office/drawing/2014/main" id="{EB281FD5-CD08-C661-6243-46E241240935}"/>
                </a:ext>
              </a:extLst>
            </p:cNvPr>
            <p:cNvSpPr/>
            <p:nvPr/>
          </p:nvSpPr>
          <p:spPr>
            <a:xfrm>
              <a:off x="10108679" y="2001996"/>
              <a:ext cx="895308" cy="1116032"/>
            </a:xfrm>
            <a:custGeom>
              <a:avLst/>
              <a:gdLst>
                <a:gd name="connsiteX0" fmla="*/ 24288 w 191679"/>
                <a:gd name="connsiteY0" fmla="*/ 62873 h 238935"/>
                <a:gd name="connsiteX1" fmla="*/ 13417 w 191679"/>
                <a:gd name="connsiteY1" fmla="*/ 74156 h 238935"/>
                <a:gd name="connsiteX2" fmla="*/ 20432 w 191679"/>
                <a:gd name="connsiteY2" fmla="*/ 86879 h 238935"/>
                <a:gd name="connsiteX3" fmla="*/ 15972 w 191679"/>
                <a:gd name="connsiteY3" fmla="*/ 94680 h 238935"/>
                <a:gd name="connsiteX4" fmla="*/ 3847 w 191679"/>
                <a:gd name="connsiteY4" fmla="*/ 101042 h 238935"/>
                <a:gd name="connsiteX5" fmla="*/ 2592 w 191679"/>
                <a:gd name="connsiteY5" fmla="*/ 112326 h 238935"/>
                <a:gd name="connsiteX6" fmla="*/ 37 w 191679"/>
                <a:gd name="connsiteY6" fmla="*/ 131410 h 238935"/>
                <a:gd name="connsiteX7" fmla="*/ 5798 w 191679"/>
                <a:gd name="connsiteY7" fmla="*/ 146223 h 238935"/>
                <a:gd name="connsiteX8" fmla="*/ 1338 w 191679"/>
                <a:gd name="connsiteY8" fmla="*/ 155417 h 238935"/>
                <a:gd name="connsiteX9" fmla="*/ 8167 w 191679"/>
                <a:gd name="connsiteY9" fmla="*/ 175198 h 238935"/>
                <a:gd name="connsiteX10" fmla="*/ 12952 w 191679"/>
                <a:gd name="connsiteY10" fmla="*/ 177984 h 238935"/>
                <a:gd name="connsiteX11" fmla="*/ 26843 w 191679"/>
                <a:gd name="connsiteY11" fmla="*/ 185414 h 238935"/>
                <a:gd name="connsiteX12" fmla="*/ 38318 w 191679"/>
                <a:gd name="connsiteY12" fmla="*/ 189639 h 238935"/>
                <a:gd name="connsiteX13" fmla="*/ 42639 w 191679"/>
                <a:gd name="connsiteY13" fmla="*/ 197580 h 238935"/>
                <a:gd name="connsiteX14" fmla="*/ 34044 w 191679"/>
                <a:gd name="connsiteY14" fmla="*/ 217175 h 238935"/>
                <a:gd name="connsiteX15" fmla="*/ 32186 w 191679"/>
                <a:gd name="connsiteY15" fmla="*/ 231663 h 238935"/>
                <a:gd name="connsiteX16" fmla="*/ 50490 w 191679"/>
                <a:gd name="connsiteY16" fmla="*/ 230966 h 238935"/>
                <a:gd name="connsiteX17" fmla="*/ 65171 w 191679"/>
                <a:gd name="connsiteY17" fmla="*/ 230270 h 238935"/>
                <a:gd name="connsiteX18" fmla="*/ 77622 w 191679"/>
                <a:gd name="connsiteY18" fmla="*/ 236306 h 238935"/>
                <a:gd name="connsiteX19" fmla="*/ 79991 w 191679"/>
                <a:gd name="connsiteY19" fmla="*/ 233613 h 238935"/>
                <a:gd name="connsiteX20" fmla="*/ 92442 w 191679"/>
                <a:gd name="connsiteY20" fmla="*/ 237328 h 238935"/>
                <a:gd name="connsiteX21" fmla="*/ 105357 w 191679"/>
                <a:gd name="connsiteY21" fmla="*/ 235238 h 238935"/>
                <a:gd name="connsiteX22" fmla="*/ 117808 w 191679"/>
                <a:gd name="connsiteY22" fmla="*/ 234170 h 238935"/>
                <a:gd name="connsiteX23" fmla="*/ 139829 w 191679"/>
                <a:gd name="connsiteY23" fmla="*/ 229434 h 238935"/>
                <a:gd name="connsiteX24" fmla="*/ 148424 w 191679"/>
                <a:gd name="connsiteY24" fmla="*/ 222562 h 238935"/>
                <a:gd name="connsiteX25" fmla="*/ 157018 w 191679"/>
                <a:gd name="connsiteY25" fmla="*/ 207749 h 238935"/>
                <a:gd name="connsiteX26" fmla="*/ 169004 w 191679"/>
                <a:gd name="connsiteY26" fmla="*/ 197162 h 238935"/>
                <a:gd name="connsiteX27" fmla="*/ 146519 w 191679"/>
                <a:gd name="connsiteY27" fmla="*/ 178634 h 238935"/>
                <a:gd name="connsiteX28" fmla="*/ 139364 w 191679"/>
                <a:gd name="connsiteY28" fmla="*/ 158482 h 238935"/>
                <a:gd name="connsiteX29" fmla="*/ 137924 w 191679"/>
                <a:gd name="connsiteY29" fmla="*/ 145759 h 238935"/>
                <a:gd name="connsiteX30" fmla="*/ 160409 w 191679"/>
                <a:gd name="connsiteY30" fmla="*/ 136239 h 238935"/>
                <a:gd name="connsiteX31" fmla="*/ 178110 w 191679"/>
                <a:gd name="connsiteY31" fmla="*/ 127231 h 238935"/>
                <a:gd name="connsiteX32" fmla="*/ 189585 w 191679"/>
                <a:gd name="connsiteY32" fmla="*/ 126674 h 238935"/>
                <a:gd name="connsiteX33" fmla="*/ 190050 w 191679"/>
                <a:gd name="connsiteY33" fmla="*/ 113440 h 238935"/>
                <a:gd name="connsiteX34" fmla="*/ 184800 w 191679"/>
                <a:gd name="connsiteY34" fmla="*/ 94355 h 238935"/>
                <a:gd name="connsiteX35" fmla="*/ 181920 w 191679"/>
                <a:gd name="connsiteY35" fmla="*/ 81632 h 238935"/>
                <a:gd name="connsiteX36" fmla="*/ 177134 w 191679"/>
                <a:gd name="connsiteY36" fmla="*/ 69977 h 238935"/>
                <a:gd name="connsiteX37" fmla="*/ 175694 w 191679"/>
                <a:gd name="connsiteY37" fmla="*/ 60458 h 238935"/>
                <a:gd name="connsiteX38" fmla="*/ 176159 w 191679"/>
                <a:gd name="connsiteY38" fmla="*/ 35569 h 238935"/>
                <a:gd name="connsiteX39" fmla="*/ 176066 w 191679"/>
                <a:gd name="connsiteY39" fmla="*/ 32644 h 238935"/>
                <a:gd name="connsiteX40" fmla="*/ 174254 w 191679"/>
                <a:gd name="connsiteY40" fmla="*/ 29718 h 238935"/>
                <a:gd name="connsiteX41" fmla="*/ 161525 w 191679"/>
                <a:gd name="connsiteY41" fmla="*/ 21964 h 238935"/>
                <a:gd name="connsiteX42" fmla="*/ 163429 w 191679"/>
                <a:gd name="connsiteY42" fmla="*/ 8172 h 238935"/>
                <a:gd name="connsiteX43" fmla="*/ 144289 w 191679"/>
                <a:gd name="connsiteY43" fmla="*/ 13791 h 238935"/>
                <a:gd name="connsiteX44" fmla="*/ 120038 w 191679"/>
                <a:gd name="connsiteY44" fmla="*/ 29347 h 238935"/>
                <a:gd name="connsiteX45" fmla="*/ 108841 w 191679"/>
                <a:gd name="connsiteY45" fmla="*/ 20153 h 238935"/>
                <a:gd name="connsiteX46" fmla="*/ 101176 w 191679"/>
                <a:gd name="connsiteY46" fmla="*/ 15927 h 238935"/>
                <a:gd name="connsiteX47" fmla="*/ 85241 w 191679"/>
                <a:gd name="connsiteY47" fmla="*/ 7429 h 238935"/>
                <a:gd name="connsiteX48" fmla="*/ 83987 w 191679"/>
                <a:gd name="connsiteY48" fmla="*/ 1950 h 238935"/>
                <a:gd name="connsiteX49" fmla="*/ 75996 w 191679"/>
                <a:gd name="connsiteY49" fmla="*/ 2136 h 238935"/>
                <a:gd name="connsiteX50" fmla="*/ 56298 w 191679"/>
                <a:gd name="connsiteY50" fmla="*/ 0 h 238935"/>
                <a:gd name="connsiteX51" fmla="*/ 60014 w 191679"/>
                <a:gd name="connsiteY51" fmla="*/ 11330 h 238935"/>
                <a:gd name="connsiteX52" fmla="*/ 65775 w 191679"/>
                <a:gd name="connsiteY52" fmla="*/ 31808 h 238935"/>
                <a:gd name="connsiteX53" fmla="*/ 56530 w 191679"/>
                <a:gd name="connsiteY53" fmla="*/ 41327 h 238935"/>
                <a:gd name="connsiteX54" fmla="*/ 40595 w 191679"/>
                <a:gd name="connsiteY54" fmla="*/ 38866 h 238935"/>
                <a:gd name="connsiteX55" fmla="*/ 24335 w 191679"/>
                <a:gd name="connsiteY55" fmla="*/ 41698 h 238935"/>
                <a:gd name="connsiteX56" fmla="*/ 23731 w 191679"/>
                <a:gd name="connsiteY56" fmla="*/ 46713 h 238935"/>
                <a:gd name="connsiteX57" fmla="*/ 24335 w 191679"/>
                <a:gd name="connsiteY57" fmla="*/ 62919 h 238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91679" h="238935">
                  <a:moveTo>
                    <a:pt x="24288" y="62873"/>
                  </a:moveTo>
                  <a:cubicBezTo>
                    <a:pt x="19178" y="71324"/>
                    <a:pt x="12163" y="72020"/>
                    <a:pt x="13417" y="74156"/>
                  </a:cubicBezTo>
                  <a:cubicBezTo>
                    <a:pt x="14718" y="76292"/>
                    <a:pt x="22337" y="83350"/>
                    <a:pt x="20432" y="86879"/>
                  </a:cubicBezTo>
                  <a:cubicBezTo>
                    <a:pt x="18527" y="90408"/>
                    <a:pt x="15972" y="88319"/>
                    <a:pt x="15972" y="94680"/>
                  </a:cubicBezTo>
                  <a:cubicBezTo>
                    <a:pt x="15972" y="101042"/>
                    <a:pt x="7052" y="101042"/>
                    <a:pt x="3847" y="101042"/>
                  </a:cubicBezTo>
                  <a:cubicBezTo>
                    <a:pt x="641" y="101042"/>
                    <a:pt x="4497" y="107403"/>
                    <a:pt x="2592" y="112326"/>
                  </a:cubicBezTo>
                  <a:cubicBezTo>
                    <a:pt x="687" y="117248"/>
                    <a:pt x="687" y="127138"/>
                    <a:pt x="37" y="131410"/>
                  </a:cubicBezTo>
                  <a:cubicBezTo>
                    <a:pt x="-567" y="135636"/>
                    <a:pt x="6402" y="142694"/>
                    <a:pt x="5798" y="146223"/>
                  </a:cubicBezTo>
                  <a:cubicBezTo>
                    <a:pt x="5147" y="149752"/>
                    <a:pt x="37" y="152584"/>
                    <a:pt x="1338" y="155417"/>
                  </a:cubicBezTo>
                  <a:cubicBezTo>
                    <a:pt x="2546" y="158110"/>
                    <a:pt x="7145" y="162150"/>
                    <a:pt x="8167" y="175198"/>
                  </a:cubicBezTo>
                  <a:cubicBezTo>
                    <a:pt x="10351" y="175895"/>
                    <a:pt x="12163" y="176823"/>
                    <a:pt x="12952" y="177984"/>
                  </a:cubicBezTo>
                  <a:cubicBezTo>
                    <a:pt x="15833" y="182210"/>
                    <a:pt x="20618" y="185414"/>
                    <a:pt x="26843" y="185414"/>
                  </a:cubicBezTo>
                  <a:cubicBezTo>
                    <a:pt x="33069" y="185414"/>
                    <a:pt x="35438" y="190197"/>
                    <a:pt x="38318" y="189639"/>
                  </a:cubicBezTo>
                  <a:cubicBezTo>
                    <a:pt x="41199" y="189129"/>
                    <a:pt x="48864" y="191775"/>
                    <a:pt x="42639" y="197580"/>
                  </a:cubicBezTo>
                  <a:cubicBezTo>
                    <a:pt x="36413" y="203384"/>
                    <a:pt x="35438" y="210303"/>
                    <a:pt x="34044" y="217175"/>
                  </a:cubicBezTo>
                  <a:cubicBezTo>
                    <a:pt x="33115" y="221633"/>
                    <a:pt x="33162" y="227809"/>
                    <a:pt x="32186" y="231663"/>
                  </a:cubicBezTo>
                  <a:cubicBezTo>
                    <a:pt x="38272" y="232266"/>
                    <a:pt x="47238" y="232731"/>
                    <a:pt x="50490" y="230966"/>
                  </a:cubicBezTo>
                  <a:cubicBezTo>
                    <a:pt x="55601" y="228180"/>
                    <a:pt x="58760" y="228180"/>
                    <a:pt x="65171" y="230270"/>
                  </a:cubicBezTo>
                  <a:cubicBezTo>
                    <a:pt x="68980" y="231524"/>
                    <a:pt x="74091" y="234263"/>
                    <a:pt x="77622" y="236306"/>
                  </a:cubicBezTo>
                  <a:cubicBezTo>
                    <a:pt x="77993" y="234867"/>
                    <a:pt x="78690" y="233799"/>
                    <a:pt x="79991" y="233613"/>
                  </a:cubicBezTo>
                  <a:cubicBezTo>
                    <a:pt x="84311" y="233102"/>
                    <a:pt x="89561" y="242621"/>
                    <a:pt x="92442" y="237328"/>
                  </a:cubicBezTo>
                  <a:cubicBezTo>
                    <a:pt x="95322" y="232034"/>
                    <a:pt x="102012" y="233102"/>
                    <a:pt x="105357" y="235238"/>
                  </a:cubicBezTo>
                  <a:cubicBezTo>
                    <a:pt x="108702" y="237328"/>
                    <a:pt x="113952" y="238396"/>
                    <a:pt x="117808" y="234170"/>
                  </a:cubicBezTo>
                  <a:cubicBezTo>
                    <a:pt x="121617" y="229945"/>
                    <a:pt x="136437" y="227809"/>
                    <a:pt x="139829" y="229434"/>
                  </a:cubicBezTo>
                  <a:cubicBezTo>
                    <a:pt x="143174" y="231013"/>
                    <a:pt x="151768" y="235238"/>
                    <a:pt x="148424" y="222562"/>
                  </a:cubicBezTo>
                  <a:cubicBezTo>
                    <a:pt x="145078" y="209839"/>
                    <a:pt x="155578" y="212485"/>
                    <a:pt x="157018" y="207749"/>
                  </a:cubicBezTo>
                  <a:cubicBezTo>
                    <a:pt x="158458" y="202966"/>
                    <a:pt x="170909" y="200877"/>
                    <a:pt x="169004" y="197162"/>
                  </a:cubicBezTo>
                  <a:cubicBezTo>
                    <a:pt x="167099" y="193447"/>
                    <a:pt x="151304" y="182303"/>
                    <a:pt x="146519" y="178634"/>
                  </a:cubicBezTo>
                  <a:cubicBezTo>
                    <a:pt x="141734" y="174920"/>
                    <a:pt x="141734" y="163264"/>
                    <a:pt x="139364" y="158482"/>
                  </a:cubicBezTo>
                  <a:cubicBezTo>
                    <a:pt x="136995" y="153699"/>
                    <a:pt x="131699" y="147384"/>
                    <a:pt x="137924" y="145759"/>
                  </a:cubicBezTo>
                  <a:cubicBezTo>
                    <a:pt x="144149" y="144180"/>
                    <a:pt x="155160" y="141533"/>
                    <a:pt x="160409" y="136239"/>
                  </a:cubicBezTo>
                  <a:cubicBezTo>
                    <a:pt x="165659" y="130946"/>
                    <a:pt x="175230" y="130435"/>
                    <a:pt x="178110" y="127231"/>
                  </a:cubicBezTo>
                  <a:cubicBezTo>
                    <a:pt x="180990" y="124074"/>
                    <a:pt x="187680" y="129878"/>
                    <a:pt x="189585" y="126674"/>
                  </a:cubicBezTo>
                  <a:cubicBezTo>
                    <a:pt x="191490" y="123516"/>
                    <a:pt x="192930" y="117155"/>
                    <a:pt x="190050" y="113440"/>
                  </a:cubicBezTo>
                  <a:cubicBezTo>
                    <a:pt x="187169" y="109725"/>
                    <a:pt x="185265" y="103364"/>
                    <a:pt x="184800" y="94355"/>
                  </a:cubicBezTo>
                  <a:cubicBezTo>
                    <a:pt x="184335" y="85347"/>
                    <a:pt x="181920" y="85858"/>
                    <a:pt x="181920" y="81632"/>
                  </a:cubicBezTo>
                  <a:cubicBezTo>
                    <a:pt x="181920" y="77407"/>
                    <a:pt x="180479" y="72113"/>
                    <a:pt x="177134" y="69977"/>
                  </a:cubicBezTo>
                  <a:cubicBezTo>
                    <a:pt x="173789" y="67888"/>
                    <a:pt x="172349" y="66262"/>
                    <a:pt x="175694" y="60458"/>
                  </a:cubicBezTo>
                  <a:cubicBezTo>
                    <a:pt x="179039" y="54607"/>
                    <a:pt x="177599" y="39794"/>
                    <a:pt x="176159" y="35569"/>
                  </a:cubicBezTo>
                  <a:cubicBezTo>
                    <a:pt x="175880" y="34733"/>
                    <a:pt x="175927" y="33758"/>
                    <a:pt x="176066" y="32644"/>
                  </a:cubicBezTo>
                  <a:cubicBezTo>
                    <a:pt x="175230" y="32179"/>
                    <a:pt x="174533" y="31250"/>
                    <a:pt x="174254" y="29718"/>
                  </a:cubicBezTo>
                  <a:cubicBezTo>
                    <a:pt x="173278" y="24053"/>
                    <a:pt x="169794" y="21964"/>
                    <a:pt x="161525" y="21964"/>
                  </a:cubicBezTo>
                  <a:cubicBezTo>
                    <a:pt x="153255" y="21964"/>
                    <a:pt x="166635" y="12770"/>
                    <a:pt x="163429" y="8172"/>
                  </a:cubicBezTo>
                  <a:cubicBezTo>
                    <a:pt x="160270" y="3575"/>
                    <a:pt x="151954" y="16624"/>
                    <a:pt x="144289" y="13791"/>
                  </a:cubicBezTo>
                  <a:cubicBezTo>
                    <a:pt x="136623" y="11005"/>
                    <a:pt x="126774" y="23682"/>
                    <a:pt x="120038" y="29347"/>
                  </a:cubicBezTo>
                  <a:cubicBezTo>
                    <a:pt x="113348" y="35012"/>
                    <a:pt x="103777" y="28279"/>
                    <a:pt x="108841" y="20153"/>
                  </a:cubicBezTo>
                  <a:cubicBezTo>
                    <a:pt x="113952" y="12027"/>
                    <a:pt x="108841" y="12723"/>
                    <a:pt x="101176" y="15927"/>
                  </a:cubicBezTo>
                  <a:cubicBezTo>
                    <a:pt x="93510" y="19085"/>
                    <a:pt x="84265" y="15231"/>
                    <a:pt x="85241" y="7429"/>
                  </a:cubicBezTo>
                  <a:cubicBezTo>
                    <a:pt x="85473" y="5479"/>
                    <a:pt x="84915" y="3668"/>
                    <a:pt x="83987" y="1950"/>
                  </a:cubicBezTo>
                  <a:cubicBezTo>
                    <a:pt x="80270" y="2507"/>
                    <a:pt x="77389" y="2647"/>
                    <a:pt x="75996" y="2136"/>
                  </a:cubicBezTo>
                  <a:cubicBezTo>
                    <a:pt x="72558" y="882"/>
                    <a:pt x="64799" y="186"/>
                    <a:pt x="56298" y="0"/>
                  </a:cubicBezTo>
                  <a:cubicBezTo>
                    <a:pt x="58853" y="4133"/>
                    <a:pt x="61594" y="8126"/>
                    <a:pt x="60014" y="11330"/>
                  </a:cubicBezTo>
                  <a:cubicBezTo>
                    <a:pt x="57134" y="17320"/>
                    <a:pt x="61594" y="22985"/>
                    <a:pt x="65775" y="31808"/>
                  </a:cubicBezTo>
                  <a:cubicBezTo>
                    <a:pt x="69910" y="40630"/>
                    <a:pt x="56855" y="35708"/>
                    <a:pt x="56530" y="41327"/>
                  </a:cubicBezTo>
                  <a:cubicBezTo>
                    <a:pt x="56205" y="46992"/>
                    <a:pt x="44404" y="40955"/>
                    <a:pt x="40595" y="38866"/>
                  </a:cubicBezTo>
                  <a:cubicBezTo>
                    <a:pt x="36785" y="36776"/>
                    <a:pt x="24009" y="38169"/>
                    <a:pt x="24335" y="41698"/>
                  </a:cubicBezTo>
                  <a:cubicBezTo>
                    <a:pt x="24474" y="43091"/>
                    <a:pt x="24242" y="45042"/>
                    <a:pt x="23731" y="46713"/>
                  </a:cubicBezTo>
                  <a:cubicBezTo>
                    <a:pt x="25449" y="53539"/>
                    <a:pt x="26193" y="59808"/>
                    <a:pt x="24335" y="62919"/>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71" name="Freeform 69">
              <a:extLst>
                <a:ext uri="{FF2B5EF4-FFF2-40B4-BE49-F238E27FC236}">
                  <a16:creationId xmlns:a16="http://schemas.microsoft.com/office/drawing/2014/main" id="{4485AE48-0326-B806-F288-F2DB8F5BC6F6}"/>
                </a:ext>
              </a:extLst>
            </p:cNvPr>
            <p:cNvSpPr/>
            <p:nvPr/>
          </p:nvSpPr>
          <p:spPr>
            <a:xfrm>
              <a:off x="11578581" y="-694094"/>
              <a:ext cx="1054834" cy="1851277"/>
            </a:xfrm>
            <a:custGeom>
              <a:avLst/>
              <a:gdLst>
                <a:gd name="connsiteX0" fmla="*/ 218538 w 225833"/>
                <a:gd name="connsiteY0" fmla="*/ 279847 h 396346"/>
                <a:gd name="connsiteX1" fmla="*/ 191128 w 225833"/>
                <a:gd name="connsiteY1" fmla="*/ 256537 h 396346"/>
                <a:gd name="connsiteX2" fmla="*/ 204508 w 225833"/>
                <a:gd name="connsiteY2" fmla="*/ 243117 h 396346"/>
                <a:gd name="connsiteX3" fmla="*/ 193032 w 225833"/>
                <a:gd name="connsiteY3" fmla="*/ 230394 h 396346"/>
                <a:gd name="connsiteX4" fmla="*/ 196238 w 225833"/>
                <a:gd name="connsiteY4" fmla="*/ 218367 h 396346"/>
                <a:gd name="connsiteX5" fmla="*/ 185413 w 225833"/>
                <a:gd name="connsiteY5" fmla="*/ 210566 h 396346"/>
                <a:gd name="connsiteX6" fmla="*/ 190524 w 225833"/>
                <a:gd name="connsiteY6" fmla="*/ 203508 h 396346"/>
                <a:gd name="connsiteX7" fmla="*/ 187365 w 225833"/>
                <a:gd name="connsiteY7" fmla="*/ 185120 h 396346"/>
                <a:gd name="connsiteX8" fmla="*/ 194380 w 225833"/>
                <a:gd name="connsiteY8" fmla="*/ 171004 h 396346"/>
                <a:gd name="connsiteX9" fmla="*/ 173985 w 225833"/>
                <a:gd name="connsiteY9" fmla="*/ 134970 h 396346"/>
                <a:gd name="connsiteX10" fmla="*/ 180396 w 225833"/>
                <a:gd name="connsiteY10" fmla="*/ 120854 h 396346"/>
                <a:gd name="connsiteX11" fmla="*/ 193776 w 225833"/>
                <a:gd name="connsiteY11" fmla="*/ 103163 h 396346"/>
                <a:gd name="connsiteX12" fmla="*/ 178491 w 225833"/>
                <a:gd name="connsiteY12" fmla="*/ 85517 h 396346"/>
                <a:gd name="connsiteX13" fmla="*/ 165111 w 225833"/>
                <a:gd name="connsiteY13" fmla="*/ 77020 h 396346"/>
                <a:gd name="connsiteX14" fmla="*/ 161906 w 225833"/>
                <a:gd name="connsiteY14" fmla="*/ 63600 h 396346"/>
                <a:gd name="connsiteX15" fmla="*/ 165111 w 225833"/>
                <a:gd name="connsiteY15" fmla="*/ 50877 h 396346"/>
                <a:gd name="connsiteX16" fmla="*/ 173381 w 225833"/>
                <a:gd name="connsiteY16" fmla="*/ 43819 h 396346"/>
                <a:gd name="connsiteX17" fmla="*/ 178166 w 225833"/>
                <a:gd name="connsiteY17" fmla="*/ 35136 h 396346"/>
                <a:gd name="connsiteX18" fmla="*/ 178166 w 225833"/>
                <a:gd name="connsiteY18" fmla="*/ 21809 h 396346"/>
                <a:gd name="connsiteX19" fmla="*/ 155634 w 225833"/>
                <a:gd name="connsiteY19" fmla="*/ 4767 h 396346"/>
                <a:gd name="connsiteX20" fmla="*/ 138212 w 225833"/>
                <a:gd name="connsiteY20" fmla="*/ 4767 h 396346"/>
                <a:gd name="connsiteX21" fmla="*/ 116702 w 225833"/>
                <a:gd name="connsiteY21" fmla="*/ 10432 h 396346"/>
                <a:gd name="connsiteX22" fmla="*/ 103415 w 225833"/>
                <a:gd name="connsiteY22" fmla="*/ 26313 h 396346"/>
                <a:gd name="connsiteX23" fmla="*/ 99327 w 225833"/>
                <a:gd name="connsiteY23" fmla="*/ 46744 h 396346"/>
                <a:gd name="connsiteX24" fmla="*/ 90128 w 225833"/>
                <a:gd name="connsiteY24" fmla="*/ 60350 h 396346"/>
                <a:gd name="connsiteX25" fmla="*/ 77817 w 225833"/>
                <a:gd name="connsiteY25" fmla="*/ 56960 h 396346"/>
                <a:gd name="connsiteX26" fmla="*/ 61417 w 225833"/>
                <a:gd name="connsiteY26" fmla="*/ 55846 h 396346"/>
                <a:gd name="connsiteX27" fmla="*/ 37863 w 225833"/>
                <a:gd name="connsiteY27" fmla="*/ 54731 h 396346"/>
                <a:gd name="connsiteX28" fmla="*/ 14309 w 225833"/>
                <a:gd name="connsiteY28" fmla="*/ 35461 h 396346"/>
                <a:gd name="connsiteX29" fmla="*/ 0 w 225833"/>
                <a:gd name="connsiteY29" fmla="*/ 47116 h 396346"/>
                <a:gd name="connsiteX30" fmla="*/ 23508 w 225833"/>
                <a:gd name="connsiteY30" fmla="*/ 66108 h 396346"/>
                <a:gd name="connsiteX31" fmla="*/ 54263 w 225833"/>
                <a:gd name="connsiteY31" fmla="*/ 86539 h 396346"/>
                <a:gd name="connsiteX32" fmla="*/ 55285 w 225833"/>
                <a:gd name="connsiteY32" fmla="*/ 109246 h 396346"/>
                <a:gd name="connsiteX33" fmla="*/ 60395 w 225833"/>
                <a:gd name="connsiteY33" fmla="*/ 130791 h 396346"/>
                <a:gd name="connsiteX34" fmla="*/ 59373 w 225833"/>
                <a:gd name="connsiteY34" fmla="*/ 151223 h 396346"/>
                <a:gd name="connsiteX35" fmla="*/ 63508 w 225833"/>
                <a:gd name="connsiteY35" fmla="*/ 163667 h 396346"/>
                <a:gd name="connsiteX36" fmla="*/ 66528 w 225833"/>
                <a:gd name="connsiteY36" fmla="*/ 175461 h 396346"/>
                <a:gd name="connsiteX37" fmla="*/ 83903 w 225833"/>
                <a:gd name="connsiteY37" fmla="*/ 183355 h 396346"/>
                <a:gd name="connsiteX38" fmla="*/ 91569 w 225833"/>
                <a:gd name="connsiteY38" fmla="*/ 201697 h 396346"/>
                <a:gd name="connsiteX39" fmla="*/ 87759 w 225833"/>
                <a:gd name="connsiteY39" fmla="*/ 210148 h 396346"/>
                <a:gd name="connsiteX40" fmla="*/ 75958 w 225833"/>
                <a:gd name="connsiteY40" fmla="*/ 220735 h 396346"/>
                <a:gd name="connsiteX41" fmla="*/ 53938 w 225833"/>
                <a:gd name="connsiteY41" fmla="*/ 244742 h 396346"/>
                <a:gd name="connsiteX42" fmla="*/ 41162 w 225833"/>
                <a:gd name="connsiteY42" fmla="*/ 255701 h 396346"/>
                <a:gd name="connsiteX43" fmla="*/ 31870 w 225833"/>
                <a:gd name="connsiteY43" fmla="*/ 261505 h 396346"/>
                <a:gd name="connsiteX44" fmla="*/ 29965 w 225833"/>
                <a:gd name="connsiteY44" fmla="*/ 265823 h 396346"/>
                <a:gd name="connsiteX45" fmla="*/ 29733 w 225833"/>
                <a:gd name="connsiteY45" fmla="*/ 268749 h 396346"/>
                <a:gd name="connsiteX46" fmla="*/ 15563 w 225833"/>
                <a:gd name="connsiteY46" fmla="*/ 276875 h 396346"/>
                <a:gd name="connsiteX47" fmla="*/ 12729 w 225833"/>
                <a:gd name="connsiteY47" fmla="*/ 277479 h 396346"/>
                <a:gd name="connsiteX48" fmla="*/ 5203 w 225833"/>
                <a:gd name="connsiteY48" fmla="*/ 292059 h 396346"/>
                <a:gd name="connsiteX49" fmla="*/ 5854 w 225833"/>
                <a:gd name="connsiteY49" fmla="*/ 305850 h 396346"/>
                <a:gd name="connsiteX50" fmla="*/ 8084 w 225833"/>
                <a:gd name="connsiteY50" fmla="*/ 322474 h 396346"/>
                <a:gd name="connsiteX51" fmla="*/ 11940 w 225833"/>
                <a:gd name="connsiteY51" fmla="*/ 349313 h 396346"/>
                <a:gd name="connsiteX52" fmla="*/ 6179 w 225833"/>
                <a:gd name="connsiteY52" fmla="*/ 374063 h 396346"/>
                <a:gd name="connsiteX53" fmla="*/ 26295 w 225833"/>
                <a:gd name="connsiteY53" fmla="*/ 382885 h 396346"/>
                <a:gd name="connsiteX54" fmla="*/ 39350 w 225833"/>
                <a:gd name="connsiteY54" fmla="*/ 390640 h 396346"/>
                <a:gd name="connsiteX55" fmla="*/ 62950 w 225833"/>
                <a:gd name="connsiteY55" fmla="*/ 396305 h 396346"/>
                <a:gd name="connsiteX56" fmla="*/ 129896 w 225833"/>
                <a:gd name="connsiteY56" fmla="*/ 379356 h 396346"/>
                <a:gd name="connsiteX57" fmla="*/ 149223 w 225833"/>
                <a:gd name="connsiteY57" fmla="*/ 376942 h 396346"/>
                <a:gd name="connsiteX58" fmla="*/ 159536 w 225833"/>
                <a:gd name="connsiteY58" fmla="*/ 362408 h 396346"/>
                <a:gd name="connsiteX59" fmla="*/ 192707 w 225833"/>
                <a:gd name="connsiteY59" fmla="*/ 332736 h 396346"/>
                <a:gd name="connsiteX60" fmla="*/ 224624 w 225833"/>
                <a:gd name="connsiteY60" fmla="*/ 298839 h 396346"/>
                <a:gd name="connsiteX61" fmla="*/ 218863 w 225833"/>
                <a:gd name="connsiteY61" fmla="*/ 279754 h 39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25833" h="396346">
                  <a:moveTo>
                    <a:pt x="218538" y="279847"/>
                  </a:moveTo>
                  <a:cubicBezTo>
                    <a:pt x="210222" y="269260"/>
                    <a:pt x="191778" y="262202"/>
                    <a:pt x="191128" y="256537"/>
                  </a:cubicBezTo>
                  <a:cubicBezTo>
                    <a:pt x="190477" y="250871"/>
                    <a:pt x="205158" y="250175"/>
                    <a:pt x="204508" y="243117"/>
                  </a:cubicBezTo>
                  <a:cubicBezTo>
                    <a:pt x="203857" y="236059"/>
                    <a:pt x="196238" y="236059"/>
                    <a:pt x="193032" y="230394"/>
                  </a:cubicBezTo>
                  <a:cubicBezTo>
                    <a:pt x="189827" y="224729"/>
                    <a:pt x="196888" y="221200"/>
                    <a:pt x="196238" y="218367"/>
                  </a:cubicBezTo>
                  <a:cubicBezTo>
                    <a:pt x="195587" y="215535"/>
                    <a:pt x="186017" y="214142"/>
                    <a:pt x="185413" y="210566"/>
                  </a:cubicBezTo>
                  <a:cubicBezTo>
                    <a:pt x="184763" y="207037"/>
                    <a:pt x="191824" y="207780"/>
                    <a:pt x="190524" y="203508"/>
                  </a:cubicBezTo>
                  <a:cubicBezTo>
                    <a:pt x="189269" y="199282"/>
                    <a:pt x="182905" y="191481"/>
                    <a:pt x="187365" y="185120"/>
                  </a:cubicBezTo>
                  <a:cubicBezTo>
                    <a:pt x="191824" y="178758"/>
                    <a:pt x="201395" y="185120"/>
                    <a:pt x="194380" y="171004"/>
                  </a:cubicBezTo>
                  <a:cubicBezTo>
                    <a:pt x="187365" y="156888"/>
                    <a:pt x="176540" y="139242"/>
                    <a:pt x="173985" y="134970"/>
                  </a:cubicBezTo>
                  <a:cubicBezTo>
                    <a:pt x="171430" y="130745"/>
                    <a:pt x="176540" y="123640"/>
                    <a:pt x="180396" y="120854"/>
                  </a:cubicBezTo>
                  <a:cubicBezTo>
                    <a:pt x="184206" y="118022"/>
                    <a:pt x="193776" y="107435"/>
                    <a:pt x="193776" y="103163"/>
                  </a:cubicBezTo>
                  <a:cubicBezTo>
                    <a:pt x="193776" y="98891"/>
                    <a:pt x="181650" y="87607"/>
                    <a:pt x="178491" y="85517"/>
                  </a:cubicBezTo>
                  <a:cubicBezTo>
                    <a:pt x="175285" y="83381"/>
                    <a:pt x="168270" y="84124"/>
                    <a:pt x="165111" y="77020"/>
                  </a:cubicBezTo>
                  <a:cubicBezTo>
                    <a:pt x="161906" y="69962"/>
                    <a:pt x="158746" y="67872"/>
                    <a:pt x="161906" y="63600"/>
                  </a:cubicBezTo>
                  <a:cubicBezTo>
                    <a:pt x="165111" y="59375"/>
                    <a:pt x="165111" y="55149"/>
                    <a:pt x="165111" y="50877"/>
                  </a:cubicBezTo>
                  <a:cubicBezTo>
                    <a:pt x="165111" y="46605"/>
                    <a:pt x="172126" y="50181"/>
                    <a:pt x="173381" y="43819"/>
                  </a:cubicBezTo>
                  <a:cubicBezTo>
                    <a:pt x="173985" y="40940"/>
                    <a:pt x="175797" y="37736"/>
                    <a:pt x="178166" y="35136"/>
                  </a:cubicBezTo>
                  <a:cubicBezTo>
                    <a:pt x="178166" y="30306"/>
                    <a:pt x="178677" y="25106"/>
                    <a:pt x="178166" y="21809"/>
                  </a:cubicBezTo>
                  <a:cubicBezTo>
                    <a:pt x="177144" y="14983"/>
                    <a:pt x="159722" y="12708"/>
                    <a:pt x="155634" y="4767"/>
                  </a:cubicBezTo>
                  <a:cubicBezTo>
                    <a:pt x="151499" y="-3173"/>
                    <a:pt x="141278" y="217"/>
                    <a:pt x="138212" y="4767"/>
                  </a:cubicBezTo>
                  <a:cubicBezTo>
                    <a:pt x="135146" y="9318"/>
                    <a:pt x="116702" y="3653"/>
                    <a:pt x="116702" y="10432"/>
                  </a:cubicBezTo>
                  <a:cubicBezTo>
                    <a:pt x="116702" y="17212"/>
                    <a:pt x="103415" y="18373"/>
                    <a:pt x="103415" y="26313"/>
                  </a:cubicBezTo>
                  <a:cubicBezTo>
                    <a:pt x="103415" y="34253"/>
                    <a:pt x="109548" y="47859"/>
                    <a:pt x="99327" y="46744"/>
                  </a:cubicBezTo>
                  <a:cubicBezTo>
                    <a:pt x="89060" y="45630"/>
                    <a:pt x="96261" y="51295"/>
                    <a:pt x="90128" y="60350"/>
                  </a:cubicBezTo>
                  <a:cubicBezTo>
                    <a:pt x="83949" y="69451"/>
                    <a:pt x="83949" y="54685"/>
                    <a:pt x="77817" y="56960"/>
                  </a:cubicBezTo>
                  <a:cubicBezTo>
                    <a:pt x="71684" y="59235"/>
                    <a:pt x="64484" y="50134"/>
                    <a:pt x="61417" y="55846"/>
                  </a:cubicBezTo>
                  <a:cubicBezTo>
                    <a:pt x="58351" y="61511"/>
                    <a:pt x="48084" y="56960"/>
                    <a:pt x="37863" y="54731"/>
                  </a:cubicBezTo>
                  <a:cubicBezTo>
                    <a:pt x="27596" y="52456"/>
                    <a:pt x="22486" y="36575"/>
                    <a:pt x="14309" y="35461"/>
                  </a:cubicBezTo>
                  <a:cubicBezTo>
                    <a:pt x="8873" y="34718"/>
                    <a:pt x="3066" y="39501"/>
                    <a:pt x="0" y="47116"/>
                  </a:cubicBezTo>
                  <a:cubicBezTo>
                    <a:pt x="7944" y="52781"/>
                    <a:pt x="13148" y="60861"/>
                    <a:pt x="23508" y="66108"/>
                  </a:cubicBezTo>
                  <a:cubicBezTo>
                    <a:pt x="34797" y="71773"/>
                    <a:pt x="55285" y="78599"/>
                    <a:pt x="54263" y="86539"/>
                  </a:cubicBezTo>
                  <a:cubicBezTo>
                    <a:pt x="53241" y="94479"/>
                    <a:pt x="50128" y="105809"/>
                    <a:pt x="55285" y="109246"/>
                  </a:cubicBezTo>
                  <a:cubicBezTo>
                    <a:pt x="60395" y="112635"/>
                    <a:pt x="54263" y="127402"/>
                    <a:pt x="60395" y="130791"/>
                  </a:cubicBezTo>
                  <a:cubicBezTo>
                    <a:pt x="66528" y="134181"/>
                    <a:pt x="64484" y="151223"/>
                    <a:pt x="59373" y="151223"/>
                  </a:cubicBezTo>
                  <a:cubicBezTo>
                    <a:pt x="54263" y="151223"/>
                    <a:pt x="60395" y="160277"/>
                    <a:pt x="63508" y="163667"/>
                  </a:cubicBezTo>
                  <a:cubicBezTo>
                    <a:pt x="64901" y="165246"/>
                    <a:pt x="66017" y="169843"/>
                    <a:pt x="66528" y="175461"/>
                  </a:cubicBezTo>
                  <a:cubicBezTo>
                    <a:pt x="72846" y="177133"/>
                    <a:pt x="78421" y="180662"/>
                    <a:pt x="83903" y="183355"/>
                  </a:cubicBezTo>
                  <a:cubicBezTo>
                    <a:pt x="92497" y="187581"/>
                    <a:pt x="91243" y="194314"/>
                    <a:pt x="91569" y="201697"/>
                  </a:cubicBezTo>
                  <a:cubicBezTo>
                    <a:pt x="91894" y="209127"/>
                    <a:pt x="92219" y="213352"/>
                    <a:pt x="87759" y="210148"/>
                  </a:cubicBezTo>
                  <a:cubicBezTo>
                    <a:pt x="83299" y="206991"/>
                    <a:pt x="78514" y="210148"/>
                    <a:pt x="75958" y="220735"/>
                  </a:cubicBezTo>
                  <a:cubicBezTo>
                    <a:pt x="73403" y="231322"/>
                    <a:pt x="61278" y="244046"/>
                    <a:pt x="53938" y="244742"/>
                  </a:cubicBezTo>
                  <a:cubicBezTo>
                    <a:pt x="46597" y="245439"/>
                    <a:pt x="47248" y="253936"/>
                    <a:pt x="41162" y="255701"/>
                  </a:cubicBezTo>
                  <a:cubicBezTo>
                    <a:pt x="37538" y="256769"/>
                    <a:pt x="34007" y="258626"/>
                    <a:pt x="31870" y="261505"/>
                  </a:cubicBezTo>
                  <a:cubicBezTo>
                    <a:pt x="31359" y="262991"/>
                    <a:pt x="30709" y="264430"/>
                    <a:pt x="29965" y="265823"/>
                  </a:cubicBezTo>
                  <a:cubicBezTo>
                    <a:pt x="29779" y="266752"/>
                    <a:pt x="29687" y="267681"/>
                    <a:pt x="29733" y="268749"/>
                  </a:cubicBezTo>
                  <a:cubicBezTo>
                    <a:pt x="30012" y="275853"/>
                    <a:pt x="21603" y="276782"/>
                    <a:pt x="15563" y="276875"/>
                  </a:cubicBezTo>
                  <a:cubicBezTo>
                    <a:pt x="14634" y="277154"/>
                    <a:pt x="13659" y="277339"/>
                    <a:pt x="12729" y="277479"/>
                  </a:cubicBezTo>
                  <a:cubicBezTo>
                    <a:pt x="8966" y="279893"/>
                    <a:pt x="9338" y="289319"/>
                    <a:pt x="5203" y="292059"/>
                  </a:cubicBezTo>
                  <a:cubicBezTo>
                    <a:pt x="418" y="295263"/>
                    <a:pt x="1347" y="299489"/>
                    <a:pt x="5854" y="305850"/>
                  </a:cubicBezTo>
                  <a:cubicBezTo>
                    <a:pt x="10314" y="312212"/>
                    <a:pt x="6504" y="317877"/>
                    <a:pt x="8084" y="322474"/>
                  </a:cubicBezTo>
                  <a:cubicBezTo>
                    <a:pt x="9710" y="327071"/>
                    <a:pt x="16725" y="337658"/>
                    <a:pt x="11940" y="349313"/>
                  </a:cubicBezTo>
                  <a:cubicBezTo>
                    <a:pt x="7154" y="360968"/>
                    <a:pt x="2044" y="375456"/>
                    <a:pt x="6179" y="374063"/>
                  </a:cubicBezTo>
                  <a:cubicBezTo>
                    <a:pt x="10314" y="372670"/>
                    <a:pt x="19884" y="383582"/>
                    <a:pt x="26295" y="382885"/>
                  </a:cubicBezTo>
                  <a:cubicBezTo>
                    <a:pt x="32660" y="382189"/>
                    <a:pt x="33310" y="392776"/>
                    <a:pt x="39350" y="390640"/>
                  </a:cubicBezTo>
                  <a:cubicBezTo>
                    <a:pt x="45389" y="388550"/>
                    <a:pt x="45389" y="397002"/>
                    <a:pt x="62950" y="396305"/>
                  </a:cubicBezTo>
                  <a:cubicBezTo>
                    <a:pt x="80465" y="395609"/>
                    <a:pt x="115866" y="379356"/>
                    <a:pt x="129896" y="379356"/>
                  </a:cubicBezTo>
                  <a:cubicBezTo>
                    <a:pt x="137840" y="379356"/>
                    <a:pt x="144205" y="378288"/>
                    <a:pt x="149223" y="376942"/>
                  </a:cubicBezTo>
                  <a:cubicBezTo>
                    <a:pt x="152243" y="371927"/>
                    <a:pt x="155866" y="366494"/>
                    <a:pt x="159536" y="362408"/>
                  </a:cubicBezTo>
                  <a:cubicBezTo>
                    <a:pt x="168456" y="352517"/>
                    <a:pt x="187597" y="345459"/>
                    <a:pt x="192707" y="332736"/>
                  </a:cubicBezTo>
                  <a:cubicBezTo>
                    <a:pt x="197818" y="320013"/>
                    <a:pt x="220768" y="310215"/>
                    <a:pt x="224624" y="298839"/>
                  </a:cubicBezTo>
                  <a:cubicBezTo>
                    <a:pt x="226529" y="293174"/>
                    <a:pt x="227179" y="290341"/>
                    <a:pt x="218863" y="279754"/>
                  </a:cubicBezTo>
                  <a:close/>
                </a:path>
              </a:pathLst>
            </a:custGeom>
            <a:solidFill>
              <a:schemeClr val="accent1"/>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72" name="Freeform 70">
              <a:extLst>
                <a:ext uri="{FF2B5EF4-FFF2-40B4-BE49-F238E27FC236}">
                  <a16:creationId xmlns:a16="http://schemas.microsoft.com/office/drawing/2014/main" id="{62B9F0B5-331B-3C78-0AF3-4E08080DCD73}"/>
                </a:ext>
              </a:extLst>
            </p:cNvPr>
            <p:cNvSpPr/>
            <p:nvPr/>
          </p:nvSpPr>
          <p:spPr>
            <a:xfrm>
              <a:off x="9006358" y="2578488"/>
              <a:ext cx="1312573" cy="1231436"/>
            </a:xfrm>
            <a:custGeom>
              <a:avLst/>
              <a:gdLst>
                <a:gd name="connsiteX0" fmla="*/ 254250 w 281013"/>
                <a:gd name="connsiteY0" fmla="*/ 121845 h 263642"/>
                <a:gd name="connsiteX1" fmla="*/ 265261 w 281013"/>
                <a:gd name="connsiteY1" fmla="*/ 111768 h 263642"/>
                <a:gd name="connsiteX2" fmla="*/ 270046 w 281013"/>
                <a:gd name="connsiteY2" fmla="*/ 93752 h 263642"/>
                <a:gd name="connsiteX3" fmla="*/ 278640 w 281013"/>
                <a:gd name="connsiteY3" fmla="*/ 74156 h 263642"/>
                <a:gd name="connsiteX4" fmla="*/ 274320 w 281013"/>
                <a:gd name="connsiteY4" fmla="*/ 66216 h 263642"/>
                <a:gd name="connsiteX5" fmla="*/ 262845 w 281013"/>
                <a:gd name="connsiteY5" fmla="*/ 61990 h 263642"/>
                <a:gd name="connsiteX6" fmla="*/ 248954 w 281013"/>
                <a:gd name="connsiteY6" fmla="*/ 54561 h 263642"/>
                <a:gd name="connsiteX7" fmla="*/ 226468 w 281013"/>
                <a:gd name="connsiteY7" fmla="*/ 50335 h 263642"/>
                <a:gd name="connsiteX8" fmla="*/ 215458 w 281013"/>
                <a:gd name="connsiteY8" fmla="*/ 42395 h 263642"/>
                <a:gd name="connsiteX9" fmla="*/ 209232 w 281013"/>
                <a:gd name="connsiteY9" fmla="*/ 31251 h 263642"/>
                <a:gd name="connsiteX10" fmla="*/ 199662 w 281013"/>
                <a:gd name="connsiteY10" fmla="*/ 36544 h 263642"/>
                <a:gd name="connsiteX11" fmla="*/ 193437 w 281013"/>
                <a:gd name="connsiteY11" fmla="*/ 28604 h 263642"/>
                <a:gd name="connsiteX12" fmla="*/ 180057 w 281013"/>
                <a:gd name="connsiteY12" fmla="*/ 19595 h 263642"/>
                <a:gd name="connsiteX13" fmla="*/ 169046 w 281013"/>
                <a:gd name="connsiteY13" fmla="*/ 12166 h 263642"/>
                <a:gd name="connsiteX14" fmla="*/ 161381 w 281013"/>
                <a:gd name="connsiteY14" fmla="*/ 3158 h 263642"/>
                <a:gd name="connsiteX15" fmla="*/ 158593 w 281013"/>
                <a:gd name="connsiteY15" fmla="*/ 0 h 263642"/>
                <a:gd name="connsiteX16" fmla="*/ 153715 w 281013"/>
                <a:gd name="connsiteY16" fmla="*/ 511 h 263642"/>
                <a:gd name="connsiteX17" fmla="*/ 140661 w 281013"/>
                <a:gd name="connsiteY17" fmla="*/ 21035 h 263642"/>
                <a:gd name="connsiteX18" fmla="*/ 118314 w 281013"/>
                <a:gd name="connsiteY18" fmla="*/ 37612 h 263642"/>
                <a:gd name="connsiteX19" fmla="*/ 104284 w 281013"/>
                <a:gd name="connsiteY19" fmla="*/ 54561 h 263642"/>
                <a:gd name="connsiteX20" fmla="*/ 77153 w 281013"/>
                <a:gd name="connsiteY20" fmla="*/ 44345 h 263642"/>
                <a:gd name="connsiteX21" fmla="*/ 64702 w 281013"/>
                <a:gd name="connsiteY21" fmla="*/ 53493 h 263642"/>
                <a:gd name="connsiteX22" fmla="*/ 67582 w 281013"/>
                <a:gd name="connsiteY22" fmla="*/ 78939 h 263642"/>
                <a:gd name="connsiteX23" fmla="*/ 48767 w 281013"/>
                <a:gd name="connsiteY23" fmla="*/ 77871 h 263642"/>
                <a:gd name="connsiteX24" fmla="*/ 35712 w 281013"/>
                <a:gd name="connsiteY24" fmla="*/ 70813 h 263642"/>
                <a:gd name="connsiteX25" fmla="*/ 14667 w 281013"/>
                <a:gd name="connsiteY25" fmla="*/ 73274 h 263642"/>
                <a:gd name="connsiteX26" fmla="*/ 1287 w 281013"/>
                <a:gd name="connsiteY26" fmla="*/ 84558 h 263642"/>
                <a:gd name="connsiteX27" fmla="*/ 3842 w 281013"/>
                <a:gd name="connsiteY27" fmla="*/ 99417 h 263642"/>
                <a:gd name="connsiteX28" fmla="*/ 16154 w 281013"/>
                <a:gd name="connsiteY28" fmla="*/ 104060 h 263642"/>
                <a:gd name="connsiteX29" fmla="*/ 29766 w 281013"/>
                <a:gd name="connsiteY29" fmla="*/ 103735 h 263642"/>
                <a:gd name="connsiteX30" fmla="*/ 42820 w 281013"/>
                <a:gd name="connsiteY30" fmla="*/ 113115 h 263642"/>
                <a:gd name="connsiteX31" fmla="*/ 51369 w 281013"/>
                <a:gd name="connsiteY31" fmla="*/ 115344 h 263642"/>
                <a:gd name="connsiteX32" fmla="*/ 58384 w 281013"/>
                <a:gd name="connsiteY32" fmla="*/ 125931 h 263642"/>
                <a:gd name="connsiteX33" fmla="*/ 58523 w 281013"/>
                <a:gd name="connsiteY33" fmla="*/ 127138 h 263642"/>
                <a:gd name="connsiteX34" fmla="*/ 64377 w 281013"/>
                <a:gd name="connsiteY34" fmla="*/ 134104 h 263642"/>
                <a:gd name="connsiteX35" fmla="*/ 68790 w 281013"/>
                <a:gd name="connsiteY35" fmla="*/ 143390 h 263642"/>
                <a:gd name="connsiteX36" fmla="*/ 75294 w 281013"/>
                <a:gd name="connsiteY36" fmla="*/ 146409 h 263642"/>
                <a:gd name="connsiteX37" fmla="*/ 81055 w 281013"/>
                <a:gd name="connsiteY37" fmla="*/ 165122 h 263642"/>
                <a:gd name="connsiteX38" fmla="*/ 81520 w 281013"/>
                <a:gd name="connsiteY38" fmla="*/ 172505 h 263642"/>
                <a:gd name="connsiteX39" fmla="*/ 85051 w 281013"/>
                <a:gd name="connsiteY39" fmla="*/ 183185 h 263642"/>
                <a:gd name="connsiteX40" fmla="*/ 77292 w 281013"/>
                <a:gd name="connsiteY40" fmla="*/ 207285 h 263642"/>
                <a:gd name="connsiteX41" fmla="*/ 67722 w 281013"/>
                <a:gd name="connsiteY41" fmla="*/ 236864 h 263642"/>
                <a:gd name="connsiteX42" fmla="*/ 66467 w 281013"/>
                <a:gd name="connsiteY42" fmla="*/ 237142 h 263642"/>
                <a:gd name="connsiteX43" fmla="*/ 78732 w 281013"/>
                <a:gd name="connsiteY43" fmla="*/ 243875 h 263642"/>
                <a:gd name="connsiteX44" fmla="*/ 99685 w 281013"/>
                <a:gd name="connsiteY44" fmla="*/ 255066 h 263642"/>
                <a:gd name="connsiteX45" fmla="*/ 116735 w 281013"/>
                <a:gd name="connsiteY45" fmla="*/ 253348 h 263642"/>
                <a:gd name="connsiteX46" fmla="*/ 126816 w 281013"/>
                <a:gd name="connsiteY46" fmla="*/ 255948 h 263642"/>
                <a:gd name="connsiteX47" fmla="*/ 152415 w 281013"/>
                <a:gd name="connsiteY47" fmla="*/ 262821 h 263642"/>
                <a:gd name="connsiteX48" fmla="*/ 174575 w 281013"/>
                <a:gd name="connsiteY48" fmla="*/ 263517 h 263642"/>
                <a:gd name="connsiteX49" fmla="*/ 173274 w 281013"/>
                <a:gd name="connsiteY49" fmla="*/ 257388 h 263642"/>
                <a:gd name="connsiteX50" fmla="*/ 191114 w 281013"/>
                <a:gd name="connsiteY50" fmla="*/ 233706 h 263642"/>
                <a:gd name="connsiteX51" fmla="*/ 230649 w 281013"/>
                <a:gd name="connsiteY51" fmla="*/ 243225 h 263642"/>
                <a:gd name="connsiteX52" fmla="*/ 255505 w 281013"/>
                <a:gd name="connsiteY52" fmla="*/ 234031 h 263642"/>
                <a:gd name="connsiteX53" fmla="*/ 269024 w 281013"/>
                <a:gd name="connsiteY53" fmla="*/ 224280 h 263642"/>
                <a:gd name="connsiteX54" fmla="*/ 271440 w 281013"/>
                <a:gd name="connsiteY54" fmla="*/ 216200 h 263642"/>
                <a:gd name="connsiteX55" fmla="*/ 261404 w 281013"/>
                <a:gd name="connsiteY55" fmla="*/ 212485 h 263642"/>
                <a:gd name="connsiteX56" fmla="*/ 256619 w 281013"/>
                <a:gd name="connsiteY56" fmla="*/ 200830 h 263642"/>
                <a:gd name="connsiteX57" fmla="*/ 250394 w 281013"/>
                <a:gd name="connsiteY57" fmla="*/ 188664 h 263642"/>
                <a:gd name="connsiteX58" fmla="*/ 254715 w 281013"/>
                <a:gd name="connsiteY58" fmla="*/ 182860 h 263642"/>
                <a:gd name="connsiteX59" fmla="*/ 259035 w 281013"/>
                <a:gd name="connsiteY59" fmla="*/ 173341 h 263642"/>
                <a:gd name="connsiteX60" fmla="*/ 256666 w 281013"/>
                <a:gd name="connsiteY60" fmla="*/ 161686 h 263642"/>
                <a:gd name="connsiteX61" fmla="*/ 252856 w 281013"/>
                <a:gd name="connsiteY61" fmla="*/ 150031 h 263642"/>
                <a:gd name="connsiteX62" fmla="*/ 243286 w 281013"/>
                <a:gd name="connsiteY62" fmla="*/ 148963 h 263642"/>
                <a:gd name="connsiteX63" fmla="*/ 240406 w 281013"/>
                <a:gd name="connsiteY63" fmla="*/ 141022 h 263642"/>
                <a:gd name="connsiteX64" fmla="*/ 254297 w 281013"/>
                <a:gd name="connsiteY64" fmla="*/ 121938 h 26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81013" h="263642">
                  <a:moveTo>
                    <a:pt x="254250" y="121845"/>
                  </a:moveTo>
                  <a:cubicBezTo>
                    <a:pt x="255226" y="116551"/>
                    <a:pt x="260940" y="111768"/>
                    <a:pt x="265261" y="111768"/>
                  </a:cubicBezTo>
                  <a:cubicBezTo>
                    <a:pt x="269581" y="111768"/>
                    <a:pt x="268606" y="100624"/>
                    <a:pt x="270046" y="93752"/>
                  </a:cubicBezTo>
                  <a:cubicBezTo>
                    <a:pt x="271486" y="86879"/>
                    <a:pt x="272461" y="79961"/>
                    <a:pt x="278640" y="74156"/>
                  </a:cubicBezTo>
                  <a:cubicBezTo>
                    <a:pt x="284866" y="68352"/>
                    <a:pt x="277200" y="65659"/>
                    <a:pt x="274320" y="66216"/>
                  </a:cubicBezTo>
                  <a:cubicBezTo>
                    <a:pt x="271440" y="66773"/>
                    <a:pt x="269070" y="61990"/>
                    <a:pt x="262845" y="61990"/>
                  </a:cubicBezTo>
                  <a:cubicBezTo>
                    <a:pt x="256619" y="61990"/>
                    <a:pt x="251834" y="58833"/>
                    <a:pt x="248954" y="54561"/>
                  </a:cubicBezTo>
                  <a:cubicBezTo>
                    <a:pt x="246073" y="50335"/>
                    <a:pt x="231253" y="49267"/>
                    <a:pt x="226468" y="50335"/>
                  </a:cubicBezTo>
                  <a:cubicBezTo>
                    <a:pt x="221683" y="51403"/>
                    <a:pt x="220243" y="41327"/>
                    <a:pt x="215458" y="42395"/>
                  </a:cubicBezTo>
                  <a:cubicBezTo>
                    <a:pt x="210673" y="43463"/>
                    <a:pt x="209232" y="35523"/>
                    <a:pt x="209232" y="31251"/>
                  </a:cubicBezTo>
                  <a:cubicBezTo>
                    <a:pt x="209232" y="26979"/>
                    <a:pt x="203983" y="34408"/>
                    <a:pt x="199662" y="36544"/>
                  </a:cubicBezTo>
                  <a:cubicBezTo>
                    <a:pt x="195342" y="38680"/>
                    <a:pt x="193901" y="31761"/>
                    <a:pt x="193437" y="28604"/>
                  </a:cubicBezTo>
                  <a:cubicBezTo>
                    <a:pt x="192972" y="25446"/>
                    <a:pt x="184331" y="22242"/>
                    <a:pt x="180057" y="19595"/>
                  </a:cubicBezTo>
                  <a:cubicBezTo>
                    <a:pt x="175736" y="16949"/>
                    <a:pt x="170951" y="8451"/>
                    <a:pt x="169046" y="12166"/>
                  </a:cubicBezTo>
                  <a:cubicBezTo>
                    <a:pt x="167142" y="15881"/>
                    <a:pt x="161892" y="6872"/>
                    <a:pt x="161381" y="3158"/>
                  </a:cubicBezTo>
                  <a:cubicBezTo>
                    <a:pt x="161056" y="696"/>
                    <a:pt x="159569" y="1486"/>
                    <a:pt x="158593" y="0"/>
                  </a:cubicBezTo>
                  <a:cubicBezTo>
                    <a:pt x="156967" y="371"/>
                    <a:pt x="155341" y="604"/>
                    <a:pt x="153715" y="511"/>
                  </a:cubicBezTo>
                  <a:cubicBezTo>
                    <a:pt x="146050" y="186"/>
                    <a:pt x="139360" y="6872"/>
                    <a:pt x="140661" y="21035"/>
                  </a:cubicBezTo>
                  <a:cubicBezTo>
                    <a:pt x="141915" y="35151"/>
                    <a:pt x="131415" y="36544"/>
                    <a:pt x="118314" y="37612"/>
                  </a:cubicBezTo>
                  <a:cubicBezTo>
                    <a:pt x="105213" y="38680"/>
                    <a:pt x="109720" y="49964"/>
                    <a:pt x="104284" y="54561"/>
                  </a:cubicBezTo>
                  <a:cubicBezTo>
                    <a:pt x="98848" y="59158"/>
                    <a:pt x="79708" y="52100"/>
                    <a:pt x="77153" y="44345"/>
                  </a:cubicBezTo>
                  <a:cubicBezTo>
                    <a:pt x="74598" y="36591"/>
                    <a:pt x="57408" y="44345"/>
                    <a:pt x="64702" y="53493"/>
                  </a:cubicBezTo>
                  <a:cubicBezTo>
                    <a:pt x="72042" y="62687"/>
                    <a:pt x="71717" y="75410"/>
                    <a:pt x="67582" y="78939"/>
                  </a:cubicBezTo>
                  <a:cubicBezTo>
                    <a:pt x="63448" y="82468"/>
                    <a:pt x="54481" y="73274"/>
                    <a:pt x="48767" y="77871"/>
                  </a:cubicBezTo>
                  <a:cubicBezTo>
                    <a:pt x="43053" y="82468"/>
                    <a:pt x="42727" y="73646"/>
                    <a:pt x="35712" y="70813"/>
                  </a:cubicBezTo>
                  <a:cubicBezTo>
                    <a:pt x="28697" y="67981"/>
                    <a:pt x="25817" y="74342"/>
                    <a:pt x="14667" y="73274"/>
                  </a:cubicBezTo>
                  <a:cubicBezTo>
                    <a:pt x="3517" y="72206"/>
                    <a:pt x="-2894" y="79264"/>
                    <a:pt x="1287" y="84558"/>
                  </a:cubicBezTo>
                  <a:cubicBezTo>
                    <a:pt x="5422" y="89851"/>
                    <a:pt x="636" y="94773"/>
                    <a:pt x="3842" y="99417"/>
                  </a:cubicBezTo>
                  <a:cubicBezTo>
                    <a:pt x="5515" y="101831"/>
                    <a:pt x="10346" y="102760"/>
                    <a:pt x="16154" y="104060"/>
                  </a:cubicBezTo>
                  <a:cubicBezTo>
                    <a:pt x="20567" y="102714"/>
                    <a:pt x="25631" y="102621"/>
                    <a:pt x="29766" y="103735"/>
                  </a:cubicBezTo>
                  <a:cubicBezTo>
                    <a:pt x="35201" y="105221"/>
                    <a:pt x="39568" y="108704"/>
                    <a:pt x="42820" y="113115"/>
                  </a:cubicBezTo>
                  <a:cubicBezTo>
                    <a:pt x="46119" y="113301"/>
                    <a:pt x="48302" y="112697"/>
                    <a:pt x="51369" y="115344"/>
                  </a:cubicBezTo>
                  <a:cubicBezTo>
                    <a:pt x="56804" y="119941"/>
                    <a:pt x="58059" y="117108"/>
                    <a:pt x="58384" y="125931"/>
                  </a:cubicBezTo>
                  <a:cubicBezTo>
                    <a:pt x="58384" y="126349"/>
                    <a:pt x="58477" y="126720"/>
                    <a:pt x="58523" y="127138"/>
                  </a:cubicBezTo>
                  <a:cubicBezTo>
                    <a:pt x="60707" y="128903"/>
                    <a:pt x="62751" y="131178"/>
                    <a:pt x="64377" y="134104"/>
                  </a:cubicBezTo>
                  <a:cubicBezTo>
                    <a:pt x="65956" y="136890"/>
                    <a:pt x="67396" y="140094"/>
                    <a:pt x="68790" y="143390"/>
                  </a:cubicBezTo>
                  <a:cubicBezTo>
                    <a:pt x="70695" y="144598"/>
                    <a:pt x="72879" y="145666"/>
                    <a:pt x="75294" y="146409"/>
                  </a:cubicBezTo>
                  <a:cubicBezTo>
                    <a:pt x="85840" y="149566"/>
                    <a:pt x="77849" y="157367"/>
                    <a:pt x="81055" y="165122"/>
                  </a:cubicBezTo>
                  <a:cubicBezTo>
                    <a:pt x="81938" y="167351"/>
                    <a:pt x="81938" y="169858"/>
                    <a:pt x="81520" y="172505"/>
                  </a:cubicBezTo>
                  <a:cubicBezTo>
                    <a:pt x="83006" y="176034"/>
                    <a:pt x="84354" y="179702"/>
                    <a:pt x="85051" y="183185"/>
                  </a:cubicBezTo>
                  <a:cubicBezTo>
                    <a:pt x="86862" y="192333"/>
                    <a:pt x="84121" y="201620"/>
                    <a:pt x="77292" y="207285"/>
                  </a:cubicBezTo>
                  <a:cubicBezTo>
                    <a:pt x="75480" y="219683"/>
                    <a:pt x="71206" y="234913"/>
                    <a:pt x="67722" y="236864"/>
                  </a:cubicBezTo>
                  <a:cubicBezTo>
                    <a:pt x="67396" y="237049"/>
                    <a:pt x="66885" y="237049"/>
                    <a:pt x="66467" y="237142"/>
                  </a:cubicBezTo>
                  <a:cubicBezTo>
                    <a:pt x="71252" y="239789"/>
                    <a:pt x="76270" y="242064"/>
                    <a:pt x="78732" y="243875"/>
                  </a:cubicBezTo>
                  <a:cubicBezTo>
                    <a:pt x="83378" y="247311"/>
                    <a:pt x="93459" y="250748"/>
                    <a:pt x="99685" y="255066"/>
                  </a:cubicBezTo>
                  <a:cubicBezTo>
                    <a:pt x="105910" y="259384"/>
                    <a:pt x="116735" y="258502"/>
                    <a:pt x="116735" y="253348"/>
                  </a:cubicBezTo>
                  <a:cubicBezTo>
                    <a:pt x="116735" y="248194"/>
                    <a:pt x="122914" y="251676"/>
                    <a:pt x="126816" y="255948"/>
                  </a:cubicBezTo>
                  <a:cubicBezTo>
                    <a:pt x="130672" y="260267"/>
                    <a:pt x="145446" y="261103"/>
                    <a:pt x="152415" y="262821"/>
                  </a:cubicBezTo>
                  <a:cubicBezTo>
                    <a:pt x="158314" y="264260"/>
                    <a:pt x="166909" y="263331"/>
                    <a:pt x="174575" y="263517"/>
                  </a:cubicBezTo>
                  <a:cubicBezTo>
                    <a:pt x="174296" y="261567"/>
                    <a:pt x="173878" y="259570"/>
                    <a:pt x="173274" y="257388"/>
                  </a:cubicBezTo>
                  <a:cubicBezTo>
                    <a:pt x="169464" y="243597"/>
                    <a:pt x="180614" y="235470"/>
                    <a:pt x="191114" y="233706"/>
                  </a:cubicBezTo>
                  <a:cubicBezTo>
                    <a:pt x="201613" y="231942"/>
                    <a:pt x="224610" y="239000"/>
                    <a:pt x="230649" y="243225"/>
                  </a:cubicBezTo>
                  <a:cubicBezTo>
                    <a:pt x="236689" y="247451"/>
                    <a:pt x="245005" y="246383"/>
                    <a:pt x="255505" y="234031"/>
                  </a:cubicBezTo>
                  <a:cubicBezTo>
                    <a:pt x="260800" y="227762"/>
                    <a:pt x="265168" y="225534"/>
                    <a:pt x="269024" y="224280"/>
                  </a:cubicBezTo>
                  <a:cubicBezTo>
                    <a:pt x="269302" y="221494"/>
                    <a:pt x="270603" y="218661"/>
                    <a:pt x="271440" y="216200"/>
                  </a:cubicBezTo>
                  <a:cubicBezTo>
                    <a:pt x="272880" y="211975"/>
                    <a:pt x="266190" y="212996"/>
                    <a:pt x="261404" y="212485"/>
                  </a:cubicBezTo>
                  <a:cubicBezTo>
                    <a:pt x="256619" y="211975"/>
                    <a:pt x="253274" y="206635"/>
                    <a:pt x="256619" y="200830"/>
                  </a:cubicBezTo>
                  <a:cubicBezTo>
                    <a:pt x="259964" y="195026"/>
                    <a:pt x="253739" y="194469"/>
                    <a:pt x="250394" y="188664"/>
                  </a:cubicBezTo>
                  <a:cubicBezTo>
                    <a:pt x="247049" y="182860"/>
                    <a:pt x="251834" y="184439"/>
                    <a:pt x="254715" y="182860"/>
                  </a:cubicBezTo>
                  <a:cubicBezTo>
                    <a:pt x="257595" y="181281"/>
                    <a:pt x="261404" y="174920"/>
                    <a:pt x="259035" y="173341"/>
                  </a:cubicBezTo>
                  <a:cubicBezTo>
                    <a:pt x="256666" y="171762"/>
                    <a:pt x="254715" y="168047"/>
                    <a:pt x="256666" y="161686"/>
                  </a:cubicBezTo>
                  <a:cubicBezTo>
                    <a:pt x="258571" y="155324"/>
                    <a:pt x="252856" y="154813"/>
                    <a:pt x="252856" y="150031"/>
                  </a:cubicBezTo>
                  <a:cubicBezTo>
                    <a:pt x="252856" y="145248"/>
                    <a:pt x="247607" y="143158"/>
                    <a:pt x="243286" y="148963"/>
                  </a:cubicBezTo>
                  <a:cubicBezTo>
                    <a:pt x="238966" y="154767"/>
                    <a:pt x="237525" y="150541"/>
                    <a:pt x="240406" y="141022"/>
                  </a:cubicBezTo>
                  <a:cubicBezTo>
                    <a:pt x="243286" y="131503"/>
                    <a:pt x="253321" y="127231"/>
                    <a:pt x="254297" y="121938"/>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73" name="Freeform 71">
              <a:extLst>
                <a:ext uri="{FF2B5EF4-FFF2-40B4-BE49-F238E27FC236}">
                  <a16:creationId xmlns:a16="http://schemas.microsoft.com/office/drawing/2014/main" id="{016F16B7-6158-1C0D-85D1-D2580758C94C}"/>
                </a:ext>
              </a:extLst>
            </p:cNvPr>
            <p:cNvSpPr/>
            <p:nvPr/>
          </p:nvSpPr>
          <p:spPr>
            <a:xfrm>
              <a:off x="10367442" y="3727524"/>
              <a:ext cx="91941" cy="208055"/>
            </a:xfrm>
            <a:custGeom>
              <a:avLst/>
              <a:gdLst>
                <a:gd name="connsiteX0" fmla="*/ 17066 w 19685"/>
                <a:gd name="connsiteY0" fmla="*/ 11 h 44543"/>
                <a:gd name="connsiteX1" fmla="*/ 3686 w 19685"/>
                <a:gd name="connsiteY1" fmla="*/ 12734 h 44543"/>
                <a:gd name="connsiteX2" fmla="*/ 12606 w 19685"/>
                <a:gd name="connsiteY2" fmla="*/ 44495 h 44543"/>
                <a:gd name="connsiteX3" fmla="*/ 17066 w 19685"/>
                <a:gd name="connsiteY3" fmla="*/ 11 h 44543"/>
              </a:gdLst>
              <a:ahLst/>
              <a:cxnLst>
                <a:cxn ang="0">
                  <a:pos x="connsiteX0" y="connsiteY0"/>
                </a:cxn>
                <a:cxn ang="0">
                  <a:pos x="connsiteX1" y="connsiteY1"/>
                </a:cxn>
                <a:cxn ang="0">
                  <a:pos x="connsiteX2" y="connsiteY2"/>
                </a:cxn>
                <a:cxn ang="0">
                  <a:pos x="connsiteX3" y="connsiteY3"/>
                </a:cxn>
              </a:cxnLst>
              <a:rect l="l" t="t" r="r" b="b"/>
              <a:pathLst>
                <a:path w="19685" h="44543">
                  <a:moveTo>
                    <a:pt x="17066" y="11"/>
                  </a:moveTo>
                  <a:cubicBezTo>
                    <a:pt x="13535" y="-314"/>
                    <a:pt x="12606" y="6698"/>
                    <a:pt x="3686" y="12734"/>
                  </a:cubicBezTo>
                  <a:cubicBezTo>
                    <a:pt x="-5234" y="18724"/>
                    <a:pt x="3733" y="45842"/>
                    <a:pt x="12606" y="44495"/>
                  </a:cubicBezTo>
                  <a:cubicBezTo>
                    <a:pt x="21851" y="43102"/>
                    <a:pt x="20550" y="336"/>
                    <a:pt x="17066" y="11"/>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74" name="Freeform 72">
              <a:extLst>
                <a:ext uri="{FF2B5EF4-FFF2-40B4-BE49-F238E27FC236}">
                  <a16:creationId xmlns:a16="http://schemas.microsoft.com/office/drawing/2014/main" id="{BFA7DE95-D0AD-1E0F-9876-2DAD80587843}"/>
                </a:ext>
              </a:extLst>
            </p:cNvPr>
            <p:cNvSpPr/>
            <p:nvPr/>
          </p:nvSpPr>
          <p:spPr>
            <a:xfrm>
              <a:off x="8617858" y="3626934"/>
              <a:ext cx="1206108" cy="1014773"/>
            </a:xfrm>
            <a:custGeom>
              <a:avLst/>
              <a:gdLst>
                <a:gd name="connsiteX0" fmla="*/ 257748 w 258219"/>
                <a:gd name="connsiteY0" fmla="*/ 39005 h 217256"/>
                <a:gd name="connsiteX1" fmla="*/ 235588 w 258219"/>
                <a:gd name="connsiteY1" fmla="*/ 38309 h 217256"/>
                <a:gd name="connsiteX2" fmla="*/ 209990 w 258219"/>
                <a:gd name="connsiteY2" fmla="*/ 31436 h 217256"/>
                <a:gd name="connsiteX3" fmla="*/ 199908 w 258219"/>
                <a:gd name="connsiteY3" fmla="*/ 28836 h 217256"/>
                <a:gd name="connsiteX4" fmla="*/ 182858 w 258219"/>
                <a:gd name="connsiteY4" fmla="*/ 30554 h 217256"/>
                <a:gd name="connsiteX5" fmla="*/ 161906 w 258219"/>
                <a:gd name="connsiteY5" fmla="*/ 19363 h 217256"/>
                <a:gd name="connsiteX6" fmla="*/ 149641 w 258219"/>
                <a:gd name="connsiteY6" fmla="*/ 12630 h 217256"/>
                <a:gd name="connsiteX7" fmla="*/ 112335 w 258219"/>
                <a:gd name="connsiteY7" fmla="*/ 8126 h 217256"/>
                <a:gd name="connsiteX8" fmla="*/ 41208 w 258219"/>
                <a:gd name="connsiteY8" fmla="*/ 7430 h 217256"/>
                <a:gd name="connsiteX9" fmla="*/ 15052 w 258219"/>
                <a:gd name="connsiteY9" fmla="*/ 0 h 217256"/>
                <a:gd name="connsiteX10" fmla="*/ 0 w 258219"/>
                <a:gd name="connsiteY10" fmla="*/ 12027 h 217256"/>
                <a:gd name="connsiteX11" fmla="*/ 976 w 258219"/>
                <a:gd name="connsiteY11" fmla="*/ 23775 h 217256"/>
                <a:gd name="connsiteX12" fmla="*/ 9477 w 258219"/>
                <a:gd name="connsiteY12" fmla="*/ 33247 h 217256"/>
                <a:gd name="connsiteX13" fmla="*/ 11847 w 258219"/>
                <a:gd name="connsiteY13" fmla="*/ 51125 h 217256"/>
                <a:gd name="connsiteX14" fmla="*/ 11382 w 258219"/>
                <a:gd name="connsiteY14" fmla="*/ 52611 h 217256"/>
                <a:gd name="connsiteX15" fmla="*/ 11754 w 258219"/>
                <a:gd name="connsiteY15" fmla="*/ 54096 h 217256"/>
                <a:gd name="connsiteX16" fmla="*/ 22997 w 258219"/>
                <a:gd name="connsiteY16" fmla="*/ 54607 h 217256"/>
                <a:gd name="connsiteX17" fmla="*/ 31545 w 258219"/>
                <a:gd name="connsiteY17" fmla="*/ 54607 h 217256"/>
                <a:gd name="connsiteX18" fmla="*/ 44739 w 258219"/>
                <a:gd name="connsiteY18" fmla="*/ 57161 h 217256"/>
                <a:gd name="connsiteX19" fmla="*/ 50174 w 258219"/>
                <a:gd name="connsiteY19" fmla="*/ 66634 h 217256"/>
                <a:gd name="connsiteX20" fmla="*/ 36191 w 258219"/>
                <a:gd name="connsiteY20" fmla="*/ 80379 h 217256"/>
                <a:gd name="connsiteX21" fmla="*/ 37770 w 258219"/>
                <a:gd name="connsiteY21" fmla="*/ 102714 h 217256"/>
                <a:gd name="connsiteX22" fmla="*/ 33914 w 258219"/>
                <a:gd name="connsiteY22" fmla="*/ 119059 h 217256"/>
                <a:gd name="connsiteX23" fmla="*/ 28479 w 258219"/>
                <a:gd name="connsiteY23" fmla="*/ 128485 h 217256"/>
                <a:gd name="connsiteX24" fmla="*/ 34704 w 258219"/>
                <a:gd name="connsiteY24" fmla="*/ 141394 h 217256"/>
                <a:gd name="connsiteX25" fmla="*/ 29268 w 258219"/>
                <a:gd name="connsiteY25" fmla="*/ 154303 h 217256"/>
                <a:gd name="connsiteX26" fmla="*/ 33914 w 258219"/>
                <a:gd name="connsiteY26" fmla="*/ 166329 h 217256"/>
                <a:gd name="connsiteX27" fmla="*/ 25366 w 258219"/>
                <a:gd name="connsiteY27" fmla="*/ 180956 h 217256"/>
                <a:gd name="connsiteX28" fmla="*/ 28479 w 258219"/>
                <a:gd name="connsiteY28" fmla="*/ 188711 h 217256"/>
                <a:gd name="connsiteX29" fmla="*/ 39954 w 258219"/>
                <a:gd name="connsiteY29" fmla="*/ 189639 h 217256"/>
                <a:gd name="connsiteX30" fmla="*/ 66109 w 258219"/>
                <a:gd name="connsiteY30" fmla="*/ 217175 h 217256"/>
                <a:gd name="connsiteX31" fmla="*/ 71220 w 258219"/>
                <a:gd name="connsiteY31" fmla="*/ 209421 h 217256"/>
                <a:gd name="connsiteX32" fmla="*/ 83671 w 258219"/>
                <a:gd name="connsiteY32" fmla="*/ 208724 h 217256"/>
                <a:gd name="connsiteX33" fmla="*/ 103415 w 258219"/>
                <a:gd name="connsiteY33" fmla="*/ 200273 h 217256"/>
                <a:gd name="connsiteX34" fmla="*/ 130825 w 258219"/>
                <a:gd name="connsiteY34" fmla="*/ 199205 h 217256"/>
                <a:gd name="connsiteX35" fmla="*/ 146435 w 258219"/>
                <a:gd name="connsiteY35" fmla="*/ 190754 h 217256"/>
                <a:gd name="connsiteX36" fmla="*/ 163346 w 258219"/>
                <a:gd name="connsiteY36" fmla="*/ 178031 h 217256"/>
                <a:gd name="connsiteX37" fmla="*/ 171337 w 258219"/>
                <a:gd name="connsiteY37" fmla="*/ 161082 h 217256"/>
                <a:gd name="connsiteX38" fmla="*/ 187272 w 258219"/>
                <a:gd name="connsiteY38" fmla="*/ 142694 h 217256"/>
                <a:gd name="connsiteX39" fmla="*/ 187597 w 258219"/>
                <a:gd name="connsiteY39" fmla="*/ 107729 h 217256"/>
                <a:gd name="connsiteX40" fmla="*/ 205437 w 258219"/>
                <a:gd name="connsiteY40" fmla="*/ 84418 h 217256"/>
                <a:gd name="connsiteX41" fmla="*/ 225228 w 258219"/>
                <a:gd name="connsiteY41" fmla="*/ 72763 h 217256"/>
                <a:gd name="connsiteX42" fmla="*/ 248828 w 258219"/>
                <a:gd name="connsiteY42" fmla="*/ 59019 h 217256"/>
                <a:gd name="connsiteX43" fmla="*/ 257795 w 258219"/>
                <a:gd name="connsiteY43" fmla="*/ 39052 h 21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58219" h="217256">
                  <a:moveTo>
                    <a:pt x="257748" y="39005"/>
                  </a:moveTo>
                  <a:cubicBezTo>
                    <a:pt x="250083" y="38820"/>
                    <a:pt x="241488" y="39748"/>
                    <a:pt x="235588" y="38309"/>
                  </a:cubicBezTo>
                  <a:cubicBezTo>
                    <a:pt x="228619" y="36591"/>
                    <a:pt x="213846" y="35755"/>
                    <a:pt x="209990" y="31436"/>
                  </a:cubicBezTo>
                  <a:cubicBezTo>
                    <a:pt x="206087" y="27164"/>
                    <a:pt x="199908" y="23728"/>
                    <a:pt x="199908" y="28836"/>
                  </a:cubicBezTo>
                  <a:cubicBezTo>
                    <a:pt x="199908" y="33944"/>
                    <a:pt x="189037" y="34873"/>
                    <a:pt x="182858" y="30554"/>
                  </a:cubicBezTo>
                  <a:cubicBezTo>
                    <a:pt x="176633" y="26236"/>
                    <a:pt x="166551" y="22846"/>
                    <a:pt x="161906" y="19363"/>
                  </a:cubicBezTo>
                  <a:cubicBezTo>
                    <a:pt x="159443" y="17552"/>
                    <a:pt x="154426" y="15277"/>
                    <a:pt x="149641" y="12630"/>
                  </a:cubicBezTo>
                  <a:cubicBezTo>
                    <a:pt x="143183" y="14023"/>
                    <a:pt x="124600" y="6454"/>
                    <a:pt x="112335" y="8126"/>
                  </a:cubicBezTo>
                  <a:cubicBezTo>
                    <a:pt x="99234" y="9891"/>
                    <a:pt x="57468" y="5990"/>
                    <a:pt x="41208" y="7430"/>
                  </a:cubicBezTo>
                  <a:cubicBezTo>
                    <a:pt x="24948" y="8823"/>
                    <a:pt x="23972" y="0"/>
                    <a:pt x="15052" y="0"/>
                  </a:cubicBezTo>
                  <a:cubicBezTo>
                    <a:pt x="6876" y="0"/>
                    <a:pt x="9385" y="10076"/>
                    <a:pt x="0" y="12027"/>
                  </a:cubicBezTo>
                  <a:cubicBezTo>
                    <a:pt x="1301" y="15741"/>
                    <a:pt x="1533" y="19828"/>
                    <a:pt x="976" y="23775"/>
                  </a:cubicBezTo>
                  <a:cubicBezTo>
                    <a:pt x="4228" y="26468"/>
                    <a:pt x="6597" y="29161"/>
                    <a:pt x="9477" y="33247"/>
                  </a:cubicBezTo>
                  <a:cubicBezTo>
                    <a:pt x="13055" y="38309"/>
                    <a:pt x="13194" y="45320"/>
                    <a:pt x="11847" y="51125"/>
                  </a:cubicBezTo>
                  <a:cubicBezTo>
                    <a:pt x="11707" y="51635"/>
                    <a:pt x="11521" y="52146"/>
                    <a:pt x="11382" y="52611"/>
                  </a:cubicBezTo>
                  <a:cubicBezTo>
                    <a:pt x="11568" y="53121"/>
                    <a:pt x="11661" y="53586"/>
                    <a:pt x="11754" y="54096"/>
                  </a:cubicBezTo>
                  <a:cubicBezTo>
                    <a:pt x="14541" y="55443"/>
                    <a:pt x="19698" y="54607"/>
                    <a:pt x="22997" y="54607"/>
                  </a:cubicBezTo>
                  <a:cubicBezTo>
                    <a:pt x="27642" y="54607"/>
                    <a:pt x="26109" y="58926"/>
                    <a:pt x="31545" y="54607"/>
                  </a:cubicBezTo>
                  <a:cubicBezTo>
                    <a:pt x="36981" y="50289"/>
                    <a:pt x="44739" y="52007"/>
                    <a:pt x="44739" y="57161"/>
                  </a:cubicBezTo>
                  <a:cubicBezTo>
                    <a:pt x="44739" y="62315"/>
                    <a:pt x="56400" y="59715"/>
                    <a:pt x="50174" y="66634"/>
                  </a:cubicBezTo>
                  <a:cubicBezTo>
                    <a:pt x="43949" y="73506"/>
                    <a:pt x="36191" y="75224"/>
                    <a:pt x="36191" y="80379"/>
                  </a:cubicBezTo>
                  <a:cubicBezTo>
                    <a:pt x="36191" y="85533"/>
                    <a:pt x="43159" y="96677"/>
                    <a:pt x="37770" y="102714"/>
                  </a:cubicBezTo>
                  <a:cubicBezTo>
                    <a:pt x="32335" y="108704"/>
                    <a:pt x="39303" y="119059"/>
                    <a:pt x="33914" y="119059"/>
                  </a:cubicBezTo>
                  <a:cubicBezTo>
                    <a:pt x="28525" y="119059"/>
                    <a:pt x="22253" y="121613"/>
                    <a:pt x="28479" y="128485"/>
                  </a:cubicBezTo>
                  <a:cubicBezTo>
                    <a:pt x="34704" y="135357"/>
                    <a:pt x="39350" y="141394"/>
                    <a:pt x="34704" y="141394"/>
                  </a:cubicBezTo>
                  <a:cubicBezTo>
                    <a:pt x="30058" y="141394"/>
                    <a:pt x="26946" y="151702"/>
                    <a:pt x="29268" y="154303"/>
                  </a:cubicBezTo>
                  <a:cubicBezTo>
                    <a:pt x="31591" y="156857"/>
                    <a:pt x="42463" y="164611"/>
                    <a:pt x="33914" y="166329"/>
                  </a:cubicBezTo>
                  <a:cubicBezTo>
                    <a:pt x="25366" y="168047"/>
                    <a:pt x="25366" y="175755"/>
                    <a:pt x="25366" y="180956"/>
                  </a:cubicBezTo>
                  <a:cubicBezTo>
                    <a:pt x="25366" y="182860"/>
                    <a:pt x="26760" y="185785"/>
                    <a:pt x="28479" y="188711"/>
                  </a:cubicBezTo>
                  <a:cubicBezTo>
                    <a:pt x="32427" y="187921"/>
                    <a:pt x="36330" y="187782"/>
                    <a:pt x="39954" y="189639"/>
                  </a:cubicBezTo>
                  <a:cubicBezTo>
                    <a:pt x="48874" y="194237"/>
                    <a:pt x="54031" y="218847"/>
                    <a:pt x="66109" y="217175"/>
                  </a:cubicBezTo>
                  <a:cubicBezTo>
                    <a:pt x="71220" y="216479"/>
                    <a:pt x="68665" y="212207"/>
                    <a:pt x="71220" y="209421"/>
                  </a:cubicBezTo>
                  <a:cubicBezTo>
                    <a:pt x="73775" y="206588"/>
                    <a:pt x="78560" y="208724"/>
                    <a:pt x="83671" y="208724"/>
                  </a:cubicBezTo>
                  <a:cubicBezTo>
                    <a:pt x="88781" y="208724"/>
                    <a:pt x="91336" y="200598"/>
                    <a:pt x="103415" y="200273"/>
                  </a:cubicBezTo>
                  <a:cubicBezTo>
                    <a:pt x="115541" y="199902"/>
                    <a:pt x="123206" y="198834"/>
                    <a:pt x="130825" y="199205"/>
                  </a:cubicBezTo>
                  <a:cubicBezTo>
                    <a:pt x="138491" y="199530"/>
                    <a:pt x="144530" y="196744"/>
                    <a:pt x="146435" y="190754"/>
                  </a:cubicBezTo>
                  <a:cubicBezTo>
                    <a:pt x="148340" y="184764"/>
                    <a:pt x="154705" y="179470"/>
                    <a:pt x="163346" y="178031"/>
                  </a:cubicBezTo>
                  <a:cubicBezTo>
                    <a:pt x="171941" y="176638"/>
                    <a:pt x="170686" y="166701"/>
                    <a:pt x="171337" y="161082"/>
                  </a:cubicBezTo>
                  <a:cubicBezTo>
                    <a:pt x="171987" y="155464"/>
                    <a:pt x="186342" y="146966"/>
                    <a:pt x="187272" y="142694"/>
                  </a:cubicBezTo>
                  <a:cubicBezTo>
                    <a:pt x="188247" y="138468"/>
                    <a:pt x="178956" y="122216"/>
                    <a:pt x="187597" y="107729"/>
                  </a:cubicBezTo>
                  <a:cubicBezTo>
                    <a:pt x="196191" y="93241"/>
                    <a:pt x="205437" y="92544"/>
                    <a:pt x="205437" y="84418"/>
                  </a:cubicBezTo>
                  <a:cubicBezTo>
                    <a:pt x="205437" y="76989"/>
                    <a:pt x="214357" y="74203"/>
                    <a:pt x="225228" y="72763"/>
                  </a:cubicBezTo>
                  <a:cubicBezTo>
                    <a:pt x="236052" y="71370"/>
                    <a:pt x="239583" y="63244"/>
                    <a:pt x="248828" y="59019"/>
                  </a:cubicBezTo>
                  <a:cubicBezTo>
                    <a:pt x="256587" y="55443"/>
                    <a:pt x="259374" y="49128"/>
                    <a:pt x="257795" y="39052"/>
                  </a:cubicBezTo>
                  <a:close/>
                </a:path>
              </a:pathLst>
            </a:custGeom>
            <a:solidFill>
              <a:schemeClr val="accent1"/>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75" name="Freeform 73">
              <a:extLst>
                <a:ext uri="{FF2B5EF4-FFF2-40B4-BE49-F238E27FC236}">
                  <a16:creationId xmlns:a16="http://schemas.microsoft.com/office/drawing/2014/main" id="{C2145C36-29D6-2F54-18A8-7DFCBDE80C7E}"/>
                </a:ext>
              </a:extLst>
            </p:cNvPr>
            <p:cNvSpPr/>
            <p:nvPr/>
          </p:nvSpPr>
          <p:spPr>
            <a:xfrm>
              <a:off x="9739494" y="4148665"/>
              <a:ext cx="91673" cy="72711"/>
            </a:xfrm>
            <a:custGeom>
              <a:avLst/>
              <a:gdLst>
                <a:gd name="connsiteX0" fmla="*/ 19472 w 19626"/>
                <a:gd name="connsiteY0" fmla="*/ 4482 h 15567"/>
                <a:gd name="connsiteX1" fmla="*/ 657 w 19626"/>
                <a:gd name="connsiteY1" fmla="*/ 11540 h 15567"/>
                <a:gd name="connsiteX2" fmla="*/ 19472 w 19626"/>
                <a:gd name="connsiteY2" fmla="*/ 4482 h 15567"/>
              </a:gdLst>
              <a:ahLst/>
              <a:cxnLst>
                <a:cxn ang="0">
                  <a:pos x="connsiteX0" y="connsiteY0"/>
                </a:cxn>
                <a:cxn ang="0">
                  <a:pos x="connsiteX1" y="connsiteY1"/>
                </a:cxn>
                <a:cxn ang="0">
                  <a:pos x="connsiteX2" y="connsiteY2"/>
                </a:cxn>
              </a:cxnLst>
              <a:rect l="l" t="t" r="r" b="b"/>
              <a:pathLst>
                <a:path w="19626" h="15567">
                  <a:moveTo>
                    <a:pt x="19472" y="4482"/>
                  </a:moveTo>
                  <a:cubicBezTo>
                    <a:pt x="17893" y="-7545"/>
                    <a:pt x="-4035" y="8057"/>
                    <a:pt x="657" y="11540"/>
                  </a:cubicBezTo>
                  <a:cubicBezTo>
                    <a:pt x="10227" y="18598"/>
                    <a:pt x="21052" y="16462"/>
                    <a:pt x="19472" y="4482"/>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76" name="Freeform 74">
              <a:extLst>
                <a:ext uri="{FF2B5EF4-FFF2-40B4-BE49-F238E27FC236}">
                  <a16:creationId xmlns:a16="http://schemas.microsoft.com/office/drawing/2014/main" id="{1253226E-041D-8939-B93B-D0E4A3FEFD64}"/>
                </a:ext>
              </a:extLst>
            </p:cNvPr>
            <p:cNvSpPr/>
            <p:nvPr/>
          </p:nvSpPr>
          <p:spPr>
            <a:xfrm>
              <a:off x="11489615" y="3893277"/>
              <a:ext cx="638403" cy="883677"/>
            </a:xfrm>
            <a:custGeom>
              <a:avLst/>
              <a:gdLst>
                <a:gd name="connsiteX0" fmla="*/ 135053 w 136678"/>
                <a:gd name="connsiteY0" fmla="*/ 0 h 189189"/>
                <a:gd name="connsiteX1" fmla="*/ 124693 w 136678"/>
                <a:gd name="connsiteY1" fmla="*/ 5479 h 189189"/>
                <a:gd name="connsiteX2" fmla="*/ 116423 w 136678"/>
                <a:gd name="connsiteY2" fmla="*/ 11098 h 189189"/>
                <a:gd name="connsiteX3" fmla="*/ 93427 w 136678"/>
                <a:gd name="connsiteY3" fmla="*/ 6872 h 189189"/>
                <a:gd name="connsiteX4" fmla="*/ 64484 w 136678"/>
                <a:gd name="connsiteY4" fmla="*/ 6501 h 189189"/>
                <a:gd name="connsiteX5" fmla="*/ 64065 w 136678"/>
                <a:gd name="connsiteY5" fmla="*/ 7569 h 189189"/>
                <a:gd name="connsiteX6" fmla="*/ 43949 w 136678"/>
                <a:gd name="connsiteY6" fmla="*/ 17785 h 189189"/>
                <a:gd name="connsiteX7" fmla="*/ 33914 w 136678"/>
                <a:gd name="connsiteY7" fmla="*/ 24657 h 189189"/>
                <a:gd name="connsiteX8" fmla="*/ 19094 w 136678"/>
                <a:gd name="connsiteY8" fmla="*/ 26793 h 189189"/>
                <a:gd name="connsiteX9" fmla="*/ 11428 w 136678"/>
                <a:gd name="connsiteY9" fmla="*/ 40538 h 189189"/>
                <a:gd name="connsiteX10" fmla="*/ 6179 w 136678"/>
                <a:gd name="connsiteY10" fmla="*/ 49546 h 189189"/>
                <a:gd name="connsiteX11" fmla="*/ 0 w 136678"/>
                <a:gd name="connsiteY11" fmla="*/ 62455 h 189189"/>
                <a:gd name="connsiteX12" fmla="*/ 929 w 136678"/>
                <a:gd name="connsiteY12" fmla="*/ 63012 h 189189"/>
                <a:gd name="connsiteX13" fmla="*/ 12404 w 136678"/>
                <a:gd name="connsiteY13" fmla="*/ 83490 h 189189"/>
                <a:gd name="connsiteX14" fmla="*/ 27689 w 136678"/>
                <a:gd name="connsiteY14" fmla="*/ 89155 h 189189"/>
                <a:gd name="connsiteX15" fmla="*/ 47155 w 136678"/>
                <a:gd name="connsiteY15" fmla="*/ 96909 h 189189"/>
                <a:gd name="connsiteX16" fmla="*/ 24158 w 136678"/>
                <a:gd name="connsiteY16" fmla="*/ 99045 h 189189"/>
                <a:gd name="connsiteX17" fmla="*/ 28664 w 136678"/>
                <a:gd name="connsiteY17" fmla="*/ 119198 h 189189"/>
                <a:gd name="connsiteX18" fmla="*/ 39814 w 136678"/>
                <a:gd name="connsiteY18" fmla="*/ 135822 h 189189"/>
                <a:gd name="connsiteX19" fmla="*/ 59884 w 136678"/>
                <a:gd name="connsiteY19" fmla="*/ 146409 h 189189"/>
                <a:gd name="connsiteX20" fmla="*/ 56074 w 136678"/>
                <a:gd name="connsiteY20" fmla="*/ 122402 h 189189"/>
                <a:gd name="connsiteX21" fmla="*/ 71034 w 136678"/>
                <a:gd name="connsiteY21" fmla="*/ 121705 h 189189"/>
                <a:gd name="connsiteX22" fmla="*/ 61138 w 136678"/>
                <a:gd name="connsiteY22" fmla="*/ 112186 h 189189"/>
                <a:gd name="connsiteX23" fmla="*/ 68804 w 136678"/>
                <a:gd name="connsiteY23" fmla="*/ 107589 h 189189"/>
                <a:gd name="connsiteX24" fmla="*/ 84414 w 136678"/>
                <a:gd name="connsiteY24" fmla="*/ 105453 h 189189"/>
                <a:gd name="connsiteX25" fmla="*/ 77399 w 136678"/>
                <a:gd name="connsiteY25" fmla="*/ 86044 h 189189"/>
                <a:gd name="connsiteX26" fmla="*/ 59513 w 136678"/>
                <a:gd name="connsiteY26" fmla="*/ 86740 h 189189"/>
                <a:gd name="connsiteX27" fmla="*/ 66527 w 136678"/>
                <a:gd name="connsiteY27" fmla="*/ 74017 h 189189"/>
                <a:gd name="connsiteX28" fmla="*/ 48966 w 136678"/>
                <a:gd name="connsiteY28" fmla="*/ 47178 h 189189"/>
                <a:gd name="connsiteX29" fmla="*/ 60116 w 136678"/>
                <a:gd name="connsiteY29" fmla="*/ 40491 h 189189"/>
                <a:gd name="connsiteX30" fmla="*/ 77352 w 136678"/>
                <a:gd name="connsiteY30" fmla="*/ 43277 h 189189"/>
                <a:gd name="connsiteX31" fmla="*/ 81487 w 136678"/>
                <a:gd name="connsiteY31" fmla="*/ 25261 h 189189"/>
                <a:gd name="connsiteX32" fmla="*/ 94588 w 136678"/>
                <a:gd name="connsiteY32" fmla="*/ 29857 h 189189"/>
                <a:gd name="connsiteX33" fmla="*/ 110848 w 136678"/>
                <a:gd name="connsiteY33" fmla="*/ 21035 h 189189"/>
                <a:gd name="connsiteX34" fmla="*/ 125390 w 136678"/>
                <a:gd name="connsiteY34" fmla="*/ 28697 h 189189"/>
                <a:gd name="connsiteX35" fmla="*/ 130453 w 136678"/>
                <a:gd name="connsiteY35" fmla="*/ 20524 h 189189"/>
                <a:gd name="connsiteX36" fmla="*/ 136679 w 136678"/>
                <a:gd name="connsiteY36" fmla="*/ 9380 h 189189"/>
                <a:gd name="connsiteX37" fmla="*/ 134914 w 136678"/>
                <a:gd name="connsiteY37" fmla="*/ 0 h 189189"/>
                <a:gd name="connsiteX38" fmla="*/ 117027 w 136678"/>
                <a:gd name="connsiteY38" fmla="*/ 178217 h 189189"/>
                <a:gd name="connsiteX39" fmla="*/ 82927 w 136678"/>
                <a:gd name="connsiteY39" fmla="*/ 173991 h 189189"/>
                <a:gd name="connsiteX40" fmla="*/ 69826 w 136678"/>
                <a:gd name="connsiteY40" fmla="*/ 179981 h 189189"/>
                <a:gd name="connsiteX41" fmla="*/ 101371 w 136678"/>
                <a:gd name="connsiteY41" fmla="*/ 189175 h 189189"/>
                <a:gd name="connsiteX42" fmla="*/ 130407 w 136678"/>
                <a:gd name="connsiteY42" fmla="*/ 179285 h 189189"/>
                <a:gd name="connsiteX43" fmla="*/ 117027 w 136678"/>
                <a:gd name="connsiteY43" fmla="*/ 178217 h 18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36678" h="189189">
                  <a:moveTo>
                    <a:pt x="135053" y="0"/>
                  </a:moveTo>
                  <a:cubicBezTo>
                    <a:pt x="130268" y="557"/>
                    <a:pt x="123624" y="2508"/>
                    <a:pt x="124693" y="5479"/>
                  </a:cubicBezTo>
                  <a:cubicBezTo>
                    <a:pt x="125947" y="9008"/>
                    <a:pt x="121487" y="11098"/>
                    <a:pt x="116423" y="11098"/>
                  </a:cubicBezTo>
                  <a:cubicBezTo>
                    <a:pt x="116423" y="11098"/>
                    <a:pt x="98537" y="9705"/>
                    <a:pt x="93427" y="6872"/>
                  </a:cubicBezTo>
                  <a:cubicBezTo>
                    <a:pt x="89571" y="4736"/>
                    <a:pt x="72521" y="5804"/>
                    <a:pt x="64484" y="6501"/>
                  </a:cubicBezTo>
                  <a:cubicBezTo>
                    <a:pt x="64484" y="6872"/>
                    <a:pt x="64344" y="7197"/>
                    <a:pt x="64065" y="7569"/>
                  </a:cubicBezTo>
                  <a:cubicBezTo>
                    <a:pt x="62161" y="10726"/>
                    <a:pt x="46829" y="19410"/>
                    <a:pt x="43949" y="17785"/>
                  </a:cubicBezTo>
                  <a:cubicBezTo>
                    <a:pt x="41069" y="16206"/>
                    <a:pt x="39628" y="23078"/>
                    <a:pt x="33914" y="24657"/>
                  </a:cubicBezTo>
                  <a:cubicBezTo>
                    <a:pt x="28153" y="26236"/>
                    <a:pt x="19559" y="24100"/>
                    <a:pt x="19094" y="26793"/>
                  </a:cubicBezTo>
                  <a:cubicBezTo>
                    <a:pt x="18583" y="29440"/>
                    <a:pt x="14774" y="36869"/>
                    <a:pt x="11428" y="40538"/>
                  </a:cubicBezTo>
                  <a:cubicBezTo>
                    <a:pt x="8084" y="44252"/>
                    <a:pt x="10964" y="48478"/>
                    <a:pt x="6179" y="49546"/>
                  </a:cubicBezTo>
                  <a:cubicBezTo>
                    <a:pt x="3020" y="50242"/>
                    <a:pt x="1719" y="56743"/>
                    <a:pt x="0" y="62455"/>
                  </a:cubicBezTo>
                  <a:cubicBezTo>
                    <a:pt x="325" y="62641"/>
                    <a:pt x="604" y="62873"/>
                    <a:pt x="929" y="63012"/>
                  </a:cubicBezTo>
                  <a:cubicBezTo>
                    <a:pt x="7944" y="65473"/>
                    <a:pt x="13380" y="74667"/>
                    <a:pt x="12404" y="83490"/>
                  </a:cubicBezTo>
                  <a:cubicBezTo>
                    <a:pt x="11475" y="92312"/>
                    <a:pt x="22625" y="95516"/>
                    <a:pt x="27689" y="89155"/>
                  </a:cubicBezTo>
                  <a:cubicBezTo>
                    <a:pt x="32799" y="82793"/>
                    <a:pt x="47155" y="92684"/>
                    <a:pt x="47155" y="96909"/>
                  </a:cubicBezTo>
                  <a:cubicBezTo>
                    <a:pt x="47155" y="101135"/>
                    <a:pt x="32474" y="92312"/>
                    <a:pt x="24158" y="99045"/>
                  </a:cubicBezTo>
                  <a:cubicBezTo>
                    <a:pt x="15889" y="105732"/>
                    <a:pt x="30569" y="112094"/>
                    <a:pt x="28664" y="119198"/>
                  </a:cubicBezTo>
                  <a:cubicBezTo>
                    <a:pt x="26759" y="126256"/>
                    <a:pt x="32474" y="136147"/>
                    <a:pt x="39814" y="135822"/>
                  </a:cubicBezTo>
                  <a:cubicBezTo>
                    <a:pt x="47155" y="135450"/>
                    <a:pt x="55424" y="148870"/>
                    <a:pt x="59884" y="146409"/>
                  </a:cubicBezTo>
                  <a:cubicBezTo>
                    <a:pt x="64344" y="143948"/>
                    <a:pt x="54448" y="125234"/>
                    <a:pt x="56074" y="122402"/>
                  </a:cubicBezTo>
                  <a:cubicBezTo>
                    <a:pt x="57654" y="119569"/>
                    <a:pt x="66574" y="127324"/>
                    <a:pt x="71034" y="121705"/>
                  </a:cubicBezTo>
                  <a:cubicBezTo>
                    <a:pt x="75494" y="116087"/>
                    <a:pt x="67828" y="111815"/>
                    <a:pt x="61138" y="112186"/>
                  </a:cubicBezTo>
                  <a:cubicBezTo>
                    <a:pt x="54448" y="112511"/>
                    <a:pt x="60813" y="102296"/>
                    <a:pt x="68804" y="107589"/>
                  </a:cubicBezTo>
                  <a:cubicBezTo>
                    <a:pt x="76748" y="112883"/>
                    <a:pt x="80604" y="106196"/>
                    <a:pt x="84414" y="105453"/>
                  </a:cubicBezTo>
                  <a:cubicBezTo>
                    <a:pt x="88223" y="104757"/>
                    <a:pt x="89199" y="89573"/>
                    <a:pt x="77399" y="86044"/>
                  </a:cubicBezTo>
                  <a:cubicBezTo>
                    <a:pt x="65598" y="82515"/>
                    <a:pt x="67178" y="95563"/>
                    <a:pt x="59513" y="86740"/>
                  </a:cubicBezTo>
                  <a:cubicBezTo>
                    <a:pt x="51847" y="77917"/>
                    <a:pt x="66527" y="81447"/>
                    <a:pt x="66527" y="74017"/>
                  </a:cubicBezTo>
                  <a:cubicBezTo>
                    <a:pt x="66527" y="66587"/>
                    <a:pt x="54727" y="56000"/>
                    <a:pt x="48966" y="47178"/>
                  </a:cubicBezTo>
                  <a:cubicBezTo>
                    <a:pt x="43206" y="38355"/>
                    <a:pt x="56957" y="34130"/>
                    <a:pt x="60116" y="40491"/>
                  </a:cubicBezTo>
                  <a:cubicBezTo>
                    <a:pt x="63322" y="46853"/>
                    <a:pt x="71917" y="45785"/>
                    <a:pt x="77352" y="43277"/>
                  </a:cubicBezTo>
                  <a:cubicBezTo>
                    <a:pt x="82788" y="40816"/>
                    <a:pt x="71591" y="29486"/>
                    <a:pt x="81487" y="25261"/>
                  </a:cubicBezTo>
                  <a:cubicBezTo>
                    <a:pt x="91383" y="21035"/>
                    <a:pt x="91383" y="28418"/>
                    <a:pt x="94588" y="29857"/>
                  </a:cubicBezTo>
                  <a:cubicBezTo>
                    <a:pt x="97794" y="31251"/>
                    <a:pt x="100628" y="21035"/>
                    <a:pt x="110848" y="21035"/>
                  </a:cubicBezTo>
                  <a:cubicBezTo>
                    <a:pt x="116145" y="21035"/>
                    <a:pt x="120883" y="24935"/>
                    <a:pt x="125390" y="28697"/>
                  </a:cubicBezTo>
                  <a:cubicBezTo>
                    <a:pt x="128177" y="25307"/>
                    <a:pt x="130453" y="23357"/>
                    <a:pt x="130453" y="20524"/>
                  </a:cubicBezTo>
                  <a:cubicBezTo>
                    <a:pt x="130453" y="16809"/>
                    <a:pt x="136679" y="15231"/>
                    <a:pt x="136679" y="9380"/>
                  </a:cubicBezTo>
                  <a:cubicBezTo>
                    <a:pt x="136679" y="6594"/>
                    <a:pt x="135703" y="3065"/>
                    <a:pt x="134914" y="0"/>
                  </a:cubicBezTo>
                  <a:close/>
                  <a:moveTo>
                    <a:pt x="117027" y="178217"/>
                  </a:moveTo>
                  <a:cubicBezTo>
                    <a:pt x="111917" y="175059"/>
                    <a:pt x="88967" y="180352"/>
                    <a:pt x="82927" y="173991"/>
                  </a:cubicBezTo>
                  <a:cubicBezTo>
                    <a:pt x="76841" y="167629"/>
                    <a:pt x="64484" y="179006"/>
                    <a:pt x="69826" y="179981"/>
                  </a:cubicBezTo>
                  <a:cubicBezTo>
                    <a:pt x="77492" y="181374"/>
                    <a:pt x="88967" y="188804"/>
                    <a:pt x="101371" y="189175"/>
                  </a:cubicBezTo>
                  <a:cubicBezTo>
                    <a:pt x="113822" y="189547"/>
                    <a:pt x="130686" y="182814"/>
                    <a:pt x="130407" y="179285"/>
                  </a:cubicBezTo>
                  <a:cubicBezTo>
                    <a:pt x="130082" y="175755"/>
                    <a:pt x="122091" y="181421"/>
                    <a:pt x="117027" y="178217"/>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77" name="Freeform 75">
              <a:extLst>
                <a:ext uri="{FF2B5EF4-FFF2-40B4-BE49-F238E27FC236}">
                  <a16:creationId xmlns:a16="http://schemas.microsoft.com/office/drawing/2014/main" id="{65FE30F6-BECE-B8FD-7D16-50CE9079FE8A}"/>
                </a:ext>
              </a:extLst>
            </p:cNvPr>
            <p:cNvSpPr/>
            <p:nvPr/>
          </p:nvSpPr>
          <p:spPr>
            <a:xfrm>
              <a:off x="8442098" y="1959501"/>
              <a:ext cx="424363" cy="493185"/>
            </a:xfrm>
            <a:custGeom>
              <a:avLst/>
              <a:gdLst>
                <a:gd name="connsiteX0" fmla="*/ 85481 w 90853"/>
                <a:gd name="connsiteY0" fmla="*/ 40208 h 105588"/>
                <a:gd name="connsiteX1" fmla="*/ 85110 w 90853"/>
                <a:gd name="connsiteY1" fmla="*/ 36540 h 105588"/>
                <a:gd name="connsiteX2" fmla="*/ 78002 w 90853"/>
                <a:gd name="connsiteY2" fmla="*/ 29389 h 105588"/>
                <a:gd name="connsiteX3" fmla="*/ 65458 w 90853"/>
                <a:gd name="connsiteY3" fmla="*/ 33661 h 105588"/>
                <a:gd name="connsiteX4" fmla="*/ 51939 w 90853"/>
                <a:gd name="connsiteY4" fmla="*/ 30457 h 105588"/>
                <a:gd name="connsiteX5" fmla="*/ 56770 w 90853"/>
                <a:gd name="connsiteY5" fmla="*/ 16573 h 105588"/>
                <a:gd name="connsiteX6" fmla="*/ 62624 w 90853"/>
                <a:gd name="connsiteY6" fmla="*/ 2968 h 105588"/>
                <a:gd name="connsiteX7" fmla="*/ 59930 w 90853"/>
                <a:gd name="connsiteY7" fmla="*/ 2457 h 105588"/>
                <a:gd name="connsiteX8" fmla="*/ 38234 w 90853"/>
                <a:gd name="connsiteY8" fmla="*/ 7426 h 105588"/>
                <a:gd name="connsiteX9" fmla="*/ 48455 w 90853"/>
                <a:gd name="connsiteY9" fmla="*/ 18709 h 105588"/>
                <a:gd name="connsiteX10" fmla="*/ 30893 w 90853"/>
                <a:gd name="connsiteY10" fmla="*/ 28600 h 105588"/>
                <a:gd name="connsiteX11" fmla="*/ 7943 w 90853"/>
                <a:gd name="connsiteY11" fmla="*/ 28925 h 105588"/>
                <a:gd name="connsiteX12" fmla="*/ 10498 w 90853"/>
                <a:gd name="connsiteY12" fmla="*/ 46942 h 105588"/>
                <a:gd name="connsiteX13" fmla="*/ 20394 w 90853"/>
                <a:gd name="connsiteY13" fmla="*/ 63890 h 105588"/>
                <a:gd name="connsiteX14" fmla="*/ 14680 w 90853"/>
                <a:gd name="connsiteY14" fmla="*/ 84043 h 105588"/>
                <a:gd name="connsiteX15" fmla="*/ 324 w 90853"/>
                <a:gd name="connsiteY15" fmla="*/ 99599 h 105588"/>
                <a:gd name="connsiteX16" fmla="*/ 696 w 90853"/>
                <a:gd name="connsiteY16" fmla="*/ 104474 h 105588"/>
                <a:gd name="connsiteX17" fmla="*/ 54773 w 90853"/>
                <a:gd name="connsiteY17" fmla="*/ 105589 h 105588"/>
                <a:gd name="connsiteX18" fmla="*/ 59000 w 90853"/>
                <a:gd name="connsiteY18" fmla="*/ 101734 h 105588"/>
                <a:gd name="connsiteX19" fmla="*/ 85481 w 90853"/>
                <a:gd name="connsiteY19" fmla="*/ 95744 h 105588"/>
                <a:gd name="connsiteX20" fmla="*/ 85481 w 90853"/>
                <a:gd name="connsiteY20" fmla="*/ 40301 h 105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0853" h="105588">
                  <a:moveTo>
                    <a:pt x="85481" y="40208"/>
                  </a:moveTo>
                  <a:cubicBezTo>
                    <a:pt x="84831" y="38722"/>
                    <a:pt x="84831" y="37562"/>
                    <a:pt x="85110" y="36540"/>
                  </a:cubicBezTo>
                  <a:cubicBezTo>
                    <a:pt x="82415" y="34311"/>
                    <a:pt x="79906" y="31943"/>
                    <a:pt x="78002" y="29389"/>
                  </a:cubicBezTo>
                  <a:cubicBezTo>
                    <a:pt x="69825" y="18709"/>
                    <a:pt x="66434" y="27253"/>
                    <a:pt x="65458" y="33661"/>
                  </a:cubicBezTo>
                  <a:cubicBezTo>
                    <a:pt x="64483" y="40069"/>
                    <a:pt x="56770" y="31525"/>
                    <a:pt x="51939" y="30457"/>
                  </a:cubicBezTo>
                  <a:cubicBezTo>
                    <a:pt x="47107" y="29389"/>
                    <a:pt x="53379" y="19266"/>
                    <a:pt x="56770" y="16573"/>
                  </a:cubicBezTo>
                  <a:cubicBezTo>
                    <a:pt x="59047" y="14809"/>
                    <a:pt x="61277" y="9840"/>
                    <a:pt x="62624" y="2968"/>
                  </a:cubicBezTo>
                  <a:cubicBezTo>
                    <a:pt x="61695" y="2968"/>
                    <a:pt x="60812" y="2829"/>
                    <a:pt x="59930" y="2457"/>
                  </a:cubicBezTo>
                  <a:cubicBezTo>
                    <a:pt x="51010" y="-1397"/>
                    <a:pt x="38559" y="-1397"/>
                    <a:pt x="38234" y="7426"/>
                  </a:cubicBezTo>
                  <a:cubicBezTo>
                    <a:pt x="37909" y="16248"/>
                    <a:pt x="48129" y="13091"/>
                    <a:pt x="48455" y="18709"/>
                  </a:cubicBezTo>
                  <a:cubicBezTo>
                    <a:pt x="48780" y="24374"/>
                    <a:pt x="38234" y="22935"/>
                    <a:pt x="30893" y="28600"/>
                  </a:cubicBezTo>
                  <a:cubicBezTo>
                    <a:pt x="23553" y="34265"/>
                    <a:pt x="15609" y="24746"/>
                    <a:pt x="7943" y="28925"/>
                  </a:cubicBezTo>
                  <a:cubicBezTo>
                    <a:pt x="278" y="33150"/>
                    <a:pt x="16213" y="38119"/>
                    <a:pt x="10498" y="46942"/>
                  </a:cubicBezTo>
                  <a:cubicBezTo>
                    <a:pt x="4738" y="55764"/>
                    <a:pt x="10824" y="55393"/>
                    <a:pt x="20394" y="63890"/>
                  </a:cubicBezTo>
                  <a:cubicBezTo>
                    <a:pt x="29964" y="72388"/>
                    <a:pt x="14680" y="74477"/>
                    <a:pt x="14680" y="84043"/>
                  </a:cubicBezTo>
                  <a:cubicBezTo>
                    <a:pt x="14680" y="93608"/>
                    <a:pt x="2879" y="93237"/>
                    <a:pt x="324" y="99599"/>
                  </a:cubicBezTo>
                  <a:cubicBezTo>
                    <a:pt x="-233" y="100991"/>
                    <a:pt x="-47" y="102663"/>
                    <a:pt x="696" y="104474"/>
                  </a:cubicBezTo>
                  <a:cubicBezTo>
                    <a:pt x="18721" y="104660"/>
                    <a:pt x="36747" y="105496"/>
                    <a:pt x="54773" y="105589"/>
                  </a:cubicBezTo>
                  <a:cubicBezTo>
                    <a:pt x="56259" y="104381"/>
                    <a:pt x="57700" y="103128"/>
                    <a:pt x="59000" y="101734"/>
                  </a:cubicBezTo>
                  <a:cubicBezTo>
                    <a:pt x="69825" y="90451"/>
                    <a:pt x="75586" y="101363"/>
                    <a:pt x="85481" y="95744"/>
                  </a:cubicBezTo>
                  <a:cubicBezTo>
                    <a:pt x="95377" y="90079"/>
                    <a:pt x="89291" y="48752"/>
                    <a:pt x="85481" y="40301"/>
                  </a:cubicBezTo>
                  <a:close/>
                </a:path>
              </a:pathLst>
            </a:custGeom>
            <a:solidFill>
              <a:schemeClr val="accent1"/>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nvGrpSpPr>
            <p:cNvPr id="78" name="Graphic 8">
              <a:extLst>
                <a:ext uri="{FF2B5EF4-FFF2-40B4-BE49-F238E27FC236}">
                  <a16:creationId xmlns:a16="http://schemas.microsoft.com/office/drawing/2014/main" id="{9FA69596-C660-38E6-64BE-1128E4366D0B}"/>
                </a:ext>
              </a:extLst>
            </p:cNvPr>
            <p:cNvGrpSpPr/>
            <p:nvPr/>
          </p:nvGrpSpPr>
          <p:grpSpPr>
            <a:xfrm>
              <a:off x="8676730" y="1353108"/>
              <a:ext cx="998299" cy="1388930"/>
              <a:chOff x="4287738" y="2530272"/>
              <a:chExt cx="213729" cy="297362"/>
            </a:xfrm>
            <a:grpFill/>
          </p:grpSpPr>
          <p:grpSp>
            <p:nvGrpSpPr>
              <p:cNvPr id="102" name="Graphic 8">
                <a:extLst>
                  <a:ext uri="{FF2B5EF4-FFF2-40B4-BE49-F238E27FC236}">
                    <a16:creationId xmlns:a16="http://schemas.microsoft.com/office/drawing/2014/main" id="{FEAB2D26-4F77-248D-18AB-59A8625DC533}"/>
                  </a:ext>
                </a:extLst>
              </p:cNvPr>
              <p:cNvGrpSpPr/>
              <p:nvPr/>
            </p:nvGrpSpPr>
            <p:grpSpPr>
              <a:xfrm>
                <a:off x="4287738" y="2530272"/>
                <a:ext cx="213729" cy="297362"/>
                <a:chOff x="4287738" y="2530272"/>
                <a:chExt cx="213729" cy="297362"/>
              </a:xfrm>
              <a:grpFill/>
            </p:grpSpPr>
            <p:sp>
              <p:nvSpPr>
                <p:cNvPr id="104" name="Freeform 131">
                  <a:extLst>
                    <a:ext uri="{FF2B5EF4-FFF2-40B4-BE49-F238E27FC236}">
                      <a16:creationId xmlns:a16="http://schemas.microsoft.com/office/drawing/2014/main" id="{09DAF554-C894-8402-05EA-4FED06482AAD}"/>
                    </a:ext>
                  </a:extLst>
                </p:cNvPr>
                <p:cNvSpPr/>
                <p:nvPr/>
              </p:nvSpPr>
              <p:spPr>
                <a:xfrm>
                  <a:off x="4308478" y="2551005"/>
                  <a:ext cx="15149" cy="17508"/>
                </a:xfrm>
                <a:custGeom>
                  <a:avLst/>
                  <a:gdLst>
                    <a:gd name="connsiteX0" fmla="*/ 8692 w 15149"/>
                    <a:gd name="connsiteY0" fmla="*/ 0 h 17508"/>
                    <a:gd name="connsiteX1" fmla="*/ 1444 w 15149"/>
                    <a:gd name="connsiteY1" fmla="*/ 17506 h 17508"/>
                    <a:gd name="connsiteX2" fmla="*/ 15150 w 15149"/>
                    <a:gd name="connsiteY2" fmla="*/ 5386 h 17508"/>
                    <a:gd name="connsiteX3" fmla="*/ 8692 w 15149"/>
                    <a:gd name="connsiteY3" fmla="*/ 0 h 17508"/>
                  </a:gdLst>
                  <a:ahLst/>
                  <a:cxnLst>
                    <a:cxn ang="0">
                      <a:pos x="connsiteX0" y="connsiteY0"/>
                    </a:cxn>
                    <a:cxn ang="0">
                      <a:pos x="connsiteX1" y="connsiteY1"/>
                    </a:cxn>
                    <a:cxn ang="0">
                      <a:pos x="connsiteX2" y="connsiteY2"/>
                    </a:cxn>
                    <a:cxn ang="0">
                      <a:pos x="connsiteX3" y="connsiteY3"/>
                    </a:cxn>
                  </a:cxnLst>
                  <a:rect l="l" t="t" r="r" b="b"/>
                  <a:pathLst>
                    <a:path w="15149" h="17508">
                      <a:moveTo>
                        <a:pt x="8692" y="0"/>
                      </a:moveTo>
                      <a:cubicBezTo>
                        <a:pt x="3071" y="6362"/>
                        <a:pt x="-2783" y="17692"/>
                        <a:pt x="1444" y="17506"/>
                      </a:cubicBezTo>
                      <a:cubicBezTo>
                        <a:pt x="6694" y="17274"/>
                        <a:pt x="12408" y="11144"/>
                        <a:pt x="15150" y="5386"/>
                      </a:cubicBezTo>
                      <a:cubicBezTo>
                        <a:pt x="12548" y="3993"/>
                        <a:pt x="10411" y="2182"/>
                        <a:pt x="8692" y="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05" name="Freeform 133">
                  <a:extLst>
                    <a:ext uri="{FF2B5EF4-FFF2-40B4-BE49-F238E27FC236}">
                      <a16:creationId xmlns:a16="http://schemas.microsoft.com/office/drawing/2014/main" id="{2D002B4F-9DFD-95C0-089D-41B7DEEAC1D5}"/>
                    </a:ext>
                  </a:extLst>
                </p:cNvPr>
                <p:cNvSpPr/>
                <p:nvPr/>
              </p:nvSpPr>
              <p:spPr>
                <a:xfrm>
                  <a:off x="4287738" y="2655337"/>
                  <a:ext cx="53616" cy="41241"/>
                </a:xfrm>
                <a:custGeom>
                  <a:avLst/>
                  <a:gdLst>
                    <a:gd name="connsiteX0" fmla="*/ 12428 w 53616"/>
                    <a:gd name="connsiteY0" fmla="*/ 7669 h 41241"/>
                    <a:gd name="connsiteX1" fmla="*/ 6574 w 53616"/>
                    <a:gd name="connsiteY1" fmla="*/ 21274 h 41241"/>
                    <a:gd name="connsiteX2" fmla="*/ 1743 w 53616"/>
                    <a:gd name="connsiteY2" fmla="*/ 35158 h 41241"/>
                    <a:gd name="connsiteX3" fmla="*/ 15262 w 53616"/>
                    <a:gd name="connsiteY3" fmla="*/ 38362 h 41241"/>
                    <a:gd name="connsiteX4" fmla="*/ 27806 w 53616"/>
                    <a:gd name="connsiteY4" fmla="*/ 34090 h 41241"/>
                    <a:gd name="connsiteX5" fmla="*/ 34914 w 53616"/>
                    <a:gd name="connsiteY5" fmla="*/ 41241 h 41241"/>
                    <a:gd name="connsiteX6" fmla="*/ 51546 w 53616"/>
                    <a:gd name="connsiteY6" fmla="*/ 29726 h 41241"/>
                    <a:gd name="connsiteX7" fmla="*/ 39467 w 53616"/>
                    <a:gd name="connsiteY7" fmla="*/ 2886 h 41241"/>
                    <a:gd name="connsiteX8" fmla="*/ 12475 w 53616"/>
                    <a:gd name="connsiteY8" fmla="*/ 7623 h 41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616" h="41241">
                      <a:moveTo>
                        <a:pt x="12428" y="7669"/>
                      </a:moveTo>
                      <a:cubicBezTo>
                        <a:pt x="11034" y="14541"/>
                        <a:pt x="8804" y="19510"/>
                        <a:pt x="6574" y="21274"/>
                      </a:cubicBezTo>
                      <a:cubicBezTo>
                        <a:pt x="3183" y="23968"/>
                        <a:pt x="-3042" y="34090"/>
                        <a:pt x="1743" y="35158"/>
                      </a:cubicBezTo>
                      <a:cubicBezTo>
                        <a:pt x="6574" y="36226"/>
                        <a:pt x="14240" y="44770"/>
                        <a:pt x="15262" y="38362"/>
                      </a:cubicBezTo>
                      <a:cubicBezTo>
                        <a:pt x="16238" y="31954"/>
                        <a:pt x="19583" y="23410"/>
                        <a:pt x="27806" y="34090"/>
                      </a:cubicBezTo>
                      <a:cubicBezTo>
                        <a:pt x="29757" y="36644"/>
                        <a:pt x="32265" y="39059"/>
                        <a:pt x="34914" y="41241"/>
                      </a:cubicBezTo>
                      <a:cubicBezTo>
                        <a:pt x="36261" y="36412"/>
                        <a:pt x="46296" y="35576"/>
                        <a:pt x="51546" y="29726"/>
                      </a:cubicBezTo>
                      <a:cubicBezTo>
                        <a:pt x="57910" y="22667"/>
                        <a:pt x="48386" y="12405"/>
                        <a:pt x="39467" y="2886"/>
                      </a:cubicBezTo>
                      <a:cubicBezTo>
                        <a:pt x="31383" y="-5751"/>
                        <a:pt x="21023" y="7762"/>
                        <a:pt x="12475" y="7623"/>
                      </a:cubicBezTo>
                      <a:close/>
                    </a:path>
                  </a:pathLst>
                </a:custGeom>
                <a:solidFill>
                  <a:schemeClr val="accent1"/>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08" name="Freeform 134">
                  <a:extLst>
                    <a:ext uri="{FF2B5EF4-FFF2-40B4-BE49-F238E27FC236}">
                      <a16:creationId xmlns:a16="http://schemas.microsoft.com/office/drawing/2014/main" id="{6482F345-F328-AC89-C403-463C7367C13B}"/>
                    </a:ext>
                  </a:extLst>
                </p:cNvPr>
                <p:cNvSpPr/>
                <p:nvPr/>
              </p:nvSpPr>
              <p:spPr>
                <a:xfrm>
                  <a:off x="4317114" y="2530272"/>
                  <a:ext cx="184353" cy="297362"/>
                </a:xfrm>
                <a:custGeom>
                  <a:avLst/>
                  <a:gdLst>
                    <a:gd name="connsiteX0" fmla="*/ 179940 w 184353"/>
                    <a:gd name="connsiteY0" fmla="*/ 213298 h 297362"/>
                    <a:gd name="connsiteX1" fmla="*/ 177246 w 184353"/>
                    <a:gd name="connsiteY1" fmla="*/ 212416 h 297362"/>
                    <a:gd name="connsiteX2" fmla="*/ 163215 w 184353"/>
                    <a:gd name="connsiteY2" fmla="*/ 201782 h 297362"/>
                    <a:gd name="connsiteX3" fmla="*/ 161775 w 184353"/>
                    <a:gd name="connsiteY3" fmla="*/ 203175 h 297362"/>
                    <a:gd name="connsiteX4" fmla="*/ 151229 w 184353"/>
                    <a:gd name="connsiteY4" fmla="*/ 201782 h 297362"/>
                    <a:gd name="connsiteX5" fmla="*/ 150904 w 184353"/>
                    <a:gd name="connsiteY5" fmla="*/ 188688 h 297362"/>
                    <a:gd name="connsiteX6" fmla="*/ 143889 w 184353"/>
                    <a:gd name="connsiteY6" fmla="*/ 175639 h 297362"/>
                    <a:gd name="connsiteX7" fmla="*/ 143935 w 184353"/>
                    <a:gd name="connsiteY7" fmla="*/ 174107 h 297362"/>
                    <a:gd name="connsiteX8" fmla="*/ 133157 w 184353"/>
                    <a:gd name="connsiteY8" fmla="*/ 161709 h 297362"/>
                    <a:gd name="connsiteX9" fmla="*/ 130463 w 184353"/>
                    <a:gd name="connsiteY9" fmla="*/ 155255 h 297362"/>
                    <a:gd name="connsiteX10" fmla="*/ 128651 w 184353"/>
                    <a:gd name="connsiteY10" fmla="*/ 154372 h 297362"/>
                    <a:gd name="connsiteX11" fmla="*/ 117826 w 184353"/>
                    <a:gd name="connsiteY11" fmla="*/ 140488 h 297362"/>
                    <a:gd name="connsiteX12" fmla="*/ 116943 w 184353"/>
                    <a:gd name="connsiteY12" fmla="*/ 134127 h 297362"/>
                    <a:gd name="connsiteX13" fmla="*/ 115410 w 184353"/>
                    <a:gd name="connsiteY13" fmla="*/ 128694 h 297362"/>
                    <a:gd name="connsiteX14" fmla="*/ 103564 w 184353"/>
                    <a:gd name="connsiteY14" fmla="*/ 109702 h 297362"/>
                    <a:gd name="connsiteX15" fmla="*/ 98871 w 184353"/>
                    <a:gd name="connsiteY15" fmla="*/ 105616 h 297362"/>
                    <a:gd name="connsiteX16" fmla="*/ 79405 w 184353"/>
                    <a:gd name="connsiteY16" fmla="*/ 102087 h 297362"/>
                    <a:gd name="connsiteX17" fmla="*/ 84237 w 184353"/>
                    <a:gd name="connsiteY17" fmla="*/ 88946 h 297362"/>
                    <a:gd name="connsiteX18" fmla="*/ 82843 w 184353"/>
                    <a:gd name="connsiteY18" fmla="*/ 81470 h 297362"/>
                    <a:gd name="connsiteX19" fmla="*/ 96966 w 184353"/>
                    <a:gd name="connsiteY19" fmla="*/ 60156 h 297362"/>
                    <a:gd name="connsiteX20" fmla="*/ 101473 w 184353"/>
                    <a:gd name="connsiteY20" fmla="*/ 54631 h 297362"/>
                    <a:gd name="connsiteX21" fmla="*/ 101752 w 184353"/>
                    <a:gd name="connsiteY21" fmla="*/ 54398 h 297362"/>
                    <a:gd name="connsiteX22" fmla="*/ 103610 w 184353"/>
                    <a:gd name="connsiteY22" fmla="*/ 44926 h 297362"/>
                    <a:gd name="connsiteX23" fmla="*/ 63749 w 184353"/>
                    <a:gd name="connsiteY23" fmla="*/ 42790 h 297362"/>
                    <a:gd name="connsiteX24" fmla="*/ 56409 w 184353"/>
                    <a:gd name="connsiteY24" fmla="*/ 35035 h 297362"/>
                    <a:gd name="connsiteX25" fmla="*/ 72669 w 184353"/>
                    <a:gd name="connsiteY25" fmla="*/ 15254 h 297362"/>
                    <a:gd name="connsiteX26" fmla="*/ 75875 w 184353"/>
                    <a:gd name="connsiteY26" fmla="*/ 1138 h 297362"/>
                    <a:gd name="connsiteX27" fmla="*/ 66304 w 184353"/>
                    <a:gd name="connsiteY27" fmla="*/ 10657 h 297362"/>
                    <a:gd name="connsiteX28" fmla="*/ 43029 w 184353"/>
                    <a:gd name="connsiteY28" fmla="*/ 11028 h 297362"/>
                    <a:gd name="connsiteX29" fmla="*/ 39684 w 184353"/>
                    <a:gd name="connsiteY29" fmla="*/ 11028 h 297362"/>
                    <a:gd name="connsiteX30" fmla="*/ 30160 w 184353"/>
                    <a:gd name="connsiteY30" fmla="*/ 25284 h 297362"/>
                    <a:gd name="connsiteX31" fmla="*/ 29649 w 184353"/>
                    <a:gd name="connsiteY31" fmla="*/ 31181 h 297362"/>
                    <a:gd name="connsiteX32" fmla="*/ 20079 w 184353"/>
                    <a:gd name="connsiteY32" fmla="*/ 47433 h 297362"/>
                    <a:gd name="connsiteX33" fmla="*/ 14690 w 184353"/>
                    <a:gd name="connsiteY33" fmla="*/ 54120 h 297362"/>
                    <a:gd name="connsiteX34" fmla="*/ 1635 w 184353"/>
                    <a:gd name="connsiteY34" fmla="*/ 48826 h 297362"/>
                    <a:gd name="connsiteX35" fmla="*/ 17245 w 184353"/>
                    <a:gd name="connsiteY35" fmla="*/ 62989 h 297362"/>
                    <a:gd name="connsiteX36" fmla="*/ 9300 w 184353"/>
                    <a:gd name="connsiteY36" fmla="*/ 80634 h 297362"/>
                    <a:gd name="connsiteX37" fmla="*/ 20776 w 184353"/>
                    <a:gd name="connsiteY37" fmla="*/ 93357 h 297362"/>
                    <a:gd name="connsiteX38" fmla="*/ 2889 w 184353"/>
                    <a:gd name="connsiteY38" fmla="*/ 108170 h 297362"/>
                    <a:gd name="connsiteX39" fmla="*/ 18174 w 184353"/>
                    <a:gd name="connsiteY39" fmla="*/ 102180 h 297362"/>
                    <a:gd name="connsiteX40" fmla="*/ 27094 w 184353"/>
                    <a:gd name="connsiteY40" fmla="*/ 116667 h 297362"/>
                    <a:gd name="connsiteX41" fmla="*/ 39544 w 184353"/>
                    <a:gd name="connsiteY41" fmla="*/ 97954 h 297362"/>
                    <a:gd name="connsiteX42" fmla="*/ 41171 w 184353"/>
                    <a:gd name="connsiteY42" fmla="*/ 114531 h 297362"/>
                    <a:gd name="connsiteX43" fmla="*/ 33505 w 184353"/>
                    <a:gd name="connsiteY43" fmla="*/ 138585 h 297362"/>
                    <a:gd name="connsiteX44" fmla="*/ 64446 w 184353"/>
                    <a:gd name="connsiteY44" fmla="*/ 135427 h 297362"/>
                    <a:gd name="connsiteX45" fmla="*/ 70207 w 184353"/>
                    <a:gd name="connsiteY45" fmla="*/ 142485 h 297362"/>
                    <a:gd name="connsiteX46" fmla="*/ 73737 w 184353"/>
                    <a:gd name="connsiteY46" fmla="*/ 157344 h 297362"/>
                    <a:gd name="connsiteX47" fmla="*/ 79452 w 184353"/>
                    <a:gd name="connsiteY47" fmla="*/ 166167 h 297362"/>
                    <a:gd name="connsiteX48" fmla="*/ 77547 w 184353"/>
                    <a:gd name="connsiteY48" fmla="*/ 187712 h 297362"/>
                    <a:gd name="connsiteX49" fmla="*/ 55526 w 184353"/>
                    <a:gd name="connsiteY49" fmla="*/ 188780 h 297362"/>
                    <a:gd name="connsiteX50" fmla="*/ 48836 w 184353"/>
                    <a:gd name="connsiteY50" fmla="*/ 192634 h 297362"/>
                    <a:gd name="connsiteX51" fmla="*/ 42471 w 184353"/>
                    <a:gd name="connsiteY51" fmla="*/ 207494 h 297362"/>
                    <a:gd name="connsiteX52" fmla="*/ 55201 w 184353"/>
                    <a:gd name="connsiteY52" fmla="*/ 216688 h 297362"/>
                    <a:gd name="connsiteX53" fmla="*/ 34481 w 184353"/>
                    <a:gd name="connsiteY53" fmla="*/ 232940 h 297362"/>
                    <a:gd name="connsiteX54" fmla="*/ 42750 w 184353"/>
                    <a:gd name="connsiteY54" fmla="*/ 242830 h 297362"/>
                    <a:gd name="connsiteX55" fmla="*/ 55526 w 184353"/>
                    <a:gd name="connsiteY55" fmla="*/ 245988 h 297362"/>
                    <a:gd name="connsiteX56" fmla="*/ 78151 w 184353"/>
                    <a:gd name="connsiteY56" fmla="*/ 249517 h 297362"/>
                    <a:gd name="connsiteX57" fmla="*/ 80056 w 184353"/>
                    <a:gd name="connsiteY57" fmla="*/ 255507 h 297362"/>
                    <a:gd name="connsiteX58" fmla="*/ 56130 w 184353"/>
                    <a:gd name="connsiteY58" fmla="*/ 259036 h 297362"/>
                    <a:gd name="connsiteX59" fmla="*/ 28720 w 184353"/>
                    <a:gd name="connsiteY59" fmla="*/ 296463 h 297362"/>
                    <a:gd name="connsiteX60" fmla="*/ 44655 w 184353"/>
                    <a:gd name="connsiteY60" fmla="*/ 286572 h 297362"/>
                    <a:gd name="connsiteX61" fmla="*/ 54597 w 184353"/>
                    <a:gd name="connsiteY61" fmla="*/ 286758 h 297362"/>
                    <a:gd name="connsiteX62" fmla="*/ 63331 w 184353"/>
                    <a:gd name="connsiteY62" fmla="*/ 277935 h 297362"/>
                    <a:gd name="connsiteX63" fmla="*/ 81450 w 184353"/>
                    <a:gd name="connsiteY63" fmla="*/ 275613 h 297362"/>
                    <a:gd name="connsiteX64" fmla="*/ 85073 w 184353"/>
                    <a:gd name="connsiteY64" fmla="*/ 277006 h 297362"/>
                    <a:gd name="connsiteX65" fmla="*/ 85770 w 184353"/>
                    <a:gd name="connsiteY65" fmla="*/ 277053 h 297362"/>
                    <a:gd name="connsiteX66" fmla="*/ 102681 w 184353"/>
                    <a:gd name="connsiteY66" fmla="*/ 271759 h 297362"/>
                    <a:gd name="connsiteX67" fmla="*/ 119916 w 184353"/>
                    <a:gd name="connsiteY67" fmla="*/ 276356 h 297362"/>
                    <a:gd name="connsiteX68" fmla="*/ 144168 w 184353"/>
                    <a:gd name="connsiteY68" fmla="*/ 271388 h 297362"/>
                    <a:gd name="connsiteX69" fmla="*/ 174133 w 184353"/>
                    <a:gd name="connsiteY69" fmla="*/ 257597 h 297362"/>
                    <a:gd name="connsiteX70" fmla="*/ 164888 w 184353"/>
                    <a:gd name="connsiteY70" fmla="*/ 252675 h 297362"/>
                    <a:gd name="connsiteX71" fmla="*/ 166467 w 184353"/>
                    <a:gd name="connsiteY71" fmla="*/ 238559 h 297362"/>
                    <a:gd name="connsiteX72" fmla="*/ 184354 w 184353"/>
                    <a:gd name="connsiteY72" fmla="*/ 215620 h 297362"/>
                    <a:gd name="connsiteX73" fmla="*/ 184354 w 184353"/>
                    <a:gd name="connsiteY73" fmla="*/ 215620 h 297362"/>
                    <a:gd name="connsiteX74" fmla="*/ 179847 w 184353"/>
                    <a:gd name="connsiteY74" fmla="*/ 213391 h 297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84353" h="297362">
                      <a:moveTo>
                        <a:pt x="179940" y="213298"/>
                      </a:moveTo>
                      <a:cubicBezTo>
                        <a:pt x="179058" y="212973"/>
                        <a:pt x="178175" y="212648"/>
                        <a:pt x="177246" y="212416"/>
                      </a:cubicBezTo>
                      <a:cubicBezTo>
                        <a:pt x="171253" y="210837"/>
                        <a:pt x="166514" y="206844"/>
                        <a:pt x="163215" y="201782"/>
                      </a:cubicBezTo>
                      <a:cubicBezTo>
                        <a:pt x="162565" y="202107"/>
                        <a:pt x="162007" y="202525"/>
                        <a:pt x="161775" y="203175"/>
                      </a:cubicBezTo>
                      <a:cubicBezTo>
                        <a:pt x="159545" y="208840"/>
                        <a:pt x="154760" y="208144"/>
                        <a:pt x="151229" y="201782"/>
                      </a:cubicBezTo>
                      <a:cubicBezTo>
                        <a:pt x="147745" y="195421"/>
                        <a:pt x="154435" y="189384"/>
                        <a:pt x="150904" y="188688"/>
                      </a:cubicBezTo>
                      <a:cubicBezTo>
                        <a:pt x="147373" y="187991"/>
                        <a:pt x="142913" y="179122"/>
                        <a:pt x="143889" y="175639"/>
                      </a:cubicBezTo>
                      <a:cubicBezTo>
                        <a:pt x="143982" y="175314"/>
                        <a:pt x="143982" y="174757"/>
                        <a:pt x="143935" y="174107"/>
                      </a:cubicBezTo>
                      <a:cubicBezTo>
                        <a:pt x="139754" y="170485"/>
                        <a:pt x="136316" y="166213"/>
                        <a:pt x="133157" y="161709"/>
                      </a:cubicBezTo>
                      <a:cubicBezTo>
                        <a:pt x="131810" y="159759"/>
                        <a:pt x="130973" y="157576"/>
                        <a:pt x="130463" y="155255"/>
                      </a:cubicBezTo>
                      <a:lnTo>
                        <a:pt x="128651" y="154372"/>
                      </a:lnTo>
                      <a:cubicBezTo>
                        <a:pt x="123215" y="151679"/>
                        <a:pt x="119638" y="146060"/>
                        <a:pt x="117826" y="140488"/>
                      </a:cubicBezTo>
                      <a:cubicBezTo>
                        <a:pt x="117129" y="138399"/>
                        <a:pt x="116897" y="136263"/>
                        <a:pt x="116943" y="134127"/>
                      </a:cubicBezTo>
                      <a:cubicBezTo>
                        <a:pt x="116339" y="132362"/>
                        <a:pt x="115828" y="130551"/>
                        <a:pt x="115410" y="128694"/>
                      </a:cubicBezTo>
                      <a:cubicBezTo>
                        <a:pt x="108720" y="124840"/>
                        <a:pt x="104260" y="117782"/>
                        <a:pt x="103564" y="109702"/>
                      </a:cubicBezTo>
                      <a:cubicBezTo>
                        <a:pt x="101984" y="108913"/>
                        <a:pt x="100358" y="107752"/>
                        <a:pt x="98871" y="105616"/>
                      </a:cubicBezTo>
                      <a:cubicBezTo>
                        <a:pt x="93436" y="97861"/>
                        <a:pt x="84190" y="101715"/>
                        <a:pt x="79405" y="102087"/>
                      </a:cubicBezTo>
                      <a:cubicBezTo>
                        <a:pt x="75224" y="102365"/>
                        <a:pt x="78337" y="94657"/>
                        <a:pt x="84237" y="88946"/>
                      </a:cubicBezTo>
                      <a:cubicBezTo>
                        <a:pt x="83447" y="86531"/>
                        <a:pt x="82936" y="83977"/>
                        <a:pt x="82843" y="81470"/>
                      </a:cubicBezTo>
                      <a:cubicBezTo>
                        <a:pt x="82425" y="72554"/>
                        <a:pt x="88697" y="63871"/>
                        <a:pt x="96966" y="60156"/>
                      </a:cubicBezTo>
                      <a:cubicBezTo>
                        <a:pt x="98314" y="58160"/>
                        <a:pt x="99754" y="56209"/>
                        <a:pt x="101473" y="54631"/>
                      </a:cubicBezTo>
                      <a:cubicBezTo>
                        <a:pt x="101566" y="54538"/>
                        <a:pt x="101659" y="54491"/>
                        <a:pt x="101752" y="54398"/>
                      </a:cubicBezTo>
                      <a:cubicBezTo>
                        <a:pt x="102913" y="50080"/>
                        <a:pt x="103610" y="46551"/>
                        <a:pt x="103610" y="44926"/>
                      </a:cubicBezTo>
                      <a:cubicBezTo>
                        <a:pt x="103610" y="38936"/>
                        <a:pt x="70114" y="39261"/>
                        <a:pt x="63749" y="42790"/>
                      </a:cubicBezTo>
                      <a:cubicBezTo>
                        <a:pt x="57384" y="46319"/>
                        <a:pt x="51020" y="37496"/>
                        <a:pt x="56409" y="35035"/>
                      </a:cubicBezTo>
                      <a:cubicBezTo>
                        <a:pt x="61844" y="32574"/>
                        <a:pt x="73319" y="20222"/>
                        <a:pt x="72669" y="15254"/>
                      </a:cubicBezTo>
                      <a:cubicBezTo>
                        <a:pt x="72018" y="10332"/>
                        <a:pt x="80660" y="5735"/>
                        <a:pt x="75875" y="1138"/>
                      </a:cubicBezTo>
                      <a:cubicBezTo>
                        <a:pt x="71090" y="-3459"/>
                        <a:pt x="70439" y="7128"/>
                        <a:pt x="66304" y="10657"/>
                      </a:cubicBezTo>
                      <a:cubicBezTo>
                        <a:pt x="62169" y="14186"/>
                        <a:pt x="52924" y="13118"/>
                        <a:pt x="43029" y="11028"/>
                      </a:cubicBezTo>
                      <a:cubicBezTo>
                        <a:pt x="41821" y="10750"/>
                        <a:pt x="40706" y="10796"/>
                        <a:pt x="39684" y="11028"/>
                      </a:cubicBezTo>
                      <a:cubicBezTo>
                        <a:pt x="38476" y="16786"/>
                        <a:pt x="35270" y="22033"/>
                        <a:pt x="30160" y="25284"/>
                      </a:cubicBezTo>
                      <a:cubicBezTo>
                        <a:pt x="29742" y="27513"/>
                        <a:pt x="29602" y="29602"/>
                        <a:pt x="29649" y="31181"/>
                      </a:cubicBezTo>
                      <a:cubicBezTo>
                        <a:pt x="29974" y="37868"/>
                        <a:pt x="18174" y="41768"/>
                        <a:pt x="20079" y="47433"/>
                      </a:cubicBezTo>
                      <a:cubicBezTo>
                        <a:pt x="21984" y="53098"/>
                        <a:pt x="17849" y="57324"/>
                        <a:pt x="14690" y="54120"/>
                      </a:cubicBezTo>
                      <a:cubicBezTo>
                        <a:pt x="11531" y="50962"/>
                        <a:pt x="8000" y="43161"/>
                        <a:pt x="1635" y="48826"/>
                      </a:cubicBezTo>
                      <a:cubicBezTo>
                        <a:pt x="-4730" y="54491"/>
                        <a:pt x="8975" y="61921"/>
                        <a:pt x="17245" y="62989"/>
                      </a:cubicBezTo>
                      <a:cubicBezTo>
                        <a:pt x="25561" y="64057"/>
                        <a:pt x="10880" y="70743"/>
                        <a:pt x="9300" y="80634"/>
                      </a:cubicBezTo>
                      <a:cubicBezTo>
                        <a:pt x="7721" y="90525"/>
                        <a:pt x="20125" y="86299"/>
                        <a:pt x="20776" y="93357"/>
                      </a:cubicBezTo>
                      <a:cubicBezTo>
                        <a:pt x="21426" y="100415"/>
                        <a:pt x="2889" y="101483"/>
                        <a:pt x="2889" y="108170"/>
                      </a:cubicBezTo>
                      <a:cubicBezTo>
                        <a:pt x="2889" y="114856"/>
                        <a:pt x="13435" y="105012"/>
                        <a:pt x="18174" y="102180"/>
                      </a:cubicBezTo>
                      <a:cubicBezTo>
                        <a:pt x="22959" y="99347"/>
                        <a:pt x="15619" y="118757"/>
                        <a:pt x="27094" y="116667"/>
                      </a:cubicBezTo>
                      <a:cubicBezTo>
                        <a:pt x="38569" y="114531"/>
                        <a:pt x="35363" y="97258"/>
                        <a:pt x="39544" y="97954"/>
                      </a:cubicBezTo>
                      <a:cubicBezTo>
                        <a:pt x="43679" y="98651"/>
                        <a:pt x="37640" y="107148"/>
                        <a:pt x="41171" y="114531"/>
                      </a:cubicBezTo>
                      <a:cubicBezTo>
                        <a:pt x="44655" y="121961"/>
                        <a:pt x="32855" y="133245"/>
                        <a:pt x="33505" y="138585"/>
                      </a:cubicBezTo>
                      <a:cubicBezTo>
                        <a:pt x="34155" y="143878"/>
                        <a:pt x="57106" y="143878"/>
                        <a:pt x="64446" y="135427"/>
                      </a:cubicBezTo>
                      <a:cubicBezTo>
                        <a:pt x="71786" y="126929"/>
                        <a:pt x="75271" y="136124"/>
                        <a:pt x="70207" y="142485"/>
                      </a:cubicBezTo>
                      <a:cubicBezTo>
                        <a:pt x="65096" y="148847"/>
                        <a:pt x="67326" y="154837"/>
                        <a:pt x="73737" y="157344"/>
                      </a:cubicBezTo>
                      <a:cubicBezTo>
                        <a:pt x="80102" y="159805"/>
                        <a:pt x="82332" y="160502"/>
                        <a:pt x="79452" y="166167"/>
                      </a:cubicBezTo>
                      <a:cubicBezTo>
                        <a:pt x="76572" y="171832"/>
                        <a:pt x="79127" y="182419"/>
                        <a:pt x="77547" y="187712"/>
                      </a:cubicBezTo>
                      <a:cubicBezTo>
                        <a:pt x="75968" y="193006"/>
                        <a:pt x="56176" y="192310"/>
                        <a:pt x="55526" y="188780"/>
                      </a:cubicBezTo>
                      <a:cubicBezTo>
                        <a:pt x="54875" y="185251"/>
                        <a:pt x="46606" y="187712"/>
                        <a:pt x="48836" y="192634"/>
                      </a:cubicBezTo>
                      <a:cubicBezTo>
                        <a:pt x="51066" y="197603"/>
                        <a:pt x="41821" y="202897"/>
                        <a:pt x="42471" y="207494"/>
                      </a:cubicBezTo>
                      <a:cubicBezTo>
                        <a:pt x="43122" y="212091"/>
                        <a:pt x="54922" y="211023"/>
                        <a:pt x="55201" y="216688"/>
                      </a:cubicBezTo>
                      <a:cubicBezTo>
                        <a:pt x="55526" y="222306"/>
                        <a:pt x="46606" y="229039"/>
                        <a:pt x="34481" y="232940"/>
                      </a:cubicBezTo>
                      <a:cubicBezTo>
                        <a:pt x="22355" y="236794"/>
                        <a:pt x="37036" y="247428"/>
                        <a:pt x="42750" y="242830"/>
                      </a:cubicBezTo>
                      <a:cubicBezTo>
                        <a:pt x="48465" y="238233"/>
                        <a:pt x="47210" y="245988"/>
                        <a:pt x="55526" y="245988"/>
                      </a:cubicBezTo>
                      <a:cubicBezTo>
                        <a:pt x="63842" y="245988"/>
                        <a:pt x="68906" y="253418"/>
                        <a:pt x="78151" y="249517"/>
                      </a:cubicBezTo>
                      <a:cubicBezTo>
                        <a:pt x="87396" y="245617"/>
                        <a:pt x="87071" y="249517"/>
                        <a:pt x="80056" y="255507"/>
                      </a:cubicBezTo>
                      <a:cubicBezTo>
                        <a:pt x="73041" y="261497"/>
                        <a:pt x="62541" y="255182"/>
                        <a:pt x="56130" y="259036"/>
                      </a:cubicBezTo>
                      <a:cubicBezTo>
                        <a:pt x="49765" y="262890"/>
                        <a:pt x="23795" y="289869"/>
                        <a:pt x="28720" y="296463"/>
                      </a:cubicBezTo>
                      <a:cubicBezTo>
                        <a:pt x="31600" y="300317"/>
                        <a:pt x="35410" y="290798"/>
                        <a:pt x="44655" y="286572"/>
                      </a:cubicBezTo>
                      <a:cubicBezTo>
                        <a:pt x="49580" y="284297"/>
                        <a:pt x="52320" y="285272"/>
                        <a:pt x="54597" y="286758"/>
                      </a:cubicBezTo>
                      <a:cubicBezTo>
                        <a:pt x="56687" y="283182"/>
                        <a:pt x="59847" y="280164"/>
                        <a:pt x="63331" y="277935"/>
                      </a:cubicBezTo>
                      <a:cubicBezTo>
                        <a:pt x="68348" y="274778"/>
                        <a:pt x="75828" y="274081"/>
                        <a:pt x="81450" y="275613"/>
                      </a:cubicBezTo>
                      <a:cubicBezTo>
                        <a:pt x="82611" y="275938"/>
                        <a:pt x="83865" y="276403"/>
                        <a:pt x="85073" y="277006"/>
                      </a:cubicBezTo>
                      <a:cubicBezTo>
                        <a:pt x="85306" y="277006"/>
                        <a:pt x="85538" y="277006"/>
                        <a:pt x="85770" y="277053"/>
                      </a:cubicBezTo>
                      <a:cubicBezTo>
                        <a:pt x="93436" y="278446"/>
                        <a:pt x="98871" y="275288"/>
                        <a:pt x="102681" y="271759"/>
                      </a:cubicBezTo>
                      <a:cubicBezTo>
                        <a:pt x="106490" y="268230"/>
                        <a:pt x="116711" y="278817"/>
                        <a:pt x="119916" y="276356"/>
                      </a:cubicBezTo>
                      <a:cubicBezTo>
                        <a:pt x="123076" y="273895"/>
                        <a:pt x="137152" y="271063"/>
                        <a:pt x="144168" y="271388"/>
                      </a:cubicBezTo>
                      <a:cubicBezTo>
                        <a:pt x="151183" y="271759"/>
                        <a:pt x="169348" y="262565"/>
                        <a:pt x="174133" y="257597"/>
                      </a:cubicBezTo>
                      <a:cubicBezTo>
                        <a:pt x="178918" y="252675"/>
                        <a:pt x="171253" y="251607"/>
                        <a:pt x="164888" y="252675"/>
                      </a:cubicBezTo>
                      <a:cubicBezTo>
                        <a:pt x="158523" y="253743"/>
                        <a:pt x="159777" y="245617"/>
                        <a:pt x="166467" y="238559"/>
                      </a:cubicBezTo>
                      <a:cubicBezTo>
                        <a:pt x="173157" y="231500"/>
                        <a:pt x="183703" y="226207"/>
                        <a:pt x="184354" y="215620"/>
                      </a:cubicBezTo>
                      <a:lnTo>
                        <a:pt x="184354" y="215620"/>
                      </a:lnTo>
                      <a:cubicBezTo>
                        <a:pt x="182867" y="214830"/>
                        <a:pt x="181380" y="214087"/>
                        <a:pt x="179847" y="213391"/>
                      </a:cubicBezTo>
                      <a:close/>
                    </a:path>
                  </a:pathLst>
                </a:custGeom>
                <a:solidFill>
                  <a:schemeClr val="accent1"/>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sp>
            <p:nvSpPr>
              <p:cNvPr id="103" name="Freeform 130">
                <a:extLst>
                  <a:ext uri="{FF2B5EF4-FFF2-40B4-BE49-F238E27FC236}">
                    <a16:creationId xmlns:a16="http://schemas.microsoft.com/office/drawing/2014/main" id="{DAC2770B-7A0A-9B12-D37C-7F3B4DF37B67}"/>
                  </a:ext>
                </a:extLst>
              </p:cNvPr>
              <p:cNvSpPr/>
              <p:nvPr/>
            </p:nvSpPr>
            <p:spPr>
              <a:xfrm>
                <a:off x="4308478" y="2551005"/>
                <a:ext cx="15149" cy="17508"/>
              </a:xfrm>
              <a:custGeom>
                <a:avLst/>
                <a:gdLst>
                  <a:gd name="connsiteX0" fmla="*/ 8692 w 15149"/>
                  <a:gd name="connsiteY0" fmla="*/ 0 h 17508"/>
                  <a:gd name="connsiteX1" fmla="*/ 1444 w 15149"/>
                  <a:gd name="connsiteY1" fmla="*/ 17506 h 17508"/>
                  <a:gd name="connsiteX2" fmla="*/ 15150 w 15149"/>
                  <a:gd name="connsiteY2" fmla="*/ 5386 h 17508"/>
                  <a:gd name="connsiteX3" fmla="*/ 8692 w 15149"/>
                  <a:gd name="connsiteY3" fmla="*/ 0 h 17508"/>
                </a:gdLst>
                <a:ahLst/>
                <a:cxnLst>
                  <a:cxn ang="0">
                    <a:pos x="connsiteX0" y="connsiteY0"/>
                  </a:cxn>
                  <a:cxn ang="0">
                    <a:pos x="connsiteX1" y="connsiteY1"/>
                  </a:cxn>
                  <a:cxn ang="0">
                    <a:pos x="connsiteX2" y="connsiteY2"/>
                  </a:cxn>
                  <a:cxn ang="0">
                    <a:pos x="connsiteX3" y="connsiteY3"/>
                  </a:cxn>
                </a:cxnLst>
                <a:rect l="l" t="t" r="r" b="b"/>
                <a:pathLst>
                  <a:path w="15149" h="17508">
                    <a:moveTo>
                      <a:pt x="8692" y="0"/>
                    </a:moveTo>
                    <a:cubicBezTo>
                      <a:pt x="3071" y="6362"/>
                      <a:pt x="-2783" y="17692"/>
                      <a:pt x="1444" y="17506"/>
                    </a:cubicBezTo>
                    <a:cubicBezTo>
                      <a:pt x="6694" y="17274"/>
                      <a:pt x="12408" y="11144"/>
                      <a:pt x="15150" y="5386"/>
                    </a:cubicBezTo>
                    <a:cubicBezTo>
                      <a:pt x="12548" y="3993"/>
                      <a:pt x="10411" y="2182"/>
                      <a:pt x="8692" y="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sp>
          <p:nvSpPr>
            <p:cNvPr id="79" name="Freeform 77">
              <a:extLst>
                <a:ext uri="{FF2B5EF4-FFF2-40B4-BE49-F238E27FC236}">
                  <a16:creationId xmlns:a16="http://schemas.microsoft.com/office/drawing/2014/main" id="{05B59835-1A21-8698-F545-4A291D7A8316}"/>
                </a:ext>
              </a:extLst>
            </p:cNvPr>
            <p:cNvSpPr/>
            <p:nvPr/>
          </p:nvSpPr>
          <p:spPr>
            <a:xfrm>
              <a:off x="10628165" y="1814647"/>
              <a:ext cx="146281" cy="224161"/>
            </a:xfrm>
            <a:custGeom>
              <a:avLst/>
              <a:gdLst>
                <a:gd name="connsiteX0" fmla="*/ 30749 w 31318"/>
                <a:gd name="connsiteY0" fmla="*/ 2358 h 47991"/>
                <a:gd name="connsiteX1" fmla="*/ 23408 w 31318"/>
                <a:gd name="connsiteY1" fmla="*/ 7976 h 47991"/>
                <a:gd name="connsiteX2" fmla="*/ 16068 w 31318"/>
                <a:gd name="connsiteY2" fmla="*/ 2358 h 47991"/>
                <a:gd name="connsiteX3" fmla="*/ 2038 w 31318"/>
                <a:gd name="connsiteY3" fmla="*/ 9044 h 47991"/>
                <a:gd name="connsiteX4" fmla="*/ 10307 w 31318"/>
                <a:gd name="connsiteY4" fmla="*/ 30961 h 47991"/>
                <a:gd name="connsiteX5" fmla="*/ 4268 w 31318"/>
                <a:gd name="connsiteY5" fmla="*/ 37323 h 47991"/>
                <a:gd name="connsiteX6" fmla="*/ 9982 w 31318"/>
                <a:gd name="connsiteY6" fmla="*/ 47910 h 47991"/>
                <a:gd name="connsiteX7" fmla="*/ 25592 w 31318"/>
                <a:gd name="connsiteY7" fmla="*/ 28129 h 47991"/>
                <a:gd name="connsiteX8" fmla="*/ 30702 w 31318"/>
                <a:gd name="connsiteY8" fmla="*/ 2358 h 4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18" h="47991">
                  <a:moveTo>
                    <a:pt x="30749" y="2358"/>
                  </a:moveTo>
                  <a:cubicBezTo>
                    <a:pt x="28194" y="593"/>
                    <a:pt x="26289" y="7280"/>
                    <a:pt x="23408" y="7976"/>
                  </a:cubicBezTo>
                  <a:cubicBezTo>
                    <a:pt x="20528" y="8673"/>
                    <a:pt x="17369" y="-5443"/>
                    <a:pt x="16068" y="2358"/>
                  </a:cubicBezTo>
                  <a:cubicBezTo>
                    <a:pt x="14767" y="10112"/>
                    <a:pt x="8403" y="-846"/>
                    <a:pt x="2038" y="9044"/>
                  </a:cubicBezTo>
                  <a:cubicBezTo>
                    <a:pt x="-4327" y="18935"/>
                    <a:pt x="5848" y="27757"/>
                    <a:pt x="10307" y="30961"/>
                  </a:cubicBezTo>
                  <a:cubicBezTo>
                    <a:pt x="14767" y="34119"/>
                    <a:pt x="9982" y="38716"/>
                    <a:pt x="4268" y="37323"/>
                  </a:cubicBezTo>
                  <a:cubicBezTo>
                    <a:pt x="-1493" y="35930"/>
                    <a:pt x="2038" y="46471"/>
                    <a:pt x="9982" y="47910"/>
                  </a:cubicBezTo>
                  <a:cubicBezTo>
                    <a:pt x="17973" y="49303"/>
                    <a:pt x="26568" y="32354"/>
                    <a:pt x="25592" y="28129"/>
                  </a:cubicBezTo>
                  <a:cubicBezTo>
                    <a:pt x="24616" y="23903"/>
                    <a:pt x="33722" y="4447"/>
                    <a:pt x="30702" y="2358"/>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80" name="Freeform 78">
              <a:extLst>
                <a:ext uri="{FF2B5EF4-FFF2-40B4-BE49-F238E27FC236}">
                  <a16:creationId xmlns:a16="http://schemas.microsoft.com/office/drawing/2014/main" id="{5870E557-3983-39D6-296E-2384ADA33D8E}"/>
                </a:ext>
              </a:extLst>
            </p:cNvPr>
            <p:cNvSpPr/>
            <p:nvPr/>
          </p:nvSpPr>
          <p:spPr>
            <a:xfrm>
              <a:off x="10330413" y="1545253"/>
              <a:ext cx="265029" cy="467977"/>
            </a:xfrm>
            <a:custGeom>
              <a:avLst/>
              <a:gdLst>
                <a:gd name="connsiteX0" fmla="*/ 46365 w 56741"/>
                <a:gd name="connsiteY0" fmla="*/ 38442 h 100191"/>
                <a:gd name="connsiteX1" fmla="*/ 45715 w 56741"/>
                <a:gd name="connsiteY1" fmla="*/ 21865 h 100191"/>
                <a:gd name="connsiteX2" fmla="*/ 47945 w 56741"/>
                <a:gd name="connsiteY2" fmla="*/ 1341 h 100191"/>
                <a:gd name="connsiteX3" fmla="*/ 32335 w 56741"/>
                <a:gd name="connsiteY3" fmla="*/ 10860 h 100191"/>
                <a:gd name="connsiteX4" fmla="*/ 19559 w 56741"/>
                <a:gd name="connsiteY4" fmla="*/ 18289 h 100191"/>
                <a:gd name="connsiteX5" fmla="*/ 20535 w 56741"/>
                <a:gd name="connsiteY5" fmla="*/ 28876 h 100191"/>
                <a:gd name="connsiteX6" fmla="*/ 8084 w 56741"/>
                <a:gd name="connsiteY6" fmla="*/ 21818 h 100191"/>
                <a:gd name="connsiteX7" fmla="*/ 0 w 56741"/>
                <a:gd name="connsiteY7" fmla="*/ 32173 h 100191"/>
                <a:gd name="connsiteX8" fmla="*/ 2927 w 56741"/>
                <a:gd name="connsiteY8" fmla="*/ 42621 h 100191"/>
                <a:gd name="connsiteX9" fmla="*/ 5064 w 56741"/>
                <a:gd name="connsiteY9" fmla="*/ 75404 h 100191"/>
                <a:gd name="connsiteX10" fmla="*/ 5715 w 56741"/>
                <a:gd name="connsiteY10" fmla="*/ 83437 h 100191"/>
                <a:gd name="connsiteX11" fmla="*/ 5528 w 56741"/>
                <a:gd name="connsiteY11" fmla="*/ 87152 h 100191"/>
                <a:gd name="connsiteX12" fmla="*/ 8827 w 56741"/>
                <a:gd name="connsiteY12" fmla="*/ 97739 h 100191"/>
                <a:gd name="connsiteX13" fmla="*/ 28525 w 56741"/>
                <a:gd name="connsiteY13" fmla="*/ 99875 h 100191"/>
                <a:gd name="connsiteX14" fmla="*/ 36516 w 56741"/>
                <a:gd name="connsiteY14" fmla="*/ 99689 h 100191"/>
                <a:gd name="connsiteX15" fmla="*/ 27875 w 56741"/>
                <a:gd name="connsiteY15" fmla="*/ 86827 h 100191"/>
                <a:gd name="connsiteX16" fmla="*/ 39025 w 56741"/>
                <a:gd name="connsiteY16" fmla="*/ 89288 h 100191"/>
                <a:gd name="connsiteX17" fmla="*/ 54309 w 56741"/>
                <a:gd name="connsiteY17" fmla="*/ 88963 h 100191"/>
                <a:gd name="connsiteX18" fmla="*/ 46644 w 56741"/>
                <a:gd name="connsiteY18" fmla="*/ 74150 h 100191"/>
                <a:gd name="connsiteX19" fmla="*/ 36748 w 56741"/>
                <a:gd name="connsiteY19" fmla="*/ 72757 h 100191"/>
                <a:gd name="connsiteX20" fmla="*/ 42834 w 56741"/>
                <a:gd name="connsiteY20" fmla="*/ 57945 h 100191"/>
                <a:gd name="connsiteX21" fmla="*/ 56539 w 56741"/>
                <a:gd name="connsiteY21" fmla="*/ 49818 h 100191"/>
                <a:gd name="connsiteX22" fmla="*/ 46319 w 56741"/>
                <a:gd name="connsiteY22" fmla="*/ 38535 h 100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741" h="100191">
                  <a:moveTo>
                    <a:pt x="46365" y="38442"/>
                  </a:moveTo>
                  <a:cubicBezTo>
                    <a:pt x="43160" y="36677"/>
                    <a:pt x="41905" y="25394"/>
                    <a:pt x="45715" y="21865"/>
                  </a:cubicBezTo>
                  <a:cubicBezTo>
                    <a:pt x="49524" y="18336"/>
                    <a:pt x="51150" y="4916"/>
                    <a:pt x="47945" y="1341"/>
                  </a:cubicBezTo>
                  <a:cubicBezTo>
                    <a:pt x="44785" y="-2188"/>
                    <a:pt x="33264" y="1341"/>
                    <a:pt x="32335" y="10860"/>
                  </a:cubicBezTo>
                  <a:cubicBezTo>
                    <a:pt x="31359" y="20379"/>
                    <a:pt x="22160" y="16153"/>
                    <a:pt x="19559" y="18289"/>
                  </a:cubicBezTo>
                  <a:cubicBezTo>
                    <a:pt x="17004" y="20425"/>
                    <a:pt x="24669" y="24651"/>
                    <a:pt x="20535" y="28876"/>
                  </a:cubicBezTo>
                  <a:cubicBezTo>
                    <a:pt x="16400" y="33102"/>
                    <a:pt x="14774" y="22515"/>
                    <a:pt x="8084" y="21818"/>
                  </a:cubicBezTo>
                  <a:cubicBezTo>
                    <a:pt x="3531" y="21308"/>
                    <a:pt x="1765" y="26740"/>
                    <a:pt x="0" y="32173"/>
                  </a:cubicBezTo>
                  <a:cubicBezTo>
                    <a:pt x="1208" y="35563"/>
                    <a:pt x="2276" y="39046"/>
                    <a:pt x="2927" y="42621"/>
                  </a:cubicBezTo>
                  <a:cubicBezTo>
                    <a:pt x="4878" y="53440"/>
                    <a:pt x="2462" y="64910"/>
                    <a:pt x="5064" y="75404"/>
                  </a:cubicBezTo>
                  <a:cubicBezTo>
                    <a:pt x="5761" y="78236"/>
                    <a:pt x="5947" y="80930"/>
                    <a:pt x="5715" y="83437"/>
                  </a:cubicBezTo>
                  <a:cubicBezTo>
                    <a:pt x="5947" y="84644"/>
                    <a:pt x="5947" y="85852"/>
                    <a:pt x="5528" y="87152"/>
                  </a:cubicBezTo>
                  <a:cubicBezTo>
                    <a:pt x="4507" y="90449"/>
                    <a:pt x="6597" y="94117"/>
                    <a:pt x="8827" y="97739"/>
                  </a:cubicBezTo>
                  <a:cubicBezTo>
                    <a:pt x="17329" y="97925"/>
                    <a:pt x="25087" y="98621"/>
                    <a:pt x="28525" y="99875"/>
                  </a:cubicBezTo>
                  <a:cubicBezTo>
                    <a:pt x="29919" y="100386"/>
                    <a:pt x="32753" y="100247"/>
                    <a:pt x="36516" y="99689"/>
                  </a:cubicBezTo>
                  <a:cubicBezTo>
                    <a:pt x="33728" y="94628"/>
                    <a:pt x="27410" y="90542"/>
                    <a:pt x="27875" y="86827"/>
                  </a:cubicBezTo>
                  <a:cubicBezTo>
                    <a:pt x="28525" y="81905"/>
                    <a:pt x="34565" y="85016"/>
                    <a:pt x="39025" y="89288"/>
                  </a:cubicBezTo>
                  <a:cubicBezTo>
                    <a:pt x="43485" y="93514"/>
                    <a:pt x="53380" y="94257"/>
                    <a:pt x="54309" y="88963"/>
                  </a:cubicBezTo>
                  <a:cubicBezTo>
                    <a:pt x="54913" y="85713"/>
                    <a:pt x="52683" y="70621"/>
                    <a:pt x="46644" y="74150"/>
                  </a:cubicBezTo>
                  <a:cubicBezTo>
                    <a:pt x="40558" y="77679"/>
                    <a:pt x="38978" y="76240"/>
                    <a:pt x="36748" y="72757"/>
                  </a:cubicBezTo>
                  <a:cubicBezTo>
                    <a:pt x="34518" y="69228"/>
                    <a:pt x="41208" y="63563"/>
                    <a:pt x="42834" y="57945"/>
                  </a:cubicBezTo>
                  <a:cubicBezTo>
                    <a:pt x="44414" y="52279"/>
                    <a:pt x="54913" y="54415"/>
                    <a:pt x="56539" y="49818"/>
                  </a:cubicBezTo>
                  <a:cubicBezTo>
                    <a:pt x="58165" y="45268"/>
                    <a:pt x="49524" y="40299"/>
                    <a:pt x="46319" y="38535"/>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81" name="Freeform 79">
              <a:extLst>
                <a:ext uri="{FF2B5EF4-FFF2-40B4-BE49-F238E27FC236}">
                  <a16:creationId xmlns:a16="http://schemas.microsoft.com/office/drawing/2014/main" id="{C3F0DC64-3285-A268-6A10-3883F67DA090}"/>
                </a:ext>
              </a:extLst>
            </p:cNvPr>
            <p:cNvSpPr/>
            <p:nvPr/>
          </p:nvSpPr>
          <p:spPr>
            <a:xfrm>
              <a:off x="11297986" y="1522004"/>
              <a:ext cx="88176" cy="146492"/>
            </a:xfrm>
            <a:custGeom>
              <a:avLst/>
              <a:gdLst>
                <a:gd name="connsiteX0" fmla="*/ 15522 w 18878"/>
                <a:gd name="connsiteY0" fmla="*/ 2 h 31363"/>
                <a:gd name="connsiteX1" fmla="*/ 841 w 18878"/>
                <a:gd name="connsiteY1" fmla="*/ 31113 h 31363"/>
                <a:gd name="connsiteX2" fmla="*/ 15522 w 18878"/>
                <a:gd name="connsiteY2" fmla="*/ 2 h 31363"/>
              </a:gdLst>
              <a:ahLst/>
              <a:cxnLst>
                <a:cxn ang="0">
                  <a:pos x="connsiteX0" y="connsiteY0"/>
                </a:cxn>
                <a:cxn ang="0">
                  <a:pos x="connsiteX1" y="connsiteY1"/>
                </a:cxn>
                <a:cxn ang="0">
                  <a:pos x="connsiteX2" y="connsiteY2"/>
                </a:cxn>
              </a:cxnLst>
              <a:rect l="l" t="t" r="r" b="b"/>
              <a:pathLst>
                <a:path w="18878" h="31363">
                  <a:moveTo>
                    <a:pt x="15522" y="2"/>
                  </a:moveTo>
                  <a:cubicBezTo>
                    <a:pt x="3396" y="374"/>
                    <a:pt x="-2272" y="26749"/>
                    <a:pt x="841" y="31113"/>
                  </a:cubicBezTo>
                  <a:cubicBezTo>
                    <a:pt x="3396" y="34643"/>
                    <a:pt x="27601" y="-323"/>
                    <a:pt x="15522" y="2"/>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82" name="Freeform 80">
              <a:extLst>
                <a:ext uri="{FF2B5EF4-FFF2-40B4-BE49-F238E27FC236}">
                  <a16:creationId xmlns:a16="http://schemas.microsoft.com/office/drawing/2014/main" id="{87198079-67F7-9F20-C7E5-2F3A92D2E2F0}"/>
                </a:ext>
              </a:extLst>
            </p:cNvPr>
            <p:cNvSpPr/>
            <p:nvPr/>
          </p:nvSpPr>
          <p:spPr>
            <a:xfrm>
              <a:off x="10631494" y="-486208"/>
              <a:ext cx="1256098" cy="2407489"/>
            </a:xfrm>
            <a:custGeom>
              <a:avLst/>
              <a:gdLst>
                <a:gd name="connsiteX0" fmla="*/ 266042 w 268922"/>
                <a:gd name="connsiteY0" fmla="*/ 119253 h 515427"/>
                <a:gd name="connsiteX1" fmla="*/ 261908 w 268922"/>
                <a:gd name="connsiteY1" fmla="*/ 106808 h 515427"/>
                <a:gd name="connsiteX2" fmla="*/ 262930 w 268922"/>
                <a:gd name="connsiteY2" fmla="*/ 86377 h 515427"/>
                <a:gd name="connsiteX3" fmla="*/ 257819 w 268922"/>
                <a:gd name="connsiteY3" fmla="*/ 64831 h 515427"/>
                <a:gd name="connsiteX4" fmla="*/ 256797 w 268922"/>
                <a:gd name="connsiteY4" fmla="*/ 42124 h 515427"/>
                <a:gd name="connsiteX5" fmla="*/ 226042 w 268922"/>
                <a:gd name="connsiteY5" fmla="*/ 21693 h 515427"/>
                <a:gd name="connsiteX6" fmla="*/ 200444 w 268922"/>
                <a:gd name="connsiteY6" fmla="*/ 1262 h 515427"/>
                <a:gd name="connsiteX7" fmla="*/ 188132 w 268922"/>
                <a:gd name="connsiteY7" fmla="*/ 19418 h 515427"/>
                <a:gd name="connsiteX8" fmla="*/ 173777 w 268922"/>
                <a:gd name="connsiteY8" fmla="*/ 23968 h 515427"/>
                <a:gd name="connsiteX9" fmla="*/ 151245 w 268922"/>
                <a:gd name="connsiteY9" fmla="*/ 19418 h 515427"/>
                <a:gd name="connsiteX10" fmla="*/ 146135 w 268922"/>
                <a:gd name="connsiteY10" fmla="*/ 36413 h 515427"/>
                <a:gd name="connsiteX11" fmla="*/ 129735 w 268922"/>
                <a:gd name="connsiteY11" fmla="*/ 43192 h 515427"/>
                <a:gd name="connsiteX12" fmla="*/ 113335 w 268922"/>
                <a:gd name="connsiteY12" fmla="*/ 56798 h 515427"/>
                <a:gd name="connsiteX13" fmla="*/ 107203 w 268922"/>
                <a:gd name="connsiteY13" fmla="*/ 73839 h 515427"/>
                <a:gd name="connsiteX14" fmla="*/ 102093 w 268922"/>
                <a:gd name="connsiteY14" fmla="*/ 86330 h 515427"/>
                <a:gd name="connsiteX15" fmla="*/ 90803 w 268922"/>
                <a:gd name="connsiteY15" fmla="*/ 104486 h 515427"/>
                <a:gd name="connsiteX16" fmla="*/ 86715 w 268922"/>
                <a:gd name="connsiteY16" fmla="*/ 118092 h 515427"/>
                <a:gd name="connsiteX17" fmla="*/ 70315 w 268922"/>
                <a:gd name="connsiteY17" fmla="*/ 122596 h 515427"/>
                <a:gd name="connsiteX18" fmla="*/ 69293 w 268922"/>
                <a:gd name="connsiteY18" fmla="*/ 144188 h 515427"/>
                <a:gd name="connsiteX19" fmla="*/ 54938 w 268922"/>
                <a:gd name="connsiteY19" fmla="*/ 174788 h 515427"/>
                <a:gd name="connsiteX20" fmla="*/ 60048 w 268922"/>
                <a:gd name="connsiteY20" fmla="*/ 187279 h 515427"/>
                <a:gd name="connsiteX21" fmla="*/ 60048 w 268922"/>
                <a:gd name="connsiteY21" fmla="*/ 200885 h 515427"/>
                <a:gd name="connsiteX22" fmla="*/ 45693 w 268922"/>
                <a:gd name="connsiteY22" fmla="*/ 202046 h 515427"/>
                <a:gd name="connsiteX23" fmla="*/ 24183 w 268922"/>
                <a:gd name="connsiteY23" fmla="*/ 217926 h 515427"/>
                <a:gd name="connsiteX24" fmla="*/ 22139 w 268922"/>
                <a:gd name="connsiteY24" fmla="*/ 241747 h 515427"/>
                <a:gd name="connsiteX25" fmla="*/ 22139 w 268922"/>
                <a:gd name="connsiteY25" fmla="*/ 265568 h 515427"/>
                <a:gd name="connsiteX26" fmla="*/ 21117 w 268922"/>
                <a:gd name="connsiteY26" fmla="*/ 288275 h 515427"/>
                <a:gd name="connsiteX27" fmla="*/ 35472 w 268922"/>
                <a:gd name="connsiteY27" fmla="*/ 305270 h 515427"/>
                <a:gd name="connsiteX28" fmla="*/ 27249 w 268922"/>
                <a:gd name="connsiteY28" fmla="*/ 317761 h 515427"/>
                <a:gd name="connsiteX29" fmla="*/ 28271 w 268922"/>
                <a:gd name="connsiteY29" fmla="*/ 329091 h 515427"/>
                <a:gd name="connsiteX30" fmla="*/ 29293 w 268922"/>
                <a:gd name="connsiteY30" fmla="*/ 351798 h 515427"/>
                <a:gd name="connsiteX31" fmla="*/ 14938 w 268922"/>
                <a:gd name="connsiteY31" fmla="*/ 357463 h 515427"/>
                <a:gd name="connsiteX32" fmla="*/ 11871 w 268922"/>
                <a:gd name="connsiteY32" fmla="*/ 376780 h 515427"/>
                <a:gd name="connsiteX33" fmla="*/ 6761 w 268922"/>
                <a:gd name="connsiteY33" fmla="*/ 392660 h 515427"/>
                <a:gd name="connsiteX34" fmla="*/ 25 w 268922"/>
                <a:gd name="connsiteY34" fmla="*/ 391592 h 515427"/>
                <a:gd name="connsiteX35" fmla="*/ 25 w 268922"/>
                <a:gd name="connsiteY35" fmla="*/ 393821 h 515427"/>
                <a:gd name="connsiteX36" fmla="*/ 9595 w 268922"/>
                <a:gd name="connsiteY36" fmla="*/ 417828 h 515427"/>
                <a:gd name="connsiteX37" fmla="*/ 17261 w 268922"/>
                <a:gd name="connsiteY37" fmla="*/ 442578 h 515427"/>
                <a:gd name="connsiteX38" fmla="*/ 28085 w 268922"/>
                <a:gd name="connsiteY38" fmla="*/ 464123 h 515427"/>
                <a:gd name="connsiteX39" fmla="*/ 32545 w 268922"/>
                <a:gd name="connsiteY39" fmla="*/ 482140 h 515427"/>
                <a:gd name="connsiteX40" fmla="*/ 38585 w 268922"/>
                <a:gd name="connsiteY40" fmla="*/ 493099 h 515427"/>
                <a:gd name="connsiteX41" fmla="*/ 38910 w 268922"/>
                <a:gd name="connsiteY41" fmla="*/ 513251 h 515427"/>
                <a:gd name="connsiteX42" fmla="*/ 55821 w 268922"/>
                <a:gd name="connsiteY42" fmla="*/ 512926 h 515427"/>
                <a:gd name="connsiteX43" fmla="*/ 63765 w 268922"/>
                <a:gd name="connsiteY43" fmla="*/ 498810 h 515427"/>
                <a:gd name="connsiteX44" fmla="*/ 70455 w 268922"/>
                <a:gd name="connsiteY44" fmla="*/ 491055 h 515427"/>
                <a:gd name="connsiteX45" fmla="*/ 88295 w 268922"/>
                <a:gd name="connsiteY45" fmla="*/ 489244 h 515427"/>
                <a:gd name="connsiteX46" fmla="*/ 100745 w 268922"/>
                <a:gd name="connsiteY46" fmla="*/ 478286 h 515427"/>
                <a:gd name="connsiteX47" fmla="*/ 108411 w 268922"/>
                <a:gd name="connsiteY47" fmla="*/ 481815 h 515427"/>
                <a:gd name="connsiteX48" fmla="*/ 120536 w 268922"/>
                <a:gd name="connsiteY48" fmla="*/ 459248 h 515427"/>
                <a:gd name="connsiteX49" fmla="*/ 112871 w 268922"/>
                <a:gd name="connsiteY49" fmla="*/ 460641 h 515427"/>
                <a:gd name="connsiteX50" fmla="*/ 112546 w 268922"/>
                <a:gd name="connsiteY50" fmla="*/ 444064 h 515427"/>
                <a:gd name="connsiteX51" fmla="*/ 116030 w 268922"/>
                <a:gd name="connsiteY51" fmla="*/ 410166 h 515427"/>
                <a:gd name="connsiteX52" fmla="*/ 128155 w 268922"/>
                <a:gd name="connsiteY52" fmla="*/ 395679 h 515427"/>
                <a:gd name="connsiteX53" fmla="*/ 147621 w 268922"/>
                <a:gd name="connsiteY53" fmla="*/ 375572 h 515427"/>
                <a:gd name="connsiteX54" fmla="*/ 160351 w 268922"/>
                <a:gd name="connsiteY54" fmla="*/ 356163 h 515427"/>
                <a:gd name="connsiteX55" fmla="*/ 139956 w 268922"/>
                <a:gd name="connsiteY55" fmla="*/ 331088 h 515427"/>
                <a:gd name="connsiteX56" fmla="*/ 124671 w 268922"/>
                <a:gd name="connsiteY56" fmla="*/ 326491 h 515427"/>
                <a:gd name="connsiteX57" fmla="*/ 122116 w 268922"/>
                <a:gd name="connsiteY57" fmla="*/ 299651 h 515427"/>
                <a:gd name="connsiteX58" fmla="*/ 129503 w 268922"/>
                <a:gd name="connsiteY58" fmla="*/ 279685 h 515427"/>
                <a:gd name="connsiteX59" fmla="*/ 130385 w 268922"/>
                <a:gd name="connsiteY59" fmla="*/ 258092 h 515427"/>
                <a:gd name="connsiteX60" fmla="*/ 148969 w 268922"/>
                <a:gd name="connsiteY60" fmla="*/ 236361 h 515427"/>
                <a:gd name="connsiteX61" fmla="*/ 157656 w 268922"/>
                <a:gd name="connsiteY61" fmla="*/ 230789 h 515427"/>
                <a:gd name="connsiteX62" fmla="*/ 161001 w 268922"/>
                <a:gd name="connsiteY62" fmla="*/ 228281 h 515427"/>
                <a:gd name="connsiteX63" fmla="*/ 167134 w 268922"/>
                <a:gd name="connsiteY63" fmla="*/ 224799 h 515427"/>
                <a:gd name="connsiteX64" fmla="*/ 174009 w 268922"/>
                <a:gd name="connsiteY64" fmla="*/ 208500 h 515427"/>
                <a:gd name="connsiteX65" fmla="*/ 177122 w 268922"/>
                <a:gd name="connsiteY65" fmla="*/ 205389 h 515427"/>
                <a:gd name="connsiteX66" fmla="*/ 190455 w 268922"/>
                <a:gd name="connsiteY66" fmla="*/ 198981 h 515427"/>
                <a:gd name="connsiteX67" fmla="*/ 194358 w 268922"/>
                <a:gd name="connsiteY67" fmla="*/ 193780 h 515427"/>
                <a:gd name="connsiteX68" fmla="*/ 203185 w 268922"/>
                <a:gd name="connsiteY68" fmla="*/ 188440 h 515427"/>
                <a:gd name="connsiteX69" fmla="*/ 209410 w 268922"/>
                <a:gd name="connsiteY69" fmla="*/ 172049 h 515427"/>
                <a:gd name="connsiteX70" fmla="*/ 212337 w 268922"/>
                <a:gd name="connsiteY70" fmla="*/ 164666 h 515427"/>
                <a:gd name="connsiteX71" fmla="*/ 220607 w 268922"/>
                <a:gd name="connsiteY71" fmla="*/ 145256 h 515427"/>
                <a:gd name="connsiteX72" fmla="*/ 234637 w 268922"/>
                <a:gd name="connsiteY72" fmla="*/ 132904 h 515427"/>
                <a:gd name="connsiteX73" fmla="*/ 257262 w 268922"/>
                <a:gd name="connsiteY73" fmla="*/ 130443 h 515427"/>
                <a:gd name="connsiteX74" fmla="*/ 268923 w 268922"/>
                <a:gd name="connsiteY74" fmla="*/ 131001 h 515427"/>
                <a:gd name="connsiteX75" fmla="*/ 265903 w 268922"/>
                <a:gd name="connsiteY75" fmla="*/ 119206 h 51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68922" h="515427">
                  <a:moveTo>
                    <a:pt x="266042" y="119253"/>
                  </a:moveTo>
                  <a:cubicBezTo>
                    <a:pt x="262976" y="115863"/>
                    <a:pt x="256844" y="106808"/>
                    <a:pt x="261908" y="106808"/>
                  </a:cubicBezTo>
                  <a:cubicBezTo>
                    <a:pt x="266972" y="106808"/>
                    <a:pt x="269062" y="89813"/>
                    <a:pt x="262930" y="86377"/>
                  </a:cubicBezTo>
                  <a:cubicBezTo>
                    <a:pt x="256797" y="82987"/>
                    <a:pt x="262930" y="68221"/>
                    <a:pt x="257819" y="64831"/>
                  </a:cubicBezTo>
                  <a:cubicBezTo>
                    <a:pt x="252709" y="61441"/>
                    <a:pt x="255775" y="50065"/>
                    <a:pt x="256797" y="42124"/>
                  </a:cubicBezTo>
                  <a:cubicBezTo>
                    <a:pt x="257819" y="34184"/>
                    <a:pt x="237331" y="27358"/>
                    <a:pt x="226042" y="21693"/>
                  </a:cubicBezTo>
                  <a:cubicBezTo>
                    <a:pt x="214800" y="16028"/>
                    <a:pt x="209642" y="6927"/>
                    <a:pt x="200444" y="1262"/>
                  </a:cubicBezTo>
                  <a:cubicBezTo>
                    <a:pt x="191245" y="-4403"/>
                    <a:pt x="188132" y="10317"/>
                    <a:pt x="188132" y="19418"/>
                  </a:cubicBezTo>
                  <a:cubicBezTo>
                    <a:pt x="188132" y="28519"/>
                    <a:pt x="179956" y="29634"/>
                    <a:pt x="173777" y="23968"/>
                  </a:cubicBezTo>
                  <a:cubicBezTo>
                    <a:pt x="167645" y="18303"/>
                    <a:pt x="160444" y="23968"/>
                    <a:pt x="151245" y="19418"/>
                  </a:cubicBezTo>
                  <a:cubicBezTo>
                    <a:pt x="142046" y="14867"/>
                    <a:pt x="146135" y="29634"/>
                    <a:pt x="146135" y="36413"/>
                  </a:cubicBezTo>
                  <a:cubicBezTo>
                    <a:pt x="146135" y="43192"/>
                    <a:pt x="135867" y="43192"/>
                    <a:pt x="129735" y="43192"/>
                  </a:cubicBezTo>
                  <a:cubicBezTo>
                    <a:pt x="123603" y="43192"/>
                    <a:pt x="113335" y="48857"/>
                    <a:pt x="113335" y="56798"/>
                  </a:cubicBezTo>
                  <a:cubicBezTo>
                    <a:pt x="113335" y="64738"/>
                    <a:pt x="104137" y="69289"/>
                    <a:pt x="107203" y="73839"/>
                  </a:cubicBezTo>
                  <a:cubicBezTo>
                    <a:pt x="110269" y="78344"/>
                    <a:pt x="106181" y="82894"/>
                    <a:pt x="102093" y="86330"/>
                  </a:cubicBezTo>
                  <a:cubicBezTo>
                    <a:pt x="98004" y="89720"/>
                    <a:pt x="93916" y="101050"/>
                    <a:pt x="90803" y="104486"/>
                  </a:cubicBezTo>
                  <a:cubicBezTo>
                    <a:pt x="87737" y="107876"/>
                    <a:pt x="92848" y="113541"/>
                    <a:pt x="86715" y="118092"/>
                  </a:cubicBezTo>
                  <a:cubicBezTo>
                    <a:pt x="80583" y="122596"/>
                    <a:pt x="73382" y="119206"/>
                    <a:pt x="70315" y="122596"/>
                  </a:cubicBezTo>
                  <a:cubicBezTo>
                    <a:pt x="67249" y="125986"/>
                    <a:pt x="70315" y="133972"/>
                    <a:pt x="69293" y="144188"/>
                  </a:cubicBezTo>
                  <a:cubicBezTo>
                    <a:pt x="68271" y="154357"/>
                    <a:pt x="61070" y="165734"/>
                    <a:pt x="54938" y="174788"/>
                  </a:cubicBezTo>
                  <a:cubicBezTo>
                    <a:pt x="48805" y="183890"/>
                    <a:pt x="56982" y="186165"/>
                    <a:pt x="60048" y="187279"/>
                  </a:cubicBezTo>
                  <a:cubicBezTo>
                    <a:pt x="63114" y="188440"/>
                    <a:pt x="63114" y="194105"/>
                    <a:pt x="60048" y="200885"/>
                  </a:cubicBezTo>
                  <a:cubicBezTo>
                    <a:pt x="56982" y="207711"/>
                    <a:pt x="49781" y="203160"/>
                    <a:pt x="45693" y="202046"/>
                  </a:cubicBezTo>
                  <a:cubicBezTo>
                    <a:pt x="41604" y="200885"/>
                    <a:pt x="30315" y="206550"/>
                    <a:pt x="24183" y="217926"/>
                  </a:cubicBezTo>
                  <a:cubicBezTo>
                    <a:pt x="18050" y="229256"/>
                    <a:pt x="20094" y="236082"/>
                    <a:pt x="22139" y="241747"/>
                  </a:cubicBezTo>
                  <a:cubicBezTo>
                    <a:pt x="24183" y="247412"/>
                    <a:pt x="17028" y="254238"/>
                    <a:pt x="22139" y="265568"/>
                  </a:cubicBezTo>
                  <a:cubicBezTo>
                    <a:pt x="27249" y="276898"/>
                    <a:pt x="20094" y="279174"/>
                    <a:pt x="21117" y="288275"/>
                  </a:cubicBezTo>
                  <a:cubicBezTo>
                    <a:pt x="22139" y="297330"/>
                    <a:pt x="34450" y="296215"/>
                    <a:pt x="35472" y="305270"/>
                  </a:cubicBezTo>
                  <a:cubicBezTo>
                    <a:pt x="36494" y="314325"/>
                    <a:pt x="31384" y="317761"/>
                    <a:pt x="27249" y="317761"/>
                  </a:cubicBezTo>
                  <a:cubicBezTo>
                    <a:pt x="23114" y="317761"/>
                    <a:pt x="24183" y="326816"/>
                    <a:pt x="28271" y="329091"/>
                  </a:cubicBezTo>
                  <a:cubicBezTo>
                    <a:pt x="32359" y="331366"/>
                    <a:pt x="31337" y="347247"/>
                    <a:pt x="29293" y="351798"/>
                  </a:cubicBezTo>
                  <a:cubicBezTo>
                    <a:pt x="27249" y="356348"/>
                    <a:pt x="13915" y="351798"/>
                    <a:pt x="14938" y="357463"/>
                  </a:cubicBezTo>
                  <a:cubicBezTo>
                    <a:pt x="15960" y="363128"/>
                    <a:pt x="11871" y="372229"/>
                    <a:pt x="11871" y="376780"/>
                  </a:cubicBezTo>
                  <a:cubicBezTo>
                    <a:pt x="11871" y="381330"/>
                    <a:pt x="10849" y="396050"/>
                    <a:pt x="6761" y="392660"/>
                  </a:cubicBezTo>
                  <a:cubicBezTo>
                    <a:pt x="5135" y="391314"/>
                    <a:pt x="2580" y="391221"/>
                    <a:pt x="25" y="391592"/>
                  </a:cubicBezTo>
                  <a:cubicBezTo>
                    <a:pt x="25" y="392289"/>
                    <a:pt x="25" y="392985"/>
                    <a:pt x="25" y="393821"/>
                  </a:cubicBezTo>
                  <a:cubicBezTo>
                    <a:pt x="-301" y="402644"/>
                    <a:pt x="2580" y="411466"/>
                    <a:pt x="9595" y="417828"/>
                  </a:cubicBezTo>
                  <a:cubicBezTo>
                    <a:pt x="16610" y="424189"/>
                    <a:pt x="11175" y="433709"/>
                    <a:pt x="17261" y="442578"/>
                  </a:cubicBezTo>
                  <a:cubicBezTo>
                    <a:pt x="23300" y="451400"/>
                    <a:pt x="21395" y="457762"/>
                    <a:pt x="28085" y="464123"/>
                  </a:cubicBezTo>
                  <a:cubicBezTo>
                    <a:pt x="34775" y="470485"/>
                    <a:pt x="35425" y="474014"/>
                    <a:pt x="32545" y="482140"/>
                  </a:cubicBezTo>
                  <a:cubicBezTo>
                    <a:pt x="29665" y="490266"/>
                    <a:pt x="38306" y="488130"/>
                    <a:pt x="38585" y="493099"/>
                  </a:cubicBezTo>
                  <a:cubicBezTo>
                    <a:pt x="38910" y="498067"/>
                    <a:pt x="36680" y="508283"/>
                    <a:pt x="38910" y="513251"/>
                  </a:cubicBezTo>
                  <a:cubicBezTo>
                    <a:pt x="41140" y="518173"/>
                    <a:pt x="45600" y="513251"/>
                    <a:pt x="55821" y="512926"/>
                  </a:cubicBezTo>
                  <a:cubicBezTo>
                    <a:pt x="65995" y="512555"/>
                    <a:pt x="63486" y="505497"/>
                    <a:pt x="63765" y="498810"/>
                  </a:cubicBezTo>
                  <a:cubicBezTo>
                    <a:pt x="64090" y="492123"/>
                    <a:pt x="69200" y="495281"/>
                    <a:pt x="70455" y="491055"/>
                  </a:cubicBezTo>
                  <a:cubicBezTo>
                    <a:pt x="71709" y="486830"/>
                    <a:pt x="81001" y="485762"/>
                    <a:pt x="88295" y="489244"/>
                  </a:cubicBezTo>
                  <a:cubicBezTo>
                    <a:pt x="95635" y="492774"/>
                    <a:pt x="99445" y="486783"/>
                    <a:pt x="100745" y="478286"/>
                  </a:cubicBezTo>
                  <a:cubicBezTo>
                    <a:pt x="102000" y="469835"/>
                    <a:pt x="106135" y="480050"/>
                    <a:pt x="108411" y="481815"/>
                  </a:cubicBezTo>
                  <a:cubicBezTo>
                    <a:pt x="110641" y="483579"/>
                    <a:pt x="117331" y="468767"/>
                    <a:pt x="120536" y="459248"/>
                  </a:cubicBezTo>
                  <a:cubicBezTo>
                    <a:pt x="123742" y="449729"/>
                    <a:pt x="120211" y="451493"/>
                    <a:pt x="112871" y="460641"/>
                  </a:cubicBezTo>
                  <a:cubicBezTo>
                    <a:pt x="105531" y="469835"/>
                    <a:pt x="109665" y="451493"/>
                    <a:pt x="112546" y="444064"/>
                  </a:cubicBezTo>
                  <a:cubicBezTo>
                    <a:pt x="115426" y="436634"/>
                    <a:pt x="115101" y="415088"/>
                    <a:pt x="116030" y="410166"/>
                  </a:cubicBezTo>
                  <a:cubicBezTo>
                    <a:pt x="117005" y="405244"/>
                    <a:pt x="118910" y="397814"/>
                    <a:pt x="128155" y="395679"/>
                  </a:cubicBezTo>
                  <a:cubicBezTo>
                    <a:pt x="137401" y="393542"/>
                    <a:pt x="149526" y="380866"/>
                    <a:pt x="147621" y="375572"/>
                  </a:cubicBezTo>
                  <a:cubicBezTo>
                    <a:pt x="145716" y="370279"/>
                    <a:pt x="160351" y="361456"/>
                    <a:pt x="160351" y="356163"/>
                  </a:cubicBezTo>
                  <a:cubicBezTo>
                    <a:pt x="160351" y="350869"/>
                    <a:pt x="145020" y="334617"/>
                    <a:pt x="139956" y="331088"/>
                  </a:cubicBezTo>
                  <a:cubicBezTo>
                    <a:pt x="134845" y="327559"/>
                    <a:pt x="123695" y="330391"/>
                    <a:pt x="124671" y="326491"/>
                  </a:cubicBezTo>
                  <a:cubicBezTo>
                    <a:pt x="125600" y="322590"/>
                    <a:pt x="123370" y="307406"/>
                    <a:pt x="122116" y="299651"/>
                  </a:cubicBezTo>
                  <a:cubicBezTo>
                    <a:pt x="121047" y="293011"/>
                    <a:pt x="127505" y="286185"/>
                    <a:pt x="129503" y="279685"/>
                  </a:cubicBezTo>
                  <a:cubicBezTo>
                    <a:pt x="126344" y="272812"/>
                    <a:pt x="126297" y="264408"/>
                    <a:pt x="130385" y="258092"/>
                  </a:cubicBezTo>
                  <a:cubicBezTo>
                    <a:pt x="135682" y="250013"/>
                    <a:pt x="142557" y="243512"/>
                    <a:pt x="148969" y="236361"/>
                  </a:cubicBezTo>
                  <a:cubicBezTo>
                    <a:pt x="151431" y="233621"/>
                    <a:pt x="154404" y="231810"/>
                    <a:pt x="157656" y="230789"/>
                  </a:cubicBezTo>
                  <a:cubicBezTo>
                    <a:pt x="158585" y="229814"/>
                    <a:pt x="159654" y="228885"/>
                    <a:pt x="161001" y="228281"/>
                  </a:cubicBezTo>
                  <a:cubicBezTo>
                    <a:pt x="163649" y="227120"/>
                    <a:pt x="165461" y="225960"/>
                    <a:pt x="167134" y="224799"/>
                  </a:cubicBezTo>
                  <a:cubicBezTo>
                    <a:pt x="167134" y="218901"/>
                    <a:pt x="169782" y="212679"/>
                    <a:pt x="174009" y="208500"/>
                  </a:cubicBezTo>
                  <a:lnTo>
                    <a:pt x="177122" y="205389"/>
                  </a:lnTo>
                  <a:cubicBezTo>
                    <a:pt x="180839" y="201721"/>
                    <a:pt x="185485" y="199770"/>
                    <a:pt x="190455" y="198981"/>
                  </a:cubicBezTo>
                  <a:cubicBezTo>
                    <a:pt x="191571" y="197031"/>
                    <a:pt x="192871" y="195220"/>
                    <a:pt x="194358" y="193780"/>
                  </a:cubicBezTo>
                  <a:cubicBezTo>
                    <a:pt x="196774" y="191412"/>
                    <a:pt x="199886" y="189601"/>
                    <a:pt x="203185" y="188440"/>
                  </a:cubicBezTo>
                  <a:cubicBezTo>
                    <a:pt x="203185" y="182404"/>
                    <a:pt x="205275" y="176414"/>
                    <a:pt x="209410" y="172049"/>
                  </a:cubicBezTo>
                  <a:cubicBezTo>
                    <a:pt x="208853" y="169588"/>
                    <a:pt x="209410" y="167127"/>
                    <a:pt x="212337" y="164666"/>
                  </a:cubicBezTo>
                  <a:cubicBezTo>
                    <a:pt x="221582" y="156911"/>
                    <a:pt x="213917" y="148042"/>
                    <a:pt x="220607" y="145256"/>
                  </a:cubicBezTo>
                  <a:cubicBezTo>
                    <a:pt x="227297" y="142423"/>
                    <a:pt x="229852" y="138569"/>
                    <a:pt x="234637" y="132904"/>
                  </a:cubicBezTo>
                  <a:cubicBezTo>
                    <a:pt x="239422" y="127239"/>
                    <a:pt x="245787" y="132533"/>
                    <a:pt x="257262" y="130443"/>
                  </a:cubicBezTo>
                  <a:cubicBezTo>
                    <a:pt x="261443" y="129654"/>
                    <a:pt x="265299" y="130072"/>
                    <a:pt x="268923" y="131001"/>
                  </a:cubicBezTo>
                  <a:cubicBezTo>
                    <a:pt x="268412" y="125382"/>
                    <a:pt x="267297" y="120785"/>
                    <a:pt x="265903" y="119206"/>
                  </a:cubicBezTo>
                  <a:close/>
                </a:path>
              </a:pathLst>
            </a:custGeom>
            <a:solidFill>
              <a:schemeClr val="accent1"/>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83" name="Freeform 81">
              <a:extLst>
                <a:ext uri="{FF2B5EF4-FFF2-40B4-BE49-F238E27FC236}">
                  <a16:creationId xmlns:a16="http://schemas.microsoft.com/office/drawing/2014/main" id="{C96D050D-6C6E-E571-D2BB-E10EC2E5D081}"/>
                </a:ext>
              </a:extLst>
            </p:cNvPr>
            <p:cNvSpPr/>
            <p:nvPr/>
          </p:nvSpPr>
          <p:spPr>
            <a:xfrm>
              <a:off x="11675480" y="1226490"/>
              <a:ext cx="607706" cy="333694"/>
            </a:xfrm>
            <a:custGeom>
              <a:avLst/>
              <a:gdLst>
                <a:gd name="connsiteX0" fmla="*/ 123833 w 130106"/>
                <a:gd name="connsiteY0" fmla="*/ 18228 h 71442"/>
                <a:gd name="connsiteX1" fmla="*/ 128246 w 130106"/>
                <a:gd name="connsiteY1" fmla="*/ 2533 h 71442"/>
                <a:gd name="connsiteX2" fmla="*/ 123554 w 130106"/>
                <a:gd name="connsiteY2" fmla="*/ 4994 h 71442"/>
                <a:gd name="connsiteX3" fmla="*/ 82718 w 130106"/>
                <a:gd name="connsiteY3" fmla="*/ 397 h 71442"/>
                <a:gd name="connsiteX4" fmla="*/ 42531 w 130106"/>
                <a:gd name="connsiteY4" fmla="*/ 9220 h 71442"/>
                <a:gd name="connsiteX5" fmla="*/ 29477 w 130106"/>
                <a:gd name="connsiteY5" fmla="*/ 23011 h 71442"/>
                <a:gd name="connsiteX6" fmla="*/ 33937 w 130106"/>
                <a:gd name="connsiteY6" fmla="*/ 38195 h 71442"/>
                <a:gd name="connsiteX7" fmla="*/ 46713 w 130106"/>
                <a:gd name="connsiteY7" fmla="*/ 46321 h 71442"/>
                <a:gd name="connsiteX8" fmla="*/ 51172 w 130106"/>
                <a:gd name="connsiteY8" fmla="*/ 55840 h 71442"/>
                <a:gd name="connsiteX9" fmla="*/ 50894 w 130106"/>
                <a:gd name="connsiteY9" fmla="*/ 56212 h 71442"/>
                <a:gd name="connsiteX10" fmla="*/ 74123 w 130106"/>
                <a:gd name="connsiteY10" fmla="*/ 55840 h 71442"/>
                <a:gd name="connsiteX11" fmla="*/ 95819 w 130106"/>
                <a:gd name="connsiteY11" fmla="*/ 69957 h 71442"/>
                <a:gd name="connsiteX12" fmla="*/ 116399 w 130106"/>
                <a:gd name="connsiteY12" fmla="*/ 71442 h 71442"/>
                <a:gd name="connsiteX13" fmla="*/ 117189 w 130106"/>
                <a:gd name="connsiteY13" fmla="*/ 64849 h 71442"/>
                <a:gd name="connsiteX14" fmla="*/ 122950 w 130106"/>
                <a:gd name="connsiteY14" fmla="*/ 56908 h 71442"/>
                <a:gd name="connsiteX15" fmla="*/ 118165 w 130106"/>
                <a:gd name="connsiteY15" fmla="*/ 44185 h 71442"/>
                <a:gd name="connsiteX16" fmla="*/ 116725 w 130106"/>
                <a:gd name="connsiteY16" fmla="*/ 30394 h 71442"/>
                <a:gd name="connsiteX17" fmla="*/ 123879 w 130106"/>
                <a:gd name="connsiteY17" fmla="*/ 18228 h 71442"/>
                <a:gd name="connsiteX18" fmla="*/ 10940 w 130106"/>
                <a:gd name="connsiteY18" fmla="*/ 35363 h 71442"/>
                <a:gd name="connsiteX19" fmla="*/ 2345 w 130106"/>
                <a:gd name="connsiteY19" fmla="*/ 56212 h 71442"/>
                <a:gd name="connsiteX20" fmla="*/ 24692 w 130106"/>
                <a:gd name="connsiteY20" fmla="*/ 39960 h 71442"/>
                <a:gd name="connsiteX21" fmla="*/ 10987 w 130106"/>
                <a:gd name="connsiteY21" fmla="*/ 35363 h 71442"/>
                <a:gd name="connsiteX22" fmla="*/ 20510 w 130106"/>
                <a:gd name="connsiteY22" fmla="*/ 25101 h 71442"/>
                <a:gd name="connsiteX23" fmla="*/ 6805 w 130106"/>
                <a:gd name="connsiteY23" fmla="*/ 26865 h 71442"/>
                <a:gd name="connsiteX24" fmla="*/ 20510 w 130106"/>
                <a:gd name="connsiteY24" fmla="*/ 25101 h 7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0106" h="71442">
                  <a:moveTo>
                    <a:pt x="123833" y="18228"/>
                  </a:moveTo>
                  <a:cubicBezTo>
                    <a:pt x="126481" y="11913"/>
                    <a:pt x="133403" y="10845"/>
                    <a:pt x="128246" y="2533"/>
                  </a:cubicBezTo>
                  <a:cubicBezTo>
                    <a:pt x="127270" y="3416"/>
                    <a:pt x="125877" y="4251"/>
                    <a:pt x="123554" y="4994"/>
                  </a:cubicBezTo>
                  <a:cubicBezTo>
                    <a:pt x="114309" y="7827"/>
                    <a:pt x="94192" y="-2064"/>
                    <a:pt x="82718" y="397"/>
                  </a:cubicBezTo>
                  <a:cubicBezTo>
                    <a:pt x="71242" y="2858"/>
                    <a:pt x="47967" y="2858"/>
                    <a:pt x="42531" y="9220"/>
                  </a:cubicBezTo>
                  <a:cubicBezTo>
                    <a:pt x="37096" y="15582"/>
                    <a:pt x="23391" y="17346"/>
                    <a:pt x="29477" y="23011"/>
                  </a:cubicBezTo>
                  <a:cubicBezTo>
                    <a:pt x="35563" y="28676"/>
                    <a:pt x="29477" y="31509"/>
                    <a:pt x="33937" y="38195"/>
                  </a:cubicBezTo>
                  <a:cubicBezTo>
                    <a:pt x="38397" y="44882"/>
                    <a:pt x="40627" y="47714"/>
                    <a:pt x="46713" y="46321"/>
                  </a:cubicBezTo>
                  <a:cubicBezTo>
                    <a:pt x="52799" y="44928"/>
                    <a:pt x="57537" y="48411"/>
                    <a:pt x="51172" y="55840"/>
                  </a:cubicBezTo>
                  <a:cubicBezTo>
                    <a:pt x="51080" y="55980"/>
                    <a:pt x="51033" y="56119"/>
                    <a:pt x="50894" y="56212"/>
                  </a:cubicBezTo>
                  <a:cubicBezTo>
                    <a:pt x="61115" y="55144"/>
                    <a:pt x="72450" y="54447"/>
                    <a:pt x="74123" y="55840"/>
                  </a:cubicBezTo>
                  <a:cubicBezTo>
                    <a:pt x="76678" y="57976"/>
                    <a:pt x="91963" y="71396"/>
                    <a:pt x="95819" y="69957"/>
                  </a:cubicBezTo>
                  <a:cubicBezTo>
                    <a:pt x="98188" y="69074"/>
                    <a:pt x="108641" y="70328"/>
                    <a:pt x="116399" y="71442"/>
                  </a:cubicBezTo>
                  <a:cubicBezTo>
                    <a:pt x="115517" y="68796"/>
                    <a:pt x="115563" y="66335"/>
                    <a:pt x="117189" y="64849"/>
                  </a:cubicBezTo>
                  <a:cubicBezTo>
                    <a:pt x="120070" y="62202"/>
                    <a:pt x="126295" y="62202"/>
                    <a:pt x="122950" y="56908"/>
                  </a:cubicBezTo>
                  <a:cubicBezTo>
                    <a:pt x="119605" y="51615"/>
                    <a:pt x="118629" y="50547"/>
                    <a:pt x="118165" y="44185"/>
                  </a:cubicBezTo>
                  <a:cubicBezTo>
                    <a:pt x="117700" y="37824"/>
                    <a:pt x="116260" y="34666"/>
                    <a:pt x="116725" y="30394"/>
                  </a:cubicBezTo>
                  <a:cubicBezTo>
                    <a:pt x="117189" y="26169"/>
                    <a:pt x="121045" y="25101"/>
                    <a:pt x="123879" y="18228"/>
                  </a:cubicBezTo>
                  <a:close/>
                  <a:moveTo>
                    <a:pt x="10940" y="35363"/>
                  </a:moveTo>
                  <a:cubicBezTo>
                    <a:pt x="-535" y="38892"/>
                    <a:pt x="-2208" y="56490"/>
                    <a:pt x="2345" y="56212"/>
                  </a:cubicBezTo>
                  <a:cubicBezTo>
                    <a:pt x="8060" y="55840"/>
                    <a:pt x="21161" y="43814"/>
                    <a:pt x="24692" y="39960"/>
                  </a:cubicBezTo>
                  <a:cubicBezTo>
                    <a:pt x="28176" y="36106"/>
                    <a:pt x="22462" y="31834"/>
                    <a:pt x="10987" y="35363"/>
                  </a:cubicBezTo>
                  <a:close/>
                  <a:moveTo>
                    <a:pt x="20510" y="25101"/>
                  </a:moveTo>
                  <a:cubicBezTo>
                    <a:pt x="23066" y="19807"/>
                    <a:pt x="2113" y="22129"/>
                    <a:pt x="6805" y="26865"/>
                  </a:cubicBezTo>
                  <a:cubicBezTo>
                    <a:pt x="10336" y="30394"/>
                    <a:pt x="17955" y="30394"/>
                    <a:pt x="20510" y="25101"/>
                  </a:cubicBezTo>
                  <a:close/>
                </a:path>
              </a:pathLst>
            </a:custGeom>
            <a:solidFill>
              <a:schemeClr val="accent1"/>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84" name="Freeform 83">
              <a:extLst>
                <a:ext uri="{FF2B5EF4-FFF2-40B4-BE49-F238E27FC236}">
                  <a16:creationId xmlns:a16="http://schemas.microsoft.com/office/drawing/2014/main" id="{48EA6720-3EAD-BA26-9CA6-33FEC0B15570}"/>
                </a:ext>
              </a:extLst>
            </p:cNvPr>
            <p:cNvSpPr/>
            <p:nvPr/>
          </p:nvSpPr>
          <p:spPr>
            <a:xfrm>
              <a:off x="10004288" y="-912675"/>
              <a:ext cx="2588204" cy="2396397"/>
            </a:xfrm>
            <a:custGeom>
              <a:avLst/>
              <a:gdLst>
                <a:gd name="connsiteX0" fmla="*/ 537745 w 554117"/>
                <a:gd name="connsiteY0" fmla="*/ 59643 h 513052"/>
                <a:gd name="connsiteX1" fmla="*/ 528175 w 554117"/>
                <a:gd name="connsiteY1" fmla="*/ 58575 h 513052"/>
                <a:gd name="connsiteX2" fmla="*/ 514145 w 554117"/>
                <a:gd name="connsiteY2" fmla="*/ 46549 h 513052"/>
                <a:gd name="connsiteX3" fmla="*/ 525016 w 554117"/>
                <a:gd name="connsiteY3" fmla="*/ 47617 h 513052"/>
                <a:gd name="connsiteX4" fmla="*/ 539371 w 554117"/>
                <a:gd name="connsiteY4" fmla="*/ 42694 h 513052"/>
                <a:gd name="connsiteX5" fmla="*/ 554052 w 554117"/>
                <a:gd name="connsiteY5" fmla="*/ 36333 h 513052"/>
                <a:gd name="connsiteX6" fmla="*/ 542902 w 554117"/>
                <a:gd name="connsiteY6" fmla="*/ 24306 h 513052"/>
                <a:gd name="connsiteX7" fmla="*/ 526642 w 554117"/>
                <a:gd name="connsiteY7" fmla="*/ 18316 h 513052"/>
                <a:gd name="connsiteX8" fmla="*/ 515167 w 554117"/>
                <a:gd name="connsiteY8" fmla="*/ 12326 h 513052"/>
                <a:gd name="connsiteX9" fmla="*/ 510800 w 554117"/>
                <a:gd name="connsiteY9" fmla="*/ 11119 h 513052"/>
                <a:gd name="connsiteX10" fmla="*/ 503738 w 554117"/>
                <a:gd name="connsiteY10" fmla="*/ 14416 h 513052"/>
                <a:gd name="connsiteX11" fmla="*/ 498256 w 554117"/>
                <a:gd name="connsiteY11" fmla="*/ 25003 h 513052"/>
                <a:gd name="connsiteX12" fmla="*/ 493146 w 554117"/>
                <a:gd name="connsiteY12" fmla="*/ 27139 h 513052"/>
                <a:gd name="connsiteX13" fmla="*/ 493750 w 554117"/>
                <a:gd name="connsiteY13" fmla="*/ 14741 h 513052"/>
                <a:gd name="connsiteX14" fmla="*/ 491752 w 554117"/>
                <a:gd name="connsiteY14" fmla="*/ 14091 h 513052"/>
                <a:gd name="connsiteX15" fmla="*/ 483994 w 554117"/>
                <a:gd name="connsiteY15" fmla="*/ 11583 h 513052"/>
                <a:gd name="connsiteX16" fmla="*/ 482879 w 554117"/>
                <a:gd name="connsiteY16" fmla="*/ 11305 h 513052"/>
                <a:gd name="connsiteX17" fmla="*/ 480834 w 554117"/>
                <a:gd name="connsiteY17" fmla="*/ 11165 h 513052"/>
                <a:gd name="connsiteX18" fmla="*/ 472611 w 554117"/>
                <a:gd name="connsiteY18" fmla="*/ 11258 h 513052"/>
                <a:gd name="connsiteX19" fmla="*/ 473448 w 554117"/>
                <a:gd name="connsiteY19" fmla="*/ 13673 h 513052"/>
                <a:gd name="connsiteX20" fmla="*/ 460672 w 554117"/>
                <a:gd name="connsiteY20" fmla="*/ 32386 h 513052"/>
                <a:gd name="connsiteX21" fmla="*/ 460997 w 554117"/>
                <a:gd name="connsiteY21" fmla="*/ 12280 h 513052"/>
                <a:gd name="connsiteX22" fmla="*/ 460997 w 554117"/>
                <a:gd name="connsiteY22" fmla="*/ 12094 h 513052"/>
                <a:gd name="connsiteX23" fmla="*/ 455422 w 554117"/>
                <a:gd name="connsiteY23" fmla="*/ 11072 h 513052"/>
                <a:gd name="connsiteX24" fmla="*/ 447292 w 554117"/>
                <a:gd name="connsiteY24" fmla="*/ 20406 h 513052"/>
                <a:gd name="connsiteX25" fmla="*/ 426572 w 554117"/>
                <a:gd name="connsiteY25" fmla="*/ 43019 h 513052"/>
                <a:gd name="connsiteX26" fmla="*/ 430381 w 554117"/>
                <a:gd name="connsiteY26" fmla="*/ 27835 h 513052"/>
                <a:gd name="connsiteX27" fmla="*/ 444411 w 554117"/>
                <a:gd name="connsiteY27" fmla="*/ 9447 h 513052"/>
                <a:gd name="connsiteX28" fmla="*/ 448035 w 554117"/>
                <a:gd name="connsiteY28" fmla="*/ 7172 h 513052"/>
                <a:gd name="connsiteX29" fmla="*/ 442274 w 554117"/>
                <a:gd name="connsiteY29" fmla="*/ 439 h 513052"/>
                <a:gd name="connsiteX30" fmla="*/ 441856 w 554117"/>
                <a:gd name="connsiteY30" fmla="*/ 300 h 513052"/>
                <a:gd name="connsiteX31" fmla="*/ 430056 w 554117"/>
                <a:gd name="connsiteY31" fmla="*/ 10887 h 513052"/>
                <a:gd name="connsiteX32" fmla="*/ 420393 w 554117"/>
                <a:gd name="connsiteY32" fmla="*/ 9494 h 513052"/>
                <a:gd name="connsiteX33" fmla="*/ 411752 w 554117"/>
                <a:gd name="connsiteY33" fmla="*/ 12465 h 513052"/>
                <a:gd name="connsiteX34" fmla="*/ 410962 w 554117"/>
                <a:gd name="connsiteY34" fmla="*/ 17945 h 513052"/>
                <a:gd name="connsiteX35" fmla="*/ 406177 w 554117"/>
                <a:gd name="connsiteY35" fmla="*/ 21474 h 513052"/>
                <a:gd name="connsiteX36" fmla="*/ 391217 w 554117"/>
                <a:gd name="connsiteY36" fmla="*/ 27139 h 513052"/>
                <a:gd name="connsiteX37" fmla="*/ 386107 w 554117"/>
                <a:gd name="connsiteY37" fmla="*/ 36333 h 513052"/>
                <a:gd name="connsiteX38" fmla="*/ 383877 w 554117"/>
                <a:gd name="connsiteY38" fmla="*/ 50124 h 513052"/>
                <a:gd name="connsiteX39" fmla="*/ 375886 w 554117"/>
                <a:gd name="connsiteY39" fmla="*/ 34568 h 513052"/>
                <a:gd name="connsiteX40" fmla="*/ 380346 w 554117"/>
                <a:gd name="connsiteY40" fmla="*/ 25374 h 513052"/>
                <a:gd name="connsiteX41" fmla="*/ 391078 w 554117"/>
                <a:gd name="connsiteY41" fmla="*/ 16087 h 513052"/>
                <a:gd name="connsiteX42" fmla="*/ 376118 w 554117"/>
                <a:gd name="connsiteY42" fmla="*/ 21056 h 513052"/>
                <a:gd name="connsiteX43" fmla="*/ 362274 w 554117"/>
                <a:gd name="connsiteY43" fmla="*/ 20499 h 513052"/>
                <a:gd name="connsiteX44" fmla="*/ 367895 w 554117"/>
                <a:gd name="connsiteY44" fmla="*/ 34893 h 513052"/>
                <a:gd name="connsiteX45" fmla="*/ 361809 w 554117"/>
                <a:gd name="connsiteY45" fmla="*/ 39862 h 513052"/>
                <a:gd name="connsiteX46" fmla="*/ 345549 w 554117"/>
                <a:gd name="connsiteY46" fmla="*/ 40187 h 513052"/>
                <a:gd name="connsiteX47" fmla="*/ 357675 w 554117"/>
                <a:gd name="connsiteY47" fmla="*/ 52214 h 513052"/>
                <a:gd name="connsiteX48" fmla="*/ 347454 w 554117"/>
                <a:gd name="connsiteY48" fmla="*/ 50774 h 513052"/>
                <a:gd name="connsiteX49" fmla="*/ 335979 w 554117"/>
                <a:gd name="connsiteY49" fmla="*/ 43019 h 513052"/>
                <a:gd name="connsiteX50" fmla="*/ 328964 w 554117"/>
                <a:gd name="connsiteY50" fmla="*/ 47617 h 513052"/>
                <a:gd name="connsiteX51" fmla="*/ 334074 w 554117"/>
                <a:gd name="connsiteY51" fmla="*/ 63172 h 513052"/>
                <a:gd name="connsiteX52" fmla="*/ 326734 w 554117"/>
                <a:gd name="connsiteY52" fmla="*/ 58250 h 513052"/>
                <a:gd name="connsiteX53" fmla="*/ 314608 w 554117"/>
                <a:gd name="connsiteY53" fmla="*/ 57182 h 513052"/>
                <a:gd name="connsiteX54" fmla="*/ 313029 w 554117"/>
                <a:gd name="connsiteY54" fmla="*/ 43391 h 513052"/>
                <a:gd name="connsiteX55" fmla="*/ 298023 w 554117"/>
                <a:gd name="connsiteY55" fmla="*/ 44830 h 513052"/>
                <a:gd name="connsiteX56" fmla="*/ 291983 w 554117"/>
                <a:gd name="connsiteY56" fmla="*/ 51517 h 513052"/>
                <a:gd name="connsiteX57" fmla="*/ 290032 w 554117"/>
                <a:gd name="connsiteY57" fmla="*/ 62476 h 513052"/>
                <a:gd name="connsiteX58" fmla="*/ 283017 w 554117"/>
                <a:gd name="connsiteY58" fmla="*/ 68141 h 513052"/>
                <a:gd name="connsiteX59" fmla="*/ 275351 w 554117"/>
                <a:gd name="connsiteY59" fmla="*/ 69209 h 513052"/>
                <a:gd name="connsiteX60" fmla="*/ 260671 w 554117"/>
                <a:gd name="connsiteY60" fmla="*/ 71345 h 513052"/>
                <a:gd name="connsiteX61" fmla="*/ 249521 w 554117"/>
                <a:gd name="connsiteY61" fmla="*/ 87597 h 513052"/>
                <a:gd name="connsiteX62" fmla="*/ 263226 w 554117"/>
                <a:gd name="connsiteY62" fmla="*/ 86529 h 513052"/>
                <a:gd name="connsiteX63" fmla="*/ 266106 w 554117"/>
                <a:gd name="connsiteY63" fmla="*/ 94980 h 513052"/>
                <a:gd name="connsiteX64" fmla="*/ 264201 w 554117"/>
                <a:gd name="connsiteY64" fmla="*/ 101342 h 513052"/>
                <a:gd name="connsiteX65" fmla="*/ 253051 w 554117"/>
                <a:gd name="connsiteY65" fmla="*/ 102735 h 513052"/>
                <a:gd name="connsiteX66" fmla="*/ 243481 w 554117"/>
                <a:gd name="connsiteY66" fmla="*/ 96373 h 513052"/>
                <a:gd name="connsiteX67" fmla="*/ 231681 w 554117"/>
                <a:gd name="connsiteY67" fmla="*/ 102735 h 513052"/>
                <a:gd name="connsiteX68" fmla="*/ 236791 w 554117"/>
                <a:gd name="connsiteY68" fmla="*/ 82953 h 513052"/>
                <a:gd name="connsiteX69" fmla="*/ 224062 w 554117"/>
                <a:gd name="connsiteY69" fmla="*/ 94237 h 513052"/>
                <a:gd name="connsiteX70" fmla="*/ 210357 w 554117"/>
                <a:gd name="connsiteY70" fmla="*/ 105892 h 513052"/>
                <a:gd name="connsiteX71" fmla="*/ 201112 w 554117"/>
                <a:gd name="connsiteY71" fmla="*/ 118615 h 513052"/>
                <a:gd name="connsiteX72" fmla="*/ 174631 w 554117"/>
                <a:gd name="connsiteY72" fmla="*/ 134867 h 513052"/>
                <a:gd name="connsiteX73" fmla="*/ 181971 w 554117"/>
                <a:gd name="connsiteY73" fmla="*/ 135564 h 513052"/>
                <a:gd name="connsiteX74" fmla="*/ 197906 w 554117"/>
                <a:gd name="connsiteY74" fmla="*/ 126741 h 513052"/>
                <a:gd name="connsiteX75" fmla="*/ 218951 w 554117"/>
                <a:gd name="connsiteY75" fmla="*/ 118244 h 513052"/>
                <a:gd name="connsiteX76" fmla="*/ 231681 w 554117"/>
                <a:gd name="connsiteY76" fmla="*/ 116154 h 513052"/>
                <a:gd name="connsiteX77" fmla="*/ 245061 w 554117"/>
                <a:gd name="connsiteY77" fmla="*/ 115086 h 513052"/>
                <a:gd name="connsiteX78" fmla="*/ 243156 w 554117"/>
                <a:gd name="connsiteY78" fmla="*/ 127809 h 513052"/>
                <a:gd name="connsiteX79" fmla="*/ 237116 w 554117"/>
                <a:gd name="connsiteY79" fmla="*/ 131663 h 513052"/>
                <a:gd name="connsiteX80" fmla="*/ 228475 w 554117"/>
                <a:gd name="connsiteY80" fmla="*/ 127066 h 513052"/>
                <a:gd name="connsiteX81" fmla="*/ 218301 w 554117"/>
                <a:gd name="connsiteY81" fmla="*/ 136957 h 513052"/>
                <a:gd name="connsiteX82" fmla="*/ 209706 w 554117"/>
                <a:gd name="connsiteY82" fmla="*/ 154277 h 513052"/>
                <a:gd name="connsiteX83" fmla="*/ 201762 w 554117"/>
                <a:gd name="connsiteY83" fmla="*/ 161707 h 513052"/>
                <a:gd name="connsiteX84" fmla="*/ 181971 w 554117"/>
                <a:gd name="connsiteY84" fmla="*/ 191704 h 513052"/>
                <a:gd name="connsiteX85" fmla="*/ 178440 w 554117"/>
                <a:gd name="connsiteY85" fmla="*/ 209395 h 513052"/>
                <a:gd name="connsiteX86" fmla="*/ 161529 w 554117"/>
                <a:gd name="connsiteY86" fmla="*/ 212553 h 513052"/>
                <a:gd name="connsiteX87" fmla="*/ 158649 w 554117"/>
                <a:gd name="connsiteY87" fmla="*/ 234470 h 513052"/>
                <a:gd name="connsiteX88" fmla="*/ 158649 w 554117"/>
                <a:gd name="connsiteY88" fmla="*/ 250722 h 513052"/>
                <a:gd name="connsiteX89" fmla="*/ 145269 w 554117"/>
                <a:gd name="connsiteY89" fmla="*/ 252812 h 513052"/>
                <a:gd name="connsiteX90" fmla="*/ 130263 w 554117"/>
                <a:gd name="connsiteY90" fmla="*/ 258105 h 513052"/>
                <a:gd name="connsiteX91" fmla="*/ 142389 w 554117"/>
                <a:gd name="connsiteY91" fmla="*/ 272918 h 513052"/>
                <a:gd name="connsiteX92" fmla="*/ 135699 w 554117"/>
                <a:gd name="connsiteY92" fmla="*/ 276075 h 513052"/>
                <a:gd name="connsiteX93" fmla="*/ 127662 w 554117"/>
                <a:gd name="connsiteY93" fmla="*/ 277468 h 513052"/>
                <a:gd name="connsiteX94" fmla="*/ 126686 w 554117"/>
                <a:gd name="connsiteY94" fmla="*/ 284434 h 513052"/>
                <a:gd name="connsiteX95" fmla="*/ 78230 w 554117"/>
                <a:gd name="connsiteY95" fmla="*/ 330776 h 513052"/>
                <a:gd name="connsiteX96" fmla="*/ 61924 w 554117"/>
                <a:gd name="connsiteY96" fmla="*/ 332261 h 513052"/>
                <a:gd name="connsiteX97" fmla="*/ 54909 w 554117"/>
                <a:gd name="connsiteY97" fmla="*/ 333794 h 513052"/>
                <a:gd name="connsiteX98" fmla="*/ 49009 w 554117"/>
                <a:gd name="connsiteY98" fmla="*/ 340805 h 513052"/>
                <a:gd name="connsiteX99" fmla="*/ 49334 w 554117"/>
                <a:gd name="connsiteY99" fmla="*/ 342616 h 513052"/>
                <a:gd name="connsiteX100" fmla="*/ 57232 w 554117"/>
                <a:gd name="connsiteY100" fmla="*/ 347028 h 513052"/>
                <a:gd name="connsiteX101" fmla="*/ 49520 w 554117"/>
                <a:gd name="connsiteY101" fmla="*/ 349303 h 513052"/>
                <a:gd name="connsiteX102" fmla="*/ 43016 w 554117"/>
                <a:gd name="connsiteY102" fmla="*/ 361933 h 513052"/>
                <a:gd name="connsiteX103" fmla="*/ 15373 w 554117"/>
                <a:gd name="connsiteY103" fmla="*/ 376978 h 513052"/>
                <a:gd name="connsiteX104" fmla="*/ 18486 w 554117"/>
                <a:gd name="connsiteY104" fmla="*/ 395784 h 513052"/>
                <a:gd name="connsiteX105" fmla="*/ 9055 w 554117"/>
                <a:gd name="connsiteY105" fmla="*/ 419884 h 513052"/>
                <a:gd name="connsiteX106" fmla="*/ 1900 w 554117"/>
                <a:gd name="connsiteY106" fmla="*/ 426849 h 513052"/>
                <a:gd name="connsiteX107" fmla="*/ 1436 w 554117"/>
                <a:gd name="connsiteY107" fmla="*/ 435347 h 513052"/>
                <a:gd name="connsiteX108" fmla="*/ 12585 w 554117"/>
                <a:gd name="connsiteY108" fmla="*/ 439201 h 513052"/>
                <a:gd name="connsiteX109" fmla="*/ 27870 w 554117"/>
                <a:gd name="connsiteY109" fmla="*/ 432839 h 513052"/>
                <a:gd name="connsiteX110" fmla="*/ 31680 w 554117"/>
                <a:gd name="connsiteY110" fmla="*/ 440269 h 513052"/>
                <a:gd name="connsiteX111" fmla="*/ 20530 w 554117"/>
                <a:gd name="connsiteY111" fmla="*/ 450159 h 513052"/>
                <a:gd name="connsiteX112" fmla="*/ 11935 w 554117"/>
                <a:gd name="connsiteY112" fmla="*/ 447698 h 513052"/>
                <a:gd name="connsiteX113" fmla="*/ 4595 w 554117"/>
                <a:gd name="connsiteY113" fmla="*/ 454756 h 513052"/>
                <a:gd name="connsiteX114" fmla="*/ 3015 w 554117"/>
                <a:gd name="connsiteY114" fmla="*/ 468872 h 513052"/>
                <a:gd name="connsiteX115" fmla="*/ 15141 w 554117"/>
                <a:gd name="connsiteY115" fmla="*/ 467108 h 513052"/>
                <a:gd name="connsiteX116" fmla="*/ 26616 w 554117"/>
                <a:gd name="connsiteY116" fmla="*/ 468547 h 513052"/>
                <a:gd name="connsiteX117" fmla="*/ 21227 w 554117"/>
                <a:gd name="connsiteY117" fmla="*/ 478067 h 513052"/>
                <a:gd name="connsiteX118" fmla="*/ 13840 w 554117"/>
                <a:gd name="connsiteY118" fmla="*/ 483685 h 513052"/>
                <a:gd name="connsiteX119" fmla="*/ 19275 w 554117"/>
                <a:gd name="connsiteY119" fmla="*/ 489257 h 513052"/>
                <a:gd name="connsiteX120" fmla="*/ 19415 w 554117"/>
                <a:gd name="connsiteY120" fmla="*/ 489257 h 513052"/>
                <a:gd name="connsiteX121" fmla="*/ 20019 w 554117"/>
                <a:gd name="connsiteY121" fmla="*/ 489629 h 513052"/>
                <a:gd name="connsiteX122" fmla="*/ 25361 w 554117"/>
                <a:gd name="connsiteY122" fmla="*/ 492693 h 513052"/>
                <a:gd name="connsiteX123" fmla="*/ 40693 w 554117"/>
                <a:gd name="connsiteY123" fmla="*/ 503745 h 513052"/>
                <a:gd name="connsiteX124" fmla="*/ 45245 w 554117"/>
                <a:gd name="connsiteY124" fmla="*/ 510478 h 513052"/>
                <a:gd name="connsiteX125" fmla="*/ 60112 w 554117"/>
                <a:gd name="connsiteY125" fmla="*/ 512707 h 513052"/>
                <a:gd name="connsiteX126" fmla="*/ 100298 w 554117"/>
                <a:gd name="connsiteY126" fmla="*/ 479877 h 513052"/>
                <a:gd name="connsiteX127" fmla="*/ 115304 w 554117"/>
                <a:gd name="connsiteY127" fmla="*/ 476348 h 513052"/>
                <a:gd name="connsiteX128" fmla="*/ 120739 w 554117"/>
                <a:gd name="connsiteY128" fmla="*/ 459075 h 513052"/>
                <a:gd name="connsiteX129" fmla="*/ 129334 w 554117"/>
                <a:gd name="connsiteY129" fmla="*/ 472123 h 513052"/>
                <a:gd name="connsiteX130" fmla="*/ 134445 w 554117"/>
                <a:gd name="connsiteY130" fmla="*/ 482942 h 513052"/>
                <a:gd name="connsiteX131" fmla="*/ 141181 w 554117"/>
                <a:gd name="connsiteY131" fmla="*/ 484010 h 513052"/>
                <a:gd name="connsiteX132" fmla="*/ 146291 w 554117"/>
                <a:gd name="connsiteY132" fmla="*/ 468129 h 513052"/>
                <a:gd name="connsiteX133" fmla="*/ 149357 w 554117"/>
                <a:gd name="connsiteY133" fmla="*/ 448813 h 513052"/>
                <a:gd name="connsiteX134" fmla="*/ 163713 w 554117"/>
                <a:gd name="connsiteY134" fmla="*/ 443148 h 513052"/>
                <a:gd name="connsiteX135" fmla="*/ 162691 w 554117"/>
                <a:gd name="connsiteY135" fmla="*/ 420441 h 513052"/>
                <a:gd name="connsiteX136" fmla="*/ 161669 w 554117"/>
                <a:gd name="connsiteY136" fmla="*/ 409111 h 513052"/>
                <a:gd name="connsiteX137" fmla="*/ 169892 w 554117"/>
                <a:gd name="connsiteY137" fmla="*/ 396620 h 513052"/>
                <a:gd name="connsiteX138" fmla="*/ 155536 w 554117"/>
                <a:gd name="connsiteY138" fmla="*/ 379625 h 513052"/>
                <a:gd name="connsiteX139" fmla="*/ 156559 w 554117"/>
                <a:gd name="connsiteY139" fmla="*/ 356918 h 513052"/>
                <a:gd name="connsiteX140" fmla="*/ 156559 w 554117"/>
                <a:gd name="connsiteY140" fmla="*/ 333097 h 513052"/>
                <a:gd name="connsiteX141" fmla="*/ 158603 w 554117"/>
                <a:gd name="connsiteY141" fmla="*/ 309276 h 513052"/>
                <a:gd name="connsiteX142" fmla="*/ 180112 w 554117"/>
                <a:gd name="connsiteY142" fmla="*/ 293396 h 513052"/>
                <a:gd name="connsiteX143" fmla="*/ 194468 w 554117"/>
                <a:gd name="connsiteY143" fmla="*/ 292235 h 513052"/>
                <a:gd name="connsiteX144" fmla="*/ 194468 w 554117"/>
                <a:gd name="connsiteY144" fmla="*/ 278629 h 513052"/>
                <a:gd name="connsiteX145" fmla="*/ 189358 w 554117"/>
                <a:gd name="connsiteY145" fmla="*/ 266138 h 513052"/>
                <a:gd name="connsiteX146" fmla="*/ 203713 w 554117"/>
                <a:gd name="connsiteY146" fmla="*/ 235538 h 513052"/>
                <a:gd name="connsiteX147" fmla="*/ 204735 w 554117"/>
                <a:gd name="connsiteY147" fmla="*/ 213946 h 513052"/>
                <a:gd name="connsiteX148" fmla="*/ 221135 w 554117"/>
                <a:gd name="connsiteY148" fmla="*/ 209442 h 513052"/>
                <a:gd name="connsiteX149" fmla="*/ 225223 w 554117"/>
                <a:gd name="connsiteY149" fmla="*/ 195836 h 513052"/>
                <a:gd name="connsiteX150" fmla="*/ 236512 w 554117"/>
                <a:gd name="connsiteY150" fmla="*/ 177680 h 513052"/>
                <a:gd name="connsiteX151" fmla="*/ 241623 w 554117"/>
                <a:gd name="connsiteY151" fmla="*/ 165189 h 513052"/>
                <a:gd name="connsiteX152" fmla="*/ 247755 w 554117"/>
                <a:gd name="connsiteY152" fmla="*/ 148148 h 513052"/>
                <a:gd name="connsiteX153" fmla="*/ 264155 w 554117"/>
                <a:gd name="connsiteY153" fmla="*/ 134542 h 513052"/>
                <a:gd name="connsiteX154" fmla="*/ 280555 w 554117"/>
                <a:gd name="connsiteY154" fmla="*/ 127763 h 513052"/>
                <a:gd name="connsiteX155" fmla="*/ 285665 w 554117"/>
                <a:gd name="connsiteY155" fmla="*/ 110768 h 513052"/>
                <a:gd name="connsiteX156" fmla="*/ 308197 w 554117"/>
                <a:gd name="connsiteY156" fmla="*/ 115318 h 513052"/>
                <a:gd name="connsiteX157" fmla="*/ 322552 w 554117"/>
                <a:gd name="connsiteY157" fmla="*/ 110768 h 513052"/>
                <a:gd name="connsiteX158" fmla="*/ 334864 w 554117"/>
                <a:gd name="connsiteY158" fmla="*/ 92612 h 513052"/>
                <a:gd name="connsiteX159" fmla="*/ 336954 w 554117"/>
                <a:gd name="connsiteY159" fmla="*/ 94051 h 513052"/>
                <a:gd name="connsiteX160" fmla="*/ 351263 w 554117"/>
                <a:gd name="connsiteY160" fmla="*/ 82396 h 513052"/>
                <a:gd name="connsiteX161" fmla="*/ 374818 w 554117"/>
                <a:gd name="connsiteY161" fmla="*/ 101667 h 513052"/>
                <a:gd name="connsiteX162" fmla="*/ 398372 w 554117"/>
                <a:gd name="connsiteY162" fmla="*/ 102781 h 513052"/>
                <a:gd name="connsiteX163" fmla="*/ 414771 w 554117"/>
                <a:gd name="connsiteY163" fmla="*/ 103895 h 513052"/>
                <a:gd name="connsiteX164" fmla="*/ 427083 w 554117"/>
                <a:gd name="connsiteY164" fmla="*/ 107285 h 513052"/>
                <a:gd name="connsiteX165" fmla="*/ 436281 w 554117"/>
                <a:gd name="connsiteY165" fmla="*/ 93680 h 513052"/>
                <a:gd name="connsiteX166" fmla="*/ 440370 w 554117"/>
                <a:gd name="connsiteY166" fmla="*/ 73248 h 513052"/>
                <a:gd name="connsiteX167" fmla="*/ 453656 w 554117"/>
                <a:gd name="connsiteY167" fmla="*/ 57368 h 513052"/>
                <a:gd name="connsiteX168" fmla="*/ 475166 w 554117"/>
                <a:gd name="connsiteY168" fmla="*/ 51703 h 513052"/>
                <a:gd name="connsiteX169" fmla="*/ 492588 w 554117"/>
                <a:gd name="connsiteY169" fmla="*/ 51703 h 513052"/>
                <a:gd name="connsiteX170" fmla="*/ 515120 w 554117"/>
                <a:gd name="connsiteY170" fmla="*/ 68744 h 513052"/>
                <a:gd name="connsiteX171" fmla="*/ 515120 w 554117"/>
                <a:gd name="connsiteY171" fmla="*/ 82071 h 513052"/>
                <a:gd name="connsiteX172" fmla="*/ 525016 w 554117"/>
                <a:gd name="connsiteY172" fmla="*/ 76638 h 513052"/>
                <a:gd name="connsiteX173" fmla="*/ 542856 w 554117"/>
                <a:gd name="connsiteY173" fmla="*/ 67444 h 513052"/>
                <a:gd name="connsiteX174" fmla="*/ 553820 w 554117"/>
                <a:gd name="connsiteY174" fmla="*/ 58900 h 513052"/>
                <a:gd name="connsiteX175" fmla="*/ 537745 w 554117"/>
                <a:gd name="connsiteY175" fmla="*/ 59690 h 513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554117" h="513052">
                  <a:moveTo>
                    <a:pt x="537745" y="59643"/>
                  </a:moveTo>
                  <a:cubicBezTo>
                    <a:pt x="536444" y="64937"/>
                    <a:pt x="527850" y="63869"/>
                    <a:pt x="528175" y="58575"/>
                  </a:cubicBezTo>
                  <a:cubicBezTo>
                    <a:pt x="528500" y="53282"/>
                    <a:pt x="514795" y="49056"/>
                    <a:pt x="514145" y="46549"/>
                  </a:cubicBezTo>
                  <a:cubicBezTo>
                    <a:pt x="513494" y="44087"/>
                    <a:pt x="519905" y="44413"/>
                    <a:pt x="525016" y="47617"/>
                  </a:cubicBezTo>
                  <a:cubicBezTo>
                    <a:pt x="530126" y="50820"/>
                    <a:pt x="533611" y="48685"/>
                    <a:pt x="539371" y="42694"/>
                  </a:cubicBezTo>
                  <a:cubicBezTo>
                    <a:pt x="545132" y="36704"/>
                    <a:pt x="553076" y="41626"/>
                    <a:pt x="554052" y="36333"/>
                  </a:cubicBezTo>
                  <a:cubicBezTo>
                    <a:pt x="555028" y="31039"/>
                    <a:pt x="544807" y="27510"/>
                    <a:pt x="542902" y="24306"/>
                  </a:cubicBezTo>
                  <a:cubicBezTo>
                    <a:pt x="540997" y="21102"/>
                    <a:pt x="533657" y="16877"/>
                    <a:pt x="526642" y="18316"/>
                  </a:cubicBezTo>
                  <a:cubicBezTo>
                    <a:pt x="519627" y="19709"/>
                    <a:pt x="519301" y="16552"/>
                    <a:pt x="515167" y="12326"/>
                  </a:cubicBezTo>
                  <a:cubicBezTo>
                    <a:pt x="514145" y="11258"/>
                    <a:pt x="512565" y="10933"/>
                    <a:pt x="510800" y="11119"/>
                  </a:cubicBezTo>
                  <a:cubicBezTo>
                    <a:pt x="508616" y="12558"/>
                    <a:pt x="506247" y="13719"/>
                    <a:pt x="503738" y="14416"/>
                  </a:cubicBezTo>
                  <a:cubicBezTo>
                    <a:pt x="500672" y="16970"/>
                    <a:pt x="498256" y="20731"/>
                    <a:pt x="498256" y="25003"/>
                  </a:cubicBezTo>
                  <a:cubicBezTo>
                    <a:pt x="498256" y="34893"/>
                    <a:pt x="490265" y="32432"/>
                    <a:pt x="493146" y="27139"/>
                  </a:cubicBezTo>
                  <a:cubicBezTo>
                    <a:pt x="495608" y="22588"/>
                    <a:pt x="491055" y="17295"/>
                    <a:pt x="493750" y="14741"/>
                  </a:cubicBezTo>
                  <a:cubicBezTo>
                    <a:pt x="493099" y="14555"/>
                    <a:pt x="492402" y="14369"/>
                    <a:pt x="491752" y="14091"/>
                  </a:cubicBezTo>
                  <a:cubicBezTo>
                    <a:pt x="489197" y="13069"/>
                    <a:pt x="486688" y="12280"/>
                    <a:pt x="483994" y="11583"/>
                  </a:cubicBezTo>
                  <a:cubicBezTo>
                    <a:pt x="483204" y="11444"/>
                    <a:pt x="482832" y="11351"/>
                    <a:pt x="482879" y="11305"/>
                  </a:cubicBezTo>
                  <a:cubicBezTo>
                    <a:pt x="482182" y="11258"/>
                    <a:pt x="481485" y="11165"/>
                    <a:pt x="480834" y="11165"/>
                  </a:cubicBezTo>
                  <a:cubicBezTo>
                    <a:pt x="478093" y="11026"/>
                    <a:pt x="475352" y="11165"/>
                    <a:pt x="472611" y="11258"/>
                  </a:cubicBezTo>
                  <a:cubicBezTo>
                    <a:pt x="472658" y="12233"/>
                    <a:pt x="472937" y="13069"/>
                    <a:pt x="473448" y="13673"/>
                  </a:cubicBezTo>
                  <a:cubicBezTo>
                    <a:pt x="476328" y="17202"/>
                    <a:pt x="465457" y="32386"/>
                    <a:pt x="460672" y="32386"/>
                  </a:cubicBezTo>
                  <a:cubicBezTo>
                    <a:pt x="455887" y="32386"/>
                    <a:pt x="461322" y="19338"/>
                    <a:pt x="460997" y="12280"/>
                  </a:cubicBezTo>
                  <a:cubicBezTo>
                    <a:pt x="460997" y="12187"/>
                    <a:pt x="460997" y="12187"/>
                    <a:pt x="460997" y="12094"/>
                  </a:cubicBezTo>
                  <a:cubicBezTo>
                    <a:pt x="459046" y="11908"/>
                    <a:pt x="457187" y="11630"/>
                    <a:pt x="455422" y="11072"/>
                  </a:cubicBezTo>
                  <a:cubicBezTo>
                    <a:pt x="453331" y="13023"/>
                    <a:pt x="450637" y="16180"/>
                    <a:pt x="447292" y="20406"/>
                  </a:cubicBezTo>
                  <a:cubicBezTo>
                    <a:pt x="438372" y="31689"/>
                    <a:pt x="431682" y="41952"/>
                    <a:pt x="426572" y="43019"/>
                  </a:cubicBezTo>
                  <a:cubicBezTo>
                    <a:pt x="421461" y="44087"/>
                    <a:pt x="422112" y="32757"/>
                    <a:pt x="430381" y="27835"/>
                  </a:cubicBezTo>
                  <a:cubicBezTo>
                    <a:pt x="438651" y="22867"/>
                    <a:pt x="438976" y="9447"/>
                    <a:pt x="444411" y="9447"/>
                  </a:cubicBezTo>
                  <a:cubicBezTo>
                    <a:pt x="446409" y="9447"/>
                    <a:pt x="447617" y="8472"/>
                    <a:pt x="448035" y="7172"/>
                  </a:cubicBezTo>
                  <a:cubicBezTo>
                    <a:pt x="445759" y="5361"/>
                    <a:pt x="443807" y="3132"/>
                    <a:pt x="442274" y="439"/>
                  </a:cubicBezTo>
                  <a:cubicBezTo>
                    <a:pt x="442135" y="439"/>
                    <a:pt x="441996" y="300"/>
                    <a:pt x="441856" y="300"/>
                  </a:cubicBezTo>
                  <a:cubicBezTo>
                    <a:pt x="433866" y="-1836"/>
                    <a:pt x="432611" y="8054"/>
                    <a:pt x="430056" y="10887"/>
                  </a:cubicBezTo>
                  <a:cubicBezTo>
                    <a:pt x="428662" y="12419"/>
                    <a:pt x="424156" y="10794"/>
                    <a:pt x="420393" y="9494"/>
                  </a:cubicBezTo>
                  <a:cubicBezTo>
                    <a:pt x="417745" y="11072"/>
                    <a:pt x="414771" y="12140"/>
                    <a:pt x="411752" y="12465"/>
                  </a:cubicBezTo>
                  <a:cubicBezTo>
                    <a:pt x="410358" y="13719"/>
                    <a:pt x="409382" y="15298"/>
                    <a:pt x="410962" y="17945"/>
                  </a:cubicBezTo>
                  <a:cubicBezTo>
                    <a:pt x="414167" y="23238"/>
                    <a:pt x="409382" y="27835"/>
                    <a:pt x="406177" y="21474"/>
                  </a:cubicBezTo>
                  <a:cubicBezTo>
                    <a:pt x="402971" y="15112"/>
                    <a:pt x="395027" y="20034"/>
                    <a:pt x="391217" y="27139"/>
                  </a:cubicBezTo>
                  <a:cubicBezTo>
                    <a:pt x="387361" y="34197"/>
                    <a:pt x="382297" y="33825"/>
                    <a:pt x="386107" y="36333"/>
                  </a:cubicBezTo>
                  <a:cubicBezTo>
                    <a:pt x="389916" y="38794"/>
                    <a:pt x="389638" y="48359"/>
                    <a:pt x="383877" y="50124"/>
                  </a:cubicBezTo>
                  <a:cubicBezTo>
                    <a:pt x="378116" y="51889"/>
                    <a:pt x="380346" y="32804"/>
                    <a:pt x="375886" y="34568"/>
                  </a:cubicBezTo>
                  <a:cubicBezTo>
                    <a:pt x="371426" y="36333"/>
                    <a:pt x="374307" y="25374"/>
                    <a:pt x="380346" y="25374"/>
                  </a:cubicBezTo>
                  <a:cubicBezTo>
                    <a:pt x="384852" y="25374"/>
                    <a:pt x="389359" y="19895"/>
                    <a:pt x="391078" y="16087"/>
                  </a:cubicBezTo>
                  <a:cubicBezTo>
                    <a:pt x="386107" y="17852"/>
                    <a:pt x="381229" y="19709"/>
                    <a:pt x="376118" y="21056"/>
                  </a:cubicBezTo>
                  <a:cubicBezTo>
                    <a:pt x="371426" y="22310"/>
                    <a:pt x="366641" y="21985"/>
                    <a:pt x="362274" y="20499"/>
                  </a:cubicBezTo>
                  <a:cubicBezTo>
                    <a:pt x="359347" y="23563"/>
                    <a:pt x="361159" y="30621"/>
                    <a:pt x="367895" y="34893"/>
                  </a:cubicBezTo>
                  <a:cubicBezTo>
                    <a:pt x="376815" y="40558"/>
                    <a:pt x="366316" y="44087"/>
                    <a:pt x="361809" y="39862"/>
                  </a:cubicBezTo>
                  <a:cubicBezTo>
                    <a:pt x="357349" y="35636"/>
                    <a:pt x="350334" y="37726"/>
                    <a:pt x="345549" y="40187"/>
                  </a:cubicBezTo>
                  <a:cubicBezTo>
                    <a:pt x="340764" y="42648"/>
                    <a:pt x="357024" y="49010"/>
                    <a:pt x="357675" y="52214"/>
                  </a:cubicBezTo>
                  <a:cubicBezTo>
                    <a:pt x="358325" y="55371"/>
                    <a:pt x="349359" y="48313"/>
                    <a:pt x="347454" y="50774"/>
                  </a:cubicBezTo>
                  <a:cubicBezTo>
                    <a:pt x="345549" y="53282"/>
                    <a:pt x="336629" y="49010"/>
                    <a:pt x="335979" y="43019"/>
                  </a:cubicBezTo>
                  <a:cubicBezTo>
                    <a:pt x="335328" y="37029"/>
                    <a:pt x="320973" y="45481"/>
                    <a:pt x="328964" y="47617"/>
                  </a:cubicBezTo>
                  <a:cubicBezTo>
                    <a:pt x="336954" y="49753"/>
                    <a:pt x="334074" y="55418"/>
                    <a:pt x="334074" y="63172"/>
                  </a:cubicBezTo>
                  <a:cubicBezTo>
                    <a:pt x="334074" y="70927"/>
                    <a:pt x="324829" y="64937"/>
                    <a:pt x="326734" y="58250"/>
                  </a:cubicBezTo>
                  <a:cubicBezTo>
                    <a:pt x="328638" y="51563"/>
                    <a:pt x="320973" y="52957"/>
                    <a:pt x="314608" y="57182"/>
                  </a:cubicBezTo>
                  <a:cubicBezTo>
                    <a:pt x="308243" y="61408"/>
                    <a:pt x="315584" y="49428"/>
                    <a:pt x="313029" y="43391"/>
                  </a:cubicBezTo>
                  <a:cubicBezTo>
                    <a:pt x="310474" y="37401"/>
                    <a:pt x="304713" y="43391"/>
                    <a:pt x="298023" y="44830"/>
                  </a:cubicBezTo>
                  <a:cubicBezTo>
                    <a:pt x="291333" y="46223"/>
                    <a:pt x="287848" y="46595"/>
                    <a:pt x="291983" y="51517"/>
                  </a:cubicBezTo>
                  <a:cubicBezTo>
                    <a:pt x="296118" y="56439"/>
                    <a:pt x="295514" y="63497"/>
                    <a:pt x="290032" y="62476"/>
                  </a:cubicBezTo>
                  <a:cubicBezTo>
                    <a:pt x="284596" y="61408"/>
                    <a:pt x="282413" y="62476"/>
                    <a:pt x="283017" y="68141"/>
                  </a:cubicBezTo>
                  <a:cubicBezTo>
                    <a:pt x="283667" y="73759"/>
                    <a:pt x="276002" y="74131"/>
                    <a:pt x="275351" y="69209"/>
                  </a:cubicBezTo>
                  <a:cubicBezTo>
                    <a:pt x="274701" y="64287"/>
                    <a:pt x="263876" y="65680"/>
                    <a:pt x="260671" y="71345"/>
                  </a:cubicBezTo>
                  <a:cubicBezTo>
                    <a:pt x="257465" y="76963"/>
                    <a:pt x="248545" y="81235"/>
                    <a:pt x="249521" y="87597"/>
                  </a:cubicBezTo>
                  <a:cubicBezTo>
                    <a:pt x="250450" y="93958"/>
                    <a:pt x="257511" y="84393"/>
                    <a:pt x="263226" y="86529"/>
                  </a:cubicBezTo>
                  <a:cubicBezTo>
                    <a:pt x="268986" y="88665"/>
                    <a:pt x="262900" y="91822"/>
                    <a:pt x="266106" y="94980"/>
                  </a:cubicBezTo>
                  <a:cubicBezTo>
                    <a:pt x="269265" y="98184"/>
                    <a:pt x="268661" y="105939"/>
                    <a:pt x="264201" y="101342"/>
                  </a:cubicBezTo>
                  <a:cubicBezTo>
                    <a:pt x="259741" y="96744"/>
                    <a:pt x="253981" y="95305"/>
                    <a:pt x="253051" y="102735"/>
                  </a:cubicBezTo>
                  <a:cubicBezTo>
                    <a:pt x="252076" y="110164"/>
                    <a:pt x="247337" y="101667"/>
                    <a:pt x="243481" y="96373"/>
                  </a:cubicBezTo>
                  <a:cubicBezTo>
                    <a:pt x="239672" y="91079"/>
                    <a:pt x="235816" y="106264"/>
                    <a:pt x="231681" y="102735"/>
                  </a:cubicBezTo>
                  <a:cubicBezTo>
                    <a:pt x="227546" y="99205"/>
                    <a:pt x="239950" y="88247"/>
                    <a:pt x="236791" y="82953"/>
                  </a:cubicBezTo>
                  <a:cubicBezTo>
                    <a:pt x="233586" y="77660"/>
                    <a:pt x="231356" y="86111"/>
                    <a:pt x="224062" y="94237"/>
                  </a:cubicBezTo>
                  <a:cubicBezTo>
                    <a:pt x="216721" y="102363"/>
                    <a:pt x="206872" y="101992"/>
                    <a:pt x="210357" y="105892"/>
                  </a:cubicBezTo>
                  <a:cubicBezTo>
                    <a:pt x="213841" y="109793"/>
                    <a:pt x="203016" y="111882"/>
                    <a:pt x="201112" y="118615"/>
                  </a:cubicBezTo>
                  <a:cubicBezTo>
                    <a:pt x="199207" y="125348"/>
                    <a:pt x="184201" y="127809"/>
                    <a:pt x="174631" y="134867"/>
                  </a:cubicBezTo>
                  <a:cubicBezTo>
                    <a:pt x="165060" y="141925"/>
                    <a:pt x="176535" y="142297"/>
                    <a:pt x="181971" y="135564"/>
                  </a:cubicBezTo>
                  <a:cubicBezTo>
                    <a:pt x="187406" y="128831"/>
                    <a:pt x="189311" y="132731"/>
                    <a:pt x="197906" y="126741"/>
                  </a:cubicBezTo>
                  <a:cubicBezTo>
                    <a:pt x="206547" y="120751"/>
                    <a:pt x="215746" y="115783"/>
                    <a:pt x="218951" y="118244"/>
                  </a:cubicBezTo>
                  <a:cubicBezTo>
                    <a:pt x="222111" y="120705"/>
                    <a:pt x="227546" y="122516"/>
                    <a:pt x="231681" y="116154"/>
                  </a:cubicBezTo>
                  <a:cubicBezTo>
                    <a:pt x="235816" y="109793"/>
                    <a:pt x="240926" y="111186"/>
                    <a:pt x="245061" y="115086"/>
                  </a:cubicBezTo>
                  <a:cubicBezTo>
                    <a:pt x="249196" y="118987"/>
                    <a:pt x="238046" y="122144"/>
                    <a:pt x="243156" y="127809"/>
                  </a:cubicBezTo>
                  <a:cubicBezTo>
                    <a:pt x="248266" y="133474"/>
                    <a:pt x="237116" y="136632"/>
                    <a:pt x="237116" y="131663"/>
                  </a:cubicBezTo>
                  <a:cubicBezTo>
                    <a:pt x="237116" y="126695"/>
                    <a:pt x="230752" y="122469"/>
                    <a:pt x="228475" y="127066"/>
                  </a:cubicBezTo>
                  <a:cubicBezTo>
                    <a:pt x="226245" y="131663"/>
                    <a:pt x="222436" y="136585"/>
                    <a:pt x="218301" y="136957"/>
                  </a:cubicBezTo>
                  <a:cubicBezTo>
                    <a:pt x="214166" y="137328"/>
                    <a:pt x="209706" y="145780"/>
                    <a:pt x="209706" y="154277"/>
                  </a:cubicBezTo>
                  <a:cubicBezTo>
                    <a:pt x="209706" y="162775"/>
                    <a:pt x="202366" y="154277"/>
                    <a:pt x="201762" y="161707"/>
                  </a:cubicBezTo>
                  <a:cubicBezTo>
                    <a:pt x="201112" y="169136"/>
                    <a:pt x="190891" y="182184"/>
                    <a:pt x="181971" y="191704"/>
                  </a:cubicBezTo>
                  <a:cubicBezTo>
                    <a:pt x="173051" y="201223"/>
                    <a:pt x="181320" y="203359"/>
                    <a:pt x="178440" y="209395"/>
                  </a:cubicBezTo>
                  <a:cubicBezTo>
                    <a:pt x="175560" y="215385"/>
                    <a:pt x="165060" y="210092"/>
                    <a:pt x="161529" y="212553"/>
                  </a:cubicBezTo>
                  <a:cubicBezTo>
                    <a:pt x="157999" y="215060"/>
                    <a:pt x="163434" y="229873"/>
                    <a:pt x="158649" y="234470"/>
                  </a:cubicBezTo>
                  <a:cubicBezTo>
                    <a:pt x="153864" y="239067"/>
                    <a:pt x="158649" y="245428"/>
                    <a:pt x="158649" y="250722"/>
                  </a:cubicBezTo>
                  <a:cubicBezTo>
                    <a:pt x="158649" y="256016"/>
                    <a:pt x="146198" y="247518"/>
                    <a:pt x="145269" y="252812"/>
                  </a:cubicBezTo>
                  <a:cubicBezTo>
                    <a:pt x="144294" y="258105"/>
                    <a:pt x="133469" y="256712"/>
                    <a:pt x="130263" y="258105"/>
                  </a:cubicBezTo>
                  <a:cubicBezTo>
                    <a:pt x="127058" y="259498"/>
                    <a:pt x="136628" y="267996"/>
                    <a:pt x="142389" y="272918"/>
                  </a:cubicBezTo>
                  <a:cubicBezTo>
                    <a:pt x="148103" y="277886"/>
                    <a:pt x="136953" y="281740"/>
                    <a:pt x="135699" y="276075"/>
                  </a:cubicBezTo>
                  <a:cubicBezTo>
                    <a:pt x="134956" y="272825"/>
                    <a:pt x="131982" y="274497"/>
                    <a:pt x="127662" y="277468"/>
                  </a:cubicBezTo>
                  <a:cubicBezTo>
                    <a:pt x="127801" y="279883"/>
                    <a:pt x="127522" y="282298"/>
                    <a:pt x="126686" y="284434"/>
                  </a:cubicBezTo>
                  <a:cubicBezTo>
                    <a:pt x="117441" y="307697"/>
                    <a:pt x="101041" y="320699"/>
                    <a:pt x="78230" y="330776"/>
                  </a:cubicBezTo>
                  <a:cubicBezTo>
                    <a:pt x="72470" y="333329"/>
                    <a:pt x="66895" y="333562"/>
                    <a:pt x="61924" y="332261"/>
                  </a:cubicBezTo>
                  <a:cubicBezTo>
                    <a:pt x="59787" y="333051"/>
                    <a:pt x="57324" y="333422"/>
                    <a:pt x="54909" y="333794"/>
                  </a:cubicBezTo>
                  <a:cubicBezTo>
                    <a:pt x="53469" y="336394"/>
                    <a:pt x="51564" y="338809"/>
                    <a:pt x="49009" y="340805"/>
                  </a:cubicBezTo>
                  <a:cubicBezTo>
                    <a:pt x="49148" y="341409"/>
                    <a:pt x="49241" y="342013"/>
                    <a:pt x="49334" y="342616"/>
                  </a:cubicBezTo>
                  <a:cubicBezTo>
                    <a:pt x="52400" y="343824"/>
                    <a:pt x="56256" y="344892"/>
                    <a:pt x="57232" y="347028"/>
                  </a:cubicBezTo>
                  <a:cubicBezTo>
                    <a:pt x="58347" y="349442"/>
                    <a:pt x="54398" y="349814"/>
                    <a:pt x="49520" y="349303"/>
                  </a:cubicBezTo>
                  <a:cubicBezTo>
                    <a:pt x="48962" y="353993"/>
                    <a:pt x="46871" y="358451"/>
                    <a:pt x="43016" y="361933"/>
                  </a:cubicBezTo>
                  <a:cubicBezTo>
                    <a:pt x="34467" y="369548"/>
                    <a:pt x="25408" y="374610"/>
                    <a:pt x="15373" y="376978"/>
                  </a:cubicBezTo>
                  <a:cubicBezTo>
                    <a:pt x="18950" y="381807"/>
                    <a:pt x="20576" y="388215"/>
                    <a:pt x="18486" y="395784"/>
                  </a:cubicBezTo>
                  <a:cubicBezTo>
                    <a:pt x="16116" y="404328"/>
                    <a:pt x="14305" y="412501"/>
                    <a:pt x="9055" y="419884"/>
                  </a:cubicBezTo>
                  <a:cubicBezTo>
                    <a:pt x="6964" y="422809"/>
                    <a:pt x="4548" y="425084"/>
                    <a:pt x="1900" y="426849"/>
                  </a:cubicBezTo>
                  <a:cubicBezTo>
                    <a:pt x="321" y="428846"/>
                    <a:pt x="-1212" y="431121"/>
                    <a:pt x="1436" y="435347"/>
                  </a:cubicBezTo>
                  <a:cubicBezTo>
                    <a:pt x="6546" y="443473"/>
                    <a:pt x="10356" y="433211"/>
                    <a:pt x="12585" y="439201"/>
                  </a:cubicBezTo>
                  <a:cubicBezTo>
                    <a:pt x="14816" y="445237"/>
                    <a:pt x="20855" y="439897"/>
                    <a:pt x="27870" y="432839"/>
                  </a:cubicBezTo>
                  <a:cubicBezTo>
                    <a:pt x="34885" y="425781"/>
                    <a:pt x="37441" y="440594"/>
                    <a:pt x="31680" y="440269"/>
                  </a:cubicBezTo>
                  <a:cubicBezTo>
                    <a:pt x="25919" y="439944"/>
                    <a:pt x="19229" y="443798"/>
                    <a:pt x="20530" y="450159"/>
                  </a:cubicBezTo>
                  <a:cubicBezTo>
                    <a:pt x="21784" y="456521"/>
                    <a:pt x="11610" y="455453"/>
                    <a:pt x="11935" y="447698"/>
                  </a:cubicBezTo>
                  <a:cubicBezTo>
                    <a:pt x="12261" y="439944"/>
                    <a:pt x="135" y="449091"/>
                    <a:pt x="4595" y="454756"/>
                  </a:cubicBezTo>
                  <a:cubicBezTo>
                    <a:pt x="9055" y="460375"/>
                    <a:pt x="3015" y="463579"/>
                    <a:pt x="3015" y="468872"/>
                  </a:cubicBezTo>
                  <a:cubicBezTo>
                    <a:pt x="3015" y="474166"/>
                    <a:pt x="11610" y="473098"/>
                    <a:pt x="15141" y="467108"/>
                  </a:cubicBezTo>
                  <a:cubicBezTo>
                    <a:pt x="18671" y="461118"/>
                    <a:pt x="24386" y="462511"/>
                    <a:pt x="26616" y="468547"/>
                  </a:cubicBezTo>
                  <a:cubicBezTo>
                    <a:pt x="28846" y="474537"/>
                    <a:pt x="21227" y="469940"/>
                    <a:pt x="21227" y="478067"/>
                  </a:cubicBezTo>
                  <a:cubicBezTo>
                    <a:pt x="21227" y="485171"/>
                    <a:pt x="17556" y="480667"/>
                    <a:pt x="13840" y="483685"/>
                  </a:cubicBezTo>
                  <a:cubicBezTo>
                    <a:pt x="15838" y="485264"/>
                    <a:pt x="17603" y="487168"/>
                    <a:pt x="19275" y="489257"/>
                  </a:cubicBezTo>
                  <a:lnTo>
                    <a:pt x="19415" y="489257"/>
                  </a:lnTo>
                  <a:cubicBezTo>
                    <a:pt x="17185" y="486285"/>
                    <a:pt x="18904" y="488421"/>
                    <a:pt x="20019" y="489629"/>
                  </a:cubicBezTo>
                  <a:cubicBezTo>
                    <a:pt x="21831" y="490604"/>
                    <a:pt x="23550" y="491718"/>
                    <a:pt x="25361" y="492693"/>
                  </a:cubicBezTo>
                  <a:cubicBezTo>
                    <a:pt x="30890" y="495712"/>
                    <a:pt x="36279" y="499241"/>
                    <a:pt x="40693" y="503745"/>
                  </a:cubicBezTo>
                  <a:cubicBezTo>
                    <a:pt x="42690" y="505788"/>
                    <a:pt x="44177" y="508063"/>
                    <a:pt x="45245" y="510478"/>
                  </a:cubicBezTo>
                  <a:cubicBezTo>
                    <a:pt x="49148" y="512335"/>
                    <a:pt x="53794" y="513728"/>
                    <a:pt x="60112" y="512707"/>
                  </a:cubicBezTo>
                  <a:cubicBezTo>
                    <a:pt x="72888" y="510571"/>
                    <a:pt x="97092" y="484474"/>
                    <a:pt x="100298" y="479877"/>
                  </a:cubicBezTo>
                  <a:cubicBezTo>
                    <a:pt x="103504" y="475280"/>
                    <a:pt x="110519" y="480574"/>
                    <a:pt x="115304" y="476348"/>
                  </a:cubicBezTo>
                  <a:cubicBezTo>
                    <a:pt x="120089" y="472123"/>
                    <a:pt x="117209" y="461164"/>
                    <a:pt x="120739" y="459075"/>
                  </a:cubicBezTo>
                  <a:cubicBezTo>
                    <a:pt x="124270" y="456939"/>
                    <a:pt x="126128" y="470730"/>
                    <a:pt x="129334" y="472123"/>
                  </a:cubicBezTo>
                  <a:cubicBezTo>
                    <a:pt x="132214" y="473377"/>
                    <a:pt x="134305" y="475884"/>
                    <a:pt x="134445" y="482942"/>
                  </a:cubicBezTo>
                  <a:cubicBezTo>
                    <a:pt x="137000" y="482571"/>
                    <a:pt x="139555" y="482664"/>
                    <a:pt x="141181" y="484010"/>
                  </a:cubicBezTo>
                  <a:cubicBezTo>
                    <a:pt x="145269" y="487400"/>
                    <a:pt x="146291" y="472680"/>
                    <a:pt x="146291" y="468129"/>
                  </a:cubicBezTo>
                  <a:cubicBezTo>
                    <a:pt x="146291" y="463579"/>
                    <a:pt x="150380" y="454524"/>
                    <a:pt x="149357" y="448813"/>
                  </a:cubicBezTo>
                  <a:cubicBezTo>
                    <a:pt x="148335" y="443148"/>
                    <a:pt x="161669" y="447698"/>
                    <a:pt x="163713" y="443148"/>
                  </a:cubicBezTo>
                  <a:cubicBezTo>
                    <a:pt x="165757" y="438597"/>
                    <a:pt x="166779" y="422716"/>
                    <a:pt x="162691" y="420441"/>
                  </a:cubicBezTo>
                  <a:cubicBezTo>
                    <a:pt x="158603" y="418166"/>
                    <a:pt x="157534" y="409111"/>
                    <a:pt x="161669" y="409111"/>
                  </a:cubicBezTo>
                  <a:cubicBezTo>
                    <a:pt x="165804" y="409111"/>
                    <a:pt x="170867" y="405721"/>
                    <a:pt x="169892" y="396620"/>
                  </a:cubicBezTo>
                  <a:cubicBezTo>
                    <a:pt x="168870" y="387565"/>
                    <a:pt x="156559" y="388680"/>
                    <a:pt x="155536" y="379625"/>
                  </a:cubicBezTo>
                  <a:cubicBezTo>
                    <a:pt x="154514" y="370570"/>
                    <a:pt x="161669" y="368295"/>
                    <a:pt x="156559" y="356918"/>
                  </a:cubicBezTo>
                  <a:cubicBezTo>
                    <a:pt x="151448" y="345588"/>
                    <a:pt x="158603" y="338762"/>
                    <a:pt x="156559" y="333097"/>
                  </a:cubicBezTo>
                  <a:cubicBezTo>
                    <a:pt x="154514" y="327432"/>
                    <a:pt x="152470" y="320606"/>
                    <a:pt x="158603" y="309276"/>
                  </a:cubicBezTo>
                  <a:cubicBezTo>
                    <a:pt x="164735" y="297946"/>
                    <a:pt x="176024" y="292235"/>
                    <a:pt x="180112" y="293396"/>
                  </a:cubicBezTo>
                  <a:cubicBezTo>
                    <a:pt x="184201" y="294510"/>
                    <a:pt x="191402" y="299061"/>
                    <a:pt x="194468" y="292235"/>
                  </a:cubicBezTo>
                  <a:cubicBezTo>
                    <a:pt x="197534" y="285455"/>
                    <a:pt x="197534" y="279744"/>
                    <a:pt x="194468" y="278629"/>
                  </a:cubicBezTo>
                  <a:cubicBezTo>
                    <a:pt x="191402" y="277515"/>
                    <a:pt x="183179" y="275240"/>
                    <a:pt x="189358" y="266138"/>
                  </a:cubicBezTo>
                  <a:cubicBezTo>
                    <a:pt x="195490" y="257084"/>
                    <a:pt x="202691" y="245707"/>
                    <a:pt x="203713" y="235538"/>
                  </a:cubicBezTo>
                  <a:cubicBezTo>
                    <a:pt x="204735" y="225322"/>
                    <a:pt x="201669" y="217382"/>
                    <a:pt x="204735" y="213946"/>
                  </a:cubicBezTo>
                  <a:cubicBezTo>
                    <a:pt x="207801" y="210556"/>
                    <a:pt x="215002" y="213946"/>
                    <a:pt x="221135" y="209442"/>
                  </a:cubicBezTo>
                  <a:cubicBezTo>
                    <a:pt x="227267" y="204891"/>
                    <a:pt x="222157" y="199226"/>
                    <a:pt x="225223" y="195836"/>
                  </a:cubicBezTo>
                  <a:cubicBezTo>
                    <a:pt x="228290" y="192446"/>
                    <a:pt x="232378" y="181070"/>
                    <a:pt x="236512" y="177680"/>
                  </a:cubicBezTo>
                  <a:cubicBezTo>
                    <a:pt x="240601" y="174291"/>
                    <a:pt x="244689" y="169740"/>
                    <a:pt x="241623" y="165189"/>
                  </a:cubicBezTo>
                  <a:cubicBezTo>
                    <a:pt x="238557" y="160639"/>
                    <a:pt x="247755" y="156088"/>
                    <a:pt x="247755" y="148148"/>
                  </a:cubicBezTo>
                  <a:cubicBezTo>
                    <a:pt x="247755" y="140207"/>
                    <a:pt x="257976" y="134542"/>
                    <a:pt x="264155" y="134542"/>
                  </a:cubicBezTo>
                  <a:cubicBezTo>
                    <a:pt x="270334" y="134542"/>
                    <a:pt x="280555" y="134542"/>
                    <a:pt x="280555" y="127763"/>
                  </a:cubicBezTo>
                  <a:cubicBezTo>
                    <a:pt x="280555" y="120983"/>
                    <a:pt x="276466" y="106171"/>
                    <a:pt x="285665" y="110768"/>
                  </a:cubicBezTo>
                  <a:cubicBezTo>
                    <a:pt x="294863" y="115318"/>
                    <a:pt x="302064" y="109607"/>
                    <a:pt x="308197" y="115318"/>
                  </a:cubicBezTo>
                  <a:cubicBezTo>
                    <a:pt x="314329" y="120983"/>
                    <a:pt x="322552" y="119869"/>
                    <a:pt x="322552" y="110768"/>
                  </a:cubicBezTo>
                  <a:cubicBezTo>
                    <a:pt x="322552" y="101667"/>
                    <a:pt x="325619" y="86947"/>
                    <a:pt x="334864" y="92612"/>
                  </a:cubicBezTo>
                  <a:cubicBezTo>
                    <a:pt x="335607" y="93030"/>
                    <a:pt x="336258" y="93541"/>
                    <a:pt x="336954" y="94051"/>
                  </a:cubicBezTo>
                  <a:cubicBezTo>
                    <a:pt x="340021" y="86482"/>
                    <a:pt x="345828" y="81653"/>
                    <a:pt x="351263" y="82396"/>
                  </a:cubicBezTo>
                  <a:cubicBezTo>
                    <a:pt x="359487" y="83557"/>
                    <a:pt x="364597" y="99438"/>
                    <a:pt x="374818" y="101667"/>
                  </a:cubicBezTo>
                  <a:cubicBezTo>
                    <a:pt x="385085" y="103942"/>
                    <a:pt x="395305" y="108492"/>
                    <a:pt x="398372" y="102781"/>
                  </a:cubicBezTo>
                  <a:cubicBezTo>
                    <a:pt x="401438" y="97116"/>
                    <a:pt x="408639" y="106171"/>
                    <a:pt x="414771" y="103895"/>
                  </a:cubicBezTo>
                  <a:cubicBezTo>
                    <a:pt x="420904" y="101620"/>
                    <a:pt x="420904" y="116386"/>
                    <a:pt x="427083" y="107285"/>
                  </a:cubicBezTo>
                  <a:cubicBezTo>
                    <a:pt x="433215" y="98230"/>
                    <a:pt x="426060" y="92519"/>
                    <a:pt x="436281" y="93680"/>
                  </a:cubicBezTo>
                  <a:cubicBezTo>
                    <a:pt x="446549" y="94794"/>
                    <a:pt x="440370" y="81189"/>
                    <a:pt x="440370" y="73248"/>
                  </a:cubicBezTo>
                  <a:cubicBezTo>
                    <a:pt x="440370" y="65308"/>
                    <a:pt x="453656" y="64147"/>
                    <a:pt x="453656" y="57368"/>
                  </a:cubicBezTo>
                  <a:cubicBezTo>
                    <a:pt x="453656" y="50588"/>
                    <a:pt x="472100" y="56207"/>
                    <a:pt x="475166" y="51703"/>
                  </a:cubicBezTo>
                  <a:cubicBezTo>
                    <a:pt x="478233" y="47152"/>
                    <a:pt x="488500" y="43762"/>
                    <a:pt x="492588" y="51703"/>
                  </a:cubicBezTo>
                  <a:cubicBezTo>
                    <a:pt x="496676" y="59643"/>
                    <a:pt x="514098" y="61918"/>
                    <a:pt x="515120" y="68744"/>
                  </a:cubicBezTo>
                  <a:cubicBezTo>
                    <a:pt x="515631" y="72041"/>
                    <a:pt x="515120" y="77242"/>
                    <a:pt x="515120" y="82071"/>
                  </a:cubicBezTo>
                  <a:cubicBezTo>
                    <a:pt x="517954" y="78960"/>
                    <a:pt x="521578" y="76638"/>
                    <a:pt x="525016" y="76638"/>
                  </a:cubicBezTo>
                  <a:cubicBezTo>
                    <a:pt x="531381" y="76638"/>
                    <a:pt x="537095" y="66051"/>
                    <a:pt x="542856" y="67444"/>
                  </a:cubicBezTo>
                  <a:cubicBezTo>
                    <a:pt x="547641" y="68605"/>
                    <a:pt x="552379" y="67723"/>
                    <a:pt x="553820" y="58900"/>
                  </a:cubicBezTo>
                  <a:cubicBezTo>
                    <a:pt x="548663" y="55325"/>
                    <a:pt x="538907" y="54860"/>
                    <a:pt x="537745" y="59690"/>
                  </a:cubicBezTo>
                  <a:close/>
                </a:path>
              </a:pathLst>
            </a:custGeom>
            <a:solidFill>
              <a:schemeClr val="accent1"/>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85" name="Freeform 84">
              <a:extLst>
                <a:ext uri="{FF2B5EF4-FFF2-40B4-BE49-F238E27FC236}">
                  <a16:creationId xmlns:a16="http://schemas.microsoft.com/office/drawing/2014/main" id="{0090A3BE-DCC3-ED38-FA8E-4B6C4E758BBA}"/>
                </a:ext>
              </a:extLst>
            </p:cNvPr>
            <p:cNvSpPr/>
            <p:nvPr/>
          </p:nvSpPr>
          <p:spPr>
            <a:xfrm>
              <a:off x="10314984" y="3987169"/>
              <a:ext cx="169612" cy="294458"/>
            </a:xfrm>
            <a:custGeom>
              <a:avLst/>
              <a:gdLst>
                <a:gd name="connsiteX0" fmla="*/ 16172 w 36313"/>
                <a:gd name="connsiteY0" fmla="*/ 3023 h 63041"/>
                <a:gd name="connsiteX1" fmla="*/ 563 w 36313"/>
                <a:gd name="connsiteY1" fmla="*/ 7249 h 63041"/>
                <a:gd name="connsiteX2" fmla="*/ 8507 w 36313"/>
                <a:gd name="connsiteY2" fmla="*/ 37989 h 63041"/>
                <a:gd name="connsiteX3" fmla="*/ 17427 w 36313"/>
                <a:gd name="connsiteY3" fmla="*/ 60974 h 63041"/>
                <a:gd name="connsiteX4" fmla="*/ 32433 w 36313"/>
                <a:gd name="connsiteY4" fmla="*/ 50712 h 63041"/>
                <a:gd name="connsiteX5" fmla="*/ 35964 w 36313"/>
                <a:gd name="connsiteY5" fmla="*/ 11892 h 63041"/>
                <a:gd name="connsiteX6" fmla="*/ 16172 w 36313"/>
                <a:gd name="connsiteY6" fmla="*/ 3070 h 63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313" h="63041">
                  <a:moveTo>
                    <a:pt x="16172" y="3023"/>
                  </a:moveTo>
                  <a:cubicBezTo>
                    <a:pt x="9157" y="9756"/>
                    <a:pt x="3397" y="1862"/>
                    <a:pt x="563" y="7249"/>
                  </a:cubicBezTo>
                  <a:cubicBezTo>
                    <a:pt x="-2968" y="13982"/>
                    <a:pt x="11387" y="24197"/>
                    <a:pt x="8507" y="37989"/>
                  </a:cubicBezTo>
                  <a:cubicBezTo>
                    <a:pt x="5626" y="51780"/>
                    <a:pt x="10086" y="69053"/>
                    <a:pt x="17427" y="60974"/>
                  </a:cubicBezTo>
                  <a:cubicBezTo>
                    <a:pt x="24767" y="52848"/>
                    <a:pt x="28298" y="56748"/>
                    <a:pt x="32433" y="50712"/>
                  </a:cubicBezTo>
                  <a:cubicBezTo>
                    <a:pt x="36568" y="44722"/>
                    <a:pt x="33083" y="22479"/>
                    <a:pt x="35964" y="11892"/>
                  </a:cubicBezTo>
                  <a:cubicBezTo>
                    <a:pt x="38844" y="1305"/>
                    <a:pt x="23188" y="-3663"/>
                    <a:pt x="16172" y="307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86" name="Freeform 85">
              <a:extLst>
                <a:ext uri="{FF2B5EF4-FFF2-40B4-BE49-F238E27FC236}">
                  <a16:creationId xmlns:a16="http://schemas.microsoft.com/office/drawing/2014/main" id="{47083A83-A330-4767-FD41-68102B6BDB3C}"/>
                </a:ext>
              </a:extLst>
            </p:cNvPr>
            <p:cNvSpPr/>
            <p:nvPr/>
          </p:nvSpPr>
          <p:spPr>
            <a:xfrm>
              <a:off x="10170142" y="3162357"/>
              <a:ext cx="1148951" cy="1231284"/>
            </a:xfrm>
            <a:custGeom>
              <a:avLst/>
              <a:gdLst>
                <a:gd name="connsiteX0" fmla="*/ 203420 w 245983"/>
                <a:gd name="connsiteY0" fmla="*/ 168326 h 263609"/>
                <a:gd name="connsiteX1" fmla="*/ 187485 w 245983"/>
                <a:gd name="connsiteY1" fmla="*/ 154163 h 263609"/>
                <a:gd name="connsiteX2" fmla="*/ 153989 w 245983"/>
                <a:gd name="connsiteY2" fmla="*/ 116040 h 263609"/>
                <a:gd name="connsiteX3" fmla="*/ 123698 w 245983"/>
                <a:gd name="connsiteY3" fmla="*/ 81771 h 263609"/>
                <a:gd name="connsiteX4" fmla="*/ 124023 w 245983"/>
                <a:gd name="connsiteY4" fmla="*/ 57765 h 263609"/>
                <a:gd name="connsiteX5" fmla="*/ 133547 w 245983"/>
                <a:gd name="connsiteY5" fmla="*/ 44159 h 263609"/>
                <a:gd name="connsiteX6" fmla="*/ 134662 w 245983"/>
                <a:gd name="connsiteY6" fmla="*/ 12491 h 263609"/>
                <a:gd name="connsiteX7" fmla="*/ 123698 w 245983"/>
                <a:gd name="connsiteY7" fmla="*/ 10076 h 263609"/>
                <a:gd name="connsiteX8" fmla="*/ 119377 w 245983"/>
                <a:gd name="connsiteY8" fmla="*/ 0 h 263609"/>
                <a:gd name="connsiteX9" fmla="*/ 102142 w 245983"/>
                <a:gd name="connsiteY9" fmla="*/ 2647 h 263609"/>
                <a:gd name="connsiteX10" fmla="*/ 88762 w 245983"/>
                <a:gd name="connsiteY10" fmla="*/ 7429 h 263609"/>
                <a:gd name="connsiteX11" fmla="*/ 86067 w 245983"/>
                <a:gd name="connsiteY11" fmla="*/ 5804 h 263609"/>
                <a:gd name="connsiteX12" fmla="*/ 81886 w 245983"/>
                <a:gd name="connsiteY12" fmla="*/ 10076 h 263609"/>
                <a:gd name="connsiteX13" fmla="*/ 78681 w 245983"/>
                <a:gd name="connsiteY13" fmla="*/ 15741 h 263609"/>
                <a:gd name="connsiteX14" fmla="*/ 72316 w 245983"/>
                <a:gd name="connsiteY14" fmla="*/ 18527 h 263609"/>
                <a:gd name="connsiteX15" fmla="*/ 62095 w 245983"/>
                <a:gd name="connsiteY15" fmla="*/ 21360 h 263609"/>
                <a:gd name="connsiteX16" fmla="*/ 54429 w 245983"/>
                <a:gd name="connsiteY16" fmla="*/ 26282 h 263609"/>
                <a:gd name="connsiteX17" fmla="*/ 48669 w 245983"/>
                <a:gd name="connsiteY17" fmla="*/ 34780 h 263609"/>
                <a:gd name="connsiteX18" fmla="*/ 36543 w 245983"/>
                <a:gd name="connsiteY18" fmla="*/ 18527 h 263609"/>
                <a:gd name="connsiteX19" fmla="*/ 25718 w 245983"/>
                <a:gd name="connsiteY19" fmla="*/ 35476 h 263609"/>
                <a:gd name="connsiteX20" fmla="*/ 7321 w 245983"/>
                <a:gd name="connsiteY20" fmla="*/ 36916 h 263609"/>
                <a:gd name="connsiteX21" fmla="*/ 9783 w 245983"/>
                <a:gd name="connsiteY21" fmla="*/ 48199 h 263609"/>
                <a:gd name="connsiteX22" fmla="*/ 5463 w 245983"/>
                <a:gd name="connsiteY22" fmla="*/ 57718 h 263609"/>
                <a:gd name="connsiteX23" fmla="*/ 1142 w 245983"/>
                <a:gd name="connsiteY23" fmla="*/ 63523 h 263609"/>
                <a:gd name="connsiteX24" fmla="*/ 7368 w 245983"/>
                <a:gd name="connsiteY24" fmla="*/ 75689 h 263609"/>
                <a:gd name="connsiteX25" fmla="*/ 12153 w 245983"/>
                <a:gd name="connsiteY25" fmla="*/ 87344 h 263609"/>
                <a:gd name="connsiteX26" fmla="*/ 22188 w 245983"/>
                <a:gd name="connsiteY26" fmla="*/ 91058 h 263609"/>
                <a:gd name="connsiteX27" fmla="*/ 19772 w 245983"/>
                <a:gd name="connsiteY27" fmla="*/ 99138 h 263609"/>
                <a:gd name="connsiteX28" fmla="*/ 30178 w 245983"/>
                <a:gd name="connsiteY28" fmla="*/ 95795 h 263609"/>
                <a:gd name="connsiteX29" fmla="*/ 45138 w 245983"/>
                <a:gd name="connsiteY29" fmla="*/ 81679 h 263609"/>
                <a:gd name="connsiteX30" fmla="*/ 75428 w 245983"/>
                <a:gd name="connsiteY30" fmla="*/ 95795 h 263609"/>
                <a:gd name="connsiteX31" fmla="*/ 82118 w 245983"/>
                <a:gd name="connsiteY31" fmla="*/ 109957 h 263609"/>
                <a:gd name="connsiteX32" fmla="*/ 102513 w 245983"/>
                <a:gd name="connsiteY32" fmla="*/ 138933 h 263609"/>
                <a:gd name="connsiteX33" fmla="*/ 131828 w 245983"/>
                <a:gd name="connsiteY33" fmla="*/ 166840 h 263609"/>
                <a:gd name="connsiteX34" fmla="*/ 152548 w 245983"/>
                <a:gd name="connsiteY34" fmla="*/ 176731 h 263609"/>
                <a:gd name="connsiteX35" fmla="*/ 171364 w 245983"/>
                <a:gd name="connsiteY35" fmla="*/ 190522 h 263609"/>
                <a:gd name="connsiteX36" fmla="*/ 186649 w 245983"/>
                <a:gd name="connsiteY36" fmla="*/ 204638 h 263609"/>
                <a:gd name="connsiteX37" fmla="*/ 193664 w 245983"/>
                <a:gd name="connsiteY37" fmla="*/ 218754 h 263609"/>
                <a:gd name="connsiteX38" fmla="*/ 194639 w 245983"/>
                <a:gd name="connsiteY38" fmla="*/ 244525 h 263609"/>
                <a:gd name="connsiteX39" fmla="*/ 195615 w 245983"/>
                <a:gd name="connsiteY39" fmla="*/ 263610 h 263609"/>
                <a:gd name="connsiteX40" fmla="*/ 206440 w 245983"/>
                <a:gd name="connsiteY40" fmla="*/ 243829 h 263609"/>
                <a:gd name="connsiteX41" fmla="*/ 218844 w 245983"/>
                <a:gd name="connsiteY41" fmla="*/ 229713 h 263609"/>
                <a:gd name="connsiteX42" fmla="*/ 208995 w 245983"/>
                <a:gd name="connsiteY42" fmla="*/ 210999 h 263609"/>
                <a:gd name="connsiteX43" fmla="*/ 229715 w 245983"/>
                <a:gd name="connsiteY43" fmla="*/ 200737 h 263609"/>
                <a:gd name="connsiteX44" fmla="*/ 245975 w 245983"/>
                <a:gd name="connsiteY44" fmla="*/ 201805 h 263609"/>
                <a:gd name="connsiteX45" fmla="*/ 203234 w 245983"/>
                <a:gd name="connsiteY45" fmla="*/ 168279 h 263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45983" h="263609">
                  <a:moveTo>
                    <a:pt x="203420" y="168326"/>
                  </a:moveTo>
                  <a:cubicBezTo>
                    <a:pt x="195150" y="162707"/>
                    <a:pt x="200539" y="153467"/>
                    <a:pt x="187485" y="154163"/>
                  </a:cubicBezTo>
                  <a:cubicBezTo>
                    <a:pt x="174430" y="154860"/>
                    <a:pt x="158774" y="136890"/>
                    <a:pt x="153989" y="116040"/>
                  </a:cubicBezTo>
                  <a:cubicBezTo>
                    <a:pt x="149204" y="95238"/>
                    <a:pt x="128808" y="94170"/>
                    <a:pt x="123698" y="81771"/>
                  </a:cubicBezTo>
                  <a:cubicBezTo>
                    <a:pt x="118588" y="69420"/>
                    <a:pt x="128483" y="67980"/>
                    <a:pt x="124023" y="57765"/>
                  </a:cubicBezTo>
                  <a:cubicBezTo>
                    <a:pt x="121515" y="52053"/>
                    <a:pt x="127043" y="47038"/>
                    <a:pt x="133547" y="44159"/>
                  </a:cubicBezTo>
                  <a:cubicBezTo>
                    <a:pt x="133036" y="32829"/>
                    <a:pt x="133872" y="20478"/>
                    <a:pt x="134662" y="12491"/>
                  </a:cubicBezTo>
                  <a:cubicBezTo>
                    <a:pt x="129598" y="11887"/>
                    <a:pt x="125231" y="11098"/>
                    <a:pt x="123698" y="10076"/>
                  </a:cubicBezTo>
                  <a:cubicBezTo>
                    <a:pt x="121282" y="8497"/>
                    <a:pt x="120818" y="0"/>
                    <a:pt x="119377" y="0"/>
                  </a:cubicBezTo>
                  <a:cubicBezTo>
                    <a:pt x="117937" y="0"/>
                    <a:pt x="104557" y="0"/>
                    <a:pt x="102142" y="2647"/>
                  </a:cubicBezTo>
                  <a:cubicBezTo>
                    <a:pt x="99772" y="5293"/>
                    <a:pt x="92571" y="10076"/>
                    <a:pt x="88762" y="7429"/>
                  </a:cubicBezTo>
                  <a:cubicBezTo>
                    <a:pt x="87926" y="6872"/>
                    <a:pt x="87043" y="6315"/>
                    <a:pt x="86067" y="5804"/>
                  </a:cubicBezTo>
                  <a:lnTo>
                    <a:pt x="81886" y="10076"/>
                  </a:lnTo>
                  <a:cubicBezTo>
                    <a:pt x="81886" y="10076"/>
                    <a:pt x="81236" y="15741"/>
                    <a:pt x="78681" y="15741"/>
                  </a:cubicBezTo>
                  <a:cubicBezTo>
                    <a:pt x="76125" y="15741"/>
                    <a:pt x="72316" y="13605"/>
                    <a:pt x="72316" y="18527"/>
                  </a:cubicBezTo>
                  <a:cubicBezTo>
                    <a:pt x="72316" y="23449"/>
                    <a:pt x="65301" y="22056"/>
                    <a:pt x="62095" y="21360"/>
                  </a:cubicBezTo>
                  <a:cubicBezTo>
                    <a:pt x="58936" y="20663"/>
                    <a:pt x="54429" y="22056"/>
                    <a:pt x="54429" y="26282"/>
                  </a:cubicBezTo>
                  <a:cubicBezTo>
                    <a:pt x="54429" y="30508"/>
                    <a:pt x="53779" y="39702"/>
                    <a:pt x="48669" y="34780"/>
                  </a:cubicBezTo>
                  <a:cubicBezTo>
                    <a:pt x="43558" y="29811"/>
                    <a:pt x="38448" y="17088"/>
                    <a:pt x="36543" y="18527"/>
                  </a:cubicBezTo>
                  <a:cubicBezTo>
                    <a:pt x="34638" y="19967"/>
                    <a:pt x="30178" y="35476"/>
                    <a:pt x="25718" y="35476"/>
                  </a:cubicBezTo>
                  <a:cubicBezTo>
                    <a:pt x="22931" y="35476"/>
                    <a:pt x="13872" y="36312"/>
                    <a:pt x="7321" y="36916"/>
                  </a:cubicBezTo>
                  <a:cubicBezTo>
                    <a:pt x="5602" y="42998"/>
                    <a:pt x="7461" y="46620"/>
                    <a:pt x="9783" y="48199"/>
                  </a:cubicBezTo>
                  <a:cubicBezTo>
                    <a:pt x="12199" y="49778"/>
                    <a:pt x="8343" y="56140"/>
                    <a:pt x="5463" y="57718"/>
                  </a:cubicBezTo>
                  <a:cubicBezTo>
                    <a:pt x="2583" y="59297"/>
                    <a:pt x="-2203" y="57718"/>
                    <a:pt x="1142" y="63523"/>
                  </a:cubicBezTo>
                  <a:cubicBezTo>
                    <a:pt x="4487" y="69327"/>
                    <a:pt x="10713" y="69884"/>
                    <a:pt x="7368" y="75689"/>
                  </a:cubicBezTo>
                  <a:cubicBezTo>
                    <a:pt x="4023" y="81493"/>
                    <a:pt x="7368" y="86833"/>
                    <a:pt x="12153" y="87344"/>
                  </a:cubicBezTo>
                  <a:cubicBezTo>
                    <a:pt x="16938" y="87854"/>
                    <a:pt x="23628" y="86833"/>
                    <a:pt x="22188" y="91058"/>
                  </a:cubicBezTo>
                  <a:cubicBezTo>
                    <a:pt x="21351" y="93519"/>
                    <a:pt x="20050" y="96352"/>
                    <a:pt x="19772" y="99138"/>
                  </a:cubicBezTo>
                  <a:cubicBezTo>
                    <a:pt x="23535" y="97931"/>
                    <a:pt x="26880" y="97745"/>
                    <a:pt x="30178" y="95795"/>
                  </a:cubicBezTo>
                  <a:cubicBezTo>
                    <a:pt x="36868" y="91941"/>
                    <a:pt x="33988" y="85208"/>
                    <a:pt x="45138" y="81679"/>
                  </a:cubicBezTo>
                  <a:cubicBezTo>
                    <a:pt x="56288" y="78150"/>
                    <a:pt x="70968" y="88365"/>
                    <a:pt x="75428" y="95795"/>
                  </a:cubicBezTo>
                  <a:cubicBezTo>
                    <a:pt x="79888" y="103224"/>
                    <a:pt x="81189" y="103921"/>
                    <a:pt x="82118" y="109957"/>
                  </a:cubicBezTo>
                  <a:cubicBezTo>
                    <a:pt x="83094" y="115948"/>
                    <a:pt x="87229" y="127974"/>
                    <a:pt x="102513" y="138933"/>
                  </a:cubicBezTo>
                  <a:cubicBezTo>
                    <a:pt x="117798" y="149891"/>
                    <a:pt x="123884" y="162243"/>
                    <a:pt x="131828" y="166840"/>
                  </a:cubicBezTo>
                  <a:cubicBezTo>
                    <a:pt x="139819" y="171437"/>
                    <a:pt x="147763" y="170369"/>
                    <a:pt x="152548" y="176731"/>
                  </a:cubicBezTo>
                  <a:cubicBezTo>
                    <a:pt x="157334" y="183092"/>
                    <a:pt x="163698" y="186621"/>
                    <a:pt x="171364" y="190522"/>
                  </a:cubicBezTo>
                  <a:cubicBezTo>
                    <a:pt x="179029" y="194422"/>
                    <a:pt x="179308" y="203570"/>
                    <a:pt x="186649" y="204638"/>
                  </a:cubicBezTo>
                  <a:cubicBezTo>
                    <a:pt x="193989" y="205706"/>
                    <a:pt x="189204" y="212764"/>
                    <a:pt x="193664" y="218754"/>
                  </a:cubicBezTo>
                  <a:cubicBezTo>
                    <a:pt x="198123" y="224744"/>
                    <a:pt x="199424" y="237467"/>
                    <a:pt x="194639" y="244525"/>
                  </a:cubicBezTo>
                  <a:cubicBezTo>
                    <a:pt x="189854" y="251583"/>
                    <a:pt x="192409" y="263610"/>
                    <a:pt x="195615" y="263610"/>
                  </a:cubicBezTo>
                  <a:cubicBezTo>
                    <a:pt x="198820" y="263610"/>
                    <a:pt x="205510" y="250887"/>
                    <a:pt x="206440" y="243829"/>
                  </a:cubicBezTo>
                  <a:cubicBezTo>
                    <a:pt x="207369" y="236771"/>
                    <a:pt x="213780" y="237142"/>
                    <a:pt x="218844" y="229713"/>
                  </a:cubicBezTo>
                  <a:cubicBezTo>
                    <a:pt x="223954" y="222283"/>
                    <a:pt x="211178" y="220519"/>
                    <a:pt x="208995" y="210999"/>
                  </a:cubicBezTo>
                  <a:cubicBezTo>
                    <a:pt x="206765" y="201480"/>
                    <a:pt x="218565" y="192983"/>
                    <a:pt x="229715" y="200737"/>
                  </a:cubicBezTo>
                  <a:cubicBezTo>
                    <a:pt x="240865" y="208492"/>
                    <a:pt x="245325" y="213832"/>
                    <a:pt x="245975" y="201805"/>
                  </a:cubicBezTo>
                  <a:cubicBezTo>
                    <a:pt x="246626" y="189825"/>
                    <a:pt x="211550" y="173898"/>
                    <a:pt x="203234" y="168279"/>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87" name="Freeform 86">
              <a:extLst>
                <a:ext uri="{FF2B5EF4-FFF2-40B4-BE49-F238E27FC236}">
                  <a16:creationId xmlns:a16="http://schemas.microsoft.com/office/drawing/2014/main" id="{8142636B-A5CF-9DDB-2B09-889DC8361E4C}"/>
                </a:ext>
              </a:extLst>
            </p:cNvPr>
            <p:cNvSpPr/>
            <p:nvPr/>
          </p:nvSpPr>
          <p:spPr>
            <a:xfrm>
              <a:off x="10759631" y="4369059"/>
              <a:ext cx="288236" cy="193151"/>
            </a:xfrm>
            <a:custGeom>
              <a:avLst/>
              <a:gdLst>
                <a:gd name="connsiteX0" fmla="*/ 44367 w 61710"/>
                <a:gd name="connsiteY0" fmla="*/ 1455 h 41353"/>
                <a:gd name="connsiteX1" fmla="*/ 18211 w 61710"/>
                <a:gd name="connsiteY1" fmla="*/ 1455 h 41353"/>
                <a:gd name="connsiteX2" fmla="*/ 0 w 61710"/>
                <a:gd name="connsiteY2" fmla="*/ 8699 h 41353"/>
                <a:gd name="connsiteX3" fmla="*/ 1115 w 61710"/>
                <a:gd name="connsiteY3" fmla="*/ 9303 h 41353"/>
                <a:gd name="connsiteX4" fmla="*/ 10825 w 61710"/>
                <a:gd name="connsiteY4" fmla="*/ 20215 h 41353"/>
                <a:gd name="connsiteX5" fmla="*/ 22346 w 61710"/>
                <a:gd name="connsiteY5" fmla="*/ 24394 h 41353"/>
                <a:gd name="connsiteX6" fmla="*/ 46922 w 61710"/>
                <a:gd name="connsiteY6" fmla="*/ 41343 h 41353"/>
                <a:gd name="connsiteX7" fmla="*/ 52683 w 61710"/>
                <a:gd name="connsiteY7" fmla="*/ 25090 h 41353"/>
                <a:gd name="connsiteX8" fmla="*/ 61603 w 61710"/>
                <a:gd name="connsiteY8" fmla="*/ 2848 h 41353"/>
                <a:gd name="connsiteX9" fmla="*/ 44367 w 61710"/>
                <a:gd name="connsiteY9" fmla="*/ 1455 h 4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710" h="41353">
                  <a:moveTo>
                    <a:pt x="44367" y="1455"/>
                  </a:moveTo>
                  <a:cubicBezTo>
                    <a:pt x="31266" y="4613"/>
                    <a:pt x="25877" y="5681"/>
                    <a:pt x="18211" y="1455"/>
                  </a:cubicBezTo>
                  <a:cubicBezTo>
                    <a:pt x="11521" y="-2213"/>
                    <a:pt x="1301" y="3405"/>
                    <a:pt x="0" y="8699"/>
                  </a:cubicBezTo>
                  <a:cubicBezTo>
                    <a:pt x="372" y="8931"/>
                    <a:pt x="743" y="9117"/>
                    <a:pt x="1115" y="9303"/>
                  </a:cubicBezTo>
                  <a:cubicBezTo>
                    <a:pt x="6039" y="12228"/>
                    <a:pt x="9152" y="16036"/>
                    <a:pt x="10825" y="20215"/>
                  </a:cubicBezTo>
                  <a:cubicBezTo>
                    <a:pt x="13844" y="21608"/>
                    <a:pt x="17561" y="23047"/>
                    <a:pt x="22346" y="24394"/>
                  </a:cubicBezTo>
                  <a:cubicBezTo>
                    <a:pt x="38281" y="28991"/>
                    <a:pt x="40232" y="40971"/>
                    <a:pt x="46922" y="41343"/>
                  </a:cubicBezTo>
                  <a:cubicBezTo>
                    <a:pt x="53612" y="41668"/>
                    <a:pt x="54263" y="34610"/>
                    <a:pt x="52683" y="25090"/>
                  </a:cubicBezTo>
                  <a:cubicBezTo>
                    <a:pt x="51104" y="15571"/>
                    <a:pt x="60627" y="4613"/>
                    <a:pt x="61603" y="2848"/>
                  </a:cubicBezTo>
                  <a:cubicBezTo>
                    <a:pt x="62532" y="1084"/>
                    <a:pt x="57468" y="-1749"/>
                    <a:pt x="44367" y="1455"/>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88" name="Freeform 87">
              <a:extLst>
                <a:ext uri="{FF2B5EF4-FFF2-40B4-BE49-F238E27FC236}">
                  <a16:creationId xmlns:a16="http://schemas.microsoft.com/office/drawing/2014/main" id="{D2EC42D5-892C-8C6E-E7E9-A01FDF342E7C}"/>
                </a:ext>
              </a:extLst>
            </p:cNvPr>
            <p:cNvSpPr/>
            <p:nvPr/>
          </p:nvSpPr>
          <p:spPr>
            <a:xfrm>
              <a:off x="11054902" y="3413268"/>
              <a:ext cx="358208" cy="377149"/>
            </a:xfrm>
            <a:custGeom>
              <a:avLst/>
              <a:gdLst>
                <a:gd name="connsiteX0" fmla="*/ 57199 w 76690"/>
                <a:gd name="connsiteY0" fmla="*/ 73408 h 80745"/>
                <a:gd name="connsiteX1" fmla="*/ 73506 w 76690"/>
                <a:gd name="connsiteY1" fmla="*/ 46801 h 80745"/>
                <a:gd name="connsiteX2" fmla="*/ 76200 w 76690"/>
                <a:gd name="connsiteY2" fmla="*/ 14901 h 80745"/>
                <a:gd name="connsiteX3" fmla="*/ 56734 w 76690"/>
                <a:gd name="connsiteY3" fmla="*/ 3988 h 80745"/>
                <a:gd name="connsiteX4" fmla="*/ 23424 w 76690"/>
                <a:gd name="connsiteY4" fmla="*/ 320 h 80745"/>
                <a:gd name="connsiteX5" fmla="*/ 9626 w 76690"/>
                <a:gd name="connsiteY5" fmla="*/ 3478 h 80745"/>
                <a:gd name="connsiteX6" fmla="*/ 102 w 76690"/>
                <a:gd name="connsiteY6" fmla="*/ 9793 h 80745"/>
                <a:gd name="connsiteX7" fmla="*/ 10091 w 76690"/>
                <a:gd name="connsiteY7" fmla="*/ 26138 h 80745"/>
                <a:gd name="connsiteX8" fmla="*/ 27698 w 76690"/>
                <a:gd name="connsiteY8" fmla="*/ 49866 h 80745"/>
                <a:gd name="connsiteX9" fmla="*/ 45213 w 76690"/>
                <a:gd name="connsiteY9" fmla="*/ 71690 h 80745"/>
                <a:gd name="connsiteX10" fmla="*/ 56270 w 76690"/>
                <a:gd name="connsiteY10" fmla="*/ 80745 h 80745"/>
                <a:gd name="connsiteX11" fmla="*/ 57153 w 76690"/>
                <a:gd name="connsiteY11" fmla="*/ 73362 h 80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690" h="80745">
                  <a:moveTo>
                    <a:pt x="57199" y="73408"/>
                  </a:moveTo>
                  <a:cubicBezTo>
                    <a:pt x="56363" y="68672"/>
                    <a:pt x="70068" y="46801"/>
                    <a:pt x="73506" y="46801"/>
                  </a:cubicBezTo>
                  <a:cubicBezTo>
                    <a:pt x="76339" y="46801"/>
                    <a:pt x="77408" y="25813"/>
                    <a:pt x="76200" y="14901"/>
                  </a:cubicBezTo>
                  <a:cubicBezTo>
                    <a:pt x="65561" y="6775"/>
                    <a:pt x="56734" y="3988"/>
                    <a:pt x="56734" y="3988"/>
                  </a:cubicBezTo>
                  <a:cubicBezTo>
                    <a:pt x="56734" y="3988"/>
                    <a:pt x="28163" y="2410"/>
                    <a:pt x="23424" y="320"/>
                  </a:cubicBezTo>
                  <a:cubicBezTo>
                    <a:pt x="18685" y="-1769"/>
                    <a:pt x="13900" y="7193"/>
                    <a:pt x="9626" y="3478"/>
                  </a:cubicBezTo>
                  <a:cubicBezTo>
                    <a:pt x="5352" y="-191"/>
                    <a:pt x="-874" y="4499"/>
                    <a:pt x="102" y="9793"/>
                  </a:cubicBezTo>
                  <a:cubicBezTo>
                    <a:pt x="1031" y="15040"/>
                    <a:pt x="10091" y="18244"/>
                    <a:pt x="10091" y="26138"/>
                  </a:cubicBezTo>
                  <a:cubicBezTo>
                    <a:pt x="10091" y="34032"/>
                    <a:pt x="28209" y="45640"/>
                    <a:pt x="27698" y="49866"/>
                  </a:cubicBezTo>
                  <a:cubicBezTo>
                    <a:pt x="27373" y="52838"/>
                    <a:pt x="38569" y="60871"/>
                    <a:pt x="45213" y="71690"/>
                  </a:cubicBezTo>
                  <a:cubicBezTo>
                    <a:pt x="48744" y="74151"/>
                    <a:pt x="52553" y="77402"/>
                    <a:pt x="56270" y="80745"/>
                  </a:cubicBezTo>
                  <a:cubicBezTo>
                    <a:pt x="57013" y="77262"/>
                    <a:pt x="57385" y="74569"/>
                    <a:pt x="57153" y="73362"/>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89" name="Freeform 88">
              <a:extLst>
                <a:ext uri="{FF2B5EF4-FFF2-40B4-BE49-F238E27FC236}">
                  <a16:creationId xmlns:a16="http://schemas.microsoft.com/office/drawing/2014/main" id="{67120552-F7C7-6463-3F87-341A618A268F}"/>
                </a:ext>
              </a:extLst>
            </p:cNvPr>
            <p:cNvSpPr/>
            <p:nvPr/>
          </p:nvSpPr>
          <p:spPr>
            <a:xfrm>
              <a:off x="10872229" y="3228241"/>
              <a:ext cx="538587" cy="520535"/>
            </a:xfrm>
            <a:custGeom>
              <a:avLst/>
              <a:gdLst>
                <a:gd name="connsiteX0" fmla="*/ 66806 w 115308"/>
                <a:gd name="connsiteY0" fmla="*/ 89526 h 111443"/>
                <a:gd name="connsiteX1" fmla="*/ 49199 w 115308"/>
                <a:gd name="connsiteY1" fmla="*/ 65798 h 111443"/>
                <a:gd name="connsiteX2" fmla="*/ 39210 w 115308"/>
                <a:gd name="connsiteY2" fmla="*/ 49453 h 111443"/>
                <a:gd name="connsiteX3" fmla="*/ 48734 w 115308"/>
                <a:gd name="connsiteY3" fmla="*/ 43138 h 111443"/>
                <a:gd name="connsiteX4" fmla="*/ 62532 w 115308"/>
                <a:gd name="connsiteY4" fmla="*/ 39980 h 111443"/>
                <a:gd name="connsiteX5" fmla="*/ 95843 w 115308"/>
                <a:gd name="connsiteY5" fmla="*/ 43649 h 111443"/>
                <a:gd name="connsiteX6" fmla="*/ 115308 w 115308"/>
                <a:gd name="connsiteY6" fmla="*/ 54561 h 111443"/>
                <a:gd name="connsiteX7" fmla="*/ 114286 w 115308"/>
                <a:gd name="connsiteY7" fmla="*/ 49453 h 111443"/>
                <a:gd name="connsiteX8" fmla="*/ 107457 w 115308"/>
                <a:gd name="connsiteY8" fmla="*/ 32365 h 111443"/>
                <a:gd name="connsiteX9" fmla="*/ 101836 w 115308"/>
                <a:gd name="connsiteY9" fmla="*/ 17924 h 111443"/>
                <a:gd name="connsiteX10" fmla="*/ 94402 w 115308"/>
                <a:gd name="connsiteY10" fmla="*/ 20338 h 111443"/>
                <a:gd name="connsiteX11" fmla="*/ 72335 w 115308"/>
                <a:gd name="connsiteY11" fmla="*/ 14813 h 111443"/>
                <a:gd name="connsiteX12" fmla="*/ 54402 w 115308"/>
                <a:gd name="connsiteY12" fmla="*/ 0 h 111443"/>
                <a:gd name="connsiteX13" fmla="*/ 41487 w 115308"/>
                <a:gd name="connsiteY13" fmla="*/ 9566 h 111443"/>
                <a:gd name="connsiteX14" fmla="*/ 36237 w 115308"/>
                <a:gd name="connsiteY14" fmla="*/ 21221 h 111443"/>
                <a:gd name="connsiteX15" fmla="*/ 28572 w 115308"/>
                <a:gd name="connsiteY15" fmla="*/ 31808 h 111443"/>
                <a:gd name="connsiteX16" fmla="*/ 15192 w 115308"/>
                <a:gd name="connsiteY16" fmla="*/ 31297 h 111443"/>
                <a:gd name="connsiteX17" fmla="*/ 0 w 115308"/>
                <a:gd name="connsiteY17" fmla="*/ 34547 h 111443"/>
                <a:gd name="connsiteX18" fmla="*/ 3903 w 115308"/>
                <a:gd name="connsiteY18" fmla="*/ 44717 h 111443"/>
                <a:gd name="connsiteX19" fmla="*/ 20488 w 115308"/>
                <a:gd name="connsiteY19" fmla="*/ 52471 h 111443"/>
                <a:gd name="connsiteX20" fmla="*/ 39582 w 115308"/>
                <a:gd name="connsiteY20" fmla="*/ 86044 h 111443"/>
                <a:gd name="connsiteX21" fmla="*/ 56818 w 115308"/>
                <a:gd name="connsiteY21" fmla="*/ 96306 h 111443"/>
                <a:gd name="connsiteX22" fmla="*/ 75308 w 115308"/>
                <a:gd name="connsiteY22" fmla="*/ 107264 h 111443"/>
                <a:gd name="connsiteX23" fmla="*/ 84368 w 115308"/>
                <a:gd name="connsiteY23" fmla="*/ 111443 h 111443"/>
                <a:gd name="connsiteX24" fmla="*/ 66853 w 115308"/>
                <a:gd name="connsiteY24" fmla="*/ 89619 h 111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5308" h="111443">
                  <a:moveTo>
                    <a:pt x="66806" y="89526"/>
                  </a:moveTo>
                  <a:cubicBezTo>
                    <a:pt x="67271" y="85301"/>
                    <a:pt x="49199" y="73692"/>
                    <a:pt x="49199" y="65798"/>
                  </a:cubicBezTo>
                  <a:cubicBezTo>
                    <a:pt x="49199" y="57904"/>
                    <a:pt x="40140" y="54700"/>
                    <a:pt x="39210" y="49453"/>
                  </a:cubicBezTo>
                  <a:cubicBezTo>
                    <a:pt x="38235" y="44159"/>
                    <a:pt x="44460" y="39423"/>
                    <a:pt x="48734" y="43138"/>
                  </a:cubicBezTo>
                  <a:cubicBezTo>
                    <a:pt x="53009" y="46806"/>
                    <a:pt x="57794" y="37844"/>
                    <a:pt x="62532" y="39980"/>
                  </a:cubicBezTo>
                  <a:cubicBezTo>
                    <a:pt x="67317" y="42116"/>
                    <a:pt x="95843" y="43649"/>
                    <a:pt x="95843" y="43649"/>
                  </a:cubicBezTo>
                  <a:cubicBezTo>
                    <a:pt x="95843" y="43649"/>
                    <a:pt x="104670" y="46435"/>
                    <a:pt x="115308" y="54561"/>
                  </a:cubicBezTo>
                  <a:cubicBezTo>
                    <a:pt x="115076" y="52378"/>
                    <a:pt x="114751" y="50521"/>
                    <a:pt x="114286" y="49453"/>
                  </a:cubicBezTo>
                  <a:cubicBezTo>
                    <a:pt x="111731" y="42813"/>
                    <a:pt x="114286" y="35197"/>
                    <a:pt x="107457" y="32365"/>
                  </a:cubicBezTo>
                  <a:cubicBezTo>
                    <a:pt x="103926" y="30879"/>
                    <a:pt x="102440" y="24146"/>
                    <a:pt x="101836" y="17924"/>
                  </a:cubicBezTo>
                  <a:cubicBezTo>
                    <a:pt x="98630" y="18992"/>
                    <a:pt x="95889" y="19921"/>
                    <a:pt x="94402" y="20338"/>
                  </a:cubicBezTo>
                  <a:cubicBezTo>
                    <a:pt x="88688" y="21917"/>
                    <a:pt x="76609" y="21128"/>
                    <a:pt x="72335" y="14813"/>
                  </a:cubicBezTo>
                  <a:cubicBezTo>
                    <a:pt x="69129" y="10123"/>
                    <a:pt x="59234" y="3204"/>
                    <a:pt x="54402" y="0"/>
                  </a:cubicBezTo>
                  <a:cubicBezTo>
                    <a:pt x="52405" y="1904"/>
                    <a:pt x="44832" y="9148"/>
                    <a:pt x="41487" y="9566"/>
                  </a:cubicBezTo>
                  <a:cubicBezTo>
                    <a:pt x="37631" y="10076"/>
                    <a:pt x="40047" y="21221"/>
                    <a:pt x="36237" y="21221"/>
                  </a:cubicBezTo>
                  <a:cubicBezTo>
                    <a:pt x="32427" y="21221"/>
                    <a:pt x="29547" y="28650"/>
                    <a:pt x="28572" y="31808"/>
                  </a:cubicBezTo>
                  <a:cubicBezTo>
                    <a:pt x="27596" y="34965"/>
                    <a:pt x="19001" y="29672"/>
                    <a:pt x="15192" y="31297"/>
                  </a:cubicBezTo>
                  <a:cubicBezTo>
                    <a:pt x="12451" y="32458"/>
                    <a:pt x="4414" y="33851"/>
                    <a:pt x="0" y="34547"/>
                  </a:cubicBezTo>
                  <a:cubicBezTo>
                    <a:pt x="650" y="39377"/>
                    <a:pt x="418" y="44717"/>
                    <a:pt x="3903" y="44717"/>
                  </a:cubicBezTo>
                  <a:cubicBezTo>
                    <a:pt x="9663" y="44717"/>
                    <a:pt x="20163" y="44020"/>
                    <a:pt x="20488" y="52471"/>
                  </a:cubicBezTo>
                  <a:cubicBezTo>
                    <a:pt x="20813" y="60922"/>
                    <a:pt x="34518" y="79682"/>
                    <a:pt x="39582" y="86044"/>
                  </a:cubicBezTo>
                  <a:cubicBezTo>
                    <a:pt x="44692" y="92405"/>
                    <a:pt x="56168" y="91012"/>
                    <a:pt x="56818" y="96306"/>
                  </a:cubicBezTo>
                  <a:cubicBezTo>
                    <a:pt x="57468" y="101599"/>
                    <a:pt x="65738" y="106521"/>
                    <a:pt x="75308" y="107264"/>
                  </a:cubicBezTo>
                  <a:cubicBezTo>
                    <a:pt x="77910" y="107450"/>
                    <a:pt x="81023" y="109122"/>
                    <a:pt x="84368" y="111443"/>
                  </a:cubicBezTo>
                  <a:cubicBezTo>
                    <a:pt x="77678" y="100624"/>
                    <a:pt x="66528" y="92544"/>
                    <a:pt x="66853" y="89619"/>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90" name="Freeform 89">
              <a:extLst>
                <a:ext uri="{FF2B5EF4-FFF2-40B4-BE49-F238E27FC236}">
                  <a16:creationId xmlns:a16="http://schemas.microsoft.com/office/drawing/2014/main" id="{003FE2A1-EAAD-E80D-6723-587AE68376D3}"/>
                </a:ext>
              </a:extLst>
            </p:cNvPr>
            <p:cNvSpPr/>
            <p:nvPr/>
          </p:nvSpPr>
          <p:spPr>
            <a:xfrm>
              <a:off x="11394324" y="3772631"/>
              <a:ext cx="183146" cy="408836"/>
            </a:xfrm>
            <a:custGeom>
              <a:avLst/>
              <a:gdLst>
                <a:gd name="connsiteX0" fmla="*/ 25831 w 39210"/>
                <a:gd name="connsiteY0" fmla="*/ 74667 h 87529"/>
                <a:gd name="connsiteX1" fmla="*/ 31080 w 39210"/>
                <a:gd name="connsiteY1" fmla="*/ 65659 h 87529"/>
                <a:gd name="connsiteX2" fmla="*/ 38746 w 39210"/>
                <a:gd name="connsiteY2" fmla="*/ 51914 h 87529"/>
                <a:gd name="connsiteX3" fmla="*/ 39210 w 39210"/>
                <a:gd name="connsiteY3" fmla="*/ 51264 h 87529"/>
                <a:gd name="connsiteX4" fmla="*/ 26713 w 39210"/>
                <a:gd name="connsiteY4" fmla="*/ 36451 h 87529"/>
                <a:gd name="connsiteX5" fmla="*/ 29036 w 39210"/>
                <a:gd name="connsiteY5" fmla="*/ 11655 h 87529"/>
                <a:gd name="connsiteX6" fmla="*/ 10360 w 39210"/>
                <a:gd name="connsiteY6" fmla="*/ 0 h 87529"/>
                <a:gd name="connsiteX7" fmla="*/ 0 w 39210"/>
                <a:gd name="connsiteY7" fmla="*/ 17088 h 87529"/>
                <a:gd name="connsiteX8" fmla="*/ 5854 w 39210"/>
                <a:gd name="connsiteY8" fmla="*/ 31947 h 87529"/>
                <a:gd name="connsiteX9" fmla="*/ 5203 w 39210"/>
                <a:gd name="connsiteY9" fmla="*/ 67237 h 87529"/>
                <a:gd name="connsiteX10" fmla="*/ 19559 w 39210"/>
                <a:gd name="connsiteY10" fmla="*/ 87529 h 87529"/>
                <a:gd name="connsiteX11" fmla="*/ 25738 w 39210"/>
                <a:gd name="connsiteY11" fmla="*/ 74621 h 8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210" h="87529">
                  <a:moveTo>
                    <a:pt x="25831" y="74667"/>
                  </a:moveTo>
                  <a:cubicBezTo>
                    <a:pt x="30616" y="73645"/>
                    <a:pt x="27735" y="69374"/>
                    <a:pt x="31080" y="65659"/>
                  </a:cubicBezTo>
                  <a:cubicBezTo>
                    <a:pt x="34425" y="61944"/>
                    <a:pt x="38235" y="54561"/>
                    <a:pt x="38746" y="51914"/>
                  </a:cubicBezTo>
                  <a:cubicBezTo>
                    <a:pt x="38792" y="51635"/>
                    <a:pt x="38978" y="51403"/>
                    <a:pt x="39210" y="51264"/>
                  </a:cubicBezTo>
                  <a:cubicBezTo>
                    <a:pt x="32706" y="45878"/>
                    <a:pt x="28153" y="41977"/>
                    <a:pt x="26713" y="36451"/>
                  </a:cubicBezTo>
                  <a:cubicBezTo>
                    <a:pt x="25273" y="30786"/>
                    <a:pt x="26760" y="19735"/>
                    <a:pt x="29036" y="11655"/>
                  </a:cubicBezTo>
                  <a:cubicBezTo>
                    <a:pt x="25320" y="8730"/>
                    <a:pt x="13937" y="0"/>
                    <a:pt x="10360" y="0"/>
                  </a:cubicBezTo>
                  <a:cubicBezTo>
                    <a:pt x="6783" y="0"/>
                    <a:pt x="1347" y="8730"/>
                    <a:pt x="0" y="17088"/>
                  </a:cubicBezTo>
                  <a:cubicBezTo>
                    <a:pt x="8362" y="22010"/>
                    <a:pt x="11661" y="25539"/>
                    <a:pt x="5854" y="31947"/>
                  </a:cubicBezTo>
                  <a:cubicBezTo>
                    <a:pt x="-186" y="38634"/>
                    <a:pt x="-1487" y="61247"/>
                    <a:pt x="5203" y="67237"/>
                  </a:cubicBezTo>
                  <a:cubicBezTo>
                    <a:pt x="11568" y="72949"/>
                    <a:pt x="13426" y="84325"/>
                    <a:pt x="19559" y="87529"/>
                  </a:cubicBezTo>
                  <a:cubicBezTo>
                    <a:pt x="21278" y="81818"/>
                    <a:pt x="22625" y="75363"/>
                    <a:pt x="25738" y="74621"/>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91" name="Freeform 90">
              <a:extLst>
                <a:ext uri="{FF2B5EF4-FFF2-40B4-BE49-F238E27FC236}">
                  <a16:creationId xmlns:a16="http://schemas.microsoft.com/office/drawing/2014/main" id="{DD0964F8-14ED-F628-1845-8A1FDF6E8604}"/>
                </a:ext>
              </a:extLst>
            </p:cNvPr>
            <p:cNvSpPr/>
            <p:nvPr/>
          </p:nvSpPr>
          <p:spPr>
            <a:xfrm>
              <a:off x="10735274" y="2577783"/>
              <a:ext cx="621295" cy="358955"/>
            </a:xfrm>
            <a:custGeom>
              <a:avLst/>
              <a:gdLst>
                <a:gd name="connsiteX0" fmla="*/ 125861 w 133015"/>
                <a:gd name="connsiteY0" fmla="*/ 34872 h 76849"/>
                <a:gd name="connsiteX1" fmla="*/ 111598 w 133015"/>
                <a:gd name="connsiteY1" fmla="*/ 30925 h 76849"/>
                <a:gd name="connsiteX2" fmla="*/ 105930 w 133015"/>
                <a:gd name="connsiteY2" fmla="*/ 22242 h 76849"/>
                <a:gd name="connsiteX3" fmla="*/ 93852 w 133015"/>
                <a:gd name="connsiteY3" fmla="*/ 24610 h 76849"/>
                <a:gd name="connsiteX4" fmla="*/ 82423 w 133015"/>
                <a:gd name="connsiteY4" fmla="*/ 19085 h 76849"/>
                <a:gd name="connsiteX5" fmla="*/ 68207 w 133015"/>
                <a:gd name="connsiteY5" fmla="*/ 8033 h 76849"/>
                <a:gd name="connsiteX6" fmla="*/ 55710 w 133015"/>
                <a:gd name="connsiteY6" fmla="*/ 0 h 76849"/>
                <a:gd name="connsiteX7" fmla="*/ 54595 w 133015"/>
                <a:gd name="connsiteY7" fmla="*/ 2554 h 76849"/>
                <a:gd name="connsiteX8" fmla="*/ 43120 w 133015"/>
                <a:gd name="connsiteY8" fmla="*/ 3111 h 76849"/>
                <a:gd name="connsiteX9" fmla="*/ 25419 w 133015"/>
                <a:gd name="connsiteY9" fmla="*/ 12119 h 76849"/>
                <a:gd name="connsiteX10" fmla="*/ 2933 w 133015"/>
                <a:gd name="connsiteY10" fmla="*/ 21638 h 76849"/>
                <a:gd name="connsiteX11" fmla="*/ 4374 w 133015"/>
                <a:gd name="connsiteY11" fmla="*/ 34362 h 76849"/>
                <a:gd name="connsiteX12" fmla="*/ 11528 w 133015"/>
                <a:gd name="connsiteY12" fmla="*/ 54514 h 76849"/>
                <a:gd name="connsiteX13" fmla="*/ 34014 w 133015"/>
                <a:gd name="connsiteY13" fmla="*/ 73042 h 76849"/>
                <a:gd name="connsiteX14" fmla="*/ 33735 w 133015"/>
                <a:gd name="connsiteY14" fmla="*/ 74853 h 76849"/>
                <a:gd name="connsiteX15" fmla="*/ 52504 w 133015"/>
                <a:gd name="connsiteY15" fmla="*/ 73599 h 76849"/>
                <a:gd name="connsiteX16" fmla="*/ 56081 w 133015"/>
                <a:gd name="connsiteY16" fmla="*/ 62548 h 76849"/>
                <a:gd name="connsiteX17" fmla="*/ 76012 w 133015"/>
                <a:gd name="connsiteY17" fmla="*/ 69652 h 76849"/>
                <a:gd name="connsiteX18" fmla="*/ 92411 w 133015"/>
                <a:gd name="connsiteY18" fmla="*/ 72020 h 76849"/>
                <a:gd name="connsiteX19" fmla="*/ 93945 w 133015"/>
                <a:gd name="connsiteY19" fmla="*/ 76849 h 76849"/>
                <a:gd name="connsiteX20" fmla="*/ 99937 w 133015"/>
                <a:gd name="connsiteY20" fmla="*/ 69141 h 76849"/>
                <a:gd name="connsiteX21" fmla="*/ 120518 w 133015"/>
                <a:gd name="connsiteY21" fmla="*/ 57765 h 76849"/>
                <a:gd name="connsiteX22" fmla="*/ 133015 w 133015"/>
                <a:gd name="connsiteY22" fmla="*/ 46388 h 76849"/>
                <a:gd name="connsiteX23" fmla="*/ 125861 w 133015"/>
                <a:gd name="connsiteY23" fmla="*/ 35012 h 7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3015" h="76849">
                  <a:moveTo>
                    <a:pt x="125861" y="34872"/>
                  </a:moveTo>
                  <a:cubicBezTo>
                    <a:pt x="122284" y="32504"/>
                    <a:pt x="112295" y="34083"/>
                    <a:pt x="111598" y="30925"/>
                  </a:cubicBezTo>
                  <a:cubicBezTo>
                    <a:pt x="110901" y="27768"/>
                    <a:pt x="110205" y="22242"/>
                    <a:pt x="105930" y="22242"/>
                  </a:cubicBezTo>
                  <a:cubicBezTo>
                    <a:pt x="101656" y="22242"/>
                    <a:pt x="95942" y="19085"/>
                    <a:pt x="93852" y="24610"/>
                  </a:cubicBezTo>
                  <a:cubicBezTo>
                    <a:pt x="91714" y="30136"/>
                    <a:pt x="83166" y="23032"/>
                    <a:pt x="82423" y="19085"/>
                  </a:cubicBezTo>
                  <a:cubicBezTo>
                    <a:pt x="81726" y="15138"/>
                    <a:pt x="78149" y="11980"/>
                    <a:pt x="68207" y="8033"/>
                  </a:cubicBezTo>
                  <a:cubicBezTo>
                    <a:pt x="64258" y="6454"/>
                    <a:pt x="59751" y="3297"/>
                    <a:pt x="55710" y="0"/>
                  </a:cubicBezTo>
                  <a:cubicBezTo>
                    <a:pt x="55384" y="929"/>
                    <a:pt x="55013" y="1857"/>
                    <a:pt x="54595" y="2554"/>
                  </a:cubicBezTo>
                  <a:cubicBezTo>
                    <a:pt x="52690" y="5758"/>
                    <a:pt x="46000" y="-93"/>
                    <a:pt x="43120" y="3111"/>
                  </a:cubicBezTo>
                  <a:cubicBezTo>
                    <a:pt x="40239" y="6269"/>
                    <a:pt x="30669" y="6826"/>
                    <a:pt x="25419" y="12119"/>
                  </a:cubicBezTo>
                  <a:cubicBezTo>
                    <a:pt x="20169" y="17413"/>
                    <a:pt x="9159" y="20060"/>
                    <a:pt x="2933" y="21638"/>
                  </a:cubicBezTo>
                  <a:cubicBezTo>
                    <a:pt x="-3292" y="23217"/>
                    <a:pt x="1958" y="29579"/>
                    <a:pt x="4374" y="34362"/>
                  </a:cubicBezTo>
                  <a:cubicBezTo>
                    <a:pt x="6790" y="39098"/>
                    <a:pt x="6790" y="50799"/>
                    <a:pt x="11528" y="54514"/>
                  </a:cubicBezTo>
                  <a:cubicBezTo>
                    <a:pt x="16313" y="58229"/>
                    <a:pt x="32109" y="69327"/>
                    <a:pt x="34014" y="73042"/>
                  </a:cubicBezTo>
                  <a:cubicBezTo>
                    <a:pt x="34339" y="73692"/>
                    <a:pt x="34153" y="74249"/>
                    <a:pt x="33735" y="74853"/>
                  </a:cubicBezTo>
                  <a:cubicBezTo>
                    <a:pt x="40378" y="76849"/>
                    <a:pt x="50738" y="76896"/>
                    <a:pt x="52504" y="73599"/>
                  </a:cubicBezTo>
                  <a:cubicBezTo>
                    <a:pt x="54641" y="69652"/>
                    <a:pt x="56081" y="62548"/>
                    <a:pt x="56081" y="62548"/>
                  </a:cubicBezTo>
                  <a:cubicBezTo>
                    <a:pt x="56081" y="62548"/>
                    <a:pt x="70297" y="62548"/>
                    <a:pt x="76012" y="69652"/>
                  </a:cubicBezTo>
                  <a:cubicBezTo>
                    <a:pt x="81726" y="76757"/>
                    <a:pt x="92411" y="72020"/>
                    <a:pt x="92411" y="72020"/>
                  </a:cubicBezTo>
                  <a:cubicBezTo>
                    <a:pt x="92411" y="72020"/>
                    <a:pt x="93015" y="74017"/>
                    <a:pt x="93945" y="76849"/>
                  </a:cubicBezTo>
                  <a:cubicBezTo>
                    <a:pt x="95477" y="72949"/>
                    <a:pt x="97475" y="69513"/>
                    <a:pt x="99937" y="69141"/>
                  </a:cubicBezTo>
                  <a:cubicBezTo>
                    <a:pt x="105930" y="68212"/>
                    <a:pt x="114525" y="67237"/>
                    <a:pt x="120518" y="57765"/>
                  </a:cubicBezTo>
                  <a:cubicBezTo>
                    <a:pt x="123631" y="52889"/>
                    <a:pt x="128741" y="48989"/>
                    <a:pt x="133015" y="46388"/>
                  </a:cubicBezTo>
                  <a:cubicBezTo>
                    <a:pt x="130135" y="42488"/>
                    <a:pt x="128648" y="36823"/>
                    <a:pt x="125861" y="35012"/>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92" name="Freeform 93">
              <a:extLst>
                <a:ext uri="{FF2B5EF4-FFF2-40B4-BE49-F238E27FC236}">
                  <a16:creationId xmlns:a16="http://schemas.microsoft.com/office/drawing/2014/main" id="{9DD12F0B-CE8E-C5CB-64EA-47EA8BCB24AA}"/>
                </a:ext>
              </a:extLst>
            </p:cNvPr>
            <p:cNvSpPr/>
            <p:nvPr/>
          </p:nvSpPr>
          <p:spPr>
            <a:xfrm>
              <a:off x="11174073" y="2794027"/>
              <a:ext cx="564410" cy="251095"/>
            </a:xfrm>
            <a:custGeom>
              <a:avLst/>
              <a:gdLst>
                <a:gd name="connsiteX0" fmla="*/ 89617 w 120836"/>
                <a:gd name="connsiteY0" fmla="*/ 5154 h 53758"/>
                <a:gd name="connsiteX1" fmla="*/ 73264 w 120836"/>
                <a:gd name="connsiteY1" fmla="*/ 3575 h 53758"/>
                <a:gd name="connsiteX2" fmla="*/ 54727 w 120836"/>
                <a:gd name="connsiteY2" fmla="*/ 1207 h 53758"/>
                <a:gd name="connsiteX3" fmla="*/ 41905 w 120836"/>
                <a:gd name="connsiteY3" fmla="*/ 2786 h 53758"/>
                <a:gd name="connsiteX4" fmla="*/ 39071 w 120836"/>
                <a:gd name="connsiteY4" fmla="*/ 0 h 53758"/>
                <a:gd name="connsiteX5" fmla="*/ 26574 w 120836"/>
                <a:gd name="connsiteY5" fmla="*/ 11376 h 53758"/>
                <a:gd name="connsiteX6" fmla="*/ 5993 w 120836"/>
                <a:gd name="connsiteY6" fmla="*/ 22753 h 53758"/>
                <a:gd name="connsiteX7" fmla="*/ 0 w 120836"/>
                <a:gd name="connsiteY7" fmla="*/ 30461 h 53758"/>
                <a:gd name="connsiteX8" fmla="*/ 9849 w 120836"/>
                <a:gd name="connsiteY8" fmla="*/ 49314 h 53758"/>
                <a:gd name="connsiteX9" fmla="*/ 39071 w 120836"/>
                <a:gd name="connsiteY9" fmla="*/ 49314 h 53758"/>
                <a:gd name="connsiteX10" fmla="*/ 61882 w 120836"/>
                <a:gd name="connsiteY10" fmla="*/ 41420 h 53758"/>
                <a:gd name="connsiteX11" fmla="*/ 81859 w 120836"/>
                <a:gd name="connsiteY11" fmla="*/ 27211 h 53758"/>
                <a:gd name="connsiteX12" fmla="*/ 101789 w 120836"/>
                <a:gd name="connsiteY12" fmla="*/ 34315 h 53758"/>
                <a:gd name="connsiteX13" fmla="*/ 115355 w 120836"/>
                <a:gd name="connsiteY13" fmla="*/ 39702 h 53758"/>
                <a:gd name="connsiteX14" fmla="*/ 110848 w 120836"/>
                <a:gd name="connsiteY14" fmla="*/ 31483 h 53758"/>
                <a:gd name="connsiteX15" fmla="*/ 120419 w 120836"/>
                <a:gd name="connsiteY15" fmla="*/ 14023 h 53758"/>
                <a:gd name="connsiteX16" fmla="*/ 120837 w 120836"/>
                <a:gd name="connsiteY16" fmla="*/ 13280 h 53758"/>
                <a:gd name="connsiteX17" fmla="*/ 108200 w 120836"/>
                <a:gd name="connsiteY17" fmla="*/ 9890 h 53758"/>
                <a:gd name="connsiteX18" fmla="*/ 89710 w 120836"/>
                <a:gd name="connsiteY18" fmla="*/ 5154 h 5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836" h="53758">
                  <a:moveTo>
                    <a:pt x="89617" y="5154"/>
                  </a:moveTo>
                  <a:cubicBezTo>
                    <a:pt x="82509" y="5897"/>
                    <a:pt x="78932" y="1207"/>
                    <a:pt x="73264" y="3575"/>
                  </a:cubicBezTo>
                  <a:cubicBezTo>
                    <a:pt x="67550" y="5944"/>
                    <a:pt x="58305" y="3575"/>
                    <a:pt x="54727" y="1207"/>
                  </a:cubicBezTo>
                  <a:cubicBezTo>
                    <a:pt x="51150" y="-1161"/>
                    <a:pt x="46876" y="5944"/>
                    <a:pt x="41905" y="2786"/>
                  </a:cubicBezTo>
                  <a:cubicBezTo>
                    <a:pt x="40790" y="2089"/>
                    <a:pt x="39861" y="1114"/>
                    <a:pt x="39071" y="0"/>
                  </a:cubicBezTo>
                  <a:cubicBezTo>
                    <a:pt x="34797" y="2600"/>
                    <a:pt x="29686" y="6501"/>
                    <a:pt x="26574" y="11376"/>
                  </a:cubicBezTo>
                  <a:cubicBezTo>
                    <a:pt x="20581" y="20849"/>
                    <a:pt x="12032" y="21824"/>
                    <a:pt x="5993" y="22753"/>
                  </a:cubicBezTo>
                  <a:cubicBezTo>
                    <a:pt x="3531" y="23171"/>
                    <a:pt x="1533" y="26607"/>
                    <a:pt x="0" y="30461"/>
                  </a:cubicBezTo>
                  <a:cubicBezTo>
                    <a:pt x="1951" y="36033"/>
                    <a:pt x="5575" y="45088"/>
                    <a:pt x="9849" y="49314"/>
                  </a:cubicBezTo>
                  <a:cubicBezTo>
                    <a:pt x="16260" y="55629"/>
                    <a:pt x="39071" y="54839"/>
                    <a:pt x="39071" y="49314"/>
                  </a:cubicBezTo>
                  <a:cubicBezTo>
                    <a:pt x="39071" y="43788"/>
                    <a:pt x="57608" y="41420"/>
                    <a:pt x="61882" y="41420"/>
                  </a:cubicBezTo>
                  <a:cubicBezTo>
                    <a:pt x="66156" y="41420"/>
                    <a:pt x="79722" y="26421"/>
                    <a:pt x="81859" y="27211"/>
                  </a:cubicBezTo>
                  <a:cubicBezTo>
                    <a:pt x="83996" y="28000"/>
                    <a:pt x="98258" y="30368"/>
                    <a:pt x="101789" y="34315"/>
                  </a:cubicBezTo>
                  <a:cubicBezTo>
                    <a:pt x="103554" y="36266"/>
                    <a:pt x="109362" y="38216"/>
                    <a:pt x="115355" y="39702"/>
                  </a:cubicBezTo>
                  <a:cubicBezTo>
                    <a:pt x="112846" y="37241"/>
                    <a:pt x="110848" y="34083"/>
                    <a:pt x="110848" y="31483"/>
                  </a:cubicBezTo>
                  <a:cubicBezTo>
                    <a:pt x="110848" y="27257"/>
                    <a:pt x="118049" y="16113"/>
                    <a:pt x="120419" y="14023"/>
                  </a:cubicBezTo>
                  <a:cubicBezTo>
                    <a:pt x="120604" y="13837"/>
                    <a:pt x="120697" y="13559"/>
                    <a:pt x="120837" y="13280"/>
                  </a:cubicBezTo>
                  <a:cubicBezTo>
                    <a:pt x="115355" y="12352"/>
                    <a:pt x="109315" y="11144"/>
                    <a:pt x="108200" y="9890"/>
                  </a:cubicBezTo>
                  <a:cubicBezTo>
                    <a:pt x="106063" y="7522"/>
                    <a:pt x="96818" y="4365"/>
                    <a:pt x="89710" y="5154"/>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93" name="Freeform 94">
              <a:extLst>
                <a:ext uri="{FF2B5EF4-FFF2-40B4-BE49-F238E27FC236}">
                  <a16:creationId xmlns:a16="http://schemas.microsoft.com/office/drawing/2014/main" id="{D6BFFFE0-0DC3-9078-DC3D-488F3FDC6818}"/>
                </a:ext>
              </a:extLst>
            </p:cNvPr>
            <p:cNvSpPr/>
            <p:nvPr/>
          </p:nvSpPr>
          <p:spPr>
            <a:xfrm>
              <a:off x="12152741" y="2945054"/>
              <a:ext cx="311605" cy="428503"/>
            </a:xfrm>
            <a:custGeom>
              <a:avLst/>
              <a:gdLst>
                <a:gd name="connsiteX0" fmla="*/ 48270 w 66713"/>
                <a:gd name="connsiteY0" fmla="*/ 23341 h 91739"/>
                <a:gd name="connsiteX1" fmla="*/ 32938 w 66713"/>
                <a:gd name="connsiteY1" fmla="*/ 10618 h 91739"/>
                <a:gd name="connsiteX2" fmla="*/ 15703 w 66713"/>
                <a:gd name="connsiteY2" fmla="*/ 31 h 91739"/>
                <a:gd name="connsiteX3" fmla="*/ 0 w 66713"/>
                <a:gd name="connsiteY3" fmla="*/ 4442 h 91739"/>
                <a:gd name="connsiteX4" fmla="*/ 14216 w 66713"/>
                <a:gd name="connsiteY4" fmla="*/ 31374 h 91739"/>
                <a:gd name="connsiteX5" fmla="*/ 27875 w 66713"/>
                <a:gd name="connsiteY5" fmla="*/ 64854 h 91739"/>
                <a:gd name="connsiteX6" fmla="*/ 31591 w 66713"/>
                <a:gd name="connsiteY6" fmla="*/ 91740 h 91739"/>
                <a:gd name="connsiteX7" fmla="*/ 43763 w 66713"/>
                <a:gd name="connsiteY7" fmla="*/ 70658 h 91739"/>
                <a:gd name="connsiteX8" fmla="*/ 52033 w 66713"/>
                <a:gd name="connsiteY8" fmla="*/ 60071 h 91739"/>
                <a:gd name="connsiteX9" fmla="*/ 66713 w 66713"/>
                <a:gd name="connsiteY9" fmla="*/ 62904 h 91739"/>
                <a:gd name="connsiteX10" fmla="*/ 61603 w 66713"/>
                <a:gd name="connsiteY10" fmla="*/ 47348 h 91739"/>
                <a:gd name="connsiteX11" fmla="*/ 48223 w 66713"/>
                <a:gd name="connsiteY11" fmla="*/ 23341 h 91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713" h="91739">
                  <a:moveTo>
                    <a:pt x="48270" y="23341"/>
                  </a:moveTo>
                  <a:cubicBezTo>
                    <a:pt x="45714" y="14147"/>
                    <a:pt x="37445" y="10618"/>
                    <a:pt x="32938" y="10618"/>
                  </a:cubicBezTo>
                  <a:cubicBezTo>
                    <a:pt x="28432" y="10618"/>
                    <a:pt x="20813" y="-666"/>
                    <a:pt x="15703" y="31"/>
                  </a:cubicBezTo>
                  <a:cubicBezTo>
                    <a:pt x="12915" y="403"/>
                    <a:pt x="6039" y="2260"/>
                    <a:pt x="0" y="4442"/>
                  </a:cubicBezTo>
                  <a:cubicBezTo>
                    <a:pt x="5528" y="16005"/>
                    <a:pt x="11475" y="27845"/>
                    <a:pt x="14216" y="31374"/>
                  </a:cubicBezTo>
                  <a:cubicBezTo>
                    <a:pt x="20070" y="38943"/>
                    <a:pt x="32706" y="59421"/>
                    <a:pt x="27875" y="64854"/>
                  </a:cubicBezTo>
                  <a:cubicBezTo>
                    <a:pt x="24065" y="69080"/>
                    <a:pt x="25645" y="86400"/>
                    <a:pt x="31591" y="91740"/>
                  </a:cubicBezTo>
                  <a:cubicBezTo>
                    <a:pt x="34379" y="87746"/>
                    <a:pt x="43763" y="74605"/>
                    <a:pt x="43763" y="70658"/>
                  </a:cubicBezTo>
                  <a:cubicBezTo>
                    <a:pt x="43763" y="66433"/>
                    <a:pt x="44414" y="57935"/>
                    <a:pt x="52033" y="60071"/>
                  </a:cubicBezTo>
                  <a:cubicBezTo>
                    <a:pt x="59698" y="62207"/>
                    <a:pt x="66713" y="65736"/>
                    <a:pt x="66713" y="62904"/>
                  </a:cubicBezTo>
                  <a:cubicBezTo>
                    <a:pt x="66713" y="60071"/>
                    <a:pt x="64809" y="50924"/>
                    <a:pt x="61603" y="47348"/>
                  </a:cubicBezTo>
                  <a:cubicBezTo>
                    <a:pt x="58398" y="43819"/>
                    <a:pt x="50778" y="32535"/>
                    <a:pt x="48223" y="23341"/>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94" name="Freeform 105">
              <a:extLst>
                <a:ext uri="{FF2B5EF4-FFF2-40B4-BE49-F238E27FC236}">
                  <a16:creationId xmlns:a16="http://schemas.microsoft.com/office/drawing/2014/main" id="{630DADFC-7B18-B7DE-1C1C-22074EDAFB90}"/>
                </a:ext>
              </a:extLst>
            </p:cNvPr>
            <p:cNvSpPr/>
            <p:nvPr/>
          </p:nvSpPr>
          <p:spPr>
            <a:xfrm>
              <a:off x="11697789" y="3558996"/>
              <a:ext cx="628323" cy="382593"/>
            </a:xfrm>
            <a:custGeom>
              <a:avLst/>
              <a:gdLst>
                <a:gd name="connsiteX0" fmla="*/ 104230 w 134520"/>
                <a:gd name="connsiteY0" fmla="*/ 650 h 81910"/>
                <a:gd name="connsiteX1" fmla="*/ 78679 w 134520"/>
                <a:gd name="connsiteY1" fmla="*/ 5619 h 81910"/>
                <a:gd name="connsiteX2" fmla="*/ 63394 w 134520"/>
                <a:gd name="connsiteY2" fmla="*/ 12677 h 81910"/>
                <a:gd name="connsiteX3" fmla="*/ 40444 w 134520"/>
                <a:gd name="connsiteY3" fmla="*/ 11980 h 81910"/>
                <a:gd name="connsiteX4" fmla="*/ 17494 w 134520"/>
                <a:gd name="connsiteY4" fmla="*/ 9148 h 81910"/>
                <a:gd name="connsiteX5" fmla="*/ 5182 w 134520"/>
                <a:gd name="connsiteY5" fmla="*/ 0 h 81910"/>
                <a:gd name="connsiteX6" fmla="*/ 3417 w 134520"/>
                <a:gd name="connsiteY6" fmla="*/ 2275 h 81910"/>
                <a:gd name="connsiteX7" fmla="*/ 3417 w 134520"/>
                <a:gd name="connsiteY7" fmla="*/ 18713 h 81910"/>
                <a:gd name="connsiteX8" fmla="*/ 10107 w 134520"/>
                <a:gd name="connsiteY8" fmla="*/ 34083 h 81910"/>
                <a:gd name="connsiteX9" fmla="*/ 2906 w 134520"/>
                <a:gd name="connsiteY9" fmla="*/ 43602 h 81910"/>
                <a:gd name="connsiteX10" fmla="*/ 2906 w 134520"/>
                <a:gd name="connsiteY10" fmla="*/ 55257 h 81910"/>
                <a:gd name="connsiteX11" fmla="*/ 14845 w 134520"/>
                <a:gd name="connsiteY11" fmla="*/ 70627 h 81910"/>
                <a:gd name="connsiteX12" fmla="*/ 19073 w 134520"/>
                <a:gd name="connsiteY12" fmla="*/ 77314 h 81910"/>
                <a:gd name="connsiteX13" fmla="*/ 48016 w 134520"/>
                <a:gd name="connsiteY13" fmla="*/ 77685 h 81910"/>
                <a:gd name="connsiteX14" fmla="*/ 71013 w 134520"/>
                <a:gd name="connsiteY14" fmla="*/ 81911 h 81910"/>
                <a:gd name="connsiteX15" fmla="*/ 79283 w 134520"/>
                <a:gd name="connsiteY15" fmla="*/ 76292 h 81910"/>
                <a:gd name="connsiteX16" fmla="*/ 89643 w 134520"/>
                <a:gd name="connsiteY16" fmla="*/ 70813 h 81910"/>
                <a:gd name="connsiteX17" fmla="*/ 89457 w 134520"/>
                <a:gd name="connsiteY17" fmla="*/ 64312 h 81910"/>
                <a:gd name="connsiteX18" fmla="*/ 111478 w 134520"/>
                <a:gd name="connsiteY18" fmla="*/ 64312 h 81910"/>
                <a:gd name="connsiteX19" fmla="*/ 120212 w 134520"/>
                <a:gd name="connsiteY19" fmla="*/ 62501 h 81910"/>
                <a:gd name="connsiteX20" fmla="*/ 117239 w 134520"/>
                <a:gd name="connsiteY20" fmla="*/ 56883 h 81910"/>
                <a:gd name="connsiteX21" fmla="*/ 112779 w 134520"/>
                <a:gd name="connsiteY21" fmla="*/ 38866 h 81910"/>
                <a:gd name="connsiteX22" fmla="*/ 130015 w 134520"/>
                <a:gd name="connsiteY22" fmla="*/ 18388 h 81910"/>
                <a:gd name="connsiteX23" fmla="*/ 134521 w 134520"/>
                <a:gd name="connsiteY23" fmla="*/ 13280 h 81910"/>
                <a:gd name="connsiteX24" fmla="*/ 121420 w 134520"/>
                <a:gd name="connsiteY24" fmla="*/ 6408 h 81910"/>
                <a:gd name="connsiteX25" fmla="*/ 104184 w 134520"/>
                <a:gd name="connsiteY25" fmla="*/ 743 h 81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4520" h="81910">
                  <a:moveTo>
                    <a:pt x="104230" y="650"/>
                  </a:moveTo>
                  <a:cubicBezTo>
                    <a:pt x="99120" y="-46"/>
                    <a:pt x="83185" y="650"/>
                    <a:pt x="78679" y="5619"/>
                  </a:cubicBezTo>
                  <a:cubicBezTo>
                    <a:pt x="74219" y="10541"/>
                    <a:pt x="68504" y="13373"/>
                    <a:pt x="63394" y="12677"/>
                  </a:cubicBezTo>
                  <a:cubicBezTo>
                    <a:pt x="58284" y="11980"/>
                    <a:pt x="43603" y="11284"/>
                    <a:pt x="40444" y="11980"/>
                  </a:cubicBezTo>
                  <a:cubicBezTo>
                    <a:pt x="37285" y="12677"/>
                    <a:pt x="20049" y="8451"/>
                    <a:pt x="17494" y="9148"/>
                  </a:cubicBezTo>
                  <a:cubicBezTo>
                    <a:pt x="15217" y="9751"/>
                    <a:pt x="10990" y="1068"/>
                    <a:pt x="5182" y="0"/>
                  </a:cubicBezTo>
                  <a:cubicBezTo>
                    <a:pt x="4903" y="789"/>
                    <a:pt x="4392" y="1579"/>
                    <a:pt x="3417" y="2275"/>
                  </a:cubicBezTo>
                  <a:cubicBezTo>
                    <a:pt x="-904" y="5479"/>
                    <a:pt x="-1368" y="13930"/>
                    <a:pt x="3417" y="18713"/>
                  </a:cubicBezTo>
                  <a:cubicBezTo>
                    <a:pt x="8202" y="23496"/>
                    <a:pt x="14428" y="34083"/>
                    <a:pt x="10107" y="34083"/>
                  </a:cubicBezTo>
                  <a:cubicBezTo>
                    <a:pt x="5786" y="34083"/>
                    <a:pt x="2441" y="40445"/>
                    <a:pt x="2906" y="43602"/>
                  </a:cubicBezTo>
                  <a:cubicBezTo>
                    <a:pt x="3371" y="46806"/>
                    <a:pt x="1466" y="53679"/>
                    <a:pt x="2906" y="55257"/>
                  </a:cubicBezTo>
                  <a:cubicBezTo>
                    <a:pt x="4346" y="56836"/>
                    <a:pt x="14381" y="67470"/>
                    <a:pt x="14845" y="70627"/>
                  </a:cubicBezTo>
                  <a:cubicBezTo>
                    <a:pt x="15264" y="73413"/>
                    <a:pt x="19399" y="74853"/>
                    <a:pt x="19073" y="77314"/>
                  </a:cubicBezTo>
                  <a:cubicBezTo>
                    <a:pt x="27110" y="76664"/>
                    <a:pt x="44160" y="75549"/>
                    <a:pt x="48016" y="77685"/>
                  </a:cubicBezTo>
                  <a:cubicBezTo>
                    <a:pt x="53127" y="80518"/>
                    <a:pt x="71013" y="81911"/>
                    <a:pt x="71013" y="81911"/>
                  </a:cubicBezTo>
                  <a:cubicBezTo>
                    <a:pt x="76077" y="81911"/>
                    <a:pt x="80583" y="79821"/>
                    <a:pt x="79283" y="76292"/>
                  </a:cubicBezTo>
                  <a:cubicBezTo>
                    <a:pt x="78214" y="73320"/>
                    <a:pt x="84858" y="71324"/>
                    <a:pt x="89643" y="70813"/>
                  </a:cubicBezTo>
                  <a:cubicBezTo>
                    <a:pt x="88807" y="67562"/>
                    <a:pt x="88249" y="64869"/>
                    <a:pt x="89457" y="64312"/>
                  </a:cubicBezTo>
                  <a:cubicBezTo>
                    <a:pt x="91826" y="63244"/>
                    <a:pt x="105717" y="61154"/>
                    <a:pt x="111478" y="64312"/>
                  </a:cubicBezTo>
                  <a:cubicBezTo>
                    <a:pt x="114405" y="65937"/>
                    <a:pt x="117657" y="64405"/>
                    <a:pt x="120212" y="62501"/>
                  </a:cubicBezTo>
                  <a:cubicBezTo>
                    <a:pt x="119469" y="59529"/>
                    <a:pt x="118725" y="57208"/>
                    <a:pt x="117239" y="56883"/>
                  </a:cubicBezTo>
                  <a:cubicBezTo>
                    <a:pt x="113708" y="56186"/>
                    <a:pt x="108319" y="39934"/>
                    <a:pt x="112779" y="38866"/>
                  </a:cubicBezTo>
                  <a:cubicBezTo>
                    <a:pt x="117239" y="37798"/>
                    <a:pt x="123000" y="20849"/>
                    <a:pt x="130015" y="18388"/>
                  </a:cubicBezTo>
                  <a:cubicBezTo>
                    <a:pt x="132802" y="17413"/>
                    <a:pt x="134010" y="15556"/>
                    <a:pt x="134521" y="13280"/>
                  </a:cubicBezTo>
                  <a:cubicBezTo>
                    <a:pt x="128435" y="11005"/>
                    <a:pt x="122442" y="8265"/>
                    <a:pt x="121420" y="6408"/>
                  </a:cubicBezTo>
                  <a:cubicBezTo>
                    <a:pt x="119515" y="2879"/>
                    <a:pt x="109294" y="1439"/>
                    <a:pt x="104184" y="743"/>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95" name="Freeform 106">
              <a:extLst>
                <a:ext uri="{FF2B5EF4-FFF2-40B4-BE49-F238E27FC236}">
                  <a16:creationId xmlns:a16="http://schemas.microsoft.com/office/drawing/2014/main" id="{06AC9198-0F67-CFF8-78D7-70E0E9DDBA75}"/>
                </a:ext>
              </a:extLst>
            </p:cNvPr>
            <p:cNvSpPr/>
            <p:nvPr/>
          </p:nvSpPr>
          <p:spPr>
            <a:xfrm>
              <a:off x="11516998" y="3796704"/>
              <a:ext cx="270606" cy="215370"/>
            </a:xfrm>
            <a:custGeom>
              <a:avLst/>
              <a:gdLst>
                <a:gd name="connsiteX0" fmla="*/ 12946 w 57935"/>
                <a:gd name="connsiteY0" fmla="*/ 46063 h 46109"/>
                <a:gd name="connsiteX1" fmla="*/ 12946 w 57935"/>
                <a:gd name="connsiteY1" fmla="*/ 46063 h 46109"/>
                <a:gd name="connsiteX2" fmla="*/ 13783 w 57935"/>
                <a:gd name="connsiteY2" fmla="*/ 45645 h 46109"/>
                <a:gd name="connsiteX3" fmla="*/ 13969 w 57935"/>
                <a:gd name="connsiteY3" fmla="*/ 45552 h 46109"/>
                <a:gd name="connsiteX4" fmla="*/ 15176 w 57935"/>
                <a:gd name="connsiteY4" fmla="*/ 45367 h 46109"/>
                <a:gd name="connsiteX5" fmla="*/ 15362 w 57935"/>
                <a:gd name="connsiteY5" fmla="*/ 45367 h 46109"/>
                <a:gd name="connsiteX6" fmla="*/ 22285 w 57935"/>
                <a:gd name="connsiteY6" fmla="*/ 45227 h 46109"/>
                <a:gd name="connsiteX7" fmla="*/ 22795 w 57935"/>
                <a:gd name="connsiteY7" fmla="*/ 45227 h 46109"/>
                <a:gd name="connsiteX8" fmla="*/ 24514 w 57935"/>
                <a:gd name="connsiteY8" fmla="*/ 45088 h 46109"/>
                <a:gd name="connsiteX9" fmla="*/ 25165 w 57935"/>
                <a:gd name="connsiteY9" fmla="*/ 45042 h 46109"/>
                <a:gd name="connsiteX10" fmla="*/ 27348 w 57935"/>
                <a:gd name="connsiteY10" fmla="*/ 44624 h 46109"/>
                <a:gd name="connsiteX11" fmla="*/ 37383 w 57935"/>
                <a:gd name="connsiteY11" fmla="*/ 37751 h 46109"/>
                <a:gd name="connsiteX12" fmla="*/ 57500 w 57935"/>
                <a:gd name="connsiteY12" fmla="*/ 27536 h 46109"/>
                <a:gd name="connsiteX13" fmla="*/ 57918 w 57935"/>
                <a:gd name="connsiteY13" fmla="*/ 26468 h 46109"/>
                <a:gd name="connsiteX14" fmla="*/ 53690 w 57935"/>
                <a:gd name="connsiteY14" fmla="*/ 19781 h 46109"/>
                <a:gd name="connsiteX15" fmla="*/ 41750 w 57935"/>
                <a:gd name="connsiteY15" fmla="*/ 4411 h 46109"/>
                <a:gd name="connsiteX16" fmla="*/ 41286 w 57935"/>
                <a:gd name="connsiteY16" fmla="*/ 2786 h 46109"/>
                <a:gd name="connsiteX17" fmla="*/ 41286 w 57935"/>
                <a:gd name="connsiteY17" fmla="*/ 2600 h 46109"/>
                <a:gd name="connsiteX18" fmla="*/ 41379 w 57935"/>
                <a:gd name="connsiteY18" fmla="*/ 0 h 46109"/>
                <a:gd name="connsiteX19" fmla="*/ 4212 w 57935"/>
                <a:gd name="connsiteY19" fmla="*/ 7522 h 46109"/>
                <a:gd name="connsiteX20" fmla="*/ 2912 w 57935"/>
                <a:gd name="connsiteY20" fmla="*/ 6501 h 46109"/>
                <a:gd name="connsiteX21" fmla="*/ 589 w 57935"/>
                <a:gd name="connsiteY21" fmla="*/ 31297 h 46109"/>
                <a:gd name="connsiteX22" fmla="*/ 13086 w 57935"/>
                <a:gd name="connsiteY22" fmla="*/ 46110 h 46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7935" h="46109">
                  <a:moveTo>
                    <a:pt x="12946" y="46063"/>
                  </a:moveTo>
                  <a:lnTo>
                    <a:pt x="12946" y="46063"/>
                  </a:lnTo>
                  <a:cubicBezTo>
                    <a:pt x="12946" y="46063"/>
                    <a:pt x="13411" y="45738"/>
                    <a:pt x="13783" y="45645"/>
                  </a:cubicBezTo>
                  <a:cubicBezTo>
                    <a:pt x="13829" y="45645"/>
                    <a:pt x="13876" y="45599"/>
                    <a:pt x="13969" y="45552"/>
                  </a:cubicBezTo>
                  <a:cubicBezTo>
                    <a:pt x="14294" y="45460"/>
                    <a:pt x="14712" y="45413"/>
                    <a:pt x="15176" y="45367"/>
                  </a:cubicBezTo>
                  <a:cubicBezTo>
                    <a:pt x="15223" y="45367"/>
                    <a:pt x="15316" y="45367"/>
                    <a:pt x="15362" y="45367"/>
                  </a:cubicBezTo>
                  <a:cubicBezTo>
                    <a:pt x="17220" y="45181"/>
                    <a:pt x="19729" y="45367"/>
                    <a:pt x="22285" y="45227"/>
                  </a:cubicBezTo>
                  <a:cubicBezTo>
                    <a:pt x="22424" y="45227"/>
                    <a:pt x="22610" y="45227"/>
                    <a:pt x="22795" y="45227"/>
                  </a:cubicBezTo>
                  <a:cubicBezTo>
                    <a:pt x="23353" y="45227"/>
                    <a:pt x="23910" y="45135"/>
                    <a:pt x="24514" y="45088"/>
                  </a:cubicBezTo>
                  <a:cubicBezTo>
                    <a:pt x="24747" y="45088"/>
                    <a:pt x="24933" y="45088"/>
                    <a:pt x="25165" y="45042"/>
                  </a:cubicBezTo>
                  <a:cubicBezTo>
                    <a:pt x="25908" y="44949"/>
                    <a:pt x="26652" y="44809"/>
                    <a:pt x="27348" y="44624"/>
                  </a:cubicBezTo>
                  <a:cubicBezTo>
                    <a:pt x="33063" y="43045"/>
                    <a:pt x="34503" y="36173"/>
                    <a:pt x="37383" y="37751"/>
                  </a:cubicBezTo>
                  <a:cubicBezTo>
                    <a:pt x="40264" y="39330"/>
                    <a:pt x="55548" y="30693"/>
                    <a:pt x="57500" y="27536"/>
                  </a:cubicBezTo>
                  <a:cubicBezTo>
                    <a:pt x="57732" y="27164"/>
                    <a:pt x="57871" y="26793"/>
                    <a:pt x="57918" y="26468"/>
                  </a:cubicBezTo>
                  <a:cubicBezTo>
                    <a:pt x="58243" y="24007"/>
                    <a:pt x="54108" y="22567"/>
                    <a:pt x="53690" y="19781"/>
                  </a:cubicBezTo>
                  <a:cubicBezTo>
                    <a:pt x="53225" y="16624"/>
                    <a:pt x="43191" y="5990"/>
                    <a:pt x="41750" y="4411"/>
                  </a:cubicBezTo>
                  <a:cubicBezTo>
                    <a:pt x="41472" y="4086"/>
                    <a:pt x="41332" y="3483"/>
                    <a:pt x="41286" y="2786"/>
                  </a:cubicBezTo>
                  <a:cubicBezTo>
                    <a:pt x="41286" y="2693"/>
                    <a:pt x="41286" y="2647"/>
                    <a:pt x="41286" y="2600"/>
                  </a:cubicBezTo>
                  <a:cubicBezTo>
                    <a:pt x="41286" y="1857"/>
                    <a:pt x="41286" y="975"/>
                    <a:pt x="41379" y="0"/>
                  </a:cubicBezTo>
                  <a:cubicBezTo>
                    <a:pt x="26419" y="2415"/>
                    <a:pt x="4212" y="7522"/>
                    <a:pt x="4212" y="7522"/>
                  </a:cubicBezTo>
                  <a:cubicBezTo>
                    <a:pt x="4212" y="7522"/>
                    <a:pt x="3655" y="7105"/>
                    <a:pt x="2912" y="6501"/>
                  </a:cubicBezTo>
                  <a:cubicBezTo>
                    <a:pt x="635" y="14581"/>
                    <a:pt x="-898" y="25632"/>
                    <a:pt x="589" y="31297"/>
                  </a:cubicBezTo>
                  <a:cubicBezTo>
                    <a:pt x="2029" y="36823"/>
                    <a:pt x="6582" y="40723"/>
                    <a:pt x="13086" y="4611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96" name="Freeform 111">
              <a:extLst>
                <a:ext uri="{FF2B5EF4-FFF2-40B4-BE49-F238E27FC236}">
                  <a16:creationId xmlns:a16="http://schemas.microsoft.com/office/drawing/2014/main" id="{66DB82C7-30E5-7C42-997C-6F1E8E4FC862}"/>
                </a:ext>
              </a:extLst>
            </p:cNvPr>
            <p:cNvSpPr/>
            <p:nvPr/>
          </p:nvSpPr>
          <p:spPr>
            <a:xfrm>
              <a:off x="11691614" y="2374203"/>
              <a:ext cx="1794031" cy="1143083"/>
            </a:xfrm>
            <a:custGeom>
              <a:avLst/>
              <a:gdLst>
                <a:gd name="connsiteX0" fmla="*/ 341976 w 384090"/>
                <a:gd name="connsiteY0" fmla="*/ 153125 h 244726"/>
                <a:gd name="connsiteX1" fmla="*/ 358701 w 384090"/>
                <a:gd name="connsiteY1" fmla="*/ 140402 h 244726"/>
                <a:gd name="connsiteX2" fmla="*/ 376402 w 384090"/>
                <a:gd name="connsiteY2" fmla="*/ 140913 h 244726"/>
                <a:gd name="connsiteX3" fmla="*/ 380211 w 384090"/>
                <a:gd name="connsiteY3" fmla="*/ 126611 h 244726"/>
                <a:gd name="connsiteX4" fmla="*/ 375426 w 384090"/>
                <a:gd name="connsiteY4" fmla="*/ 117602 h 244726"/>
                <a:gd name="connsiteX5" fmla="*/ 383092 w 384090"/>
                <a:gd name="connsiteY5" fmla="*/ 111798 h 244726"/>
                <a:gd name="connsiteX6" fmla="*/ 377842 w 384090"/>
                <a:gd name="connsiteY6" fmla="*/ 104926 h 244726"/>
                <a:gd name="connsiteX7" fmla="*/ 384067 w 384090"/>
                <a:gd name="connsiteY7" fmla="*/ 94849 h 244726"/>
                <a:gd name="connsiteX8" fmla="*/ 371663 w 384090"/>
                <a:gd name="connsiteY8" fmla="*/ 86398 h 244726"/>
                <a:gd name="connsiteX9" fmla="*/ 353451 w 384090"/>
                <a:gd name="connsiteY9" fmla="*/ 81105 h 244726"/>
                <a:gd name="connsiteX10" fmla="*/ 335751 w 384090"/>
                <a:gd name="connsiteY10" fmla="*/ 77947 h 244726"/>
                <a:gd name="connsiteX11" fmla="*/ 326181 w 384090"/>
                <a:gd name="connsiteY11" fmla="*/ 65224 h 244726"/>
                <a:gd name="connsiteX12" fmla="*/ 314241 w 384090"/>
                <a:gd name="connsiteY12" fmla="*/ 66292 h 244726"/>
                <a:gd name="connsiteX13" fmla="*/ 303231 w 384090"/>
                <a:gd name="connsiteY13" fmla="*/ 67360 h 244726"/>
                <a:gd name="connsiteX14" fmla="*/ 292731 w 384090"/>
                <a:gd name="connsiteY14" fmla="*/ 62066 h 244726"/>
                <a:gd name="connsiteX15" fmla="*/ 284601 w 384090"/>
                <a:gd name="connsiteY15" fmla="*/ 57284 h 244726"/>
                <a:gd name="connsiteX16" fmla="*/ 275031 w 384090"/>
                <a:gd name="connsiteY16" fmla="*/ 38756 h 244726"/>
                <a:gd name="connsiteX17" fmla="*/ 259235 w 384090"/>
                <a:gd name="connsiteY17" fmla="*/ 34531 h 244726"/>
                <a:gd name="connsiteX18" fmla="*/ 254450 w 384090"/>
                <a:gd name="connsiteY18" fmla="*/ 21297 h 244726"/>
                <a:gd name="connsiteX19" fmla="*/ 251569 w 384090"/>
                <a:gd name="connsiteY19" fmla="*/ 3280 h 244726"/>
                <a:gd name="connsiteX20" fmla="*/ 233869 w 384090"/>
                <a:gd name="connsiteY20" fmla="*/ 1190 h 244726"/>
                <a:gd name="connsiteX21" fmla="*/ 219513 w 384090"/>
                <a:gd name="connsiteY21" fmla="*/ 1701 h 244726"/>
                <a:gd name="connsiteX22" fmla="*/ 209478 w 384090"/>
                <a:gd name="connsiteY22" fmla="*/ 7505 h 244726"/>
                <a:gd name="connsiteX23" fmla="*/ 203578 w 384090"/>
                <a:gd name="connsiteY23" fmla="*/ 4766 h 244726"/>
                <a:gd name="connsiteX24" fmla="*/ 189734 w 384090"/>
                <a:gd name="connsiteY24" fmla="*/ 7877 h 244726"/>
                <a:gd name="connsiteX25" fmla="*/ 176958 w 384090"/>
                <a:gd name="connsiteY25" fmla="*/ 23386 h 244726"/>
                <a:gd name="connsiteX26" fmla="*/ 173149 w 384090"/>
                <a:gd name="connsiteY26" fmla="*/ 31187 h 244726"/>
                <a:gd name="connsiteX27" fmla="*/ 153404 w 384090"/>
                <a:gd name="connsiteY27" fmla="*/ 29748 h 244726"/>
                <a:gd name="connsiteX28" fmla="*/ 139374 w 384090"/>
                <a:gd name="connsiteY28" fmla="*/ 24826 h 244726"/>
                <a:gd name="connsiteX29" fmla="*/ 125343 w 384090"/>
                <a:gd name="connsiteY29" fmla="*/ 23386 h 244726"/>
                <a:gd name="connsiteX30" fmla="*/ 110663 w 384090"/>
                <a:gd name="connsiteY30" fmla="*/ 21297 h 244726"/>
                <a:gd name="connsiteX31" fmla="*/ 90872 w 384090"/>
                <a:gd name="connsiteY31" fmla="*/ 17768 h 244726"/>
                <a:gd name="connsiteX32" fmla="*/ 53891 w 384090"/>
                <a:gd name="connsiteY32" fmla="*/ 12845 h 244726"/>
                <a:gd name="connsiteX33" fmla="*/ 39861 w 384090"/>
                <a:gd name="connsiteY33" fmla="*/ 22040 h 244726"/>
                <a:gd name="connsiteX34" fmla="*/ 28339 w 384090"/>
                <a:gd name="connsiteY34" fmla="*/ 24872 h 244726"/>
                <a:gd name="connsiteX35" fmla="*/ 30151 w 384090"/>
                <a:gd name="connsiteY35" fmla="*/ 32952 h 244726"/>
                <a:gd name="connsiteX36" fmla="*/ 38746 w 384090"/>
                <a:gd name="connsiteY36" fmla="*/ 56262 h 244726"/>
                <a:gd name="connsiteX37" fmla="*/ 29175 w 384090"/>
                <a:gd name="connsiteY37" fmla="*/ 64713 h 244726"/>
                <a:gd name="connsiteX38" fmla="*/ 9106 w 384090"/>
                <a:gd name="connsiteY38" fmla="*/ 87513 h 244726"/>
                <a:gd name="connsiteX39" fmla="*/ 9570 w 384090"/>
                <a:gd name="connsiteY39" fmla="*/ 103951 h 244726"/>
                <a:gd name="connsiteX40" fmla="*/ 0 w 384090"/>
                <a:gd name="connsiteY40" fmla="*/ 121410 h 244726"/>
                <a:gd name="connsiteX41" fmla="*/ 9570 w 384090"/>
                <a:gd name="connsiteY41" fmla="*/ 133065 h 244726"/>
                <a:gd name="connsiteX42" fmla="*/ 13101 w 384090"/>
                <a:gd name="connsiteY42" fmla="*/ 135805 h 244726"/>
                <a:gd name="connsiteX43" fmla="*/ 21417 w 384090"/>
                <a:gd name="connsiteY43" fmla="*/ 135015 h 244726"/>
                <a:gd name="connsiteX44" fmla="*/ 43067 w 384090"/>
                <a:gd name="connsiteY44" fmla="*/ 139241 h 244726"/>
                <a:gd name="connsiteX45" fmla="*/ 55842 w 384090"/>
                <a:gd name="connsiteY45" fmla="*/ 143466 h 244726"/>
                <a:gd name="connsiteX46" fmla="*/ 65413 w 384090"/>
                <a:gd name="connsiteY46" fmla="*/ 140634 h 244726"/>
                <a:gd name="connsiteX47" fmla="*/ 76237 w 384090"/>
                <a:gd name="connsiteY47" fmla="*/ 139241 h 244726"/>
                <a:gd name="connsiteX48" fmla="*/ 88363 w 384090"/>
                <a:gd name="connsiteY48" fmla="*/ 132183 h 244726"/>
                <a:gd name="connsiteX49" fmla="*/ 114519 w 384090"/>
                <a:gd name="connsiteY49" fmla="*/ 122292 h 244726"/>
                <a:gd name="connsiteX50" fmla="*/ 131754 w 384090"/>
                <a:gd name="connsiteY50" fmla="*/ 132879 h 244726"/>
                <a:gd name="connsiteX51" fmla="*/ 147085 w 384090"/>
                <a:gd name="connsiteY51" fmla="*/ 145602 h 244726"/>
                <a:gd name="connsiteX52" fmla="*/ 160465 w 384090"/>
                <a:gd name="connsiteY52" fmla="*/ 169609 h 244726"/>
                <a:gd name="connsiteX53" fmla="*/ 165576 w 384090"/>
                <a:gd name="connsiteY53" fmla="*/ 185165 h 244726"/>
                <a:gd name="connsiteX54" fmla="*/ 150895 w 384090"/>
                <a:gd name="connsiteY54" fmla="*/ 182332 h 244726"/>
                <a:gd name="connsiteX55" fmla="*/ 142626 w 384090"/>
                <a:gd name="connsiteY55" fmla="*/ 192919 h 244726"/>
                <a:gd name="connsiteX56" fmla="*/ 129896 w 384090"/>
                <a:gd name="connsiteY56" fmla="*/ 214837 h 244726"/>
                <a:gd name="connsiteX57" fmla="*/ 138212 w 384090"/>
                <a:gd name="connsiteY57" fmla="*/ 220455 h 244726"/>
                <a:gd name="connsiteX58" fmla="*/ 150338 w 384090"/>
                <a:gd name="connsiteY58" fmla="*/ 214837 h 244726"/>
                <a:gd name="connsiteX59" fmla="*/ 157910 w 384090"/>
                <a:gd name="connsiteY59" fmla="*/ 220780 h 244726"/>
                <a:gd name="connsiteX60" fmla="*/ 168178 w 384090"/>
                <a:gd name="connsiteY60" fmla="*/ 202856 h 244726"/>
                <a:gd name="connsiteX61" fmla="*/ 186668 w 384090"/>
                <a:gd name="connsiteY61" fmla="*/ 178850 h 244726"/>
                <a:gd name="connsiteX62" fmla="*/ 210594 w 384090"/>
                <a:gd name="connsiteY62" fmla="*/ 174949 h 244726"/>
                <a:gd name="connsiteX63" fmla="*/ 212823 w 384090"/>
                <a:gd name="connsiteY63" fmla="*/ 190505 h 244726"/>
                <a:gd name="connsiteX64" fmla="*/ 247899 w 384090"/>
                <a:gd name="connsiteY64" fmla="*/ 196170 h 244726"/>
                <a:gd name="connsiteX65" fmla="*/ 219188 w 384090"/>
                <a:gd name="connsiteY65" fmla="*/ 213861 h 244726"/>
                <a:gd name="connsiteX66" fmla="*/ 240884 w 384090"/>
                <a:gd name="connsiteY66" fmla="*/ 224774 h 244726"/>
                <a:gd name="connsiteX67" fmla="*/ 241860 w 384090"/>
                <a:gd name="connsiteY67" fmla="*/ 243162 h 244726"/>
                <a:gd name="connsiteX68" fmla="*/ 259421 w 384090"/>
                <a:gd name="connsiteY68" fmla="*/ 238565 h 244726"/>
                <a:gd name="connsiteX69" fmla="*/ 280141 w 384090"/>
                <a:gd name="connsiteY69" fmla="*/ 228674 h 244726"/>
                <a:gd name="connsiteX70" fmla="*/ 308852 w 384090"/>
                <a:gd name="connsiteY70" fmla="*/ 224077 h 244726"/>
                <a:gd name="connsiteX71" fmla="*/ 287156 w 384090"/>
                <a:gd name="connsiteY71" fmla="*/ 217716 h 244726"/>
                <a:gd name="connsiteX72" fmla="*/ 269641 w 384090"/>
                <a:gd name="connsiteY72" fmla="*/ 198259 h 244726"/>
                <a:gd name="connsiteX73" fmla="*/ 296726 w 384090"/>
                <a:gd name="connsiteY73" fmla="*/ 179221 h 244726"/>
                <a:gd name="connsiteX74" fmla="*/ 324137 w 384090"/>
                <a:gd name="connsiteY74" fmla="*/ 170027 h 244726"/>
                <a:gd name="connsiteX75" fmla="*/ 341651 w 384090"/>
                <a:gd name="connsiteY75" fmla="*/ 164548 h 244726"/>
                <a:gd name="connsiteX76" fmla="*/ 342116 w 384090"/>
                <a:gd name="connsiteY76" fmla="*/ 153218 h 244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84090" h="244726">
                  <a:moveTo>
                    <a:pt x="341976" y="153125"/>
                  </a:moveTo>
                  <a:cubicBezTo>
                    <a:pt x="345321" y="152614"/>
                    <a:pt x="355356" y="140402"/>
                    <a:pt x="358701" y="140402"/>
                  </a:cubicBezTo>
                  <a:cubicBezTo>
                    <a:pt x="362046" y="140402"/>
                    <a:pt x="376402" y="143559"/>
                    <a:pt x="376402" y="140913"/>
                  </a:cubicBezTo>
                  <a:cubicBezTo>
                    <a:pt x="376402" y="138266"/>
                    <a:pt x="381187" y="129257"/>
                    <a:pt x="380211" y="126611"/>
                  </a:cubicBezTo>
                  <a:cubicBezTo>
                    <a:pt x="379236" y="123964"/>
                    <a:pt x="374450" y="120249"/>
                    <a:pt x="375426" y="117602"/>
                  </a:cubicBezTo>
                  <a:cubicBezTo>
                    <a:pt x="376355" y="114956"/>
                    <a:pt x="383092" y="114956"/>
                    <a:pt x="383092" y="111798"/>
                  </a:cubicBezTo>
                  <a:cubicBezTo>
                    <a:pt x="383092" y="108640"/>
                    <a:pt x="377842" y="107015"/>
                    <a:pt x="377842" y="104926"/>
                  </a:cubicBezTo>
                  <a:cubicBezTo>
                    <a:pt x="377842" y="102836"/>
                    <a:pt x="384532" y="99121"/>
                    <a:pt x="384067" y="94849"/>
                  </a:cubicBezTo>
                  <a:cubicBezTo>
                    <a:pt x="383603" y="90624"/>
                    <a:pt x="377842" y="90066"/>
                    <a:pt x="371663" y="86398"/>
                  </a:cubicBezTo>
                  <a:cubicBezTo>
                    <a:pt x="365437" y="82683"/>
                    <a:pt x="359212" y="84262"/>
                    <a:pt x="353451" y="81105"/>
                  </a:cubicBezTo>
                  <a:cubicBezTo>
                    <a:pt x="347737" y="77947"/>
                    <a:pt x="335751" y="80037"/>
                    <a:pt x="335751" y="77947"/>
                  </a:cubicBezTo>
                  <a:cubicBezTo>
                    <a:pt x="335751" y="75857"/>
                    <a:pt x="328085" y="68939"/>
                    <a:pt x="326181" y="65224"/>
                  </a:cubicBezTo>
                  <a:cubicBezTo>
                    <a:pt x="324276" y="61509"/>
                    <a:pt x="318051" y="63645"/>
                    <a:pt x="314241" y="66292"/>
                  </a:cubicBezTo>
                  <a:cubicBezTo>
                    <a:pt x="310385" y="68939"/>
                    <a:pt x="307040" y="70007"/>
                    <a:pt x="303231" y="67360"/>
                  </a:cubicBezTo>
                  <a:cubicBezTo>
                    <a:pt x="299421" y="64713"/>
                    <a:pt x="296076" y="60488"/>
                    <a:pt x="292731" y="62066"/>
                  </a:cubicBezTo>
                  <a:cubicBezTo>
                    <a:pt x="289386" y="63645"/>
                    <a:pt x="283161" y="62623"/>
                    <a:pt x="284601" y="57284"/>
                  </a:cubicBezTo>
                  <a:cubicBezTo>
                    <a:pt x="286041" y="51990"/>
                    <a:pt x="278375" y="40335"/>
                    <a:pt x="275031" y="38756"/>
                  </a:cubicBezTo>
                  <a:cubicBezTo>
                    <a:pt x="271685" y="37177"/>
                    <a:pt x="261651" y="39778"/>
                    <a:pt x="259235" y="34531"/>
                  </a:cubicBezTo>
                  <a:cubicBezTo>
                    <a:pt x="256819" y="29237"/>
                    <a:pt x="252545" y="25011"/>
                    <a:pt x="254450" y="21297"/>
                  </a:cubicBezTo>
                  <a:cubicBezTo>
                    <a:pt x="256354" y="17582"/>
                    <a:pt x="253985" y="7505"/>
                    <a:pt x="251569" y="3280"/>
                  </a:cubicBezTo>
                  <a:cubicBezTo>
                    <a:pt x="249154" y="-946"/>
                    <a:pt x="237214" y="-435"/>
                    <a:pt x="233869" y="1190"/>
                  </a:cubicBezTo>
                  <a:cubicBezTo>
                    <a:pt x="230524" y="2769"/>
                    <a:pt x="222858" y="-388"/>
                    <a:pt x="219513" y="1701"/>
                  </a:cubicBezTo>
                  <a:cubicBezTo>
                    <a:pt x="216168" y="3837"/>
                    <a:pt x="214264" y="7505"/>
                    <a:pt x="209478" y="7505"/>
                  </a:cubicBezTo>
                  <a:cubicBezTo>
                    <a:pt x="206830" y="7505"/>
                    <a:pt x="205019" y="7134"/>
                    <a:pt x="203578" y="4766"/>
                  </a:cubicBezTo>
                  <a:cubicBezTo>
                    <a:pt x="198422" y="7366"/>
                    <a:pt x="189734" y="7877"/>
                    <a:pt x="189734" y="7877"/>
                  </a:cubicBezTo>
                  <a:cubicBezTo>
                    <a:pt x="189734" y="7877"/>
                    <a:pt x="176958" y="19161"/>
                    <a:pt x="176958" y="23386"/>
                  </a:cubicBezTo>
                  <a:cubicBezTo>
                    <a:pt x="176958" y="27612"/>
                    <a:pt x="176354" y="34716"/>
                    <a:pt x="173149" y="31187"/>
                  </a:cubicBezTo>
                  <a:cubicBezTo>
                    <a:pt x="169943" y="27658"/>
                    <a:pt x="156563" y="27658"/>
                    <a:pt x="153404" y="29748"/>
                  </a:cubicBezTo>
                  <a:cubicBezTo>
                    <a:pt x="150198" y="31884"/>
                    <a:pt x="145088" y="21297"/>
                    <a:pt x="139374" y="24826"/>
                  </a:cubicBezTo>
                  <a:cubicBezTo>
                    <a:pt x="133659" y="28355"/>
                    <a:pt x="125994" y="19857"/>
                    <a:pt x="125343" y="23386"/>
                  </a:cubicBezTo>
                  <a:cubicBezTo>
                    <a:pt x="124693" y="26915"/>
                    <a:pt x="116423" y="24129"/>
                    <a:pt x="110663" y="21297"/>
                  </a:cubicBezTo>
                  <a:cubicBezTo>
                    <a:pt x="104948" y="18464"/>
                    <a:pt x="94728" y="22690"/>
                    <a:pt x="90872" y="17768"/>
                  </a:cubicBezTo>
                  <a:cubicBezTo>
                    <a:pt x="87062" y="12845"/>
                    <a:pt x="62161" y="12845"/>
                    <a:pt x="53891" y="12845"/>
                  </a:cubicBezTo>
                  <a:cubicBezTo>
                    <a:pt x="45622" y="12845"/>
                    <a:pt x="43671" y="17768"/>
                    <a:pt x="39861" y="22040"/>
                  </a:cubicBezTo>
                  <a:cubicBezTo>
                    <a:pt x="36423" y="25894"/>
                    <a:pt x="32381" y="25104"/>
                    <a:pt x="28339" y="24872"/>
                  </a:cubicBezTo>
                  <a:cubicBezTo>
                    <a:pt x="28711" y="28448"/>
                    <a:pt x="29315" y="31605"/>
                    <a:pt x="30151" y="32952"/>
                  </a:cubicBezTo>
                  <a:cubicBezTo>
                    <a:pt x="32056" y="36109"/>
                    <a:pt x="41162" y="51479"/>
                    <a:pt x="38746" y="56262"/>
                  </a:cubicBezTo>
                  <a:cubicBezTo>
                    <a:pt x="36377" y="61045"/>
                    <a:pt x="32056" y="61045"/>
                    <a:pt x="29175" y="64713"/>
                  </a:cubicBezTo>
                  <a:cubicBezTo>
                    <a:pt x="26295" y="68428"/>
                    <a:pt x="9570" y="84866"/>
                    <a:pt x="9106" y="87513"/>
                  </a:cubicBezTo>
                  <a:cubicBezTo>
                    <a:pt x="8641" y="90159"/>
                    <a:pt x="11986" y="101814"/>
                    <a:pt x="9570" y="103951"/>
                  </a:cubicBezTo>
                  <a:cubicBezTo>
                    <a:pt x="7201" y="106086"/>
                    <a:pt x="0" y="117184"/>
                    <a:pt x="0" y="121410"/>
                  </a:cubicBezTo>
                  <a:cubicBezTo>
                    <a:pt x="0" y="125635"/>
                    <a:pt x="5250" y="131486"/>
                    <a:pt x="9570" y="133065"/>
                  </a:cubicBezTo>
                  <a:cubicBezTo>
                    <a:pt x="11382" y="133762"/>
                    <a:pt x="12544" y="134690"/>
                    <a:pt x="13101" y="135805"/>
                  </a:cubicBezTo>
                  <a:cubicBezTo>
                    <a:pt x="16446" y="135294"/>
                    <a:pt x="19512" y="135015"/>
                    <a:pt x="21417" y="135015"/>
                  </a:cubicBezTo>
                  <a:cubicBezTo>
                    <a:pt x="24623" y="135015"/>
                    <a:pt x="38653" y="139241"/>
                    <a:pt x="43067" y="139241"/>
                  </a:cubicBezTo>
                  <a:cubicBezTo>
                    <a:pt x="47480" y="139241"/>
                    <a:pt x="53938" y="141377"/>
                    <a:pt x="55842" y="143466"/>
                  </a:cubicBezTo>
                  <a:cubicBezTo>
                    <a:pt x="57794" y="145556"/>
                    <a:pt x="62207" y="144163"/>
                    <a:pt x="65413" y="140634"/>
                  </a:cubicBezTo>
                  <a:cubicBezTo>
                    <a:pt x="68618" y="137105"/>
                    <a:pt x="72428" y="139241"/>
                    <a:pt x="76237" y="139241"/>
                  </a:cubicBezTo>
                  <a:cubicBezTo>
                    <a:pt x="80047" y="139241"/>
                    <a:pt x="86458" y="135712"/>
                    <a:pt x="88363" y="132183"/>
                  </a:cubicBezTo>
                  <a:cubicBezTo>
                    <a:pt x="90268" y="128654"/>
                    <a:pt x="109408" y="122989"/>
                    <a:pt x="114519" y="122292"/>
                  </a:cubicBezTo>
                  <a:cubicBezTo>
                    <a:pt x="119629" y="121596"/>
                    <a:pt x="127248" y="132879"/>
                    <a:pt x="131754" y="132879"/>
                  </a:cubicBezTo>
                  <a:cubicBezTo>
                    <a:pt x="136261" y="132879"/>
                    <a:pt x="144484" y="136408"/>
                    <a:pt x="147085" y="145602"/>
                  </a:cubicBezTo>
                  <a:cubicBezTo>
                    <a:pt x="149641" y="154796"/>
                    <a:pt x="157306" y="166080"/>
                    <a:pt x="160465" y="169609"/>
                  </a:cubicBezTo>
                  <a:cubicBezTo>
                    <a:pt x="163671" y="173138"/>
                    <a:pt x="165576" y="182332"/>
                    <a:pt x="165576" y="185165"/>
                  </a:cubicBezTo>
                  <a:cubicBezTo>
                    <a:pt x="165576" y="187997"/>
                    <a:pt x="158561" y="184468"/>
                    <a:pt x="150895" y="182332"/>
                  </a:cubicBezTo>
                  <a:cubicBezTo>
                    <a:pt x="143276" y="180196"/>
                    <a:pt x="142626" y="188694"/>
                    <a:pt x="142626" y="192919"/>
                  </a:cubicBezTo>
                  <a:cubicBezTo>
                    <a:pt x="142626" y="197145"/>
                    <a:pt x="131801" y="212004"/>
                    <a:pt x="129896" y="214837"/>
                  </a:cubicBezTo>
                  <a:cubicBezTo>
                    <a:pt x="127991" y="217669"/>
                    <a:pt x="133752" y="219759"/>
                    <a:pt x="138212" y="220455"/>
                  </a:cubicBezTo>
                  <a:cubicBezTo>
                    <a:pt x="140117" y="220734"/>
                    <a:pt x="147782" y="214837"/>
                    <a:pt x="150338" y="214837"/>
                  </a:cubicBezTo>
                  <a:cubicBezTo>
                    <a:pt x="151360" y="214837"/>
                    <a:pt x="154565" y="217530"/>
                    <a:pt x="157910" y="220780"/>
                  </a:cubicBezTo>
                  <a:cubicBezTo>
                    <a:pt x="157167" y="209729"/>
                    <a:pt x="159257" y="210332"/>
                    <a:pt x="168178" y="202856"/>
                  </a:cubicBezTo>
                  <a:cubicBezTo>
                    <a:pt x="177423" y="195102"/>
                    <a:pt x="178398" y="180614"/>
                    <a:pt x="186668" y="178850"/>
                  </a:cubicBezTo>
                  <a:cubicBezTo>
                    <a:pt x="194984" y="177085"/>
                    <a:pt x="198468" y="172860"/>
                    <a:pt x="210594" y="174949"/>
                  </a:cubicBezTo>
                  <a:cubicBezTo>
                    <a:pt x="222719" y="177085"/>
                    <a:pt x="204554" y="185536"/>
                    <a:pt x="212823" y="190505"/>
                  </a:cubicBezTo>
                  <a:cubicBezTo>
                    <a:pt x="221139" y="195473"/>
                    <a:pt x="246645" y="189112"/>
                    <a:pt x="247899" y="196170"/>
                  </a:cubicBezTo>
                  <a:cubicBezTo>
                    <a:pt x="249154" y="203228"/>
                    <a:pt x="218538" y="210332"/>
                    <a:pt x="219188" y="213861"/>
                  </a:cubicBezTo>
                  <a:cubicBezTo>
                    <a:pt x="219839" y="217391"/>
                    <a:pt x="235448" y="220919"/>
                    <a:pt x="240884" y="224774"/>
                  </a:cubicBezTo>
                  <a:cubicBezTo>
                    <a:pt x="246320" y="228674"/>
                    <a:pt x="239304" y="239633"/>
                    <a:pt x="241860" y="243162"/>
                  </a:cubicBezTo>
                  <a:cubicBezTo>
                    <a:pt x="244415" y="246691"/>
                    <a:pt x="252684" y="243858"/>
                    <a:pt x="259421" y="238565"/>
                  </a:cubicBezTo>
                  <a:cubicBezTo>
                    <a:pt x="266110" y="233271"/>
                    <a:pt x="271546" y="235036"/>
                    <a:pt x="280141" y="228674"/>
                  </a:cubicBezTo>
                  <a:cubicBezTo>
                    <a:pt x="288736" y="222313"/>
                    <a:pt x="306622" y="227931"/>
                    <a:pt x="308852" y="224077"/>
                  </a:cubicBezTo>
                  <a:cubicBezTo>
                    <a:pt x="311082" y="220177"/>
                    <a:pt x="303742" y="216322"/>
                    <a:pt x="287156" y="217716"/>
                  </a:cubicBezTo>
                  <a:cubicBezTo>
                    <a:pt x="270571" y="219109"/>
                    <a:pt x="269641" y="201835"/>
                    <a:pt x="269641" y="198259"/>
                  </a:cubicBezTo>
                  <a:cubicBezTo>
                    <a:pt x="269641" y="194684"/>
                    <a:pt x="286877" y="180243"/>
                    <a:pt x="296726" y="179221"/>
                  </a:cubicBezTo>
                  <a:cubicBezTo>
                    <a:pt x="306622" y="178153"/>
                    <a:pt x="314566" y="174996"/>
                    <a:pt x="324137" y="170027"/>
                  </a:cubicBezTo>
                  <a:cubicBezTo>
                    <a:pt x="327992" y="168030"/>
                    <a:pt x="334775" y="166034"/>
                    <a:pt x="341651" y="164548"/>
                  </a:cubicBezTo>
                  <a:cubicBezTo>
                    <a:pt x="340629" y="159533"/>
                    <a:pt x="339282" y="153682"/>
                    <a:pt x="342116" y="153218"/>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97" name="Freeform 123">
              <a:extLst>
                <a:ext uri="{FF2B5EF4-FFF2-40B4-BE49-F238E27FC236}">
                  <a16:creationId xmlns:a16="http://schemas.microsoft.com/office/drawing/2014/main" id="{9591507D-6F4C-0758-C933-1C4452EE51B7}"/>
                </a:ext>
              </a:extLst>
            </p:cNvPr>
            <p:cNvSpPr/>
            <p:nvPr/>
          </p:nvSpPr>
          <p:spPr>
            <a:xfrm>
              <a:off x="11791867" y="1779624"/>
              <a:ext cx="942818" cy="744280"/>
            </a:xfrm>
            <a:custGeom>
              <a:avLst/>
              <a:gdLst>
                <a:gd name="connsiteX0" fmla="*/ 189966 w 201851"/>
                <a:gd name="connsiteY0" fmla="*/ 79125 h 159345"/>
                <a:gd name="connsiteX1" fmla="*/ 177516 w 201851"/>
                <a:gd name="connsiteY1" fmla="*/ 65891 h 159345"/>
                <a:gd name="connsiteX2" fmla="*/ 167481 w 201851"/>
                <a:gd name="connsiteY2" fmla="*/ 51078 h 159345"/>
                <a:gd name="connsiteX3" fmla="*/ 165065 w 201851"/>
                <a:gd name="connsiteY3" fmla="*/ 34130 h 159345"/>
                <a:gd name="connsiteX4" fmla="*/ 163160 w 201851"/>
                <a:gd name="connsiteY4" fmla="*/ 17692 h 159345"/>
                <a:gd name="connsiteX5" fmla="*/ 143090 w 201851"/>
                <a:gd name="connsiteY5" fmla="*/ 11330 h 159345"/>
                <a:gd name="connsiteX6" fmla="*/ 131615 w 201851"/>
                <a:gd name="connsiteY6" fmla="*/ 11330 h 159345"/>
                <a:gd name="connsiteX7" fmla="*/ 120605 w 201851"/>
                <a:gd name="connsiteY7" fmla="*/ 5479 h 159345"/>
                <a:gd name="connsiteX8" fmla="*/ 109129 w 201851"/>
                <a:gd name="connsiteY8" fmla="*/ 1765 h 159345"/>
                <a:gd name="connsiteX9" fmla="*/ 108061 w 201851"/>
                <a:gd name="connsiteY9" fmla="*/ 0 h 159345"/>
                <a:gd name="connsiteX10" fmla="*/ 101371 w 201851"/>
                <a:gd name="connsiteY10" fmla="*/ 2972 h 159345"/>
                <a:gd name="connsiteX11" fmla="*/ 93055 w 201851"/>
                <a:gd name="connsiteY11" fmla="*/ 11469 h 159345"/>
                <a:gd name="connsiteX12" fmla="*/ 78374 w 201851"/>
                <a:gd name="connsiteY12" fmla="*/ 13605 h 159345"/>
                <a:gd name="connsiteX13" fmla="*/ 72614 w 201851"/>
                <a:gd name="connsiteY13" fmla="*/ 26329 h 159345"/>
                <a:gd name="connsiteX14" fmla="*/ 70059 w 201851"/>
                <a:gd name="connsiteY14" fmla="*/ 35523 h 159345"/>
                <a:gd name="connsiteX15" fmla="*/ 63043 w 201851"/>
                <a:gd name="connsiteY15" fmla="*/ 41884 h 159345"/>
                <a:gd name="connsiteX16" fmla="*/ 52172 w 201851"/>
                <a:gd name="connsiteY16" fmla="*/ 53168 h 159345"/>
                <a:gd name="connsiteX17" fmla="*/ 48966 w 201851"/>
                <a:gd name="connsiteY17" fmla="*/ 64498 h 159345"/>
                <a:gd name="connsiteX18" fmla="*/ 34936 w 201851"/>
                <a:gd name="connsiteY18" fmla="*/ 69420 h 159345"/>
                <a:gd name="connsiteX19" fmla="*/ 24112 w 201851"/>
                <a:gd name="connsiteY19" fmla="*/ 75085 h 159345"/>
                <a:gd name="connsiteX20" fmla="*/ 8316 w 201851"/>
                <a:gd name="connsiteY20" fmla="*/ 73831 h 159345"/>
                <a:gd name="connsiteX21" fmla="*/ 8177 w 201851"/>
                <a:gd name="connsiteY21" fmla="*/ 75967 h 159345"/>
                <a:gd name="connsiteX22" fmla="*/ 11521 w 201851"/>
                <a:gd name="connsiteY22" fmla="*/ 93984 h 159345"/>
                <a:gd name="connsiteX23" fmla="*/ 12451 w 201851"/>
                <a:gd name="connsiteY23" fmla="*/ 114647 h 159345"/>
                <a:gd name="connsiteX24" fmla="*/ 0 w 201851"/>
                <a:gd name="connsiteY24" fmla="*/ 126813 h 159345"/>
                <a:gd name="connsiteX25" fmla="*/ 7154 w 201851"/>
                <a:gd name="connsiteY25" fmla="*/ 138979 h 159345"/>
                <a:gd name="connsiteX26" fmla="*/ 6783 w 201851"/>
                <a:gd name="connsiteY26" fmla="*/ 152074 h 159345"/>
                <a:gd name="connsiteX27" fmla="*/ 18304 w 201851"/>
                <a:gd name="connsiteY27" fmla="*/ 149241 h 159345"/>
                <a:gd name="connsiteX28" fmla="*/ 32335 w 201851"/>
                <a:gd name="connsiteY28" fmla="*/ 140047 h 159345"/>
                <a:gd name="connsiteX29" fmla="*/ 69315 w 201851"/>
                <a:gd name="connsiteY29" fmla="*/ 144969 h 159345"/>
                <a:gd name="connsiteX30" fmla="*/ 89106 w 201851"/>
                <a:gd name="connsiteY30" fmla="*/ 148498 h 159345"/>
                <a:gd name="connsiteX31" fmla="*/ 103787 w 201851"/>
                <a:gd name="connsiteY31" fmla="*/ 150588 h 159345"/>
                <a:gd name="connsiteX32" fmla="*/ 117817 w 201851"/>
                <a:gd name="connsiteY32" fmla="*/ 152027 h 159345"/>
                <a:gd name="connsiteX33" fmla="*/ 131847 w 201851"/>
                <a:gd name="connsiteY33" fmla="*/ 156949 h 159345"/>
                <a:gd name="connsiteX34" fmla="*/ 151592 w 201851"/>
                <a:gd name="connsiteY34" fmla="*/ 158389 h 159345"/>
                <a:gd name="connsiteX35" fmla="*/ 155402 w 201851"/>
                <a:gd name="connsiteY35" fmla="*/ 150588 h 159345"/>
                <a:gd name="connsiteX36" fmla="*/ 168178 w 201851"/>
                <a:gd name="connsiteY36" fmla="*/ 135079 h 159345"/>
                <a:gd name="connsiteX37" fmla="*/ 182022 w 201851"/>
                <a:gd name="connsiteY37" fmla="*/ 131968 h 159345"/>
                <a:gd name="connsiteX38" fmla="*/ 178816 w 201851"/>
                <a:gd name="connsiteY38" fmla="*/ 121984 h 159345"/>
                <a:gd name="connsiteX39" fmla="*/ 175471 w 201851"/>
                <a:gd name="connsiteY39" fmla="*/ 99742 h 159345"/>
                <a:gd name="connsiteX40" fmla="*/ 190756 w 201851"/>
                <a:gd name="connsiteY40" fmla="*/ 102389 h 159345"/>
                <a:gd name="connsiteX41" fmla="*/ 201766 w 201851"/>
                <a:gd name="connsiteY41" fmla="*/ 91291 h 159345"/>
                <a:gd name="connsiteX42" fmla="*/ 189827 w 201851"/>
                <a:gd name="connsiteY42" fmla="*/ 79125 h 15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1851" h="159345">
                  <a:moveTo>
                    <a:pt x="189966" y="79125"/>
                  </a:moveTo>
                  <a:cubicBezTo>
                    <a:pt x="186110" y="78057"/>
                    <a:pt x="183741" y="68538"/>
                    <a:pt x="177516" y="65891"/>
                  </a:cubicBezTo>
                  <a:cubicBezTo>
                    <a:pt x="171290" y="63244"/>
                    <a:pt x="172730" y="54747"/>
                    <a:pt x="167481" y="51078"/>
                  </a:cubicBezTo>
                  <a:cubicBezTo>
                    <a:pt x="162231" y="47363"/>
                    <a:pt x="165576" y="39934"/>
                    <a:pt x="165065" y="34130"/>
                  </a:cubicBezTo>
                  <a:cubicBezTo>
                    <a:pt x="164600" y="28325"/>
                    <a:pt x="166040" y="19317"/>
                    <a:pt x="163160" y="17692"/>
                  </a:cubicBezTo>
                  <a:cubicBezTo>
                    <a:pt x="160280" y="16113"/>
                    <a:pt x="148340" y="8683"/>
                    <a:pt x="143090" y="11330"/>
                  </a:cubicBezTo>
                  <a:cubicBezTo>
                    <a:pt x="137840" y="13977"/>
                    <a:pt x="133985" y="16066"/>
                    <a:pt x="131615" y="11330"/>
                  </a:cubicBezTo>
                  <a:cubicBezTo>
                    <a:pt x="129246" y="6547"/>
                    <a:pt x="125901" y="3901"/>
                    <a:pt x="120605" y="5479"/>
                  </a:cubicBezTo>
                  <a:cubicBezTo>
                    <a:pt x="115355" y="7058"/>
                    <a:pt x="111963" y="4411"/>
                    <a:pt x="109129" y="1765"/>
                  </a:cubicBezTo>
                  <a:cubicBezTo>
                    <a:pt x="108712" y="1347"/>
                    <a:pt x="108340" y="743"/>
                    <a:pt x="108061" y="0"/>
                  </a:cubicBezTo>
                  <a:cubicBezTo>
                    <a:pt x="105924" y="511"/>
                    <a:pt x="103137" y="1393"/>
                    <a:pt x="101371" y="2972"/>
                  </a:cubicBezTo>
                  <a:cubicBezTo>
                    <a:pt x="98165" y="5804"/>
                    <a:pt x="97562" y="11469"/>
                    <a:pt x="93055" y="11469"/>
                  </a:cubicBezTo>
                  <a:cubicBezTo>
                    <a:pt x="88549" y="11469"/>
                    <a:pt x="83485" y="9380"/>
                    <a:pt x="78374" y="13605"/>
                  </a:cubicBezTo>
                  <a:cubicBezTo>
                    <a:pt x="73264" y="17831"/>
                    <a:pt x="72010" y="22799"/>
                    <a:pt x="72614" y="26329"/>
                  </a:cubicBezTo>
                  <a:cubicBezTo>
                    <a:pt x="73264" y="29857"/>
                    <a:pt x="73914" y="35523"/>
                    <a:pt x="70059" y="35523"/>
                  </a:cubicBezTo>
                  <a:cubicBezTo>
                    <a:pt x="66202" y="35523"/>
                    <a:pt x="66899" y="40491"/>
                    <a:pt x="63043" y="41884"/>
                  </a:cubicBezTo>
                  <a:cubicBezTo>
                    <a:pt x="59234" y="43277"/>
                    <a:pt x="52823" y="49639"/>
                    <a:pt x="52172" y="53168"/>
                  </a:cubicBezTo>
                  <a:cubicBezTo>
                    <a:pt x="51522" y="56697"/>
                    <a:pt x="51522" y="64498"/>
                    <a:pt x="48966" y="64498"/>
                  </a:cubicBezTo>
                  <a:cubicBezTo>
                    <a:pt x="46411" y="64498"/>
                    <a:pt x="37492" y="65891"/>
                    <a:pt x="34936" y="69420"/>
                  </a:cubicBezTo>
                  <a:cubicBezTo>
                    <a:pt x="32381" y="72949"/>
                    <a:pt x="29222" y="76478"/>
                    <a:pt x="24112" y="75085"/>
                  </a:cubicBezTo>
                  <a:cubicBezTo>
                    <a:pt x="21510" y="74342"/>
                    <a:pt x="14495" y="74017"/>
                    <a:pt x="8316" y="73831"/>
                  </a:cubicBezTo>
                  <a:cubicBezTo>
                    <a:pt x="8409" y="74528"/>
                    <a:pt x="8409" y="75224"/>
                    <a:pt x="8177" y="75967"/>
                  </a:cubicBezTo>
                  <a:cubicBezTo>
                    <a:pt x="5807" y="83397"/>
                    <a:pt x="7712" y="90269"/>
                    <a:pt x="11521" y="93984"/>
                  </a:cubicBezTo>
                  <a:cubicBezTo>
                    <a:pt x="15331" y="97699"/>
                    <a:pt x="16771" y="112511"/>
                    <a:pt x="12451" y="114647"/>
                  </a:cubicBezTo>
                  <a:cubicBezTo>
                    <a:pt x="8130" y="116737"/>
                    <a:pt x="0" y="123099"/>
                    <a:pt x="0" y="126813"/>
                  </a:cubicBezTo>
                  <a:cubicBezTo>
                    <a:pt x="0" y="130528"/>
                    <a:pt x="8595" y="133686"/>
                    <a:pt x="7154" y="138979"/>
                  </a:cubicBezTo>
                  <a:cubicBezTo>
                    <a:pt x="6365" y="142044"/>
                    <a:pt x="6318" y="147384"/>
                    <a:pt x="6783" y="152074"/>
                  </a:cubicBezTo>
                  <a:cubicBezTo>
                    <a:pt x="10825" y="152260"/>
                    <a:pt x="14867" y="153049"/>
                    <a:pt x="18304" y="149241"/>
                  </a:cubicBezTo>
                  <a:cubicBezTo>
                    <a:pt x="22160" y="145016"/>
                    <a:pt x="24065" y="140047"/>
                    <a:pt x="32335" y="140047"/>
                  </a:cubicBezTo>
                  <a:cubicBezTo>
                    <a:pt x="40604" y="140047"/>
                    <a:pt x="65505" y="140047"/>
                    <a:pt x="69315" y="144969"/>
                  </a:cubicBezTo>
                  <a:cubicBezTo>
                    <a:pt x="73125" y="149938"/>
                    <a:pt x="83345" y="145666"/>
                    <a:pt x="89106" y="148498"/>
                  </a:cubicBezTo>
                  <a:cubicBezTo>
                    <a:pt x="94867" y="151331"/>
                    <a:pt x="103137" y="154163"/>
                    <a:pt x="103787" y="150588"/>
                  </a:cubicBezTo>
                  <a:cubicBezTo>
                    <a:pt x="104437" y="147059"/>
                    <a:pt x="112103" y="155556"/>
                    <a:pt x="117817" y="152027"/>
                  </a:cubicBezTo>
                  <a:cubicBezTo>
                    <a:pt x="123578" y="148498"/>
                    <a:pt x="128642" y="159085"/>
                    <a:pt x="131847" y="156949"/>
                  </a:cubicBezTo>
                  <a:cubicBezTo>
                    <a:pt x="135053" y="154813"/>
                    <a:pt x="148433" y="154860"/>
                    <a:pt x="151592" y="158389"/>
                  </a:cubicBezTo>
                  <a:cubicBezTo>
                    <a:pt x="154798" y="161918"/>
                    <a:pt x="155402" y="154860"/>
                    <a:pt x="155402" y="150588"/>
                  </a:cubicBezTo>
                  <a:cubicBezTo>
                    <a:pt x="155402" y="146316"/>
                    <a:pt x="168178" y="135079"/>
                    <a:pt x="168178" y="135079"/>
                  </a:cubicBezTo>
                  <a:cubicBezTo>
                    <a:pt x="168178" y="135079"/>
                    <a:pt x="176865" y="134568"/>
                    <a:pt x="182022" y="131968"/>
                  </a:cubicBezTo>
                  <a:cubicBezTo>
                    <a:pt x="180860" y="130157"/>
                    <a:pt x="179885" y="127138"/>
                    <a:pt x="178816" y="121984"/>
                  </a:cubicBezTo>
                  <a:cubicBezTo>
                    <a:pt x="176447" y="110329"/>
                    <a:pt x="172591" y="103457"/>
                    <a:pt x="175471" y="99742"/>
                  </a:cubicBezTo>
                  <a:cubicBezTo>
                    <a:pt x="178352" y="96027"/>
                    <a:pt x="186482" y="104525"/>
                    <a:pt x="190756" y="102389"/>
                  </a:cubicBezTo>
                  <a:cubicBezTo>
                    <a:pt x="195077" y="100299"/>
                    <a:pt x="202742" y="96027"/>
                    <a:pt x="201766" y="91291"/>
                  </a:cubicBezTo>
                  <a:cubicBezTo>
                    <a:pt x="200791" y="86508"/>
                    <a:pt x="193636" y="80146"/>
                    <a:pt x="189827" y="79125"/>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98" name="Freeform 124">
              <a:extLst>
                <a:ext uri="{FF2B5EF4-FFF2-40B4-BE49-F238E27FC236}">
                  <a16:creationId xmlns:a16="http://schemas.microsoft.com/office/drawing/2014/main" id="{F6119B37-7240-E740-8A43-44D5D81312B0}"/>
                </a:ext>
              </a:extLst>
            </p:cNvPr>
            <p:cNvSpPr/>
            <p:nvPr/>
          </p:nvSpPr>
          <p:spPr>
            <a:xfrm>
              <a:off x="10789384" y="3183193"/>
              <a:ext cx="338899" cy="205976"/>
            </a:xfrm>
            <a:custGeom>
              <a:avLst/>
              <a:gdLst>
                <a:gd name="connsiteX0" fmla="*/ 175 w 72556"/>
                <a:gd name="connsiteY0" fmla="*/ 38944 h 44098"/>
                <a:gd name="connsiteX1" fmla="*/ 13927 w 72556"/>
                <a:gd name="connsiteY1" fmla="*/ 36994 h 44098"/>
                <a:gd name="connsiteX2" fmla="*/ 17690 w 72556"/>
                <a:gd name="connsiteY2" fmla="*/ 44098 h 44098"/>
                <a:gd name="connsiteX3" fmla="*/ 32882 w 72556"/>
                <a:gd name="connsiteY3" fmla="*/ 40848 h 44098"/>
                <a:gd name="connsiteX4" fmla="*/ 46261 w 72556"/>
                <a:gd name="connsiteY4" fmla="*/ 41359 h 44098"/>
                <a:gd name="connsiteX5" fmla="*/ 53927 w 72556"/>
                <a:gd name="connsiteY5" fmla="*/ 30772 h 44098"/>
                <a:gd name="connsiteX6" fmla="*/ 59177 w 72556"/>
                <a:gd name="connsiteY6" fmla="*/ 19117 h 44098"/>
                <a:gd name="connsiteX7" fmla="*/ 72556 w 72556"/>
                <a:gd name="connsiteY7" fmla="*/ 9040 h 44098"/>
                <a:gd name="connsiteX8" fmla="*/ 67307 w 72556"/>
                <a:gd name="connsiteY8" fmla="*/ 32 h 44098"/>
                <a:gd name="connsiteX9" fmla="*/ 52487 w 72556"/>
                <a:gd name="connsiteY9" fmla="*/ 5325 h 44098"/>
                <a:gd name="connsiteX10" fmla="*/ 33857 w 72556"/>
                <a:gd name="connsiteY10" fmla="*/ 12755 h 44098"/>
                <a:gd name="connsiteX11" fmla="*/ 9931 w 72556"/>
                <a:gd name="connsiteY11" fmla="*/ 7972 h 44098"/>
                <a:gd name="connsiteX12" fmla="*/ 1290 w 72556"/>
                <a:gd name="connsiteY12" fmla="*/ 7229 h 44098"/>
                <a:gd name="connsiteX13" fmla="*/ 175 w 72556"/>
                <a:gd name="connsiteY13" fmla="*/ 38898 h 4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556" h="44098">
                  <a:moveTo>
                    <a:pt x="175" y="38944"/>
                  </a:moveTo>
                  <a:cubicBezTo>
                    <a:pt x="5332" y="36669"/>
                    <a:pt x="11093" y="35740"/>
                    <a:pt x="13927" y="36994"/>
                  </a:cubicBezTo>
                  <a:cubicBezTo>
                    <a:pt x="16436" y="38108"/>
                    <a:pt x="17225" y="40987"/>
                    <a:pt x="17690" y="44098"/>
                  </a:cubicBezTo>
                  <a:cubicBezTo>
                    <a:pt x="22103" y="43402"/>
                    <a:pt x="30140" y="42009"/>
                    <a:pt x="32882" y="40848"/>
                  </a:cubicBezTo>
                  <a:cubicBezTo>
                    <a:pt x="36738" y="39269"/>
                    <a:pt x="45332" y="44563"/>
                    <a:pt x="46261" y="41359"/>
                  </a:cubicBezTo>
                  <a:cubicBezTo>
                    <a:pt x="47191" y="38201"/>
                    <a:pt x="50071" y="30772"/>
                    <a:pt x="53927" y="30772"/>
                  </a:cubicBezTo>
                  <a:cubicBezTo>
                    <a:pt x="57783" y="30772"/>
                    <a:pt x="55367" y="19627"/>
                    <a:pt x="59177" y="19117"/>
                  </a:cubicBezTo>
                  <a:cubicBezTo>
                    <a:pt x="62986" y="18606"/>
                    <a:pt x="72556" y="9040"/>
                    <a:pt x="72556" y="9040"/>
                  </a:cubicBezTo>
                  <a:cubicBezTo>
                    <a:pt x="72556" y="9040"/>
                    <a:pt x="68747" y="589"/>
                    <a:pt x="67307" y="32"/>
                  </a:cubicBezTo>
                  <a:cubicBezTo>
                    <a:pt x="65866" y="-479"/>
                    <a:pt x="61081" y="5325"/>
                    <a:pt x="52487" y="5325"/>
                  </a:cubicBezTo>
                  <a:cubicBezTo>
                    <a:pt x="43892" y="5325"/>
                    <a:pt x="37667" y="12755"/>
                    <a:pt x="33857" y="12755"/>
                  </a:cubicBezTo>
                  <a:cubicBezTo>
                    <a:pt x="30048" y="12755"/>
                    <a:pt x="18061" y="8529"/>
                    <a:pt x="9931" y="7972"/>
                  </a:cubicBezTo>
                  <a:cubicBezTo>
                    <a:pt x="7051" y="7786"/>
                    <a:pt x="4078" y="7554"/>
                    <a:pt x="1290" y="7229"/>
                  </a:cubicBezTo>
                  <a:cubicBezTo>
                    <a:pt x="500" y="15216"/>
                    <a:pt x="-382" y="27568"/>
                    <a:pt x="175" y="38898"/>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99" name="Freeform 126">
              <a:extLst>
                <a:ext uri="{FF2B5EF4-FFF2-40B4-BE49-F238E27FC236}">
                  <a16:creationId xmlns:a16="http://schemas.microsoft.com/office/drawing/2014/main" id="{2EED5810-1249-E357-F1B3-9CB834543256}"/>
                </a:ext>
              </a:extLst>
            </p:cNvPr>
            <p:cNvSpPr/>
            <p:nvPr/>
          </p:nvSpPr>
          <p:spPr>
            <a:xfrm>
              <a:off x="11434900" y="1922226"/>
              <a:ext cx="316600" cy="150173"/>
            </a:xfrm>
            <a:custGeom>
              <a:avLst/>
              <a:gdLst>
                <a:gd name="connsiteX0" fmla="*/ 55889 w 67782"/>
                <a:gd name="connsiteY0" fmla="*/ 7268 h 32151"/>
                <a:gd name="connsiteX1" fmla="*/ 42974 w 67782"/>
                <a:gd name="connsiteY1" fmla="*/ 1974 h 32151"/>
                <a:gd name="connsiteX2" fmla="*/ 29872 w 67782"/>
                <a:gd name="connsiteY2" fmla="*/ 674 h 32151"/>
                <a:gd name="connsiteX3" fmla="*/ 33217 w 67782"/>
                <a:gd name="connsiteY3" fmla="*/ 4296 h 32151"/>
                <a:gd name="connsiteX4" fmla="*/ 26202 w 67782"/>
                <a:gd name="connsiteY4" fmla="*/ 17344 h 32151"/>
                <a:gd name="connsiteX5" fmla="*/ 15982 w 67782"/>
                <a:gd name="connsiteY5" fmla="*/ 17344 h 32151"/>
                <a:gd name="connsiteX6" fmla="*/ 1301 w 67782"/>
                <a:gd name="connsiteY6" fmla="*/ 18412 h 32151"/>
                <a:gd name="connsiteX7" fmla="*/ 0 w 67782"/>
                <a:gd name="connsiteY7" fmla="*/ 24077 h 32151"/>
                <a:gd name="connsiteX8" fmla="*/ 10918 w 67782"/>
                <a:gd name="connsiteY8" fmla="*/ 28489 h 32151"/>
                <a:gd name="connsiteX9" fmla="*/ 66992 w 67782"/>
                <a:gd name="connsiteY9" fmla="*/ 31089 h 32151"/>
                <a:gd name="connsiteX10" fmla="*/ 67782 w 67782"/>
                <a:gd name="connsiteY10" fmla="*/ 15208 h 32151"/>
                <a:gd name="connsiteX11" fmla="*/ 55842 w 67782"/>
                <a:gd name="connsiteY11" fmla="*/ 7268 h 32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782" h="32151">
                  <a:moveTo>
                    <a:pt x="55889" y="7268"/>
                  </a:moveTo>
                  <a:cubicBezTo>
                    <a:pt x="53009" y="8847"/>
                    <a:pt x="45343" y="5689"/>
                    <a:pt x="42974" y="1974"/>
                  </a:cubicBezTo>
                  <a:cubicBezTo>
                    <a:pt x="41069" y="-997"/>
                    <a:pt x="35122" y="117"/>
                    <a:pt x="29872" y="674"/>
                  </a:cubicBezTo>
                  <a:cubicBezTo>
                    <a:pt x="31034" y="1464"/>
                    <a:pt x="32335" y="2485"/>
                    <a:pt x="33217" y="4296"/>
                  </a:cubicBezTo>
                  <a:cubicBezTo>
                    <a:pt x="36098" y="9961"/>
                    <a:pt x="21742" y="10658"/>
                    <a:pt x="26202" y="17344"/>
                  </a:cubicBezTo>
                  <a:cubicBezTo>
                    <a:pt x="30662" y="24077"/>
                    <a:pt x="15982" y="24402"/>
                    <a:pt x="15982" y="17344"/>
                  </a:cubicBezTo>
                  <a:cubicBezTo>
                    <a:pt x="15982" y="10286"/>
                    <a:pt x="650" y="13815"/>
                    <a:pt x="1301" y="18412"/>
                  </a:cubicBezTo>
                  <a:cubicBezTo>
                    <a:pt x="1533" y="20084"/>
                    <a:pt x="1069" y="22081"/>
                    <a:pt x="0" y="24077"/>
                  </a:cubicBezTo>
                  <a:cubicBezTo>
                    <a:pt x="4181" y="25703"/>
                    <a:pt x="9013" y="27653"/>
                    <a:pt x="10918" y="28489"/>
                  </a:cubicBezTo>
                  <a:cubicBezTo>
                    <a:pt x="13798" y="29742"/>
                    <a:pt x="52033" y="34154"/>
                    <a:pt x="66992" y="31089"/>
                  </a:cubicBezTo>
                  <a:cubicBezTo>
                    <a:pt x="66202" y="27978"/>
                    <a:pt x="67782" y="18737"/>
                    <a:pt x="67782" y="15208"/>
                  </a:cubicBezTo>
                  <a:cubicBezTo>
                    <a:pt x="67782" y="10983"/>
                    <a:pt x="58676" y="5689"/>
                    <a:pt x="55842" y="7268"/>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00" name="Freeform 127">
              <a:extLst>
                <a:ext uri="{FF2B5EF4-FFF2-40B4-BE49-F238E27FC236}">
                  <a16:creationId xmlns:a16="http://schemas.microsoft.com/office/drawing/2014/main" id="{28A20B58-BBCC-E3F7-9B80-C4B20119425E}"/>
                </a:ext>
              </a:extLst>
            </p:cNvPr>
            <p:cNvSpPr/>
            <p:nvPr/>
          </p:nvSpPr>
          <p:spPr>
            <a:xfrm>
              <a:off x="11317951" y="3673079"/>
              <a:ext cx="121951" cy="179146"/>
            </a:xfrm>
            <a:custGeom>
              <a:avLst/>
              <a:gdLst>
                <a:gd name="connsiteX0" fmla="*/ 9152 w 26109"/>
                <a:gd name="connsiteY0" fmla="*/ 46 h 38354"/>
                <a:gd name="connsiteX1" fmla="*/ 883 w 26109"/>
                <a:gd name="connsiteY1" fmla="*/ 17784 h 38354"/>
                <a:gd name="connsiteX2" fmla="*/ 0 w 26109"/>
                <a:gd name="connsiteY2" fmla="*/ 25168 h 38354"/>
                <a:gd name="connsiteX3" fmla="*/ 15238 w 26109"/>
                <a:gd name="connsiteY3" fmla="*/ 37705 h 38354"/>
                <a:gd name="connsiteX4" fmla="*/ 16400 w 26109"/>
                <a:gd name="connsiteY4" fmla="*/ 38355 h 38354"/>
                <a:gd name="connsiteX5" fmla="*/ 26110 w 26109"/>
                <a:gd name="connsiteY5" fmla="*/ 21453 h 38354"/>
                <a:gd name="connsiteX6" fmla="*/ 9199 w 26109"/>
                <a:gd name="connsiteY6" fmla="*/ 0 h 38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09" h="38354">
                  <a:moveTo>
                    <a:pt x="9152" y="46"/>
                  </a:moveTo>
                  <a:cubicBezTo>
                    <a:pt x="4739" y="6640"/>
                    <a:pt x="418" y="15045"/>
                    <a:pt x="883" y="17784"/>
                  </a:cubicBezTo>
                  <a:cubicBezTo>
                    <a:pt x="1115" y="18992"/>
                    <a:pt x="743" y="21685"/>
                    <a:pt x="0" y="25168"/>
                  </a:cubicBezTo>
                  <a:cubicBezTo>
                    <a:pt x="5668" y="30229"/>
                    <a:pt x="11197" y="35383"/>
                    <a:pt x="15238" y="37705"/>
                  </a:cubicBezTo>
                  <a:cubicBezTo>
                    <a:pt x="15657" y="37937"/>
                    <a:pt x="15982" y="38169"/>
                    <a:pt x="16400" y="38355"/>
                  </a:cubicBezTo>
                  <a:cubicBezTo>
                    <a:pt x="17654" y="30508"/>
                    <a:pt x="22532" y="22381"/>
                    <a:pt x="26110" y="21453"/>
                  </a:cubicBezTo>
                  <a:cubicBezTo>
                    <a:pt x="21139" y="14720"/>
                    <a:pt x="13891" y="5201"/>
                    <a:pt x="9199" y="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01" name="Freeform 128">
              <a:extLst>
                <a:ext uri="{FF2B5EF4-FFF2-40B4-BE49-F238E27FC236}">
                  <a16:creationId xmlns:a16="http://schemas.microsoft.com/office/drawing/2014/main" id="{AABCBC87-AA09-283A-E395-CA2507095C2B}"/>
                </a:ext>
              </a:extLst>
            </p:cNvPr>
            <p:cNvSpPr/>
            <p:nvPr/>
          </p:nvSpPr>
          <p:spPr>
            <a:xfrm>
              <a:off x="11347895" y="3274654"/>
              <a:ext cx="403899" cy="556324"/>
            </a:xfrm>
            <a:custGeom>
              <a:avLst/>
              <a:gdLst>
                <a:gd name="connsiteX0" fmla="*/ 78374 w 86472"/>
                <a:gd name="connsiteY0" fmla="*/ 79543 h 119105"/>
                <a:gd name="connsiteX1" fmla="*/ 78374 w 86472"/>
                <a:gd name="connsiteY1" fmla="*/ 63105 h 119105"/>
                <a:gd name="connsiteX2" fmla="*/ 78839 w 86472"/>
                <a:gd name="connsiteY2" fmla="*/ 50382 h 119105"/>
                <a:gd name="connsiteX3" fmla="*/ 54913 w 86472"/>
                <a:gd name="connsiteY3" fmla="*/ 42441 h 119105"/>
                <a:gd name="connsiteX4" fmla="*/ 52033 w 86472"/>
                <a:gd name="connsiteY4" fmla="*/ 27582 h 119105"/>
                <a:gd name="connsiteX5" fmla="*/ 44878 w 86472"/>
                <a:gd name="connsiteY5" fmla="*/ 19131 h 119105"/>
                <a:gd name="connsiteX6" fmla="*/ 37213 w 86472"/>
                <a:gd name="connsiteY6" fmla="*/ 5340 h 119105"/>
                <a:gd name="connsiteX7" fmla="*/ 37817 w 86472"/>
                <a:gd name="connsiteY7" fmla="*/ 4272 h 119105"/>
                <a:gd name="connsiteX8" fmla="*/ 31731 w 86472"/>
                <a:gd name="connsiteY8" fmla="*/ 3158 h 119105"/>
                <a:gd name="connsiteX9" fmla="*/ 22486 w 86472"/>
                <a:gd name="connsiteY9" fmla="*/ 0 h 119105"/>
                <a:gd name="connsiteX10" fmla="*/ 0 w 86472"/>
                <a:gd name="connsiteY10" fmla="*/ 7847 h 119105"/>
                <a:gd name="connsiteX11" fmla="*/ 5622 w 86472"/>
                <a:gd name="connsiteY11" fmla="*/ 22289 h 119105"/>
                <a:gd name="connsiteX12" fmla="*/ 12451 w 86472"/>
                <a:gd name="connsiteY12" fmla="*/ 39377 h 119105"/>
                <a:gd name="connsiteX13" fmla="*/ 10732 w 86472"/>
                <a:gd name="connsiteY13" fmla="*/ 76385 h 119105"/>
                <a:gd name="connsiteX14" fmla="*/ 2695 w 86472"/>
                <a:gd name="connsiteY14" fmla="*/ 85254 h 119105"/>
                <a:gd name="connsiteX15" fmla="*/ 19605 w 86472"/>
                <a:gd name="connsiteY15" fmla="*/ 106707 h 119105"/>
                <a:gd name="connsiteX16" fmla="*/ 20256 w 86472"/>
                <a:gd name="connsiteY16" fmla="*/ 106475 h 119105"/>
                <a:gd name="connsiteX17" fmla="*/ 40233 w 86472"/>
                <a:gd name="connsiteY17" fmla="*/ 119105 h 119105"/>
                <a:gd name="connsiteX18" fmla="*/ 77399 w 86472"/>
                <a:gd name="connsiteY18" fmla="*/ 111583 h 119105"/>
                <a:gd name="connsiteX19" fmla="*/ 77817 w 86472"/>
                <a:gd name="connsiteY19" fmla="*/ 104339 h 119105"/>
                <a:gd name="connsiteX20" fmla="*/ 85018 w 86472"/>
                <a:gd name="connsiteY20" fmla="*/ 94820 h 119105"/>
                <a:gd name="connsiteX21" fmla="*/ 78328 w 86472"/>
                <a:gd name="connsiteY21" fmla="*/ 79450 h 119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2" h="119105">
                  <a:moveTo>
                    <a:pt x="78374" y="79543"/>
                  </a:moveTo>
                  <a:cubicBezTo>
                    <a:pt x="73589" y="74760"/>
                    <a:pt x="74054" y="66309"/>
                    <a:pt x="78374" y="63105"/>
                  </a:cubicBezTo>
                  <a:cubicBezTo>
                    <a:pt x="82695" y="59947"/>
                    <a:pt x="78839" y="55675"/>
                    <a:pt x="78839" y="50382"/>
                  </a:cubicBezTo>
                  <a:cubicBezTo>
                    <a:pt x="78839" y="45088"/>
                    <a:pt x="58305" y="43509"/>
                    <a:pt x="54913" y="42441"/>
                  </a:cubicBezTo>
                  <a:cubicBezTo>
                    <a:pt x="51568" y="41373"/>
                    <a:pt x="57329" y="27582"/>
                    <a:pt x="52033" y="27582"/>
                  </a:cubicBezTo>
                  <a:cubicBezTo>
                    <a:pt x="46737" y="27582"/>
                    <a:pt x="44878" y="23357"/>
                    <a:pt x="44878" y="19131"/>
                  </a:cubicBezTo>
                  <a:cubicBezTo>
                    <a:pt x="44878" y="14906"/>
                    <a:pt x="36748" y="7987"/>
                    <a:pt x="37213" y="5340"/>
                  </a:cubicBezTo>
                  <a:cubicBezTo>
                    <a:pt x="37306" y="4969"/>
                    <a:pt x="37538" y="4643"/>
                    <a:pt x="37817" y="4272"/>
                  </a:cubicBezTo>
                  <a:cubicBezTo>
                    <a:pt x="34843" y="3761"/>
                    <a:pt x="32567" y="3343"/>
                    <a:pt x="31731" y="3158"/>
                  </a:cubicBezTo>
                  <a:cubicBezTo>
                    <a:pt x="28200" y="2368"/>
                    <a:pt x="22486" y="0"/>
                    <a:pt x="22486" y="0"/>
                  </a:cubicBezTo>
                  <a:cubicBezTo>
                    <a:pt x="22486" y="0"/>
                    <a:pt x="9199" y="4736"/>
                    <a:pt x="0" y="7847"/>
                  </a:cubicBezTo>
                  <a:cubicBezTo>
                    <a:pt x="604" y="14070"/>
                    <a:pt x="2091" y="20849"/>
                    <a:pt x="5622" y="22289"/>
                  </a:cubicBezTo>
                  <a:cubicBezTo>
                    <a:pt x="12451" y="25121"/>
                    <a:pt x="9896" y="32690"/>
                    <a:pt x="12451" y="39377"/>
                  </a:cubicBezTo>
                  <a:cubicBezTo>
                    <a:pt x="15006" y="46017"/>
                    <a:pt x="14170" y="76385"/>
                    <a:pt x="10732" y="76385"/>
                  </a:cubicBezTo>
                  <a:cubicBezTo>
                    <a:pt x="9292" y="76385"/>
                    <a:pt x="5947" y="80332"/>
                    <a:pt x="2695" y="85254"/>
                  </a:cubicBezTo>
                  <a:cubicBezTo>
                    <a:pt x="7387" y="90455"/>
                    <a:pt x="14681" y="99974"/>
                    <a:pt x="19605" y="106707"/>
                  </a:cubicBezTo>
                  <a:cubicBezTo>
                    <a:pt x="19838" y="106661"/>
                    <a:pt x="20070" y="106475"/>
                    <a:pt x="20256" y="106475"/>
                  </a:cubicBezTo>
                  <a:cubicBezTo>
                    <a:pt x="24530" y="106475"/>
                    <a:pt x="40233" y="119105"/>
                    <a:pt x="40233" y="119105"/>
                  </a:cubicBezTo>
                  <a:cubicBezTo>
                    <a:pt x="40233" y="119105"/>
                    <a:pt x="62439" y="113997"/>
                    <a:pt x="77399" y="111583"/>
                  </a:cubicBezTo>
                  <a:cubicBezTo>
                    <a:pt x="77631" y="109075"/>
                    <a:pt x="78096" y="106150"/>
                    <a:pt x="77817" y="104339"/>
                  </a:cubicBezTo>
                  <a:cubicBezTo>
                    <a:pt x="77352" y="101181"/>
                    <a:pt x="80697" y="94820"/>
                    <a:pt x="85018" y="94820"/>
                  </a:cubicBezTo>
                  <a:cubicBezTo>
                    <a:pt x="89339" y="94820"/>
                    <a:pt x="83113" y="84233"/>
                    <a:pt x="78328" y="7945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grpSp>
        <p:nvGrpSpPr>
          <p:cNvPr id="6" name="Group 5">
            <a:extLst>
              <a:ext uri="{FF2B5EF4-FFF2-40B4-BE49-F238E27FC236}">
                <a16:creationId xmlns:a16="http://schemas.microsoft.com/office/drawing/2014/main" id="{D3D6DBAE-5DF4-B1D1-C7A9-C78CA6F9B9C8}"/>
              </a:ext>
            </a:extLst>
          </p:cNvPr>
          <p:cNvGrpSpPr/>
          <p:nvPr/>
        </p:nvGrpSpPr>
        <p:grpSpPr>
          <a:xfrm>
            <a:off x="717329" y="1594687"/>
            <a:ext cx="3338472" cy="4309759"/>
            <a:chOff x="4129724" y="1594687"/>
            <a:chExt cx="3506035" cy="4309759"/>
          </a:xfrm>
        </p:grpSpPr>
        <p:cxnSp>
          <p:nvCxnSpPr>
            <p:cNvPr id="8" name="Straight Connector 7">
              <a:extLst>
                <a:ext uri="{FF2B5EF4-FFF2-40B4-BE49-F238E27FC236}">
                  <a16:creationId xmlns:a16="http://schemas.microsoft.com/office/drawing/2014/main" id="{5D9E840F-1297-0AFC-FDF0-04EB63CE9862}"/>
                </a:ext>
              </a:extLst>
            </p:cNvPr>
            <p:cNvCxnSpPr/>
            <p:nvPr/>
          </p:nvCxnSpPr>
          <p:spPr>
            <a:xfrm>
              <a:off x="4129724" y="1594687"/>
              <a:ext cx="3492411"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9" name="Straight Connector 8">
              <a:extLst>
                <a:ext uri="{FF2B5EF4-FFF2-40B4-BE49-F238E27FC236}">
                  <a16:creationId xmlns:a16="http://schemas.microsoft.com/office/drawing/2014/main" id="{0CEFE29A-3935-5A3B-59FA-B9093CE328CE}"/>
                </a:ext>
              </a:extLst>
            </p:cNvPr>
            <p:cNvCxnSpPr>
              <a:cxnSpLocks/>
            </p:cNvCxnSpPr>
            <p:nvPr/>
          </p:nvCxnSpPr>
          <p:spPr>
            <a:xfrm>
              <a:off x="4133130" y="2672127"/>
              <a:ext cx="3492411"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14" name="Straight Connector 13">
              <a:extLst>
                <a:ext uri="{FF2B5EF4-FFF2-40B4-BE49-F238E27FC236}">
                  <a16:creationId xmlns:a16="http://schemas.microsoft.com/office/drawing/2014/main" id="{2E1927E8-5FB7-9194-6EB6-5F809F5AD27A}"/>
                </a:ext>
              </a:extLst>
            </p:cNvPr>
            <p:cNvCxnSpPr>
              <a:cxnSpLocks/>
            </p:cNvCxnSpPr>
            <p:nvPr/>
          </p:nvCxnSpPr>
          <p:spPr>
            <a:xfrm>
              <a:off x="4136536" y="3749567"/>
              <a:ext cx="3492411"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23" name="Straight Connector 22">
              <a:extLst>
                <a:ext uri="{FF2B5EF4-FFF2-40B4-BE49-F238E27FC236}">
                  <a16:creationId xmlns:a16="http://schemas.microsoft.com/office/drawing/2014/main" id="{C1A7833A-0B3D-A468-725B-61B3459E7EF9}"/>
                </a:ext>
              </a:extLst>
            </p:cNvPr>
            <p:cNvCxnSpPr>
              <a:cxnSpLocks/>
            </p:cNvCxnSpPr>
            <p:nvPr/>
          </p:nvCxnSpPr>
          <p:spPr>
            <a:xfrm>
              <a:off x="4139942" y="5904446"/>
              <a:ext cx="3492411"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31" name="Straight Connector 30">
              <a:extLst>
                <a:ext uri="{FF2B5EF4-FFF2-40B4-BE49-F238E27FC236}">
                  <a16:creationId xmlns:a16="http://schemas.microsoft.com/office/drawing/2014/main" id="{696BFEF0-63F8-9F51-A52D-BE128F0AD80A}"/>
                </a:ext>
              </a:extLst>
            </p:cNvPr>
            <p:cNvCxnSpPr>
              <a:cxnSpLocks/>
            </p:cNvCxnSpPr>
            <p:nvPr/>
          </p:nvCxnSpPr>
          <p:spPr>
            <a:xfrm>
              <a:off x="4143348" y="4827007"/>
              <a:ext cx="3492411" cy="0"/>
            </a:xfrm>
            <a:prstGeom prst="line">
              <a:avLst/>
            </a:prstGeom>
            <a:ln w="12700"/>
          </p:spPr>
          <p:style>
            <a:lnRef idx="1">
              <a:schemeClr val="accent2"/>
            </a:lnRef>
            <a:fillRef idx="0">
              <a:schemeClr val="accent2"/>
            </a:fillRef>
            <a:effectRef idx="0">
              <a:schemeClr val="accent2"/>
            </a:effectRef>
            <a:fontRef idx="minor">
              <a:schemeClr val="tx1"/>
            </a:fontRef>
          </p:style>
        </p:cxnSp>
      </p:grpSp>
      <p:sp>
        <p:nvSpPr>
          <p:cNvPr id="11" name="Rektangel 148">
            <a:extLst>
              <a:ext uri="{FF2B5EF4-FFF2-40B4-BE49-F238E27FC236}">
                <a16:creationId xmlns:a16="http://schemas.microsoft.com/office/drawing/2014/main" id="{F52281DC-7E90-893B-AD09-1320DEA35D5D}"/>
              </a:ext>
            </a:extLst>
          </p:cNvPr>
          <p:cNvSpPr/>
          <p:nvPr/>
        </p:nvSpPr>
        <p:spPr>
          <a:xfrm>
            <a:off x="7921683" y="1884503"/>
            <a:ext cx="1408808" cy="507831"/>
          </a:xfrm>
          <a:prstGeom prst="rect">
            <a:avLst/>
          </a:prstGeom>
        </p:spPr>
        <p:txBody>
          <a:bodyPr wrap="square" lIns="91440" tIns="45720" rIns="91440" bIns="45720" anchor="t">
            <a:spAutoFit/>
          </a:bodyPr>
          <a:lstStyle/>
          <a:p>
            <a:pPr marL="0" marR="0" lvl="0" indent="0" algn="l" defTabSz="914400" rtl="0" eaLnBrk="1" fontAlgn="auto" latinLnBrk="0" hangingPunct="1">
              <a:spcBef>
                <a:spcPts val="0"/>
              </a:spcBef>
              <a:spcAft>
                <a:spcPts val="0"/>
              </a:spcAft>
              <a:buClrTx/>
              <a:buSzTx/>
              <a:buFontTx/>
              <a:buNone/>
              <a:tabLst/>
              <a:defRPr/>
            </a:pP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Roboto Cn" panose="02000000000000000000" pitchFamily="2" charset="0"/>
                <a:cs typeface="Arial"/>
              </a:rPr>
              <a:t>Countries with offices and full sales, service and support coverage</a:t>
            </a:r>
          </a:p>
        </p:txBody>
      </p:sp>
      <p:sp>
        <p:nvSpPr>
          <p:cNvPr id="12" name="Rektangel 146">
            <a:extLst>
              <a:ext uri="{FF2B5EF4-FFF2-40B4-BE49-F238E27FC236}">
                <a16:creationId xmlns:a16="http://schemas.microsoft.com/office/drawing/2014/main" id="{D581931C-4836-7953-BA82-DF2105EA530D}"/>
              </a:ext>
            </a:extLst>
          </p:cNvPr>
          <p:cNvSpPr/>
          <p:nvPr/>
        </p:nvSpPr>
        <p:spPr>
          <a:xfrm>
            <a:off x="7820098" y="1941277"/>
            <a:ext cx="112471" cy="112470"/>
          </a:xfrm>
          <a:prstGeom prst="rect">
            <a:avLst/>
          </a:prstGeom>
          <a:solidFill>
            <a:srgbClr val="2832D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2832DC"/>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2002677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E8827E0-1DA4-039D-9058-31CCBA5BF21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6E8827E0-1DA4-039D-9058-31CCBA5BF21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A5A646B2-592D-437C-FB5B-414B8038F3E5}"/>
              </a:ext>
            </a:extLst>
          </p:cNvPr>
          <p:cNvSpPr>
            <a:spLocks noGrp="1"/>
          </p:cNvSpPr>
          <p:nvPr>
            <p:ph type="title"/>
          </p:nvPr>
        </p:nvSpPr>
        <p:spPr>
          <a:xfrm>
            <a:off x="741777" y="522658"/>
            <a:ext cx="10671895" cy="1036620"/>
          </a:xfrm>
        </p:spPr>
        <p:txBody>
          <a:bodyPr vert="horz">
            <a:normAutofit/>
          </a:bodyPr>
          <a:lstStyle/>
          <a:p>
            <a:r>
              <a:rPr lang="en-GB" sz="4400"/>
              <a:t>Increasing focus on grocery retail</a:t>
            </a:r>
          </a:p>
        </p:txBody>
      </p:sp>
      <p:sp>
        <p:nvSpPr>
          <p:cNvPr id="2" name="Rectangle 1">
            <a:extLst>
              <a:ext uri="{FF2B5EF4-FFF2-40B4-BE49-F238E27FC236}">
                <a16:creationId xmlns:a16="http://schemas.microsoft.com/office/drawing/2014/main" id="{76A3C4D8-6670-9689-EE72-76A05EEF1A25}"/>
              </a:ext>
            </a:extLst>
          </p:cNvPr>
          <p:cNvSpPr/>
          <p:nvPr/>
        </p:nvSpPr>
        <p:spPr>
          <a:xfrm>
            <a:off x="839788" y="1559278"/>
            <a:ext cx="3431305" cy="4718211"/>
          </a:xfrm>
          <a:prstGeom prst="rect">
            <a:avLst/>
          </a:prstGeom>
          <a:solidFill>
            <a:srgbClr val="E9EAFB"/>
          </a:solidFill>
          <a:ln>
            <a:noFill/>
          </a:ln>
          <a:effectLst>
            <a:outerShdw blurRad="215900" sx="101000" sy="101000" algn="ctr"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3" name="Rectangle 2">
            <a:extLst>
              <a:ext uri="{FF2B5EF4-FFF2-40B4-BE49-F238E27FC236}">
                <a16:creationId xmlns:a16="http://schemas.microsoft.com/office/drawing/2014/main" id="{478AAA3D-7F87-9D76-E47A-EDB95FAB7F25}"/>
              </a:ext>
            </a:extLst>
          </p:cNvPr>
          <p:cNvSpPr/>
          <p:nvPr/>
        </p:nvSpPr>
        <p:spPr>
          <a:xfrm>
            <a:off x="903289" y="5661411"/>
            <a:ext cx="3292824" cy="537883"/>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a:ea typeface="+mn-ea"/>
                <a:cs typeface="+mn-cs"/>
              </a:rPr>
              <a:t>Spain </a:t>
            </a:r>
          </a:p>
        </p:txBody>
      </p:sp>
      <p:cxnSp>
        <p:nvCxnSpPr>
          <p:cNvPr id="6" name="Straight Connector 5">
            <a:extLst>
              <a:ext uri="{FF2B5EF4-FFF2-40B4-BE49-F238E27FC236}">
                <a16:creationId xmlns:a16="http://schemas.microsoft.com/office/drawing/2014/main" id="{2603FFBD-ADE4-4F4B-77D4-EF9AC29C040C}"/>
              </a:ext>
            </a:extLst>
          </p:cNvPr>
          <p:cNvCxnSpPr/>
          <p:nvPr/>
        </p:nvCxnSpPr>
        <p:spPr>
          <a:xfrm>
            <a:off x="825741" y="1529132"/>
            <a:ext cx="3437849" cy="0"/>
          </a:xfrm>
          <a:prstGeom prst="line">
            <a:avLst/>
          </a:prstGeom>
          <a:ln w="12700">
            <a:solidFill>
              <a:srgbClr val="2832D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29646E83-A775-421B-47F3-24A99D32689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310648" y="1245024"/>
            <a:ext cx="643067" cy="643067"/>
          </a:xfrm>
          <a:prstGeom prst="rect">
            <a:avLst/>
          </a:prstGeom>
        </p:spPr>
      </p:pic>
      <p:sp>
        <p:nvSpPr>
          <p:cNvPr id="9" name="Freeform 8">
            <a:extLst>
              <a:ext uri="{FF2B5EF4-FFF2-40B4-BE49-F238E27FC236}">
                <a16:creationId xmlns:a16="http://schemas.microsoft.com/office/drawing/2014/main" id="{19F4A949-5CBE-0FAC-723E-35A6AB5CF513}"/>
              </a:ext>
            </a:extLst>
          </p:cNvPr>
          <p:cNvSpPr/>
          <p:nvPr/>
        </p:nvSpPr>
        <p:spPr>
          <a:xfrm>
            <a:off x="1328626" y="2610457"/>
            <a:ext cx="2562265" cy="2155792"/>
          </a:xfrm>
          <a:custGeom>
            <a:avLst/>
            <a:gdLst>
              <a:gd name="connsiteX0" fmla="*/ 257748 w 258219"/>
              <a:gd name="connsiteY0" fmla="*/ 39005 h 217256"/>
              <a:gd name="connsiteX1" fmla="*/ 235588 w 258219"/>
              <a:gd name="connsiteY1" fmla="*/ 38309 h 217256"/>
              <a:gd name="connsiteX2" fmla="*/ 209990 w 258219"/>
              <a:gd name="connsiteY2" fmla="*/ 31436 h 217256"/>
              <a:gd name="connsiteX3" fmla="*/ 199908 w 258219"/>
              <a:gd name="connsiteY3" fmla="*/ 28836 h 217256"/>
              <a:gd name="connsiteX4" fmla="*/ 182858 w 258219"/>
              <a:gd name="connsiteY4" fmla="*/ 30554 h 217256"/>
              <a:gd name="connsiteX5" fmla="*/ 161906 w 258219"/>
              <a:gd name="connsiteY5" fmla="*/ 19363 h 217256"/>
              <a:gd name="connsiteX6" fmla="*/ 149641 w 258219"/>
              <a:gd name="connsiteY6" fmla="*/ 12630 h 217256"/>
              <a:gd name="connsiteX7" fmla="*/ 112335 w 258219"/>
              <a:gd name="connsiteY7" fmla="*/ 8126 h 217256"/>
              <a:gd name="connsiteX8" fmla="*/ 41208 w 258219"/>
              <a:gd name="connsiteY8" fmla="*/ 7430 h 217256"/>
              <a:gd name="connsiteX9" fmla="*/ 15052 w 258219"/>
              <a:gd name="connsiteY9" fmla="*/ 0 h 217256"/>
              <a:gd name="connsiteX10" fmla="*/ 0 w 258219"/>
              <a:gd name="connsiteY10" fmla="*/ 12027 h 217256"/>
              <a:gd name="connsiteX11" fmla="*/ 976 w 258219"/>
              <a:gd name="connsiteY11" fmla="*/ 23775 h 217256"/>
              <a:gd name="connsiteX12" fmla="*/ 9477 w 258219"/>
              <a:gd name="connsiteY12" fmla="*/ 33247 h 217256"/>
              <a:gd name="connsiteX13" fmla="*/ 11847 w 258219"/>
              <a:gd name="connsiteY13" fmla="*/ 51125 h 217256"/>
              <a:gd name="connsiteX14" fmla="*/ 11382 w 258219"/>
              <a:gd name="connsiteY14" fmla="*/ 52611 h 217256"/>
              <a:gd name="connsiteX15" fmla="*/ 11754 w 258219"/>
              <a:gd name="connsiteY15" fmla="*/ 54096 h 217256"/>
              <a:gd name="connsiteX16" fmla="*/ 22997 w 258219"/>
              <a:gd name="connsiteY16" fmla="*/ 54607 h 217256"/>
              <a:gd name="connsiteX17" fmla="*/ 31545 w 258219"/>
              <a:gd name="connsiteY17" fmla="*/ 54607 h 217256"/>
              <a:gd name="connsiteX18" fmla="*/ 44739 w 258219"/>
              <a:gd name="connsiteY18" fmla="*/ 57161 h 217256"/>
              <a:gd name="connsiteX19" fmla="*/ 50174 w 258219"/>
              <a:gd name="connsiteY19" fmla="*/ 66634 h 217256"/>
              <a:gd name="connsiteX20" fmla="*/ 36191 w 258219"/>
              <a:gd name="connsiteY20" fmla="*/ 80379 h 217256"/>
              <a:gd name="connsiteX21" fmla="*/ 37770 w 258219"/>
              <a:gd name="connsiteY21" fmla="*/ 102714 h 217256"/>
              <a:gd name="connsiteX22" fmla="*/ 33914 w 258219"/>
              <a:gd name="connsiteY22" fmla="*/ 119059 h 217256"/>
              <a:gd name="connsiteX23" fmla="*/ 28479 w 258219"/>
              <a:gd name="connsiteY23" fmla="*/ 128485 h 217256"/>
              <a:gd name="connsiteX24" fmla="*/ 34704 w 258219"/>
              <a:gd name="connsiteY24" fmla="*/ 141394 h 217256"/>
              <a:gd name="connsiteX25" fmla="*/ 29268 w 258219"/>
              <a:gd name="connsiteY25" fmla="*/ 154303 h 217256"/>
              <a:gd name="connsiteX26" fmla="*/ 33914 w 258219"/>
              <a:gd name="connsiteY26" fmla="*/ 166329 h 217256"/>
              <a:gd name="connsiteX27" fmla="*/ 25366 w 258219"/>
              <a:gd name="connsiteY27" fmla="*/ 180956 h 217256"/>
              <a:gd name="connsiteX28" fmla="*/ 28479 w 258219"/>
              <a:gd name="connsiteY28" fmla="*/ 188711 h 217256"/>
              <a:gd name="connsiteX29" fmla="*/ 39954 w 258219"/>
              <a:gd name="connsiteY29" fmla="*/ 189639 h 217256"/>
              <a:gd name="connsiteX30" fmla="*/ 66109 w 258219"/>
              <a:gd name="connsiteY30" fmla="*/ 217175 h 217256"/>
              <a:gd name="connsiteX31" fmla="*/ 71220 w 258219"/>
              <a:gd name="connsiteY31" fmla="*/ 209421 h 217256"/>
              <a:gd name="connsiteX32" fmla="*/ 83671 w 258219"/>
              <a:gd name="connsiteY32" fmla="*/ 208724 h 217256"/>
              <a:gd name="connsiteX33" fmla="*/ 103415 w 258219"/>
              <a:gd name="connsiteY33" fmla="*/ 200273 h 217256"/>
              <a:gd name="connsiteX34" fmla="*/ 130825 w 258219"/>
              <a:gd name="connsiteY34" fmla="*/ 199205 h 217256"/>
              <a:gd name="connsiteX35" fmla="*/ 146435 w 258219"/>
              <a:gd name="connsiteY35" fmla="*/ 190754 h 217256"/>
              <a:gd name="connsiteX36" fmla="*/ 163346 w 258219"/>
              <a:gd name="connsiteY36" fmla="*/ 178031 h 217256"/>
              <a:gd name="connsiteX37" fmla="*/ 171337 w 258219"/>
              <a:gd name="connsiteY37" fmla="*/ 161082 h 217256"/>
              <a:gd name="connsiteX38" fmla="*/ 187272 w 258219"/>
              <a:gd name="connsiteY38" fmla="*/ 142694 h 217256"/>
              <a:gd name="connsiteX39" fmla="*/ 187597 w 258219"/>
              <a:gd name="connsiteY39" fmla="*/ 107729 h 217256"/>
              <a:gd name="connsiteX40" fmla="*/ 205437 w 258219"/>
              <a:gd name="connsiteY40" fmla="*/ 84418 h 217256"/>
              <a:gd name="connsiteX41" fmla="*/ 225228 w 258219"/>
              <a:gd name="connsiteY41" fmla="*/ 72763 h 217256"/>
              <a:gd name="connsiteX42" fmla="*/ 248828 w 258219"/>
              <a:gd name="connsiteY42" fmla="*/ 59019 h 217256"/>
              <a:gd name="connsiteX43" fmla="*/ 257795 w 258219"/>
              <a:gd name="connsiteY43" fmla="*/ 39052 h 21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58219" h="217256">
                <a:moveTo>
                  <a:pt x="257748" y="39005"/>
                </a:moveTo>
                <a:cubicBezTo>
                  <a:pt x="250083" y="38820"/>
                  <a:pt x="241488" y="39748"/>
                  <a:pt x="235588" y="38309"/>
                </a:cubicBezTo>
                <a:cubicBezTo>
                  <a:pt x="228619" y="36591"/>
                  <a:pt x="213846" y="35755"/>
                  <a:pt x="209990" y="31436"/>
                </a:cubicBezTo>
                <a:cubicBezTo>
                  <a:pt x="206087" y="27164"/>
                  <a:pt x="199908" y="23728"/>
                  <a:pt x="199908" y="28836"/>
                </a:cubicBezTo>
                <a:cubicBezTo>
                  <a:pt x="199908" y="33944"/>
                  <a:pt x="189037" y="34873"/>
                  <a:pt x="182858" y="30554"/>
                </a:cubicBezTo>
                <a:cubicBezTo>
                  <a:pt x="176633" y="26236"/>
                  <a:pt x="166551" y="22846"/>
                  <a:pt x="161906" y="19363"/>
                </a:cubicBezTo>
                <a:cubicBezTo>
                  <a:pt x="159443" y="17552"/>
                  <a:pt x="154426" y="15277"/>
                  <a:pt x="149641" y="12630"/>
                </a:cubicBezTo>
                <a:cubicBezTo>
                  <a:pt x="143183" y="14023"/>
                  <a:pt x="124600" y="6454"/>
                  <a:pt x="112335" y="8126"/>
                </a:cubicBezTo>
                <a:cubicBezTo>
                  <a:pt x="99234" y="9891"/>
                  <a:pt x="57468" y="5990"/>
                  <a:pt x="41208" y="7430"/>
                </a:cubicBezTo>
                <a:cubicBezTo>
                  <a:pt x="24948" y="8823"/>
                  <a:pt x="23972" y="0"/>
                  <a:pt x="15052" y="0"/>
                </a:cubicBezTo>
                <a:cubicBezTo>
                  <a:pt x="6876" y="0"/>
                  <a:pt x="9385" y="10076"/>
                  <a:pt x="0" y="12027"/>
                </a:cubicBezTo>
                <a:cubicBezTo>
                  <a:pt x="1301" y="15741"/>
                  <a:pt x="1533" y="19828"/>
                  <a:pt x="976" y="23775"/>
                </a:cubicBezTo>
                <a:cubicBezTo>
                  <a:pt x="4228" y="26468"/>
                  <a:pt x="6597" y="29161"/>
                  <a:pt x="9477" y="33247"/>
                </a:cubicBezTo>
                <a:cubicBezTo>
                  <a:pt x="13055" y="38309"/>
                  <a:pt x="13194" y="45320"/>
                  <a:pt x="11847" y="51125"/>
                </a:cubicBezTo>
                <a:cubicBezTo>
                  <a:pt x="11707" y="51635"/>
                  <a:pt x="11521" y="52146"/>
                  <a:pt x="11382" y="52611"/>
                </a:cubicBezTo>
                <a:cubicBezTo>
                  <a:pt x="11568" y="53121"/>
                  <a:pt x="11661" y="53586"/>
                  <a:pt x="11754" y="54096"/>
                </a:cubicBezTo>
                <a:cubicBezTo>
                  <a:pt x="14541" y="55443"/>
                  <a:pt x="19698" y="54607"/>
                  <a:pt x="22997" y="54607"/>
                </a:cubicBezTo>
                <a:cubicBezTo>
                  <a:pt x="27642" y="54607"/>
                  <a:pt x="26109" y="58926"/>
                  <a:pt x="31545" y="54607"/>
                </a:cubicBezTo>
                <a:cubicBezTo>
                  <a:pt x="36981" y="50289"/>
                  <a:pt x="44739" y="52007"/>
                  <a:pt x="44739" y="57161"/>
                </a:cubicBezTo>
                <a:cubicBezTo>
                  <a:pt x="44739" y="62315"/>
                  <a:pt x="56400" y="59715"/>
                  <a:pt x="50174" y="66634"/>
                </a:cubicBezTo>
                <a:cubicBezTo>
                  <a:pt x="43949" y="73506"/>
                  <a:pt x="36191" y="75224"/>
                  <a:pt x="36191" y="80379"/>
                </a:cubicBezTo>
                <a:cubicBezTo>
                  <a:pt x="36191" y="85533"/>
                  <a:pt x="43159" y="96677"/>
                  <a:pt x="37770" y="102714"/>
                </a:cubicBezTo>
                <a:cubicBezTo>
                  <a:pt x="32335" y="108704"/>
                  <a:pt x="39303" y="119059"/>
                  <a:pt x="33914" y="119059"/>
                </a:cubicBezTo>
                <a:cubicBezTo>
                  <a:pt x="28525" y="119059"/>
                  <a:pt x="22253" y="121613"/>
                  <a:pt x="28479" y="128485"/>
                </a:cubicBezTo>
                <a:cubicBezTo>
                  <a:pt x="34704" y="135357"/>
                  <a:pt x="39350" y="141394"/>
                  <a:pt x="34704" y="141394"/>
                </a:cubicBezTo>
                <a:cubicBezTo>
                  <a:pt x="30058" y="141394"/>
                  <a:pt x="26946" y="151702"/>
                  <a:pt x="29268" y="154303"/>
                </a:cubicBezTo>
                <a:cubicBezTo>
                  <a:pt x="31591" y="156857"/>
                  <a:pt x="42463" y="164611"/>
                  <a:pt x="33914" y="166329"/>
                </a:cubicBezTo>
                <a:cubicBezTo>
                  <a:pt x="25366" y="168047"/>
                  <a:pt x="25366" y="175755"/>
                  <a:pt x="25366" y="180956"/>
                </a:cubicBezTo>
                <a:cubicBezTo>
                  <a:pt x="25366" y="182860"/>
                  <a:pt x="26760" y="185785"/>
                  <a:pt x="28479" y="188711"/>
                </a:cubicBezTo>
                <a:cubicBezTo>
                  <a:pt x="32427" y="187921"/>
                  <a:pt x="36330" y="187782"/>
                  <a:pt x="39954" y="189639"/>
                </a:cubicBezTo>
                <a:cubicBezTo>
                  <a:pt x="48874" y="194237"/>
                  <a:pt x="54031" y="218847"/>
                  <a:pt x="66109" y="217175"/>
                </a:cubicBezTo>
                <a:cubicBezTo>
                  <a:pt x="71220" y="216479"/>
                  <a:pt x="68665" y="212207"/>
                  <a:pt x="71220" y="209421"/>
                </a:cubicBezTo>
                <a:cubicBezTo>
                  <a:pt x="73775" y="206588"/>
                  <a:pt x="78560" y="208724"/>
                  <a:pt x="83671" y="208724"/>
                </a:cubicBezTo>
                <a:cubicBezTo>
                  <a:pt x="88781" y="208724"/>
                  <a:pt x="91336" y="200598"/>
                  <a:pt x="103415" y="200273"/>
                </a:cubicBezTo>
                <a:cubicBezTo>
                  <a:pt x="115541" y="199902"/>
                  <a:pt x="123206" y="198834"/>
                  <a:pt x="130825" y="199205"/>
                </a:cubicBezTo>
                <a:cubicBezTo>
                  <a:pt x="138491" y="199530"/>
                  <a:pt x="144530" y="196744"/>
                  <a:pt x="146435" y="190754"/>
                </a:cubicBezTo>
                <a:cubicBezTo>
                  <a:pt x="148340" y="184764"/>
                  <a:pt x="154705" y="179470"/>
                  <a:pt x="163346" y="178031"/>
                </a:cubicBezTo>
                <a:cubicBezTo>
                  <a:pt x="171941" y="176638"/>
                  <a:pt x="170686" y="166701"/>
                  <a:pt x="171337" y="161082"/>
                </a:cubicBezTo>
                <a:cubicBezTo>
                  <a:pt x="171987" y="155464"/>
                  <a:pt x="186342" y="146966"/>
                  <a:pt x="187272" y="142694"/>
                </a:cubicBezTo>
                <a:cubicBezTo>
                  <a:pt x="188247" y="138468"/>
                  <a:pt x="178956" y="122216"/>
                  <a:pt x="187597" y="107729"/>
                </a:cubicBezTo>
                <a:cubicBezTo>
                  <a:pt x="196191" y="93241"/>
                  <a:pt x="205437" y="92544"/>
                  <a:pt x="205437" y="84418"/>
                </a:cubicBezTo>
                <a:cubicBezTo>
                  <a:pt x="205437" y="76989"/>
                  <a:pt x="214357" y="74203"/>
                  <a:pt x="225228" y="72763"/>
                </a:cubicBezTo>
                <a:cubicBezTo>
                  <a:pt x="236052" y="71370"/>
                  <a:pt x="239583" y="63244"/>
                  <a:pt x="248828" y="59019"/>
                </a:cubicBezTo>
                <a:cubicBezTo>
                  <a:pt x="256587" y="55443"/>
                  <a:pt x="259374" y="49128"/>
                  <a:pt x="257795" y="39052"/>
                </a:cubicBezTo>
                <a:close/>
              </a:path>
            </a:pathLst>
          </a:custGeom>
          <a:solidFill>
            <a:schemeClr val="accent1">
              <a:lumMod val="75000"/>
              <a:alpha val="70128"/>
            </a:schemeClr>
          </a:solidFill>
          <a:ln w="635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nvGrpSpPr>
          <p:cNvPr id="10" name="Group 9">
            <a:extLst>
              <a:ext uri="{FF2B5EF4-FFF2-40B4-BE49-F238E27FC236}">
                <a16:creationId xmlns:a16="http://schemas.microsoft.com/office/drawing/2014/main" id="{AC07809D-DA9A-613E-D4F6-952FF79F1F73}"/>
              </a:ext>
            </a:extLst>
          </p:cNvPr>
          <p:cNvGrpSpPr/>
          <p:nvPr/>
        </p:nvGrpSpPr>
        <p:grpSpPr>
          <a:xfrm>
            <a:off x="4775321" y="1531424"/>
            <a:ext cx="6576891" cy="4679952"/>
            <a:chOff x="4775322" y="1531424"/>
            <a:chExt cx="6136240" cy="4679952"/>
          </a:xfrm>
        </p:grpSpPr>
        <p:cxnSp>
          <p:nvCxnSpPr>
            <p:cNvPr id="11" name="Straight Connector 10">
              <a:extLst>
                <a:ext uri="{FF2B5EF4-FFF2-40B4-BE49-F238E27FC236}">
                  <a16:creationId xmlns:a16="http://schemas.microsoft.com/office/drawing/2014/main" id="{928DAD00-75E4-AB1C-D847-C1D6F233501B}"/>
                </a:ext>
              </a:extLst>
            </p:cNvPr>
            <p:cNvCxnSpPr>
              <a:cxnSpLocks/>
            </p:cNvCxnSpPr>
            <p:nvPr/>
          </p:nvCxnSpPr>
          <p:spPr>
            <a:xfrm>
              <a:off x="4775322" y="1531424"/>
              <a:ext cx="6136240" cy="0"/>
            </a:xfrm>
            <a:prstGeom prst="line">
              <a:avLst/>
            </a:prstGeom>
            <a:ln w="12700">
              <a:solidFill>
                <a:srgbClr val="2832DC"/>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08BEE06-2377-131F-0BC4-8A19EFEE2951}"/>
                </a:ext>
              </a:extLst>
            </p:cNvPr>
            <p:cNvCxnSpPr>
              <a:cxnSpLocks/>
            </p:cNvCxnSpPr>
            <p:nvPr/>
          </p:nvCxnSpPr>
          <p:spPr>
            <a:xfrm>
              <a:off x="4775322" y="3125247"/>
              <a:ext cx="6136240" cy="0"/>
            </a:xfrm>
            <a:prstGeom prst="line">
              <a:avLst/>
            </a:prstGeom>
            <a:ln w="12700">
              <a:solidFill>
                <a:srgbClr val="2832DC"/>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17BB620-C572-0B0D-EABA-3CAF02EDAE5F}"/>
                </a:ext>
              </a:extLst>
            </p:cNvPr>
            <p:cNvCxnSpPr>
              <a:cxnSpLocks/>
            </p:cNvCxnSpPr>
            <p:nvPr/>
          </p:nvCxnSpPr>
          <p:spPr>
            <a:xfrm>
              <a:off x="4775322" y="6211376"/>
              <a:ext cx="6136240" cy="0"/>
            </a:xfrm>
            <a:prstGeom prst="line">
              <a:avLst/>
            </a:prstGeom>
            <a:ln w="12700">
              <a:solidFill>
                <a:srgbClr val="2832DC"/>
              </a:solidFill>
            </a:ln>
          </p:spPr>
          <p:style>
            <a:lnRef idx="1">
              <a:schemeClr val="accent1"/>
            </a:lnRef>
            <a:fillRef idx="0">
              <a:schemeClr val="accent1"/>
            </a:fillRef>
            <a:effectRef idx="0">
              <a:schemeClr val="accent1"/>
            </a:effectRef>
            <a:fontRef idx="minor">
              <a:schemeClr val="tx1"/>
            </a:fontRef>
          </p:style>
        </p:cxnSp>
      </p:grpSp>
      <p:sp>
        <p:nvSpPr>
          <p:cNvPr id="15" name="TextBox 31">
            <a:extLst>
              <a:ext uri="{FF2B5EF4-FFF2-40B4-BE49-F238E27FC236}">
                <a16:creationId xmlns:a16="http://schemas.microsoft.com/office/drawing/2014/main" id="{74C01246-2DD5-E04A-F157-61E008E27CDA}"/>
              </a:ext>
            </a:extLst>
          </p:cNvPr>
          <p:cNvSpPr txBox="1"/>
          <p:nvPr/>
        </p:nvSpPr>
        <p:spPr>
          <a:xfrm>
            <a:off x="4775320" y="1779663"/>
            <a:ext cx="6293173" cy="113877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Today, majority of business is serving non-grocery retail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Only ~15% of StrongPoint Spain’s revenue comes from grocery retailers</a:t>
            </a:r>
          </a:p>
        </p:txBody>
      </p:sp>
      <p:sp>
        <p:nvSpPr>
          <p:cNvPr id="16" name="TextBox 15">
            <a:extLst>
              <a:ext uri="{FF2B5EF4-FFF2-40B4-BE49-F238E27FC236}">
                <a16:creationId xmlns:a16="http://schemas.microsoft.com/office/drawing/2014/main" id="{547F11F2-8D9D-18C9-D090-990819A87D36}"/>
              </a:ext>
            </a:extLst>
          </p:cNvPr>
          <p:cNvSpPr txBox="1"/>
          <p:nvPr/>
        </p:nvSpPr>
        <p:spPr>
          <a:xfrm>
            <a:off x="4775320" y="3244639"/>
            <a:ext cx="6470973" cy="286232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800" b="1" i="0" u="none" strike="noStrike" kern="1200" cap="none" spc="0" normalizeH="0" baseline="0" noProof="0">
                <a:ln>
                  <a:noFill/>
                </a:ln>
                <a:solidFill>
                  <a:srgbClr val="141E50"/>
                </a:solidFill>
                <a:effectLst/>
                <a:uLnTx/>
                <a:uFillTx/>
                <a:latin typeface="Helvetica" pitchFamily="2" charset="0"/>
                <a:ea typeface="+mn-ea"/>
                <a:cs typeface="+mn-cs"/>
              </a:rPr>
              <a:t>Succes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We have been successful in a number of retailers with our 4.7 strategy and</a:t>
            </a:r>
            <a:r>
              <a:rPr lang="en-GB">
                <a:solidFill>
                  <a:srgbClr val="141E50"/>
                </a:solidFill>
                <a:latin typeface="Helvetica Light" panose="020B0403020202020204" pitchFamily="34" charset="0"/>
              </a:rPr>
              <a:t> </a:t>
            </a:r>
            <a:r>
              <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are starting with a first solution to more than 5 new grocery retailers from a list of approx. 5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Breakthrough grocery success as a door opener</a:t>
            </a:r>
          </a:p>
        </p:txBody>
      </p:sp>
      <p:pic>
        <p:nvPicPr>
          <p:cNvPr id="17" name="Picture 2">
            <a:extLst>
              <a:ext uri="{FF2B5EF4-FFF2-40B4-BE49-F238E27FC236}">
                <a16:creationId xmlns:a16="http://schemas.microsoft.com/office/drawing/2014/main" id="{C2621AA0-DD9F-05FF-9828-4CA671BB18EA}"/>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775320" y="5246370"/>
            <a:ext cx="2921641" cy="41504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39A16C62-8DB9-7DB0-34E3-DD7EC8F3414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872325" y="3628360"/>
            <a:ext cx="2117927" cy="469915"/>
          </a:xfrm>
          <a:prstGeom prst="rect">
            <a:avLst/>
          </a:prstGeom>
        </p:spPr>
      </p:pic>
      <p:pic>
        <p:nvPicPr>
          <p:cNvPr id="2050" name="Picture 2" descr="Supermercados Tu Super">
            <a:extLst>
              <a:ext uri="{FF2B5EF4-FFF2-40B4-BE49-F238E27FC236}">
                <a16:creationId xmlns:a16="http://schemas.microsoft.com/office/drawing/2014/main" id="{66EE71E1-0D17-4F5E-910D-B87624539F5B}"/>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t="33793" b="37130"/>
          <a:stretch/>
        </p:blipFill>
        <p:spPr bwMode="auto">
          <a:xfrm>
            <a:off x="7213272" y="3561009"/>
            <a:ext cx="1905000" cy="5539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1272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141E50"/>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769D4C5-0708-BB37-805B-0E191EBAB53A}"/>
              </a:ext>
            </a:extLst>
          </p:cNvPr>
          <p:cNvGraphicFramePr>
            <a:graphicFrameLocks noChangeAspect="1"/>
          </p:cNvGraphicFramePr>
          <p:nvPr>
            <p:custDataLst>
              <p:tags r:id="rId1"/>
            </p:custDataLst>
            <p:extLst>
              <p:ext uri="{D42A27DB-BD31-4B8C-83A1-F6EECF244321}">
                <p14:modId xmlns:p14="http://schemas.microsoft.com/office/powerpoint/2010/main" val="24345042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1769D4C5-0708-BB37-805B-0E191EBAB53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4A0F9A8B-C748-59AD-40C9-E756F227355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1"/>
          <a:stretch/>
        </p:blipFill>
        <p:spPr>
          <a:xfrm>
            <a:off x="0" y="0"/>
            <a:ext cx="12192000" cy="6385686"/>
          </a:xfrm>
          <a:prstGeom prst="rect">
            <a:avLst/>
          </a:prstGeom>
          <a:solidFill>
            <a:schemeClr val="accent4">
              <a:lumMod val="20000"/>
              <a:lumOff val="80000"/>
              <a:alpha val="81422"/>
            </a:schemeClr>
          </a:solidFill>
          <a:ln>
            <a:noFill/>
          </a:ln>
        </p:spPr>
      </p:pic>
      <p:sp>
        <p:nvSpPr>
          <p:cNvPr id="16" name="Title 1">
            <a:extLst>
              <a:ext uri="{FF2B5EF4-FFF2-40B4-BE49-F238E27FC236}">
                <a16:creationId xmlns:a16="http://schemas.microsoft.com/office/drawing/2014/main" id="{D27B526A-8788-36C8-DF92-5835AACF5572}"/>
              </a:ext>
            </a:extLst>
          </p:cNvPr>
          <p:cNvSpPr txBox="1">
            <a:spLocks/>
          </p:cNvSpPr>
          <p:nvPr/>
        </p:nvSpPr>
        <p:spPr>
          <a:xfrm>
            <a:off x="627876" y="181067"/>
            <a:ext cx="4709369" cy="765598"/>
          </a:xfrm>
          <a:prstGeom prst="rect">
            <a:avLst/>
          </a:prstGeom>
        </p:spPr>
        <p:txBody>
          <a:bodyPr vert="horz" lIns="91440" tIns="45720" rIns="91440" bIns="45720" rtlCol="0" anchor="b">
            <a:normAutofit fontScale="850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0" i="0" u="none" strike="noStrike" kern="1200" cap="none" spc="0" normalizeH="0" baseline="0" noProof="0" err="1">
                <a:ln>
                  <a:noFill/>
                </a:ln>
                <a:solidFill>
                  <a:prstClr val="white"/>
                </a:solidFill>
                <a:effectLst/>
                <a:uLnTx/>
                <a:uFillTx/>
                <a:latin typeface="Helvetica Light" panose="020B0403020202020204" pitchFamily="34" charset="0"/>
                <a:ea typeface="+mj-ea"/>
                <a:cs typeface="+mj-cs"/>
              </a:rPr>
              <a:t>CashGuard</a:t>
            </a:r>
            <a:r>
              <a:rPr kumimoji="0" lang="en-GB" sz="4400" b="0" i="0" u="none" strike="noStrike" kern="1200" cap="none" spc="0" normalizeH="0" baseline="0" noProof="0">
                <a:ln>
                  <a:noFill/>
                </a:ln>
                <a:solidFill>
                  <a:prstClr val="white"/>
                </a:solidFill>
                <a:effectLst/>
                <a:uLnTx/>
                <a:uFillTx/>
                <a:latin typeface="Helvetica Light" panose="020B0403020202020204" pitchFamily="34" charset="0"/>
                <a:ea typeface="+mj-ea"/>
                <a:cs typeface="+mj-cs"/>
              </a:rPr>
              <a:t> Connect</a:t>
            </a:r>
            <a:endParaRPr kumimoji="0" lang="en-US" sz="4400" b="0" i="0" u="none" strike="noStrike" kern="1200" cap="none" spc="0" normalizeH="0" baseline="0" noProof="0">
              <a:ln>
                <a:noFill/>
              </a:ln>
              <a:solidFill>
                <a:prstClr val="white"/>
              </a:solidFill>
              <a:effectLst/>
              <a:uLnTx/>
              <a:uFillTx/>
              <a:latin typeface="Helvetica Light" panose="020B0403020202020204" pitchFamily="34" charset="0"/>
              <a:ea typeface="+mj-ea"/>
              <a:cs typeface="+mj-cs"/>
            </a:endParaRPr>
          </a:p>
        </p:txBody>
      </p:sp>
      <p:sp>
        <p:nvSpPr>
          <p:cNvPr id="17" name="TextBox 15">
            <a:extLst>
              <a:ext uri="{FF2B5EF4-FFF2-40B4-BE49-F238E27FC236}">
                <a16:creationId xmlns:a16="http://schemas.microsoft.com/office/drawing/2014/main" id="{C3ADFFEA-CB7D-13AB-D011-2F493DDF87B4}"/>
              </a:ext>
            </a:extLst>
          </p:cNvPr>
          <p:cNvSpPr txBox="1">
            <a:spLocks noChangeArrowheads="1"/>
          </p:cNvSpPr>
          <p:nvPr/>
        </p:nvSpPr>
        <p:spPr bwMode="auto">
          <a:xfrm>
            <a:off x="627876" y="892591"/>
            <a:ext cx="4090787"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Helvetica" pitchFamily="2" charset="0"/>
              </a:defRPr>
            </a:lvl1pPr>
            <a:lvl2pPr marL="742950" indent="-285750">
              <a:defRPr>
                <a:solidFill>
                  <a:schemeClr val="tx1"/>
                </a:solidFill>
                <a:latin typeface="Helvetica" pitchFamily="2" charset="0"/>
              </a:defRPr>
            </a:lvl2pPr>
            <a:lvl3pPr marL="1143000" indent="-228600">
              <a:defRPr>
                <a:solidFill>
                  <a:schemeClr val="tx1"/>
                </a:solidFill>
                <a:latin typeface="Helvetica" pitchFamily="2" charset="0"/>
              </a:defRPr>
            </a:lvl3pPr>
            <a:lvl4pPr marL="1600200" indent="-228600">
              <a:defRPr>
                <a:solidFill>
                  <a:schemeClr val="tx1"/>
                </a:solidFill>
                <a:latin typeface="Helvetica" pitchFamily="2" charset="0"/>
              </a:defRPr>
            </a:lvl4pPr>
            <a:lvl5pPr marL="2057400" indent="-228600">
              <a:defRPr>
                <a:solidFill>
                  <a:schemeClr val="tx1"/>
                </a:solidFill>
                <a:latin typeface="Helvetica" pitchFamily="2" charset="0"/>
              </a:defRPr>
            </a:lvl5pPr>
            <a:lvl6pPr marL="2514600" indent="-228600" fontAlgn="base">
              <a:spcBef>
                <a:spcPct val="0"/>
              </a:spcBef>
              <a:spcAft>
                <a:spcPct val="0"/>
              </a:spcAft>
              <a:defRPr>
                <a:solidFill>
                  <a:schemeClr val="tx1"/>
                </a:solidFill>
                <a:latin typeface="Helvetica" pitchFamily="2" charset="0"/>
              </a:defRPr>
            </a:lvl6pPr>
            <a:lvl7pPr marL="2971800" indent="-228600" fontAlgn="base">
              <a:spcBef>
                <a:spcPct val="0"/>
              </a:spcBef>
              <a:spcAft>
                <a:spcPct val="0"/>
              </a:spcAft>
              <a:defRPr>
                <a:solidFill>
                  <a:schemeClr val="tx1"/>
                </a:solidFill>
                <a:latin typeface="Helvetica" pitchFamily="2" charset="0"/>
              </a:defRPr>
            </a:lvl7pPr>
            <a:lvl8pPr marL="3429000" indent="-228600" fontAlgn="base">
              <a:spcBef>
                <a:spcPct val="0"/>
              </a:spcBef>
              <a:spcAft>
                <a:spcPct val="0"/>
              </a:spcAft>
              <a:defRPr>
                <a:solidFill>
                  <a:schemeClr val="tx1"/>
                </a:solidFill>
                <a:latin typeface="Helvetica" pitchFamily="2" charset="0"/>
              </a:defRPr>
            </a:lvl8pPr>
            <a:lvl9pPr marL="3886200" indent="-228600" fontAlgn="base">
              <a:spcBef>
                <a:spcPct val="0"/>
              </a:spcBef>
              <a:spcAft>
                <a:spcPct val="0"/>
              </a:spcAft>
              <a:defRPr>
                <a:solidFill>
                  <a:schemeClr val="tx1"/>
                </a:solidFill>
                <a:latin typeface="Helvetica" pitchFamily="2" charset="0"/>
              </a:defRPr>
            </a:lvl9pPr>
          </a:lstStyle>
          <a:p>
            <a:pPr marR="5080">
              <a:spcBef>
                <a:spcPts val="100"/>
              </a:spcBef>
              <a:spcAft>
                <a:spcPts val="1800"/>
              </a:spcAft>
              <a:defRPr/>
            </a:pPr>
            <a:r>
              <a:rPr lang="en-GB" sz="1600" b="1">
                <a:solidFill>
                  <a:prstClr val="white"/>
                </a:solidFill>
              </a:rPr>
              <a:t>World’s first end-to-end cash automation solution </a:t>
            </a:r>
            <a:br>
              <a:rPr lang="en-GB" sz="1800" b="1">
                <a:solidFill>
                  <a:prstClr val="white"/>
                </a:solidFill>
              </a:rPr>
            </a:br>
            <a:r>
              <a:rPr lang="en-GB" sz="1400">
                <a:solidFill>
                  <a:prstClr val="white"/>
                </a:solidFill>
                <a:latin typeface="Helvetica Light" panose="020B0403020202020204" pitchFamily="34" charset="0"/>
              </a:rPr>
              <a:t>from customer to cash-in-transit pickup with zero staff intervention at checkout or back office</a:t>
            </a:r>
          </a:p>
        </p:txBody>
      </p:sp>
      <p:grpSp>
        <p:nvGrpSpPr>
          <p:cNvPr id="20" name="Group 19">
            <a:extLst>
              <a:ext uri="{FF2B5EF4-FFF2-40B4-BE49-F238E27FC236}">
                <a16:creationId xmlns:a16="http://schemas.microsoft.com/office/drawing/2014/main" id="{C0921EBF-0202-828A-D864-18B4F04ACD76}"/>
              </a:ext>
            </a:extLst>
          </p:cNvPr>
          <p:cNvGrpSpPr/>
          <p:nvPr/>
        </p:nvGrpSpPr>
        <p:grpSpPr>
          <a:xfrm>
            <a:off x="3745727" y="3123936"/>
            <a:ext cx="2040990" cy="2040989"/>
            <a:chOff x="9788152" y="3371912"/>
            <a:chExt cx="1662585" cy="1662584"/>
          </a:xfrm>
        </p:grpSpPr>
        <p:sp>
          <p:nvSpPr>
            <p:cNvPr id="54" name="Oval 53">
              <a:extLst>
                <a:ext uri="{FF2B5EF4-FFF2-40B4-BE49-F238E27FC236}">
                  <a16:creationId xmlns:a16="http://schemas.microsoft.com/office/drawing/2014/main" id="{FC44DBB2-933B-F194-CA84-D2B5C1CBF91A}"/>
                </a:ext>
              </a:extLst>
            </p:cNvPr>
            <p:cNvSpPr/>
            <p:nvPr/>
          </p:nvSpPr>
          <p:spPr>
            <a:xfrm>
              <a:off x="10154288" y="3738048"/>
              <a:ext cx="930311" cy="930310"/>
            </a:xfrm>
            <a:prstGeom prst="ellipse">
              <a:avLst/>
            </a:prstGeom>
            <a:noFill/>
            <a:ln w="15875">
              <a:gradFill flip="none" rotWithShape="1">
                <a:gsLst>
                  <a:gs pos="71000">
                    <a:srgbClr val="202253"/>
                  </a:gs>
                  <a:gs pos="33000">
                    <a:schemeClr val="accent3">
                      <a:alpha val="0"/>
                    </a:schemeClr>
                  </a:gs>
                  <a:gs pos="12000">
                    <a:srgbClr val="98FEEE">
                      <a:alpha val="0"/>
                    </a:srgbClr>
                  </a:gs>
                  <a:gs pos="100000">
                    <a:srgbClr val="98FEEE"/>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55" name="Oval 54">
              <a:extLst>
                <a:ext uri="{FF2B5EF4-FFF2-40B4-BE49-F238E27FC236}">
                  <a16:creationId xmlns:a16="http://schemas.microsoft.com/office/drawing/2014/main" id="{CFAC597C-786B-975C-28BA-ACDF44F208E6}"/>
                </a:ext>
              </a:extLst>
            </p:cNvPr>
            <p:cNvSpPr/>
            <p:nvPr/>
          </p:nvSpPr>
          <p:spPr>
            <a:xfrm>
              <a:off x="9975514" y="3559274"/>
              <a:ext cx="1287858" cy="1287858"/>
            </a:xfrm>
            <a:prstGeom prst="ellipse">
              <a:avLst/>
            </a:prstGeom>
            <a:noFill/>
            <a:ln w="15875">
              <a:gradFill flip="none" rotWithShape="1">
                <a:gsLst>
                  <a:gs pos="71000">
                    <a:srgbClr val="202253"/>
                  </a:gs>
                  <a:gs pos="33000">
                    <a:schemeClr val="accent3">
                      <a:alpha val="0"/>
                    </a:schemeClr>
                  </a:gs>
                  <a:gs pos="10000">
                    <a:srgbClr val="98FEEE">
                      <a:alpha val="0"/>
                    </a:srgbClr>
                  </a:gs>
                  <a:gs pos="100000">
                    <a:srgbClr val="98FEEE"/>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56" name="Oval 55">
              <a:extLst>
                <a:ext uri="{FF2B5EF4-FFF2-40B4-BE49-F238E27FC236}">
                  <a16:creationId xmlns:a16="http://schemas.microsoft.com/office/drawing/2014/main" id="{EDBCD5C1-7456-D834-1F41-1AB0E5B9C8A8}"/>
                </a:ext>
              </a:extLst>
            </p:cNvPr>
            <p:cNvSpPr/>
            <p:nvPr/>
          </p:nvSpPr>
          <p:spPr>
            <a:xfrm>
              <a:off x="9788152" y="3371912"/>
              <a:ext cx="1662585" cy="1662584"/>
            </a:xfrm>
            <a:prstGeom prst="ellipse">
              <a:avLst/>
            </a:prstGeom>
            <a:noFill/>
            <a:ln w="15875">
              <a:gradFill flip="none" rotWithShape="1">
                <a:gsLst>
                  <a:gs pos="71000">
                    <a:srgbClr val="202253"/>
                  </a:gs>
                  <a:gs pos="33000">
                    <a:schemeClr val="accent3">
                      <a:alpha val="0"/>
                    </a:schemeClr>
                  </a:gs>
                  <a:gs pos="0">
                    <a:srgbClr val="98FEEE">
                      <a:alpha val="0"/>
                    </a:srgbClr>
                  </a:gs>
                  <a:gs pos="100000">
                    <a:srgbClr val="98FEEE"/>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pSp>
      <p:grpSp>
        <p:nvGrpSpPr>
          <p:cNvPr id="21" name="Group 20">
            <a:extLst>
              <a:ext uri="{FF2B5EF4-FFF2-40B4-BE49-F238E27FC236}">
                <a16:creationId xmlns:a16="http://schemas.microsoft.com/office/drawing/2014/main" id="{E16C531F-EFB3-FEFD-E6E7-6948787A529E}"/>
              </a:ext>
            </a:extLst>
          </p:cNvPr>
          <p:cNvGrpSpPr/>
          <p:nvPr/>
        </p:nvGrpSpPr>
        <p:grpSpPr>
          <a:xfrm rot="1264860">
            <a:off x="6625474" y="3108431"/>
            <a:ext cx="1669372" cy="1669371"/>
            <a:chOff x="9788152" y="3371912"/>
            <a:chExt cx="1662585" cy="1662584"/>
          </a:xfrm>
        </p:grpSpPr>
        <p:sp>
          <p:nvSpPr>
            <p:cNvPr id="51" name="Oval 50">
              <a:extLst>
                <a:ext uri="{FF2B5EF4-FFF2-40B4-BE49-F238E27FC236}">
                  <a16:creationId xmlns:a16="http://schemas.microsoft.com/office/drawing/2014/main" id="{FF10AD13-2648-3E21-9D28-AA0DD6A81FD9}"/>
                </a:ext>
              </a:extLst>
            </p:cNvPr>
            <p:cNvSpPr/>
            <p:nvPr/>
          </p:nvSpPr>
          <p:spPr>
            <a:xfrm>
              <a:off x="10154288" y="3738048"/>
              <a:ext cx="930311" cy="930310"/>
            </a:xfrm>
            <a:prstGeom prst="ellipse">
              <a:avLst/>
            </a:prstGeom>
            <a:noFill/>
            <a:ln w="9525">
              <a:gradFill flip="none" rotWithShape="1">
                <a:gsLst>
                  <a:gs pos="71000">
                    <a:srgbClr val="202253"/>
                  </a:gs>
                  <a:gs pos="33000">
                    <a:schemeClr val="accent3">
                      <a:alpha val="0"/>
                    </a:schemeClr>
                  </a:gs>
                  <a:gs pos="12000">
                    <a:srgbClr val="98FEEE">
                      <a:alpha val="0"/>
                    </a:srgbClr>
                  </a:gs>
                  <a:gs pos="100000">
                    <a:srgbClr val="98FEEE"/>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52" name="Oval 51">
              <a:extLst>
                <a:ext uri="{FF2B5EF4-FFF2-40B4-BE49-F238E27FC236}">
                  <a16:creationId xmlns:a16="http://schemas.microsoft.com/office/drawing/2014/main" id="{D2B7F90D-B96B-2854-D793-6DBC01EB757C}"/>
                </a:ext>
              </a:extLst>
            </p:cNvPr>
            <p:cNvSpPr/>
            <p:nvPr/>
          </p:nvSpPr>
          <p:spPr>
            <a:xfrm>
              <a:off x="9975514" y="3559274"/>
              <a:ext cx="1287858" cy="1287858"/>
            </a:xfrm>
            <a:prstGeom prst="ellipse">
              <a:avLst/>
            </a:prstGeom>
            <a:noFill/>
            <a:ln w="9525">
              <a:gradFill flip="none" rotWithShape="1">
                <a:gsLst>
                  <a:gs pos="71000">
                    <a:srgbClr val="202253"/>
                  </a:gs>
                  <a:gs pos="33000">
                    <a:schemeClr val="accent3">
                      <a:alpha val="0"/>
                    </a:schemeClr>
                  </a:gs>
                  <a:gs pos="10000">
                    <a:srgbClr val="98FEEE">
                      <a:alpha val="0"/>
                    </a:srgbClr>
                  </a:gs>
                  <a:gs pos="100000">
                    <a:srgbClr val="98FEEE"/>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53" name="Oval 52">
              <a:extLst>
                <a:ext uri="{FF2B5EF4-FFF2-40B4-BE49-F238E27FC236}">
                  <a16:creationId xmlns:a16="http://schemas.microsoft.com/office/drawing/2014/main" id="{CE9F9AB1-685F-B318-26F3-21E93E17C3FB}"/>
                </a:ext>
              </a:extLst>
            </p:cNvPr>
            <p:cNvSpPr/>
            <p:nvPr/>
          </p:nvSpPr>
          <p:spPr>
            <a:xfrm>
              <a:off x="9788152" y="3371912"/>
              <a:ext cx="1662585" cy="1662584"/>
            </a:xfrm>
            <a:prstGeom prst="ellipse">
              <a:avLst/>
            </a:prstGeom>
            <a:noFill/>
            <a:ln w="9525">
              <a:gradFill flip="none" rotWithShape="1">
                <a:gsLst>
                  <a:gs pos="71000">
                    <a:srgbClr val="202253"/>
                  </a:gs>
                  <a:gs pos="33000">
                    <a:schemeClr val="accent3">
                      <a:alpha val="0"/>
                    </a:schemeClr>
                  </a:gs>
                  <a:gs pos="0">
                    <a:srgbClr val="98FEEE">
                      <a:alpha val="0"/>
                    </a:srgbClr>
                  </a:gs>
                  <a:gs pos="100000">
                    <a:srgbClr val="98FEEE"/>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pSp>
      <p:sp>
        <p:nvSpPr>
          <p:cNvPr id="22" name="Oval 21">
            <a:extLst>
              <a:ext uri="{FF2B5EF4-FFF2-40B4-BE49-F238E27FC236}">
                <a16:creationId xmlns:a16="http://schemas.microsoft.com/office/drawing/2014/main" id="{295E5328-DD34-CA48-822E-764CEAB45731}"/>
              </a:ext>
            </a:extLst>
          </p:cNvPr>
          <p:cNvSpPr/>
          <p:nvPr/>
        </p:nvSpPr>
        <p:spPr>
          <a:xfrm rot="1332787">
            <a:off x="3330380" y="4705359"/>
            <a:ext cx="1750986" cy="469642"/>
          </a:xfrm>
          <a:prstGeom prst="ellipse">
            <a:avLst/>
          </a:prstGeom>
          <a:solidFill>
            <a:srgbClr val="9BFFF0">
              <a:alpha val="1186"/>
            </a:srgbClr>
          </a:solidFill>
          <a:ln>
            <a:noFill/>
          </a:ln>
          <a:effectLst>
            <a:glow rad="1905000">
              <a:srgbClr val="9BFFF0">
                <a:alpha val="39496"/>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Helvetica"/>
              <a:ea typeface="+mn-ea"/>
              <a:cs typeface="+mn-cs"/>
            </a:endParaRPr>
          </a:p>
        </p:txBody>
      </p:sp>
      <p:sp>
        <p:nvSpPr>
          <p:cNvPr id="23" name="Oval 22">
            <a:extLst>
              <a:ext uri="{FF2B5EF4-FFF2-40B4-BE49-F238E27FC236}">
                <a16:creationId xmlns:a16="http://schemas.microsoft.com/office/drawing/2014/main" id="{98EFC34D-7F3A-BB5D-B770-85DB9B02C6DD}"/>
              </a:ext>
            </a:extLst>
          </p:cNvPr>
          <p:cNvSpPr/>
          <p:nvPr/>
        </p:nvSpPr>
        <p:spPr>
          <a:xfrm rot="1332787">
            <a:off x="9436873" y="4782214"/>
            <a:ext cx="768761" cy="199416"/>
          </a:xfrm>
          <a:prstGeom prst="ellipse">
            <a:avLst/>
          </a:prstGeom>
          <a:solidFill>
            <a:srgbClr val="9BFFF0">
              <a:alpha val="1186"/>
            </a:srgbClr>
          </a:solidFill>
          <a:ln>
            <a:noFill/>
          </a:ln>
          <a:effectLst>
            <a:glow rad="1032533">
              <a:srgbClr val="9BFFF0">
                <a:alpha val="39496"/>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Helvetica"/>
              <a:ea typeface="+mn-ea"/>
              <a:cs typeface="+mn-cs"/>
            </a:endParaRPr>
          </a:p>
        </p:txBody>
      </p:sp>
      <p:sp>
        <p:nvSpPr>
          <p:cNvPr id="24" name="Oval 23">
            <a:extLst>
              <a:ext uri="{FF2B5EF4-FFF2-40B4-BE49-F238E27FC236}">
                <a16:creationId xmlns:a16="http://schemas.microsoft.com/office/drawing/2014/main" id="{5670F3FD-C62A-3B17-ABB0-73D5E139A57E}"/>
              </a:ext>
            </a:extLst>
          </p:cNvPr>
          <p:cNvSpPr/>
          <p:nvPr/>
        </p:nvSpPr>
        <p:spPr>
          <a:xfrm rot="1332787">
            <a:off x="6889955" y="4482832"/>
            <a:ext cx="1102094" cy="413034"/>
          </a:xfrm>
          <a:prstGeom prst="ellipse">
            <a:avLst/>
          </a:prstGeom>
          <a:solidFill>
            <a:srgbClr val="9BFFF0">
              <a:alpha val="1186"/>
            </a:srgbClr>
          </a:solidFill>
          <a:ln>
            <a:noFill/>
          </a:ln>
          <a:effectLst>
            <a:glow rad="1905000">
              <a:srgbClr val="9BFFF0">
                <a:alpha val="39496"/>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Helvetica"/>
              <a:ea typeface="+mn-ea"/>
              <a:cs typeface="+mn-cs"/>
            </a:endParaRPr>
          </a:p>
        </p:txBody>
      </p:sp>
      <p:grpSp>
        <p:nvGrpSpPr>
          <p:cNvPr id="25" name="Group 24">
            <a:extLst>
              <a:ext uri="{FF2B5EF4-FFF2-40B4-BE49-F238E27FC236}">
                <a16:creationId xmlns:a16="http://schemas.microsoft.com/office/drawing/2014/main" id="{653E79B9-B990-76EC-3A1E-2DB2E220F51F}"/>
              </a:ext>
            </a:extLst>
          </p:cNvPr>
          <p:cNvGrpSpPr/>
          <p:nvPr/>
        </p:nvGrpSpPr>
        <p:grpSpPr>
          <a:xfrm rot="21139958">
            <a:off x="8916686" y="3272727"/>
            <a:ext cx="2190714" cy="2190713"/>
            <a:chOff x="9788152" y="3371912"/>
            <a:chExt cx="1662585" cy="1662584"/>
          </a:xfrm>
        </p:grpSpPr>
        <p:sp>
          <p:nvSpPr>
            <p:cNvPr id="48" name="Oval 47">
              <a:extLst>
                <a:ext uri="{FF2B5EF4-FFF2-40B4-BE49-F238E27FC236}">
                  <a16:creationId xmlns:a16="http://schemas.microsoft.com/office/drawing/2014/main" id="{B5A80694-D51A-784B-6C3E-8ABB23FA7996}"/>
                </a:ext>
              </a:extLst>
            </p:cNvPr>
            <p:cNvSpPr/>
            <p:nvPr/>
          </p:nvSpPr>
          <p:spPr>
            <a:xfrm>
              <a:off x="10154288" y="3738048"/>
              <a:ext cx="930311" cy="930310"/>
            </a:xfrm>
            <a:prstGeom prst="ellipse">
              <a:avLst/>
            </a:prstGeom>
            <a:noFill/>
            <a:ln w="12700">
              <a:gradFill flip="none" rotWithShape="1">
                <a:gsLst>
                  <a:gs pos="71000">
                    <a:srgbClr val="202253"/>
                  </a:gs>
                  <a:gs pos="33000">
                    <a:schemeClr val="accent3">
                      <a:alpha val="0"/>
                    </a:schemeClr>
                  </a:gs>
                  <a:gs pos="12000">
                    <a:srgbClr val="98FEEE">
                      <a:alpha val="0"/>
                    </a:srgbClr>
                  </a:gs>
                  <a:gs pos="100000">
                    <a:srgbClr val="98FEEE"/>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49" name="Oval 48">
              <a:extLst>
                <a:ext uri="{FF2B5EF4-FFF2-40B4-BE49-F238E27FC236}">
                  <a16:creationId xmlns:a16="http://schemas.microsoft.com/office/drawing/2014/main" id="{8468D4E1-A353-946D-433C-A224ED88564B}"/>
                </a:ext>
              </a:extLst>
            </p:cNvPr>
            <p:cNvSpPr/>
            <p:nvPr/>
          </p:nvSpPr>
          <p:spPr>
            <a:xfrm>
              <a:off x="9975514" y="3559274"/>
              <a:ext cx="1287858" cy="1287858"/>
            </a:xfrm>
            <a:prstGeom prst="ellipse">
              <a:avLst/>
            </a:prstGeom>
            <a:noFill/>
            <a:ln w="12700">
              <a:gradFill flip="none" rotWithShape="1">
                <a:gsLst>
                  <a:gs pos="71000">
                    <a:srgbClr val="202253"/>
                  </a:gs>
                  <a:gs pos="33000">
                    <a:schemeClr val="accent3">
                      <a:alpha val="0"/>
                    </a:schemeClr>
                  </a:gs>
                  <a:gs pos="10000">
                    <a:srgbClr val="98FEEE">
                      <a:alpha val="0"/>
                    </a:srgbClr>
                  </a:gs>
                  <a:gs pos="100000">
                    <a:srgbClr val="98FEEE"/>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50" name="Oval 49">
              <a:extLst>
                <a:ext uri="{FF2B5EF4-FFF2-40B4-BE49-F238E27FC236}">
                  <a16:creationId xmlns:a16="http://schemas.microsoft.com/office/drawing/2014/main" id="{B51FF626-66AA-9B7B-AAA5-4B2049ADE490}"/>
                </a:ext>
              </a:extLst>
            </p:cNvPr>
            <p:cNvSpPr/>
            <p:nvPr/>
          </p:nvSpPr>
          <p:spPr>
            <a:xfrm>
              <a:off x="9788152" y="3371912"/>
              <a:ext cx="1662585" cy="1662584"/>
            </a:xfrm>
            <a:prstGeom prst="ellipse">
              <a:avLst/>
            </a:prstGeom>
            <a:noFill/>
            <a:ln w="12700">
              <a:gradFill flip="none" rotWithShape="1">
                <a:gsLst>
                  <a:gs pos="71000">
                    <a:srgbClr val="202253"/>
                  </a:gs>
                  <a:gs pos="33000">
                    <a:schemeClr val="accent3">
                      <a:alpha val="0"/>
                    </a:schemeClr>
                  </a:gs>
                  <a:gs pos="0">
                    <a:srgbClr val="98FEEE">
                      <a:alpha val="0"/>
                    </a:srgbClr>
                  </a:gs>
                  <a:gs pos="100000">
                    <a:srgbClr val="98FEEE"/>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pSp>
      <p:pic>
        <p:nvPicPr>
          <p:cNvPr id="26" name="Picture 25" descr="A close-up of several machines&#10;&#10;Description automatically generated">
            <a:extLst>
              <a:ext uri="{FF2B5EF4-FFF2-40B4-BE49-F238E27FC236}">
                <a16:creationId xmlns:a16="http://schemas.microsoft.com/office/drawing/2014/main" id="{5B85B119-000F-99D0-1FD4-70A14B9E2E2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50002" y="1127732"/>
            <a:ext cx="9900709" cy="5569150"/>
          </a:xfrm>
          <a:prstGeom prst="rect">
            <a:avLst/>
          </a:prstGeom>
        </p:spPr>
      </p:pic>
      <p:grpSp>
        <p:nvGrpSpPr>
          <p:cNvPr id="27" name="Group 26">
            <a:extLst>
              <a:ext uri="{FF2B5EF4-FFF2-40B4-BE49-F238E27FC236}">
                <a16:creationId xmlns:a16="http://schemas.microsoft.com/office/drawing/2014/main" id="{0AFE39E0-FC4F-3D30-48AB-F713C3B59067}"/>
              </a:ext>
            </a:extLst>
          </p:cNvPr>
          <p:cNvGrpSpPr/>
          <p:nvPr/>
        </p:nvGrpSpPr>
        <p:grpSpPr>
          <a:xfrm rot="16200000" flipH="1">
            <a:off x="5404359" y="3521823"/>
            <a:ext cx="1124476" cy="3981728"/>
            <a:chOff x="4792266" y="4433803"/>
            <a:chExt cx="1425856" cy="1242967"/>
          </a:xfrm>
        </p:grpSpPr>
        <p:sp>
          <p:nvSpPr>
            <p:cNvPr id="45" name="Rectangle 44">
              <a:extLst>
                <a:ext uri="{FF2B5EF4-FFF2-40B4-BE49-F238E27FC236}">
                  <a16:creationId xmlns:a16="http://schemas.microsoft.com/office/drawing/2014/main" id="{40AD0930-1CFD-933A-1679-F7CE4CCEEF4E}"/>
                </a:ext>
              </a:extLst>
            </p:cNvPr>
            <p:cNvSpPr/>
            <p:nvPr/>
          </p:nvSpPr>
          <p:spPr>
            <a:xfrm>
              <a:off x="5537999" y="4433803"/>
              <a:ext cx="680123" cy="1242966"/>
            </a:xfrm>
            <a:prstGeom prst="rect">
              <a:avLst/>
            </a:prstGeom>
            <a:solidFill>
              <a:schemeClr val="accent4">
                <a:lumMod val="20000"/>
                <a:lumOff val="80000"/>
                <a:alpha val="8142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cxnSp>
          <p:nvCxnSpPr>
            <p:cNvPr id="46" name="Straight Connector 45">
              <a:extLst>
                <a:ext uri="{FF2B5EF4-FFF2-40B4-BE49-F238E27FC236}">
                  <a16:creationId xmlns:a16="http://schemas.microsoft.com/office/drawing/2014/main" id="{1B1ED182-10CA-6DD2-3A8C-DBD2AF3069B4}"/>
                </a:ext>
              </a:extLst>
            </p:cNvPr>
            <p:cNvCxnSpPr>
              <a:cxnSpLocks/>
            </p:cNvCxnSpPr>
            <p:nvPr/>
          </p:nvCxnSpPr>
          <p:spPr>
            <a:xfrm rot="16200000">
              <a:off x="5163748" y="4184177"/>
              <a:ext cx="0" cy="742963"/>
            </a:xfrm>
            <a:prstGeom prst="line">
              <a:avLst/>
            </a:prstGeom>
            <a:ln w="9525" cap="rnd">
              <a:solidFill>
                <a:schemeClr val="accent2"/>
              </a:solidFill>
              <a:prstDash val="solid"/>
              <a:headEnd type="oval"/>
              <a:tailEnd type="oval"/>
            </a:ln>
          </p:spPr>
          <p:style>
            <a:lnRef idx="1">
              <a:schemeClr val="accent2"/>
            </a:lnRef>
            <a:fillRef idx="0">
              <a:schemeClr val="accent2"/>
            </a:fillRef>
            <a:effectRef idx="0">
              <a:schemeClr val="accent2"/>
            </a:effectRef>
            <a:fontRef idx="minor">
              <a:schemeClr val="tx1"/>
            </a:fontRef>
          </p:style>
        </p:cxnSp>
        <p:cxnSp>
          <p:nvCxnSpPr>
            <p:cNvPr id="47" name="Straight Connector 46">
              <a:extLst>
                <a:ext uri="{FF2B5EF4-FFF2-40B4-BE49-F238E27FC236}">
                  <a16:creationId xmlns:a16="http://schemas.microsoft.com/office/drawing/2014/main" id="{ABC1AD47-4196-95C1-FF49-DAC7B39ACE0D}"/>
                </a:ext>
              </a:extLst>
            </p:cNvPr>
            <p:cNvCxnSpPr>
              <a:cxnSpLocks/>
            </p:cNvCxnSpPr>
            <p:nvPr/>
          </p:nvCxnSpPr>
          <p:spPr>
            <a:xfrm rot="16200000" flipH="1" flipV="1">
              <a:off x="4916649" y="5055286"/>
              <a:ext cx="1242966" cy="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8" name="TextBox 27">
            <a:extLst>
              <a:ext uri="{FF2B5EF4-FFF2-40B4-BE49-F238E27FC236}">
                <a16:creationId xmlns:a16="http://schemas.microsoft.com/office/drawing/2014/main" id="{AE2C646B-BBF1-D23C-8C3D-BB31B4565E06}"/>
              </a:ext>
            </a:extLst>
          </p:cNvPr>
          <p:cNvSpPr txBox="1"/>
          <p:nvPr/>
        </p:nvSpPr>
        <p:spPr>
          <a:xfrm>
            <a:off x="4061028" y="5595827"/>
            <a:ext cx="4134728" cy="461665"/>
          </a:xfrm>
          <a:prstGeom prst="rect">
            <a:avLst/>
          </a:prstGeom>
          <a:noFill/>
        </p:spPr>
        <p:txBody>
          <a:bodyPr wrap="square">
            <a:spAutoFit/>
          </a:bodyPr>
          <a:lstStyle/>
          <a:p>
            <a:pPr>
              <a:defRPr/>
            </a:pPr>
            <a:r>
              <a:rPr lang="en-GB" sz="1200">
                <a:solidFill>
                  <a:srgbClr val="1E1E50"/>
                </a:solidFill>
                <a:latin typeface="Helvetica Light" panose="020B0403020202020204" pitchFamily="34" charset="0"/>
              </a:rPr>
              <a:t>Customers deposit cash into the built-in coin and note feeders at either staffed or self-service checkouts</a:t>
            </a:r>
          </a:p>
        </p:txBody>
      </p:sp>
      <p:cxnSp>
        <p:nvCxnSpPr>
          <p:cNvPr id="43" name="Straight Connector 42">
            <a:extLst>
              <a:ext uri="{FF2B5EF4-FFF2-40B4-BE49-F238E27FC236}">
                <a16:creationId xmlns:a16="http://schemas.microsoft.com/office/drawing/2014/main" id="{6ED07B33-A594-310B-4C0A-6EB5402FEF54}"/>
              </a:ext>
            </a:extLst>
          </p:cNvPr>
          <p:cNvCxnSpPr>
            <a:cxnSpLocks/>
          </p:cNvCxnSpPr>
          <p:nvPr/>
        </p:nvCxnSpPr>
        <p:spPr>
          <a:xfrm flipV="1">
            <a:off x="6077213" y="1379958"/>
            <a:ext cx="0" cy="1368955"/>
          </a:xfrm>
          <a:prstGeom prst="line">
            <a:avLst/>
          </a:prstGeom>
          <a:ln w="9525" cap="rnd">
            <a:solidFill>
              <a:schemeClr val="accent2"/>
            </a:solidFill>
            <a:prstDash val="solid"/>
            <a:headEnd type="oval"/>
            <a:tailEnd type="oval"/>
          </a:ln>
        </p:spPr>
        <p:style>
          <a:lnRef idx="1">
            <a:schemeClr val="accent2"/>
          </a:lnRef>
          <a:fillRef idx="0">
            <a:schemeClr val="accent2"/>
          </a:fillRef>
          <a:effectRef idx="0">
            <a:schemeClr val="accent2"/>
          </a:effectRef>
          <a:fontRef idx="minor">
            <a:schemeClr val="tx1"/>
          </a:fontRef>
        </p:style>
      </p:cxnSp>
      <p:grpSp>
        <p:nvGrpSpPr>
          <p:cNvPr id="59" name="Group 58">
            <a:extLst>
              <a:ext uri="{FF2B5EF4-FFF2-40B4-BE49-F238E27FC236}">
                <a16:creationId xmlns:a16="http://schemas.microsoft.com/office/drawing/2014/main" id="{DA76D606-1D9E-8A78-F49B-43DEB0573D1E}"/>
              </a:ext>
            </a:extLst>
          </p:cNvPr>
          <p:cNvGrpSpPr/>
          <p:nvPr/>
        </p:nvGrpSpPr>
        <p:grpSpPr>
          <a:xfrm>
            <a:off x="5475374" y="732865"/>
            <a:ext cx="3096651" cy="647091"/>
            <a:chOff x="5508828" y="554233"/>
            <a:chExt cx="2236626" cy="825724"/>
          </a:xfrm>
        </p:grpSpPr>
        <p:sp>
          <p:nvSpPr>
            <p:cNvPr id="42" name="Rectangle 41">
              <a:extLst>
                <a:ext uri="{FF2B5EF4-FFF2-40B4-BE49-F238E27FC236}">
                  <a16:creationId xmlns:a16="http://schemas.microsoft.com/office/drawing/2014/main" id="{DE056653-9F04-E3D3-CA96-BA3EDA3BAEA2}"/>
                </a:ext>
              </a:extLst>
            </p:cNvPr>
            <p:cNvSpPr/>
            <p:nvPr/>
          </p:nvSpPr>
          <p:spPr>
            <a:xfrm rot="16200000">
              <a:off x="6214279" y="-151218"/>
              <a:ext cx="825724" cy="2236625"/>
            </a:xfrm>
            <a:prstGeom prst="rect">
              <a:avLst/>
            </a:prstGeom>
            <a:solidFill>
              <a:schemeClr val="accent4">
                <a:lumMod val="20000"/>
                <a:lumOff val="80000"/>
                <a:alpha val="7277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cxnSp>
          <p:nvCxnSpPr>
            <p:cNvPr id="44" name="Straight Connector 43">
              <a:extLst>
                <a:ext uri="{FF2B5EF4-FFF2-40B4-BE49-F238E27FC236}">
                  <a16:creationId xmlns:a16="http://schemas.microsoft.com/office/drawing/2014/main" id="{E078B8DF-EEF6-1F56-88FC-A6B6091FC60D}"/>
                </a:ext>
              </a:extLst>
            </p:cNvPr>
            <p:cNvCxnSpPr>
              <a:cxnSpLocks/>
            </p:cNvCxnSpPr>
            <p:nvPr/>
          </p:nvCxnSpPr>
          <p:spPr>
            <a:xfrm rot="16200000">
              <a:off x="6627142" y="261498"/>
              <a:ext cx="0" cy="22366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B33F1ECA-C160-A46B-D20D-3B7357AA46FD}"/>
              </a:ext>
            </a:extLst>
          </p:cNvPr>
          <p:cNvCxnSpPr>
            <a:cxnSpLocks/>
          </p:cNvCxnSpPr>
          <p:nvPr/>
        </p:nvCxnSpPr>
        <p:spPr>
          <a:xfrm flipH="1">
            <a:off x="4991576" y="2808976"/>
            <a:ext cx="1271847" cy="0"/>
          </a:xfrm>
          <a:prstGeom prst="line">
            <a:avLst/>
          </a:prstGeom>
          <a:ln w="9525" cap="rnd">
            <a:solidFill>
              <a:schemeClr val="accent2"/>
            </a:solidFill>
            <a:prstDash val="solid"/>
            <a:headEnd type="oval"/>
            <a:tailEnd type="oval"/>
          </a:ln>
        </p:spPr>
        <p:style>
          <a:lnRef idx="1">
            <a:schemeClr val="accent2"/>
          </a:lnRef>
          <a:fillRef idx="0">
            <a:schemeClr val="accent2"/>
          </a:fillRef>
          <a:effectRef idx="0">
            <a:schemeClr val="accent2"/>
          </a:effectRef>
          <a:fontRef idx="minor">
            <a:schemeClr val="tx1"/>
          </a:fontRef>
        </p:style>
      </p:cxnSp>
      <p:cxnSp>
        <p:nvCxnSpPr>
          <p:cNvPr id="32" name="Straight Connector 31">
            <a:extLst>
              <a:ext uri="{FF2B5EF4-FFF2-40B4-BE49-F238E27FC236}">
                <a16:creationId xmlns:a16="http://schemas.microsoft.com/office/drawing/2014/main" id="{F5326D95-0569-6C5F-BB74-829A3AF3759A}"/>
              </a:ext>
            </a:extLst>
          </p:cNvPr>
          <p:cNvCxnSpPr>
            <a:cxnSpLocks/>
          </p:cNvCxnSpPr>
          <p:nvPr/>
        </p:nvCxnSpPr>
        <p:spPr>
          <a:xfrm>
            <a:off x="7288320" y="5220269"/>
            <a:ext cx="0" cy="318295"/>
          </a:xfrm>
          <a:prstGeom prst="line">
            <a:avLst/>
          </a:prstGeom>
          <a:ln w="9525" cap="rnd">
            <a:solidFill>
              <a:schemeClr val="accent2"/>
            </a:solidFill>
            <a:prstDash val="solid"/>
            <a:headEnd type="oval"/>
            <a:tailEnd type="oval"/>
          </a:ln>
        </p:spPr>
        <p:style>
          <a:lnRef idx="1">
            <a:schemeClr val="accent2"/>
          </a:lnRef>
          <a:fillRef idx="0">
            <a:schemeClr val="accent2"/>
          </a:fillRef>
          <a:effectRef idx="0">
            <a:schemeClr val="accent2"/>
          </a:effectRef>
          <a:fontRef idx="minor">
            <a:schemeClr val="tx1"/>
          </a:fontRef>
        </p:style>
      </p:cxnSp>
      <p:grpSp>
        <p:nvGrpSpPr>
          <p:cNvPr id="62" name="Group 61">
            <a:extLst>
              <a:ext uri="{FF2B5EF4-FFF2-40B4-BE49-F238E27FC236}">
                <a16:creationId xmlns:a16="http://schemas.microsoft.com/office/drawing/2014/main" id="{78672C04-4D71-1310-B72A-FA558314197B}"/>
              </a:ext>
            </a:extLst>
          </p:cNvPr>
          <p:cNvGrpSpPr/>
          <p:nvPr/>
        </p:nvGrpSpPr>
        <p:grpSpPr>
          <a:xfrm>
            <a:off x="8733087" y="732864"/>
            <a:ext cx="2702202" cy="3110132"/>
            <a:chOff x="8511213" y="732864"/>
            <a:chExt cx="2702202" cy="3110132"/>
          </a:xfrm>
        </p:grpSpPr>
        <p:cxnSp>
          <p:nvCxnSpPr>
            <p:cNvPr id="40" name="Straight Connector 39">
              <a:extLst>
                <a:ext uri="{FF2B5EF4-FFF2-40B4-BE49-F238E27FC236}">
                  <a16:creationId xmlns:a16="http://schemas.microsoft.com/office/drawing/2014/main" id="{C065241E-C917-4668-ECBE-9C33374E999B}"/>
                </a:ext>
              </a:extLst>
            </p:cNvPr>
            <p:cNvCxnSpPr>
              <a:cxnSpLocks/>
            </p:cNvCxnSpPr>
            <p:nvPr/>
          </p:nvCxnSpPr>
          <p:spPr>
            <a:xfrm flipV="1">
              <a:off x="9757765" y="1612938"/>
              <a:ext cx="0" cy="2230058"/>
            </a:xfrm>
            <a:prstGeom prst="line">
              <a:avLst/>
            </a:prstGeom>
            <a:ln w="9525" cap="rnd">
              <a:solidFill>
                <a:schemeClr val="accent2"/>
              </a:solidFill>
              <a:prstDash val="solid"/>
              <a:headEnd type="oval"/>
              <a:tailEnd type="oval"/>
            </a:ln>
          </p:spPr>
          <p:style>
            <a:lnRef idx="1">
              <a:schemeClr val="accent2"/>
            </a:lnRef>
            <a:fillRef idx="0">
              <a:schemeClr val="accent2"/>
            </a:fillRef>
            <a:effectRef idx="0">
              <a:schemeClr val="accent2"/>
            </a:effectRef>
            <a:fontRef idx="minor">
              <a:schemeClr val="tx1"/>
            </a:fontRef>
          </p:style>
        </p:cxnSp>
        <p:grpSp>
          <p:nvGrpSpPr>
            <p:cNvPr id="61" name="Group 60">
              <a:extLst>
                <a:ext uri="{FF2B5EF4-FFF2-40B4-BE49-F238E27FC236}">
                  <a16:creationId xmlns:a16="http://schemas.microsoft.com/office/drawing/2014/main" id="{AC6E0A26-8CE8-FBE9-5F0B-32AE970FEF93}"/>
                </a:ext>
              </a:extLst>
            </p:cNvPr>
            <p:cNvGrpSpPr/>
            <p:nvPr/>
          </p:nvGrpSpPr>
          <p:grpSpPr>
            <a:xfrm>
              <a:off x="8511213" y="732864"/>
              <a:ext cx="2702202" cy="880071"/>
              <a:chOff x="8539789" y="577426"/>
              <a:chExt cx="2081993" cy="1035509"/>
            </a:xfrm>
          </p:grpSpPr>
          <p:sp>
            <p:nvSpPr>
              <p:cNvPr id="39" name="Rectangle 38">
                <a:extLst>
                  <a:ext uri="{FF2B5EF4-FFF2-40B4-BE49-F238E27FC236}">
                    <a16:creationId xmlns:a16="http://schemas.microsoft.com/office/drawing/2014/main" id="{1924C006-231E-6D18-6B49-22004FBAAC6B}"/>
                  </a:ext>
                </a:extLst>
              </p:cNvPr>
              <p:cNvSpPr/>
              <p:nvPr/>
            </p:nvSpPr>
            <p:spPr>
              <a:xfrm rot="16200000">
                <a:off x="9063031" y="54185"/>
                <a:ext cx="1035509" cy="2081992"/>
              </a:xfrm>
              <a:prstGeom prst="rect">
                <a:avLst/>
              </a:prstGeom>
              <a:solidFill>
                <a:schemeClr val="accent4">
                  <a:lumMod val="20000"/>
                  <a:lumOff val="8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cxnSp>
            <p:nvCxnSpPr>
              <p:cNvPr id="41" name="Straight Connector 40">
                <a:extLst>
                  <a:ext uri="{FF2B5EF4-FFF2-40B4-BE49-F238E27FC236}">
                    <a16:creationId xmlns:a16="http://schemas.microsoft.com/office/drawing/2014/main" id="{266F07DB-5589-FFDF-D836-C88487FB7134}"/>
                  </a:ext>
                </a:extLst>
              </p:cNvPr>
              <p:cNvCxnSpPr>
                <a:cxnSpLocks/>
              </p:cNvCxnSpPr>
              <p:nvPr/>
            </p:nvCxnSpPr>
            <p:spPr>
              <a:xfrm rot="16200000">
                <a:off x="9580785" y="571797"/>
                <a:ext cx="0" cy="2081992"/>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pic>
        <p:nvPicPr>
          <p:cNvPr id="35" name="Picture 34" descr="A white and grey machine&#10;&#10;Description automatically generated">
            <a:extLst>
              <a:ext uri="{FF2B5EF4-FFF2-40B4-BE49-F238E27FC236}">
                <a16:creationId xmlns:a16="http://schemas.microsoft.com/office/drawing/2014/main" id="{639CFE33-6467-D771-BDCB-0563307092D9}"/>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955196" y="2179780"/>
            <a:ext cx="1471113" cy="1471113"/>
          </a:xfrm>
          <a:prstGeom prst="ellipse">
            <a:avLst/>
          </a:prstGeom>
          <a:ln>
            <a:solidFill>
              <a:schemeClr val="accent2"/>
            </a:solidFill>
          </a:ln>
          <a:effectLst>
            <a:outerShdw blurRad="50800" dist="38100" dir="2700000" algn="tl" rotWithShape="0">
              <a:prstClr val="black">
                <a:alpha val="40000"/>
              </a:prstClr>
            </a:outerShdw>
          </a:effectLst>
        </p:spPr>
      </p:pic>
      <p:pic>
        <p:nvPicPr>
          <p:cNvPr id="36" name="Picture 35" descr="A close-up of a blue and black tube&#10;&#10;Description automatically generated">
            <a:extLst>
              <a:ext uri="{FF2B5EF4-FFF2-40B4-BE49-F238E27FC236}">
                <a16:creationId xmlns:a16="http://schemas.microsoft.com/office/drawing/2014/main" id="{7DAB7157-3BA4-5A9A-AF26-327319093CC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569923" y="2290406"/>
            <a:ext cx="999936" cy="999937"/>
          </a:xfrm>
          <a:prstGeom prst="ellipse">
            <a:avLst/>
          </a:prstGeom>
          <a:solidFill>
            <a:srgbClr val="002A47"/>
          </a:solidFill>
          <a:ln>
            <a:solidFill>
              <a:schemeClr val="accent2"/>
            </a:solidFill>
          </a:ln>
          <a:effectLst>
            <a:outerShdw blurRad="50800" dist="38100" dir="2700000" algn="tl" rotWithShape="0">
              <a:prstClr val="black">
                <a:alpha val="40000"/>
              </a:prstClr>
            </a:outerShdw>
          </a:effectLst>
        </p:spPr>
      </p:pic>
      <p:grpSp>
        <p:nvGrpSpPr>
          <p:cNvPr id="58" name="Group 57">
            <a:extLst>
              <a:ext uri="{FF2B5EF4-FFF2-40B4-BE49-F238E27FC236}">
                <a16:creationId xmlns:a16="http://schemas.microsoft.com/office/drawing/2014/main" id="{CBE66815-2DDE-2BCD-0A13-B2C0D6CD4856}"/>
              </a:ext>
            </a:extLst>
          </p:cNvPr>
          <p:cNvGrpSpPr/>
          <p:nvPr/>
        </p:nvGrpSpPr>
        <p:grpSpPr>
          <a:xfrm>
            <a:off x="3426309" y="3278272"/>
            <a:ext cx="1050239" cy="1226959"/>
            <a:chOff x="4336391" y="2795668"/>
            <a:chExt cx="444525" cy="1226959"/>
          </a:xfrm>
        </p:grpSpPr>
        <p:cxnSp>
          <p:nvCxnSpPr>
            <p:cNvPr id="37" name="Straight Connector 36">
              <a:extLst>
                <a:ext uri="{FF2B5EF4-FFF2-40B4-BE49-F238E27FC236}">
                  <a16:creationId xmlns:a16="http://schemas.microsoft.com/office/drawing/2014/main" id="{91AB13CE-B599-65BC-0C55-8E8ED157B9A0}"/>
                </a:ext>
              </a:extLst>
            </p:cNvPr>
            <p:cNvCxnSpPr>
              <a:cxnSpLocks/>
            </p:cNvCxnSpPr>
            <p:nvPr/>
          </p:nvCxnSpPr>
          <p:spPr>
            <a:xfrm flipH="1">
              <a:off x="4336391" y="2795668"/>
              <a:ext cx="443005" cy="0"/>
            </a:xfrm>
            <a:prstGeom prst="line">
              <a:avLst/>
            </a:prstGeom>
            <a:ln w="9525" cap="rnd">
              <a:solidFill>
                <a:schemeClr val="accent2"/>
              </a:solidFill>
              <a:prstDash val="solid"/>
              <a:headEnd type="oval"/>
              <a:tailEnd type="oval"/>
            </a:ln>
          </p:spPr>
          <p:style>
            <a:lnRef idx="1">
              <a:schemeClr val="accent2"/>
            </a:lnRef>
            <a:fillRef idx="0">
              <a:schemeClr val="accent2"/>
            </a:fillRef>
            <a:effectRef idx="0">
              <a:schemeClr val="accent2"/>
            </a:effectRef>
            <a:fontRef idx="minor">
              <a:schemeClr val="tx1"/>
            </a:fontRef>
          </p:style>
        </p:cxnSp>
        <p:cxnSp>
          <p:nvCxnSpPr>
            <p:cNvPr id="38" name="Straight Connector 37">
              <a:extLst>
                <a:ext uri="{FF2B5EF4-FFF2-40B4-BE49-F238E27FC236}">
                  <a16:creationId xmlns:a16="http://schemas.microsoft.com/office/drawing/2014/main" id="{202CF158-49B4-78B1-13DE-0C74620AE871}"/>
                </a:ext>
              </a:extLst>
            </p:cNvPr>
            <p:cNvCxnSpPr>
              <a:cxnSpLocks/>
            </p:cNvCxnSpPr>
            <p:nvPr/>
          </p:nvCxnSpPr>
          <p:spPr>
            <a:xfrm>
              <a:off x="4780916" y="2805784"/>
              <a:ext cx="0" cy="1216843"/>
            </a:xfrm>
            <a:prstGeom prst="line">
              <a:avLst/>
            </a:prstGeom>
            <a:ln w="9525" cap="rnd">
              <a:solidFill>
                <a:schemeClr val="accent2"/>
              </a:solidFill>
              <a:prstDash val="solid"/>
              <a:headEnd type="oval"/>
              <a:tailEnd type="oval"/>
            </a:ln>
          </p:spPr>
          <p:style>
            <a:lnRef idx="1">
              <a:schemeClr val="accent2"/>
            </a:lnRef>
            <a:fillRef idx="0">
              <a:schemeClr val="accent2"/>
            </a:fillRef>
            <a:effectRef idx="0">
              <a:schemeClr val="accent2"/>
            </a:effectRef>
            <a:fontRef idx="minor">
              <a:schemeClr val="tx1"/>
            </a:fontRef>
          </p:style>
        </p:cxnSp>
      </p:grpSp>
      <p:sp>
        <p:nvSpPr>
          <p:cNvPr id="5" name="TextBox 4">
            <a:extLst>
              <a:ext uri="{FF2B5EF4-FFF2-40B4-BE49-F238E27FC236}">
                <a16:creationId xmlns:a16="http://schemas.microsoft.com/office/drawing/2014/main" id="{7996DBD0-6B57-FA6A-D677-5648D524ED45}"/>
              </a:ext>
            </a:extLst>
          </p:cNvPr>
          <p:cNvSpPr txBox="1"/>
          <p:nvPr/>
        </p:nvSpPr>
        <p:spPr>
          <a:xfrm>
            <a:off x="5592308" y="806366"/>
            <a:ext cx="2862782" cy="461665"/>
          </a:xfrm>
          <a:prstGeom prst="rect">
            <a:avLst/>
          </a:prstGeom>
          <a:noFill/>
        </p:spPr>
        <p:txBody>
          <a:bodyPr wrap="square">
            <a:spAutoFit/>
          </a:bodyPr>
          <a:lstStyle/>
          <a:p>
            <a:pPr>
              <a:defRPr/>
            </a:pPr>
            <a:r>
              <a:rPr lang="en-GB" sz="1200">
                <a:solidFill>
                  <a:srgbClr val="1E1E50"/>
                </a:solidFill>
                <a:latin typeface="Helvetica Light" panose="020B0403020202020204" pitchFamily="34" charset="0"/>
              </a:rPr>
              <a:t>Cash automatically sent to back office via legacy pneumatic tube systems</a:t>
            </a:r>
          </a:p>
        </p:txBody>
      </p:sp>
      <p:sp>
        <p:nvSpPr>
          <p:cNvPr id="6" name="TextBox 5">
            <a:extLst>
              <a:ext uri="{FF2B5EF4-FFF2-40B4-BE49-F238E27FC236}">
                <a16:creationId xmlns:a16="http://schemas.microsoft.com/office/drawing/2014/main" id="{7BC2B219-2C23-CEC0-9DB2-C0C31366F4F2}"/>
              </a:ext>
            </a:extLst>
          </p:cNvPr>
          <p:cNvSpPr txBox="1"/>
          <p:nvPr/>
        </p:nvSpPr>
        <p:spPr>
          <a:xfrm>
            <a:off x="8829432" y="827677"/>
            <a:ext cx="2431841" cy="646331"/>
          </a:xfrm>
          <a:prstGeom prst="rect">
            <a:avLst/>
          </a:prstGeom>
          <a:noFill/>
        </p:spPr>
        <p:txBody>
          <a:bodyPr wrap="square">
            <a:spAutoFit/>
          </a:bodyPr>
          <a:lstStyle/>
          <a:p>
            <a:pPr>
              <a:defRPr/>
            </a:pPr>
            <a:r>
              <a:rPr lang="en-GB" sz="1200">
                <a:solidFill>
                  <a:srgbClr val="1E1E50"/>
                </a:solidFill>
                <a:latin typeface="Helvetica Light" panose="020B0403020202020204" pitchFamily="34" charset="0"/>
              </a:rPr>
              <a:t>Notes are counted, checked and flattened. Cash-in-transit partner alerted when pickup is needed</a:t>
            </a:r>
          </a:p>
        </p:txBody>
      </p:sp>
    </p:spTree>
    <p:extLst>
      <p:ext uri="{BB962C8B-B14F-4D97-AF65-F5344CB8AC3E}">
        <p14:creationId xmlns:p14="http://schemas.microsoft.com/office/powerpoint/2010/main" val="7307762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D424162-01D5-AA0E-A55B-FFB96085F3C3}"/>
              </a:ext>
            </a:extLst>
          </p:cNvPr>
          <p:cNvSpPr/>
          <p:nvPr/>
        </p:nvSpPr>
        <p:spPr>
          <a:xfrm>
            <a:off x="731838" y="1204083"/>
            <a:ext cx="11460162" cy="4396738"/>
          </a:xfrm>
          <a:prstGeom prst="rect">
            <a:avLst/>
          </a:prstGeom>
          <a:solidFill>
            <a:schemeClr val="accent4">
              <a:lumMod val="20000"/>
              <a:lumOff val="80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Helvetica"/>
              <a:ea typeface="+mn-ea"/>
              <a:cs typeface="+mn-cs"/>
            </a:endParaRPr>
          </a:p>
        </p:txBody>
      </p:sp>
      <p:graphicFrame>
        <p:nvGraphicFramePr>
          <p:cNvPr id="6" name="think-cell data - do not delete" hidden="1">
            <a:extLst>
              <a:ext uri="{FF2B5EF4-FFF2-40B4-BE49-F238E27FC236}">
                <a16:creationId xmlns:a16="http://schemas.microsoft.com/office/drawing/2014/main" id="{E1346C2B-0F78-1432-5723-553C0FB1F78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E1346C2B-0F78-1432-5723-553C0FB1F78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3E2AB0-EEA9-A31A-D2A8-92084CD2FBEB}"/>
              </a:ext>
            </a:extLst>
          </p:cNvPr>
          <p:cNvSpPr>
            <a:spLocks noGrp="1"/>
          </p:cNvSpPr>
          <p:nvPr>
            <p:ph type="title"/>
          </p:nvPr>
        </p:nvSpPr>
        <p:spPr>
          <a:xfrm>
            <a:off x="741777" y="365125"/>
            <a:ext cx="13056110" cy="3063868"/>
          </a:xfrm>
        </p:spPr>
        <p:txBody>
          <a:bodyPr vert="horz">
            <a:normAutofit/>
          </a:bodyPr>
          <a:lstStyle/>
          <a:p>
            <a:r>
              <a:rPr lang="en-GB" sz="3600" err="1"/>
              <a:t>CashGuard</a:t>
            </a:r>
            <a:r>
              <a:rPr lang="en-GB" sz="3600"/>
              <a:t> Connect: Purpose built for grocery retail </a:t>
            </a:r>
            <a:endParaRPr lang="en-GB" sz="2000" b="1">
              <a:latin typeface="Helvetica" pitchFamily="2" charset="0"/>
            </a:endParaRPr>
          </a:p>
        </p:txBody>
      </p:sp>
      <p:sp>
        <p:nvSpPr>
          <p:cNvPr id="19" name="TextBox 18">
            <a:extLst>
              <a:ext uri="{FF2B5EF4-FFF2-40B4-BE49-F238E27FC236}">
                <a16:creationId xmlns:a16="http://schemas.microsoft.com/office/drawing/2014/main" id="{54282DC8-8417-073B-11EC-B0840C773C56}"/>
              </a:ext>
            </a:extLst>
          </p:cNvPr>
          <p:cNvSpPr txBox="1"/>
          <p:nvPr/>
        </p:nvSpPr>
        <p:spPr>
          <a:xfrm>
            <a:off x="1616149" y="5729595"/>
            <a:ext cx="1070344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1E1E50"/>
                </a:solidFill>
                <a:effectLst/>
                <a:uLnTx/>
                <a:uFillTx/>
                <a:latin typeface="Helvetica" pitchFamily="2" charset="0"/>
                <a:ea typeface="+mn-ea"/>
                <a:cs typeface="+mn-cs"/>
              </a:rPr>
              <a:t>+  </a:t>
            </a:r>
            <a:r>
              <a:rPr kumimoji="0" lang="en-GB" sz="2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Makes cash transactions easier and safer for customers and store staff</a:t>
            </a:r>
          </a:p>
        </p:txBody>
      </p:sp>
      <p:pic>
        <p:nvPicPr>
          <p:cNvPr id="51" name="Picture 50" descr="A close-up of a machine&#10;&#10;Description automatically generated">
            <a:extLst>
              <a:ext uri="{FF2B5EF4-FFF2-40B4-BE49-F238E27FC236}">
                <a16:creationId xmlns:a16="http://schemas.microsoft.com/office/drawing/2014/main" id="{CF8AC212-B7CD-FA9B-BDC6-72BE08A0708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255889" y="1204083"/>
            <a:ext cx="8984175" cy="4085510"/>
          </a:xfrm>
          <a:prstGeom prst="rect">
            <a:avLst/>
          </a:prstGeom>
          <a:effectLst>
            <a:outerShdw blurRad="310943" dist="196262" dir="9720000" algn="tl" rotWithShape="0">
              <a:schemeClr val="accent6">
                <a:alpha val="33000"/>
              </a:schemeClr>
            </a:outerShdw>
          </a:effectLst>
        </p:spPr>
      </p:pic>
      <p:sp>
        <p:nvSpPr>
          <p:cNvPr id="4" name="TextBox 3">
            <a:extLst>
              <a:ext uri="{FF2B5EF4-FFF2-40B4-BE49-F238E27FC236}">
                <a16:creationId xmlns:a16="http://schemas.microsoft.com/office/drawing/2014/main" id="{14FADB5E-A5D5-F41F-03E4-C1866F5F7C9A}"/>
              </a:ext>
            </a:extLst>
          </p:cNvPr>
          <p:cNvSpPr txBox="1"/>
          <p:nvPr/>
        </p:nvSpPr>
        <p:spPr>
          <a:xfrm>
            <a:off x="-204915" y="1208191"/>
            <a:ext cx="3319590" cy="646331"/>
          </a:xfrm>
          <a:prstGeom prst="rect">
            <a:avLst/>
          </a:prstGeom>
          <a:solidFill>
            <a:schemeClr val="accent1"/>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noFill/>
                </a:ln>
                <a:solidFill>
                  <a:prstClr val="white"/>
                </a:solidFill>
                <a:effectLst/>
                <a:uLnTx/>
                <a:uFillTx/>
                <a:latin typeface="Helvetica" pitchFamily="2" charset="0"/>
                <a:ea typeface="+mn-ea"/>
                <a:cs typeface="+mn-cs"/>
              </a:rPr>
              <a:t>	Massively</a:t>
            </a:r>
          </a:p>
        </p:txBody>
      </p:sp>
      <p:sp>
        <p:nvSpPr>
          <p:cNvPr id="7" name="TextBox 6">
            <a:extLst>
              <a:ext uri="{FF2B5EF4-FFF2-40B4-BE49-F238E27FC236}">
                <a16:creationId xmlns:a16="http://schemas.microsoft.com/office/drawing/2014/main" id="{F37BE439-8020-4723-78DD-86C78B9A2CFC}"/>
              </a:ext>
            </a:extLst>
          </p:cNvPr>
          <p:cNvSpPr txBox="1"/>
          <p:nvPr/>
        </p:nvSpPr>
        <p:spPr>
          <a:xfrm>
            <a:off x="-204915" y="1909443"/>
            <a:ext cx="4219704" cy="646331"/>
          </a:xfrm>
          <a:prstGeom prst="rect">
            <a:avLst/>
          </a:prstGeom>
          <a:solidFill>
            <a:schemeClr val="accent1"/>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noFill/>
                </a:ln>
                <a:solidFill>
                  <a:prstClr val="white"/>
                </a:solidFill>
                <a:effectLst/>
                <a:uLnTx/>
                <a:uFillTx/>
                <a:latin typeface="Helvetica" pitchFamily="2" charset="0"/>
                <a:ea typeface="+mn-ea"/>
                <a:cs typeface="+mn-cs"/>
              </a:rPr>
              <a:t>	reduces costs</a:t>
            </a:r>
          </a:p>
        </p:txBody>
      </p:sp>
      <p:sp>
        <p:nvSpPr>
          <p:cNvPr id="12" name="TextBox 11">
            <a:extLst>
              <a:ext uri="{FF2B5EF4-FFF2-40B4-BE49-F238E27FC236}">
                <a16:creationId xmlns:a16="http://schemas.microsoft.com/office/drawing/2014/main" id="{D460808F-FF30-C248-8C95-C0A570D1DB34}"/>
              </a:ext>
            </a:extLst>
          </p:cNvPr>
          <p:cNvSpPr txBox="1"/>
          <p:nvPr/>
        </p:nvSpPr>
        <p:spPr>
          <a:xfrm>
            <a:off x="-204917" y="2610695"/>
            <a:ext cx="4219705" cy="646331"/>
          </a:xfrm>
          <a:prstGeom prst="rect">
            <a:avLst/>
          </a:prstGeom>
          <a:solidFill>
            <a:schemeClr val="accent1"/>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noFill/>
                </a:ln>
                <a:solidFill>
                  <a:prstClr val="white"/>
                </a:solidFill>
                <a:effectLst/>
                <a:uLnTx/>
                <a:uFillTx/>
                <a:latin typeface="Helvetica" pitchFamily="2" charset="0"/>
                <a:ea typeface="+mn-ea"/>
                <a:cs typeface="+mn-cs"/>
              </a:rPr>
              <a:t>	of processing</a:t>
            </a:r>
          </a:p>
        </p:txBody>
      </p:sp>
      <p:sp>
        <p:nvSpPr>
          <p:cNvPr id="13" name="TextBox 12">
            <a:extLst>
              <a:ext uri="{FF2B5EF4-FFF2-40B4-BE49-F238E27FC236}">
                <a16:creationId xmlns:a16="http://schemas.microsoft.com/office/drawing/2014/main" id="{E0816114-8CF5-C966-ADEC-6FEC5121D693}"/>
              </a:ext>
            </a:extLst>
          </p:cNvPr>
          <p:cNvSpPr txBox="1"/>
          <p:nvPr/>
        </p:nvSpPr>
        <p:spPr>
          <a:xfrm>
            <a:off x="-204916" y="3311947"/>
            <a:ext cx="2196014" cy="646331"/>
          </a:xfrm>
          <a:prstGeom prst="rect">
            <a:avLst/>
          </a:prstGeom>
          <a:solidFill>
            <a:schemeClr val="accent1"/>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noFill/>
                </a:ln>
                <a:solidFill>
                  <a:prstClr val="white"/>
                </a:solidFill>
                <a:effectLst/>
                <a:uLnTx/>
                <a:uFillTx/>
                <a:latin typeface="Helvetica" pitchFamily="2" charset="0"/>
                <a:ea typeface="+mn-ea"/>
                <a:cs typeface="+mn-cs"/>
              </a:rPr>
              <a:t>	cash</a:t>
            </a:r>
          </a:p>
        </p:txBody>
      </p:sp>
    </p:spTree>
    <p:extLst>
      <p:ext uri="{BB962C8B-B14F-4D97-AF65-F5344CB8AC3E}">
        <p14:creationId xmlns:p14="http://schemas.microsoft.com/office/powerpoint/2010/main" val="41143760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C813166-2124-CFA0-CD41-17F5B8D84ED1}"/>
              </a:ext>
            </a:extLst>
          </p:cNvPr>
          <p:cNvSpPr/>
          <p:nvPr/>
        </p:nvSpPr>
        <p:spPr>
          <a:xfrm>
            <a:off x="8191209" y="3011143"/>
            <a:ext cx="3122653" cy="2921637"/>
          </a:xfrm>
          <a:prstGeom prst="rect">
            <a:avLst/>
          </a:prstGeom>
          <a:solidFill>
            <a:schemeClr val="accent4">
              <a:lumMod val="20000"/>
              <a:lumOff val="80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Helvetica"/>
              <a:ea typeface="+mn-ea"/>
              <a:cs typeface="+mn-cs"/>
            </a:endParaRPr>
          </a:p>
        </p:txBody>
      </p:sp>
      <p:sp>
        <p:nvSpPr>
          <p:cNvPr id="13" name="Rectangle 12">
            <a:extLst>
              <a:ext uri="{FF2B5EF4-FFF2-40B4-BE49-F238E27FC236}">
                <a16:creationId xmlns:a16="http://schemas.microsoft.com/office/drawing/2014/main" id="{C735B9DF-2A18-C6D6-C265-75083CD70BA4}"/>
              </a:ext>
            </a:extLst>
          </p:cNvPr>
          <p:cNvSpPr/>
          <p:nvPr/>
        </p:nvSpPr>
        <p:spPr>
          <a:xfrm>
            <a:off x="4665816" y="3011142"/>
            <a:ext cx="3122653" cy="2921637"/>
          </a:xfrm>
          <a:prstGeom prst="rect">
            <a:avLst/>
          </a:prstGeom>
          <a:solidFill>
            <a:schemeClr val="accent4">
              <a:lumMod val="20000"/>
              <a:lumOff val="80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Helvetica"/>
              <a:ea typeface="+mn-ea"/>
              <a:cs typeface="+mn-cs"/>
            </a:endParaRPr>
          </a:p>
        </p:txBody>
      </p:sp>
      <p:pic>
        <p:nvPicPr>
          <p:cNvPr id="8" name="Picture 7">
            <a:extLst>
              <a:ext uri="{FF2B5EF4-FFF2-40B4-BE49-F238E27FC236}">
                <a16:creationId xmlns:a16="http://schemas.microsoft.com/office/drawing/2014/main" id="{D1D164BB-004F-3A06-4BEF-8B8C6C77053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81584" y="2016438"/>
            <a:ext cx="1927660" cy="1927660"/>
          </a:xfrm>
          <a:prstGeom prst="rect">
            <a:avLst/>
          </a:prstGeom>
        </p:spPr>
      </p:pic>
      <p:sp>
        <p:nvSpPr>
          <p:cNvPr id="19" name="Title 1">
            <a:extLst>
              <a:ext uri="{FF2B5EF4-FFF2-40B4-BE49-F238E27FC236}">
                <a16:creationId xmlns:a16="http://schemas.microsoft.com/office/drawing/2014/main" id="{3A7EE700-2358-E345-C60C-A07E4339586A}"/>
              </a:ext>
            </a:extLst>
          </p:cNvPr>
          <p:cNvSpPr txBox="1">
            <a:spLocks/>
          </p:cNvSpPr>
          <p:nvPr/>
        </p:nvSpPr>
        <p:spPr>
          <a:xfrm>
            <a:off x="778328" y="362620"/>
            <a:ext cx="10615386" cy="1270244"/>
          </a:xfrm>
          <a:prstGeom prst="rect">
            <a:avLst/>
          </a:prstGeom>
        </p:spPr>
        <p:txBody>
          <a:bodyPr anchor="t">
            <a:normAutofit/>
          </a:bodyPr>
          <a:lstStyle>
            <a:lvl1pPr algn="l" defTabSz="914400" rtl="0" eaLnBrk="1" latinLnBrk="0" hangingPunct="1">
              <a:lnSpc>
                <a:spcPct val="90000"/>
              </a:lnSpc>
              <a:spcBef>
                <a:spcPct val="0"/>
              </a:spcBef>
              <a:buNone/>
              <a:defRPr sz="4000" b="0" i="0" kern="1200">
                <a:solidFill>
                  <a:schemeClr val="accent1"/>
                </a:solidFill>
                <a:latin typeface="Helvetica Light" panose="020B0403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200" b="0" i="0" u="none" strike="noStrike" kern="1200" cap="none" spc="0" normalizeH="0" baseline="0" noProof="0">
                <a:ln>
                  <a:noFill/>
                </a:ln>
                <a:solidFill>
                  <a:srgbClr val="2832DC"/>
                </a:solidFill>
                <a:effectLst/>
                <a:uLnTx/>
                <a:uFillTx/>
                <a:latin typeface="Helvetica Light" panose="020B0403020202020204" pitchFamily="34" charset="0"/>
                <a:ea typeface="+mj-ea"/>
                <a:cs typeface="+mj-cs"/>
              </a:rPr>
              <a:t>Market opportunity for </a:t>
            </a:r>
            <a:r>
              <a:rPr kumimoji="0" lang="en-GB" sz="3200" b="0" i="0" u="none" strike="noStrike" kern="1200" cap="none" spc="0" normalizeH="0" baseline="0" noProof="0" err="1">
                <a:ln>
                  <a:noFill/>
                </a:ln>
                <a:solidFill>
                  <a:srgbClr val="2832DC"/>
                </a:solidFill>
                <a:effectLst/>
                <a:uLnTx/>
                <a:uFillTx/>
                <a:latin typeface="Helvetica Light" panose="020B0403020202020204" pitchFamily="34" charset="0"/>
                <a:ea typeface="+mj-ea"/>
                <a:cs typeface="+mj-cs"/>
              </a:rPr>
              <a:t>CashGuard</a:t>
            </a:r>
            <a:r>
              <a:rPr kumimoji="0" lang="en-GB" sz="3200" b="0" i="0" u="none" strike="noStrike" kern="1200" cap="none" spc="0" normalizeH="0" baseline="0" noProof="0">
                <a:ln>
                  <a:noFill/>
                </a:ln>
                <a:solidFill>
                  <a:srgbClr val="2832DC"/>
                </a:solidFill>
                <a:effectLst/>
                <a:uLnTx/>
                <a:uFillTx/>
                <a:latin typeface="Helvetica Light" panose="020B0403020202020204" pitchFamily="34" charset="0"/>
                <a:ea typeface="+mj-ea"/>
                <a:cs typeface="+mj-cs"/>
              </a:rPr>
              <a:t> Connect</a:t>
            </a:r>
            <a:endParaRPr kumimoji="0" lang="en-US" sz="3200" b="0" i="0" u="none" strike="noStrike" kern="1200" cap="none" spc="0" normalizeH="0" baseline="0" noProof="0">
              <a:ln>
                <a:noFill/>
              </a:ln>
              <a:solidFill>
                <a:srgbClr val="2832DC"/>
              </a:solidFill>
              <a:effectLst/>
              <a:uLnTx/>
              <a:uFillTx/>
              <a:latin typeface="Helvetica Light" panose="020B0403020202020204" pitchFamily="34" charset="0"/>
              <a:ea typeface="+mj-ea"/>
              <a:cs typeface="+mj-cs"/>
            </a:endParaRPr>
          </a:p>
        </p:txBody>
      </p:sp>
      <p:sp>
        <p:nvSpPr>
          <p:cNvPr id="14" name="Rectangle 13">
            <a:extLst>
              <a:ext uri="{FF2B5EF4-FFF2-40B4-BE49-F238E27FC236}">
                <a16:creationId xmlns:a16="http://schemas.microsoft.com/office/drawing/2014/main" id="{3B87661E-2187-2A98-5C96-49A7A1AC288E}"/>
              </a:ext>
            </a:extLst>
          </p:cNvPr>
          <p:cNvSpPr/>
          <p:nvPr/>
        </p:nvSpPr>
        <p:spPr>
          <a:xfrm>
            <a:off x="1140423" y="4094017"/>
            <a:ext cx="3122653" cy="1838761"/>
          </a:xfrm>
          <a:prstGeom prst="rect">
            <a:avLst/>
          </a:prstGeom>
          <a:solidFill>
            <a:schemeClr val="accent4">
              <a:lumMod val="20000"/>
              <a:lumOff val="80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Helvetica"/>
              <a:ea typeface="+mn-ea"/>
              <a:cs typeface="+mn-cs"/>
            </a:endParaRPr>
          </a:p>
        </p:txBody>
      </p:sp>
      <p:sp>
        <p:nvSpPr>
          <p:cNvPr id="42" name="TextBox 41">
            <a:extLst>
              <a:ext uri="{FF2B5EF4-FFF2-40B4-BE49-F238E27FC236}">
                <a16:creationId xmlns:a16="http://schemas.microsoft.com/office/drawing/2014/main" id="{3217A5CD-4677-3F10-BB4E-3C8C3FA8F9B7}"/>
              </a:ext>
            </a:extLst>
          </p:cNvPr>
          <p:cNvSpPr txBox="1"/>
          <p:nvPr/>
        </p:nvSpPr>
        <p:spPr>
          <a:xfrm>
            <a:off x="4676728" y="4135950"/>
            <a:ext cx="3115808"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2832DC"/>
                </a:solidFill>
                <a:effectLst/>
                <a:uLnTx/>
                <a:uFillTx/>
                <a:latin typeface="Helvetica" panose="020B0604020202020204" pitchFamily="34" charset="0"/>
                <a:ea typeface="+mn-ea"/>
                <a:cs typeface="Helvetica" panose="020B0604020202020204" pitchFamily="34" charset="0"/>
              </a:rPr>
              <a:t>Spain €1/4BN</a:t>
            </a:r>
          </a:p>
        </p:txBody>
      </p:sp>
      <p:sp>
        <p:nvSpPr>
          <p:cNvPr id="47" name="Text Placeholder 3">
            <a:extLst>
              <a:ext uri="{FF2B5EF4-FFF2-40B4-BE49-F238E27FC236}">
                <a16:creationId xmlns:a16="http://schemas.microsoft.com/office/drawing/2014/main" id="{1B695460-ECDF-130F-225F-81F10FEC3C77}"/>
              </a:ext>
            </a:extLst>
          </p:cNvPr>
          <p:cNvSpPr txBox="1">
            <a:spLocks/>
          </p:cNvSpPr>
          <p:nvPr/>
        </p:nvSpPr>
        <p:spPr>
          <a:xfrm>
            <a:off x="4884876" y="4790160"/>
            <a:ext cx="2684534" cy="880574"/>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2832DC"/>
              </a:buClr>
              <a:buSzPct val="80000"/>
              <a:buFont typeface="Arial" panose="020B0604020202020204" pitchFamily="34" charset="0"/>
              <a:buNone/>
              <a:tabLst/>
              <a:defRPr/>
            </a:pPr>
            <a:r>
              <a:rPr kumimoji="0" lang="en-GB" sz="1600" b="0" i="0" u="none" strike="noStrike" kern="1200" cap="none" spc="0" normalizeH="0" baseline="0" noProof="0">
                <a:ln>
                  <a:noFill/>
                </a:ln>
                <a:solidFill>
                  <a:srgbClr val="1E1E50"/>
                </a:solidFill>
                <a:effectLst/>
                <a:uLnTx/>
                <a:uFillTx/>
                <a:latin typeface="Helvetica Light" panose="020B0403020202020204"/>
                <a:ea typeface="+mn-ea"/>
                <a:cs typeface="+mn-cs"/>
              </a:rPr>
              <a:t>5+ grocery retailers have relevant infrastructure: pneumatic tube system</a:t>
            </a:r>
          </a:p>
        </p:txBody>
      </p:sp>
      <p:sp>
        <p:nvSpPr>
          <p:cNvPr id="74" name="Text Placeholder 3">
            <a:extLst>
              <a:ext uri="{FF2B5EF4-FFF2-40B4-BE49-F238E27FC236}">
                <a16:creationId xmlns:a16="http://schemas.microsoft.com/office/drawing/2014/main" id="{0BE44E4F-9448-CF85-8DB2-44347009B13C}"/>
              </a:ext>
            </a:extLst>
          </p:cNvPr>
          <p:cNvSpPr txBox="1">
            <a:spLocks/>
          </p:cNvSpPr>
          <p:nvPr/>
        </p:nvSpPr>
        <p:spPr>
          <a:xfrm>
            <a:off x="8436624" y="4675384"/>
            <a:ext cx="2785558" cy="1159971"/>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2832DC"/>
              </a:buClr>
              <a:buSzPct val="80000"/>
              <a:buFont typeface="Arial" panose="020B0604020202020204" pitchFamily="34" charset="0"/>
              <a:buNone/>
              <a:tabLst/>
              <a:defRPr/>
            </a:pPr>
            <a:r>
              <a:rPr kumimoji="0" lang="en-GB" sz="1600" b="0" i="0" u="none" strike="noStrike" kern="1200" cap="none" spc="0" normalizeH="0" baseline="0" noProof="0">
                <a:ln>
                  <a:noFill/>
                </a:ln>
                <a:solidFill>
                  <a:srgbClr val="1E1E50"/>
                </a:solidFill>
                <a:effectLst/>
                <a:uLnTx/>
                <a:uFillTx/>
                <a:latin typeface="Helvetica Light" panose="020B0403020202020204"/>
                <a:ea typeface="+mn-ea"/>
                <a:cs typeface="+mn-cs"/>
              </a:rPr>
              <a:t>Many European grocery retailers use similar </a:t>
            </a:r>
            <a:r>
              <a:rPr kumimoji="0" lang="en-GB" sz="1600" b="0" i="0" u="none" strike="noStrike" kern="1200" cap="none" spc="0" normalizeH="0" baseline="0" noProof="0" err="1">
                <a:ln>
                  <a:noFill/>
                </a:ln>
                <a:solidFill>
                  <a:srgbClr val="1E1E50"/>
                </a:solidFill>
                <a:effectLst/>
                <a:uLnTx/>
                <a:uFillTx/>
                <a:latin typeface="Helvetica Light" panose="020B0403020202020204"/>
                <a:ea typeface="+mn-ea"/>
                <a:cs typeface="+mn-cs"/>
              </a:rPr>
              <a:t>pneu</a:t>
            </a:r>
            <a:r>
              <a:rPr lang="en-GB" sz="1600" err="1">
                <a:solidFill>
                  <a:srgbClr val="1E1E50"/>
                </a:solidFill>
                <a:latin typeface="Helvetica Light" panose="020B0403020202020204"/>
              </a:rPr>
              <a:t>matic</a:t>
            </a:r>
            <a:r>
              <a:rPr lang="en-GB" sz="1600">
                <a:solidFill>
                  <a:srgbClr val="1E1E50"/>
                </a:solidFill>
                <a:latin typeface="Helvetica Light" panose="020B0403020202020204"/>
              </a:rPr>
              <a:t> tube systems (ALS = Air Link System)</a:t>
            </a:r>
            <a:endParaRPr kumimoji="0" lang="en-GB" sz="1600" b="0" i="0" u="none" strike="noStrike" kern="1200" cap="none" spc="0" normalizeH="0" baseline="0" noProof="0">
              <a:ln>
                <a:noFill/>
              </a:ln>
              <a:solidFill>
                <a:srgbClr val="1E1E50"/>
              </a:solidFill>
              <a:effectLst/>
              <a:uLnTx/>
              <a:uFillTx/>
              <a:latin typeface="Helvetica Light" panose="020B0403020202020204"/>
              <a:ea typeface="+mn-ea"/>
              <a:cs typeface="+mn-cs"/>
            </a:endParaRPr>
          </a:p>
        </p:txBody>
      </p:sp>
      <p:pic>
        <p:nvPicPr>
          <p:cNvPr id="2" name="Picture 2">
            <a:extLst>
              <a:ext uri="{FF2B5EF4-FFF2-40B4-BE49-F238E27FC236}">
                <a16:creationId xmlns:a16="http://schemas.microsoft.com/office/drawing/2014/main" id="{135F932F-AB8D-699C-643F-213F2A80B806}"/>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281132" y="3561238"/>
            <a:ext cx="2695108" cy="382860"/>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E51CF291-5029-270B-B7E2-EC380B423543}"/>
              </a:ext>
            </a:extLst>
          </p:cNvPr>
          <p:cNvSpPr txBox="1">
            <a:spLocks/>
          </p:cNvSpPr>
          <p:nvPr/>
        </p:nvSpPr>
        <p:spPr>
          <a:xfrm>
            <a:off x="1396499" y="4336005"/>
            <a:ext cx="2464373" cy="1230894"/>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2832DC"/>
              </a:buClr>
              <a:buSzPct val="80000"/>
              <a:buFont typeface="Arial" panose="020B0604020202020204" pitchFamily="34" charset="0"/>
              <a:buNone/>
              <a:tabLst/>
              <a:defRPr/>
            </a:pPr>
            <a:r>
              <a:rPr kumimoji="0" lang="en-GB" sz="1600" b="0" i="0" u="none" strike="noStrike" kern="1200" cap="none" spc="0" normalizeH="0" baseline="0" noProof="0">
                <a:ln>
                  <a:noFill/>
                </a:ln>
                <a:solidFill>
                  <a:srgbClr val="1E1E50"/>
                </a:solidFill>
                <a:effectLst/>
                <a:uLnTx/>
                <a:uFillTx/>
                <a:latin typeface="Helvetica Light" panose="020B0403020202020204"/>
                <a:ea typeface="+mn-ea"/>
                <a:cs typeface="+mn-cs"/>
              </a:rPr>
              <a:t>First installation in-store. </a:t>
            </a:r>
            <a:r>
              <a:rPr lang="en-GB" sz="1600">
                <a:solidFill>
                  <a:srgbClr val="1E1E50"/>
                </a:solidFill>
                <a:latin typeface="Helvetica Light" panose="020B0403020202020204"/>
              </a:rPr>
              <a:t>Plans for industrialised production underway with first output expected H2 2025</a:t>
            </a:r>
            <a:endParaRPr kumimoji="0" lang="en-GB" sz="1600" b="0" i="0" u="none" strike="noStrike" kern="1200" cap="none" spc="0" normalizeH="0" baseline="0" noProof="0">
              <a:ln>
                <a:noFill/>
              </a:ln>
              <a:solidFill>
                <a:srgbClr val="1E1E50"/>
              </a:solidFill>
              <a:effectLst/>
              <a:uLnTx/>
              <a:uFillTx/>
              <a:latin typeface="Helvetica Light" panose="020B0403020202020204"/>
              <a:ea typeface="+mn-ea"/>
              <a:cs typeface="+mn-cs"/>
            </a:endParaRPr>
          </a:p>
        </p:txBody>
      </p:sp>
      <p:grpSp>
        <p:nvGrpSpPr>
          <p:cNvPr id="76" name="Group 75">
            <a:extLst>
              <a:ext uri="{FF2B5EF4-FFF2-40B4-BE49-F238E27FC236}">
                <a16:creationId xmlns:a16="http://schemas.microsoft.com/office/drawing/2014/main" id="{F806CB29-4A48-4FA6-E03C-0941CCDB9334}"/>
              </a:ext>
            </a:extLst>
          </p:cNvPr>
          <p:cNvGrpSpPr/>
          <p:nvPr/>
        </p:nvGrpSpPr>
        <p:grpSpPr>
          <a:xfrm>
            <a:off x="8418621" y="1232680"/>
            <a:ext cx="2667827" cy="2667827"/>
            <a:chOff x="8334408" y="851679"/>
            <a:chExt cx="2667827" cy="2667827"/>
          </a:xfrm>
        </p:grpSpPr>
        <p:sp>
          <p:nvSpPr>
            <p:cNvPr id="6" name="Oval 5">
              <a:extLst>
                <a:ext uri="{FF2B5EF4-FFF2-40B4-BE49-F238E27FC236}">
                  <a16:creationId xmlns:a16="http://schemas.microsoft.com/office/drawing/2014/main" id="{7DD1B603-1D43-41AB-BEC7-B8AEA6B10AC8}"/>
                </a:ext>
              </a:extLst>
            </p:cNvPr>
            <p:cNvSpPr>
              <a:spLocks noChangeAspect="1"/>
            </p:cNvSpPr>
            <p:nvPr/>
          </p:nvSpPr>
          <p:spPr>
            <a:xfrm>
              <a:off x="8334408" y="851679"/>
              <a:ext cx="2667827" cy="2667827"/>
            </a:xfrm>
            <a:prstGeom prst="ellipse">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2428D466-54A2-CF27-D7F4-925FD407D6C4}"/>
                </a:ext>
              </a:extLst>
            </p:cNvPr>
            <p:cNvGrpSpPr/>
            <p:nvPr/>
          </p:nvGrpSpPr>
          <p:grpSpPr>
            <a:xfrm>
              <a:off x="8877008" y="1292911"/>
              <a:ext cx="1582626" cy="1785362"/>
              <a:chOff x="8442098" y="-912675"/>
              <a:chExt cx="5043547" cy="5689629"/>
            </a:xfrm>
            <a:solidFill>
              <a:schemeClr val="accent1">
                <a:lumMod val="40000"/>
                <a:lumOff val="60000"/>
                <a:alpha val="49000"/>
              </a:schemeClr>
            </a:solidFill>
          </p:grpSpPr>
          <p:sp>
            <p:nvSpPr>
              <p:cNvPr id="10" name="Freeform 22">
                <a:extLst>
                  <a:ext uri="{FF2B5EF4-FFF2-40B4-BE49-F238E27FC236}">
                    <a16:creationId xmlns:a16="http://schemas.microsoft.com/office/drawing/2014/main" id="{C5E30874-349C-BA4C-4574-68D3609E077B}"/>
                  </a:ext>
                </a:extLst>
              </p:cNvPr>
              <p:cNvSpPr/>
              <p:nvPr/>
            </p:nvSpPr>
            <p:spPr>
              <a:xfrm>
                <a:off x="10920010" y="1994731"/>
                <a:ext cx="957530" cy="865059"/>
              </a:xfrm>
              <a:custGeom>
                <a:avLst/>
                <a:gdLst>
                  <a:gd name="connsiteX0" fmla="*/ 2366 w 205001"/>
                  <a:gd name="connsiteY0" fmla="*/ 37077 h 185203"/>
                  <a:gd name="connsiteX1" fmla="*/ 1901 w 205001"/>
                  <a:gd name="connsiteY1" fmla="*/ 61966 h 185203"/>
                  <a:gd name="connsiteX2" fmla="*/ 3342 w 205001"/>
                  <a:gd name="connsiteY2" fmla="*/ 71485 h 185203"/>
                  <a:gd name="connsiteX3" fmla="*/ 8127 w 205001"/>
                  <a:gd name="connsiteY3" fmla="*/ 83140 h 185203"/>
                  <a:gd name="connsiteX4" fmla="*/ 11007 w 205001"/>
                  <a:gd name="connsiteY4" fmla="*/ 95863 h 185203"/>
                  <a:gd name="connsiteX5" fmla="*/ 16257 w 205001"/>
                  <a:gd name="connsiteY5" fmla="*/ 114948 h 185203"/>
                  <a:gd name="connsiteX6" fmla="*/ 16907 w 205001"/>
                  <a:gd name="connsiteY6" fmla="*/ 125628 h 185203"/>
                  <a:gd name="connsiteX7" fmla="*/ 29404 w 205001"/>
                  <a:gd name="connsiteY7" fmla="*/ 133661 h 185203"/>
                  <a:gd name="connsiteX8" fmla="*/ 43621 w 205001"/>
                  <a:gd name="connsiteY8" fmla="*/ 144712 h 185203"/>
                  <a:gd name="connsiteX9" fmla="*/ 55049 w 205001"/>
                  <a:gd name="connsiteY9" fmla="*/ 150238 h 185203"/>
                  <a:gd name="connsiteX10" fmla="*/ 67128 w 205001"/>
                  <a:gd name="connsiteY10" fmla="*/ 147870 h 185203"/>
                  <a:gd name="connsiteX11" fmla="*/ 72796 w 205001"/>
                  <a:gd name="connsiteY11" fmla="*/ 156553 h 185203"/>
                  <a:gd name="connsiteX12" fmla="*/ 87059 w 205001"/>
                  <a:gd name="connsiteY12" fmla="*/ 160500 h 185203"/>
                  <a:gd name="connsiteX13" fmla="*/ 97001 w 205001"/>
                  <a:gd name="connsiteY13" fmla="*/ 174709 h 185203"/>
                  <a:gd name="connsiteX14" fmla="*/ 109823 w 205001"/>
                  <a:gd name="connsiteY14" fmla="*/ 173130 h 185203"/>
                  <a:gd name="connsiteX15" fmla="*/ 128360 w 205001"/>
                  <a:gd name="connsiteY15" fmla="*/ 175499 h 185203"/>
                  <a:gd name="connsiteX16" fmla="*/ 144713 w 205001"/>
                  <a:gd name="connsiteY16" fmla="*/ 177077 h 185203"/>
                  <a:gd name="connsiteX17" fmla="*/ 163203 w 205001"/>
                  <a:gd name="connsiteY17" fmla="*/ 181814 h 185203"/>
                  <a:gd name="connsiteX18" fmla="*/ 175840 w 205001"/>
                  <a:gd name="connsiteY18" fmla="*/ 185203 h 185203"/>
                  <a:gd name="connsiteX19" fmla="*/ 174957 w 205001"/>
                  <a:gd name="connsiteY19" fmla="*/ 169508 h 185203"/>
                  <a:gd name="connsiteX20" fmla="*/ 195027 w 205001"/>
                  <a:gd name="connsiteY20" fmla="*/ 146709 h 185203"/>
                  <a:gd name="connsiteX21" fmla="*/ 204597 w 205001"/>
                  <a:gd name="connsiteY21" fmla="*/ 138258 h 185203"/>
                  <a:gd name="connsiteX22" fmla="*/ 196003 w 205001"/>
                  <a:gd name="connsiteY22" fmla="*/ 114948 h 185203"/>
                  <a:gd name="connsiteX23" fmla="*/ 194562 w 205001"/>
                  <a:gd name="connsiteY23" fmla="*/ 93727 h 185203"/>
                  <a:gd name="connsiteX24" fmla="*/ 187408 w 205001"/>
                  <a:gd name="connsiteY24" fmla="*/ 81561 h 185203"/>
                  <a:gd name="connsiteX25" fmla="*/ 199858 w 205001"/>
                  <a:gd name="connsiteY25" fmla="*/ 69395 h 185203"/>
                  <a:gd name="connsiteX26" fmla="*/ 198929 w 205001"/>
                  <a:gd name="connsiteY26" fmla="*/ 48732 h 185203"/>
                  <a:gd name="connsiteX27" fmla="*/ 195584 w 205001"/>
                  <a:gd name="connsiteY27" fmla="*/ 30715 h 185203"/>
                  <a:gd name="connsiteX28" fmla="*/ 178860 w 205001"/>
                  <a:gd name="connsiteY28" fmla="*/ 17481 h 185203"/>
                  <a:gd name="connsiteX29" fmla="*/ 178070 w 205001"/>
                  <a:gd name="connsiteY29" fmla="*/ 16367 h 185203"/>
                  <a:gd name="connsiteX30" fmla="*/ 121995 w 205001"/>
                  <a:gd name="connsiteY30" fmla="*/ 13766 h 185203"/>
                  <a:gd name="connsiteX31" fmla="*/ 111077 w 205001"/>
                  <a:gd name="connsiteY31" fmla="*/ 9355 h 185203"/>
                  <a:gd name="connsiteX32" fmla="*/ 99277 w 205001"/>
                  <a:gd name="connsiteY32" fmla="*/ 16088 h 185203"/>
                  <a:gd name="connsiteX33" fmla="*/ 89103 w 205001"/>
                  <a:gd name="connsiteY33" fmla="*/ 1275 h 185203"/>
                  <a:gd name="connsiteX34" fmla="*/ 41902 w 205001"/>
                  <a:gd name="connsiteY34" fmla="*/ 16088 h 185203"/>
                  <a:gd name="connsiteX35" fmla="*/ 8452 w 205001"/>
                  <a:gd name="connsiteY35" fmla="*/ 28811 h 185203"/>
                  <a:gd name="connsiteX36" fmla="*/ 2273 w 205001"/>
                  <a:gd name="connsiteY36" fmla="*/ 34198 h 185203"/>
                  <a:gd name="connsiteX37" fmla="*/ 2366 w 205001"/>
                  <a:gd name="connsiteY37" fmla="*/ 37123 h 185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5001" h="185203">
                    <a:moveTo>
                      <a:pt x="2366" y="37077"/>
                    </a:moveTo>
                    <a:cubicBezTo>
                      <a:pt x="3806" y="41302"/>
                      <a:pt x="5247" y="56161"/>
                      <a:pt x="1901" y="61966"/>
                    </a:cubicBezTo>
                    <a:cubicBezTo>
                      <a:pt x="-1443" y="67770"/>
                      <a:pt x="-3" y="69395"/>
                      <a:pt x="3342" y="71485"/>
                    </a:cubicBezTo>
                    <a:cubicBezTo>
                      <a:pt x="6687" y="73621"/>
                      <a:pt x="8127" y="78914"/>
                      <a:pt x="8127" y="83140"/>
                    </a:cubicBezTo>
                    <a:cubicBezTo>
                      <a:pt x="8127" y="87365"/>
                      <a:pt x="10496" y="86855"/>
                      <a:pt x="11007" y="95863"/>
                    </a:cubicBezTo>
                    <a:cubicBezTo>
                      <a:pt x="11472" y="104871"/>
                      <a:pt x="13377" y="111233"/>
                      <a:pt x="16257" y="114948"/>
                    </a:cubicBezTo>
                    <a:cubicBezTo>
                      <a:pt x="18487" y="117827"/>
                      <a:pt x="18069" y="122284"/>
                      <a:pt x="16907" y="125628"/>
                    </a:cubicBezTo>
                    <a:cubicBezTo>
                      <a:pt x="20903" y="128924"/>
                      <a:pt x="25409" y="132082"/>
                      <a:pt x="29404" y="133661"/>
                    </a:cubicBezTo>
                    <a:cubicBezTo>
                      <a:pt x="39393" y="137608"/>
                      <a:pt x="42970" y="140765"/>
                      <a:pt x="43621" y="144712"/>
                    </a:cubicBezTo>
                    <a:cubicBezTo>
                      <a:pt x="44364" y="148659"/>
                      <a:pt x="52912" y="155764"/>
                      <a:pt x="55049" y="150238"/>
                    </a:cubicBezTo>
                    <a:cubicBezTo>
                      <a:pt x="57186" y="144712"/>
                      <a:pt x="62854" y="147870"/>
                      <a:pt x="67128" y="147870"/>
                    </a:cubicBezTo>
                    <a:cubicBezTo>
                      <a:pt x="71403" y="147870"/>
                      <a:pt x="72146" y="153396"/>
                      <a:pt x="72796" y="156553"/>
                    </a:cubicBezTo>
                    <a:cubicBezTo>
                      <a:pt x="73539" y="159711"/>
                      <a:pt x="83481" y="158132"/>
                      <a:pt x="87059" y="160500"/>
                    </a:cubicBezTo>
                    <a:cubicBezTo>
                      <a:pt x="90590" y="162868"/>
                      <a:pt x="92030" y="171552"/>
                      <a:pt x="97001" y="174709"/>
                    </a:cubicBezTo>
                    <a:cubicBezTo>
                      <a:pt x="102018" y="177867"/>
                      <a:pt x="106246" y="170762"/>
                      <a:pt x="109823" y="173130"/>
                    </a:cubicBezTo>
                    <a:cubicBezTo>
                      <a:pt x="113354" y="175499"/>
                      <a:pt x="122645" y="177867"/>
                      <a:pt x="128360" y="175499"/>
                    </a:cubicBezTo>
                    <a:cubicBezTo>
                      <a:pt x="134028" y="173130"/>
                      <a:pt x="137605" y="177867"/>
                      <a:pt x="144713" y="177077"/>
                    </a:cubicBezTo>
                    <a:cubicBezTo>
                      <a:pt x="151821" y="176288"/>
                      <a:pt x="161113" y="179399"/>
                      <a:pt x="163203" y="181814"/>
                    </a:cubicBezTo>
                    <a:cubicBezTo>
                      <a:pt x="164318" y="183067"/>
                      <a:pt x="170358" y="184275"/>
                      <a:pt x="175840" y="185203"/>
                    </a:cubicBezTo>
                    <a:cubicBezTo>
                      <a:pt x="177233" y="181953"/>
                      <a:pt x="174493" y="171969"/>
                      <a:pt x="174957" y="169508"/>
                    </a:cubicBezTo>
                    <a:cubicBezTo>
                      <a:pt x="175421" y="166862"/>
                      <a:pt x="192193" y="150424"/>
                      <a:pt x="195027" y="146709"/>
                    </a:cubicBezTo>
                    <a:cubicBezTo>
                      <a:pt x="197907" y="142994"/>
                      <a:pt x="202228" y="142994"/>
                      <a:pt x="204597" y="138258"/>
                    </a:cubicBezTo>
                    <a:cubicBezTo>
                      <a:pt x="207013" y="133475"/>
                      <a:pt x="197907" y="118105"/>
                      <a:pt x="196003" y="114948"/>
                    </a:cubicBezTo>
                    <a:cubicBezTo>
                      <a:pt x="194098" y="111790"/>
                      <a:pt x="193122" y="99067"/>
                      <a:pt x="194562" y="93727"/>
                    </a:cubicBezTo>
                    <a:cubicBezTo>
                      <a:pt x="196003" y="88433"/>
                      <a:pt x="187408" y="85276"/>
                      <a:pt x="187408" y="81561"/>
                    </a:cubicBezTo>
                    <a:cubicBezTo>
                      <a:pt x="187408" y="77846"/>
                      <a:pt x="195538" y="71485"/>
                      <a:pt x="199858" y="69395"/>
                    </a:cubicBezTo>
                    <a:cubicBezTo>
                      <a:pt x="204179" y="67259"/>
                      <a:pt x="202739" y="52446"/>
                      <a:pt x="198929" y="48732"/>
                    </a:cubicBezTo>
                    <a:cubicBezTo>
                      <a:pt x="195073" y="45017"/>
                      <a:pt x="193168" y="38145"/>
                      <a:pt x="195584" y="30715"/>
                    </a:cubicBezTo>
                    <a:cubicBezTo>
                      <a:pt x="197954" y="23285"/>
                      <a:pt x="181229" y="17481"/>
                      <a:pt x="178860" y="17481"/>
                    </a:cubicBezTo>
                    <a:cubicBezTo>
                      <a:pt x="178441" y="17481"/>
                      <a:pt x="178209" y="17017"/>
                      <a:pt x="178070" y="16367"/>
                    </a:cubicBezTo>
                    <a:cubicBezTo>
                      <a:pt x="163110" y="19431"/>
                      <a:pt x="124876" y="15020"/>
                      <a:pt x="121995" y="13766"/>
                    </a:cubicBezTo>
                    <a:cubicBezTo>
                      <a:pt x="120090" y="12930"/>
                      <a:pt x="115259" y="11027"/>
                      <a:pt x="111077" y="9355"/>
                    </a:cubicBezTo>
                    <a:cubicBezTo>
                      <a:pt x="109173" y="12838"/>
                      <a:pt x="105224" y="16088"/>
                      <a:pt x="99277" y="16088"/>
                    </a:cubicBezTo>
                    <a:cubicBezTo>
                      <a:pt x="90032" y="16088"/>
                      <a:pt x="89382" y="5826"/>
                      <a:pt x="89103" y="1275"/>
                    </a:cubicBezTo>
                    <a:cubicBezTo>
                      <a:pt x="88778" y="-3322"/>
                      <a:pt x="51797" y="5176"/>
                      <a:pt x="41902" y="16088"/>
                    </a:cubicBezTo>
                    <a:cubicBezTo>
                      <a:pt x="32053" y="27047"/>
                      <a:pt x="9056" y="22775"/>
                      <a:pt x="8452" y="28811"/>
                    </a:cubicBezTo>
                    <a:cubicBezTo>
                      <a:pt x="7987" y="33176"/>
                      <a:pt x="4550" y="35451"/>
                      <a:pt x="2273" y="34198"/>
                    </a:cubicBezTo>
                    <a:cubicBezTo>
                      <a:pt x="2134" y="35266"/>
                      <a:pt x="2087" y="36241"/>
                      <a:pt x="2366" y="37123"/>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1" name="Freeform 26">
                <a:extLst>
                  <a:ext uri="{FF2B5EF4-FFF2-40B4-BE49-F238E27FC236}">
                    <a16:creationId xmlns:a16="http://schemas.microsoft.com/office/drawing/2014/main" id="{9099A412-26E6-4307-6B5B-39303BCDD6C7}"/>
                  </a:ext>
                </a:extLst>
              </p:cNvPr>
              <p:cNvSpPr/>
              <p:nvPr/>
            </p:nvSpPr>
            <p:spPr>
              <a:xfrm>
                <a:off x="10468637" y="2873246"/>
                <a:ext cx="741045" cy="372831"/>
              </a:xfrm>
              <a:custGeom>
                <a:avLst/>
                <a:gdLst>
                  <a:gd name="connsiteX0" fmla="*/ 133845 w 158653"/>
                  <a:gd name="connsiteY0" fmla="*/ 7105 h 79821"/>
                  <a:gd name="connsiteX1" fmla="*/ 113915 w 158653"/>
                  <a:gd name="connsiteY1" fmla="*/ 0 h 79821"/>
                  <a:gd name="connsiteX2" fmla="*/ 110337 w 158653"/>
                  <a:gd name="connsiteY2" fmla="*/ 11051 h 79821"/>
                  <a:gd name="connsiteX3" fmla="*/ 91568 w 158653"/>
                  <a:gd name="connsiteY3" fmla="*/ 12305 h 79821"/>
                  <a:gd name="connsiteX4" fmla="*/ 79861 w 158653"/>
                  <a:gd name="connsiteY4" fmla="*/ 21128 h 79821"/>
                  <a:gd name="connsiteX5" fmla="*/ 71266 w 158653"/>
                  <a:gd name="connsiteY5" fmla="*/ 35940 h 79821"/>
                  <a:gd name="connsiteX6" fmla="*/ 62672 w 158653"/>
                  <a:gd name="connsiteY6" fmla="*/ 42813 h 79821"/>
                  <a:gd name="connsiteX7" fmla="*/ 40651 w 158653"/>
                  <a:gd name="connsiteY7" fmla="*/ 47549 h 79821"/>
                  <a:gd name="connsiteX8" fmla="*/ 28200 w 158653"/>
                  <a:gd name="connsiteY8" fmla="*/ 48617 h 79821"/>
                  <a:gd name="connsiteX9" fmla="*/ 15285 w 158653"/>
                  <a:gd name="connsiteY9" fmla="*/ 50707 h 79821"/>
                  <a:gd name="connsiteX10" fmla="*/ 2834 w 158653"/>
                  <a:gd name="connsiteY10" fmla="*/ 46992 h 79821"/>
                  <a:gd name="connsiteX11" fmla="*/ 418 w 158653"/>
                  <a:gd name="connsiteY11" fmla="*/ 59715 h 79821"/>
                  <a:gd name="connsiteX12" fmla="*/ 11429 w 158653"/>
                  <a:gd name="connsiteY12" fmla="*/ 66077 h 79821"/>
                  <a:gd name="connsiteX13" fmla="*/ 24809 w 158653"/>
                  <a:gd name="connsiteY13" fmla="*/ 69234 h 79821"/>
                  <a:gd name="connsiteX14" fmla="*/ 38188 w 158653"/>
                  <a:gd name="connsiteY14" fmla="*/ 64451 h 79821"/>
                  <a:gd name="connsiteX15" fmla="*/ 55424 w 158653"/>
                  <a:gd name="connsiteY15" fmla="*/ 61805 h 79821"/>
                  <a:gd name="connsiteX16" fmla="*/ 59745 w 158653"/>
                  <a:gd name="connsiteY16" fmla="*/ 71881 h 79821"/>
                  <a:gd name="connsiteX17" fmla="*/ 79350 w 158653"/>
                  <a:gd name="connsiteY17" fmla="*/ 75039 h 79821"/>
                  <a:gd name="connsiteX18" fmla="*/ 103276 w 158653"/>
                  <a:gd name="connsiteY18" fmla="*/ 79821 h 79821"/>
                  <a:gd name="connsiteX19" fmla="*/ 121906 w 158653"/>
                  <a:gd name="connsiteY19" fmla="*/ 72392 h 79821"/>
                  <a:gd name="connsiteX20" fmla="*/ 136726 w 158653"/>
                  <a:gd name="connsiteY20" fmla="*/ 67098 h 79821"/>
                  <a:gd name="connsiteX21" fmla="*/ 136818 w 158653"/>
                  <a:gd name="connsiteY21" fmla="*/ 67191 h 79821"/>
                  <a:gd name="connsiteX22" fmla="*/ 140303 w 158653"/>
                  <a:gd name="connsiteY22" fmla="*/ 61573 h 79821"/>
                  <a:gd name="connsiteX23" fmla="*/ 143787 w 158653"/>
                  <a:gd name="connsiteY23" fmla="*/ 51078 h 79821"/>
                  <a:gd name="connsiteX24" fmla="*/ 146296 w 158653"/>
                  <a:gd name="connsiteY24" fmla="*/ 41698 h 79821"/>
                  <a:gd name="connsiteX25" fmla="*/ 155773 w 158653"/>
                  <a:gd name="connsiteY25" fmla="*/ 35616 h 79821"/>
                  <a:gd name="connsiteX26" fmla="*/ 158654 w 158653"/>
                  <a:gd name="connsiteY26" fmla="*/ 29254 h 79821"/>
                  <a:gd name="connsiteX27" fmla="*/ 150198 w 158653"/>
                  <a:gd name="connsiteY27" fmla="*/ 9380 h 79821"/>
                  <a:gd name="connsiteX28" fmla="*/ 133799 w 158653"/>
                  <a:gd name="connsiteY28" fmla="*/ 7012 h 7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8653" h="79821">
                    <a:moveTo>
                      <a:pt x="133845" y="7105"/>
                    </a:moveTo>
                    <a:cubicBezTo>
                      <a:pt x="128177" y="0"/>
                      <a:pt x="113915" y="0"/>
                      <a:pt x="113915" y="0"/>
                    </a:cubicBezTo>
                    <a:cubicBezTo>
                      <a:pt x="113915" y="0"/>
                      <a:pt x="112474" y="7105"/>
                      <a:pt x="110337" y="11051"/>
                    </a:cubicBezTo>
                    <a:cubicBezTo>
                      <a:pt x="108526" y="14348"/>
                      <a:pt x="98212" y="14302"/>
                      <a:pt x="91568" y="12305"/>
                    </a:cubicBezTo>
                    <a:cubicBezTo>
                      <a:pt x="89664" y="15045"/>
                      <a:pt x="81069" y="17181"/>
                      <a:pt x="79861" y="21128"/>
                    </a:cubicBezTo>
                    <a:cubicBezTo>
                      <a:pt x="78421" y="25911"/>
                      <a:pt x="67921" y="23264"/>
                      <a:pt x="71266" y="35940"/>
                    </a:cubicBezTo>
                    <a:cubicBezTo>
                      <a:pt x="74611" y="48664"/>
                      <a:pt x="66017" y="44438"/>
                      <a:pt x="62672" y="42813"/>
                    </a:cubicBezTo>
                    <a:cubicBezTo>
                      <a:pt x="59327" y="41234"/>
                      <a:pt x="44507" y="43324"/>
                      <a:pt x="40651" y="47549"/>
                    </a:cubicBezTo>
                    <a:cubicBezTo>
                      <a:pt x="36841" y="51775"/>
                      <a:pt x="31545" y="50707"/>
                      <a:pt x="28200" y="48617"/>
                    </a:cubicBezTo>
                    <a:cubicBezTo>
                      <a:pt x="24855" y="46481"/>
                      <a:pt x="18165" y="45460"/>
                      <a:pt x="15285" y="50707"/>
                    </a:cubicBezTo>
                    <a:cubicBezTo>
                      <a:pt x="12404" y="56000"/>
                      <a:pt x="7155" y="46481"/>
                      <a:pt x="2834" y="46992"/>
                    </a:cubicBezTo>
                    <a:cubicBezTo>
                      <a:pt x="-1486" y="47503"/>
                      <a:pt x="418" y="57579"/>
                      <a:pt x="418" y="59715"/>
                    </a:cubicBezTo>
                    <a:cubicBezTo>
                      <a:pt x="418" y="61851"/>
                      <a:pt x="7108" y="68166"/>
                      <a:pt x="11429" y="66077"/>
                    </a:cubicBezTo>
                    <a:cubicBezTo>
                      <a:pt x="15749" y="63941"/>
                      <a:pt x="20999" y="66587"/>
                      <a:pt x="24809" y="69234"/>
                    </a:cubicBezTo>
                    <a:cubicBezTo>
                      <a:pt x="28618" y="71881"/>
                      <a:pt x="35819" y="67098"/>
                      <a:pt x="38188" y="64451"/>
                    </a:cubicBezTo>
                    <a:cubicBezTo>
                      <a:pt x="40604" y="61805"/>
                      <a:pt x="53984" y="61805"/>
                      <a:pt x="55424" y="61805"/>
                    </a:cubicBezTo>
                    <a:cubicBezTo>
                      <a:pt x="56865" y="61805"/>
                      <a:pt x="57329" y="70302"/>
                      <a:pt x="59745" y="71881"/>
                    </a:cubicBezTo>
                    <a:cubicBezTo>
                      <a:pt x="62114" y="73460"/>
                      <a:pt x="71220" y="74528"/>
                      <a:pt x="79350" y="75039"/>
                    </a:cubicBezTo>
                    <a:cubicBezTo>
                      <a:pt x="87480" y="75549"/>
                      <a:pt x="99420" y="79821"/>
                      <a:pt x="103276" y="79821"/>
                    </a:cubicBezTo>
                    <a:cubicBezTo>
                      <a:pt x="107132" y="79821"/>
                      <a:pt x="113311" y="72392"/>
                      <a:pt x="121906" y="72392"/>
                    </a:cubicBezTo>
                    <a:cubicBezTo>
                      <a:pt x="130500" y="72392"/>
                      <a:pt x="135285" y="66587"/>
                      <a:pt x="136726" y="67098"/>
                    </a:cubicBezTo>
                    <a:cubicBezTo>
                      <a:pt x="136726" y="67098"/>
                      <a:pt x="136772" y="67145"/>
                      <a:pt x="136818" y="67191"/>
                    </a:cubicBezTo>
                    <a:cubicBezTo>
                      <a:pt x="137422" y="64219"/>
                      <a:pt x="138445" y="61851"/>
                      <a:pt x="140303" y="61573"/>
                    </a:cubicBezTo>
                    <a:cubicBezTo>
                      <a:pt x="143787" y="61015"/>
                      <a:pt x="141278" y="54375"/>
                      <a:pt x="143787" y="51078"/>
                    </a:cubicBezTo>
                    <a:cubicBezTo>
                      <a:pt x="146296" y="47781"/>
                      <a:pt x="141789" y="41141"/>
                      <a:pt x="146296" y="41698"/>
                    </a:cubicBezTo>
                    <a:cubicBezTo>
                      <a:pt x="150802" y="42256"/>
                      <a:pt x="155773" y="42813"/>
                      <a:pt x="155773" y="35616"/>
                    </a:cubicBezTo>
                    <a:cubicBezTo>
                      <a:pt x="155773" y="33201"/>
                      <a:pt x="156935" y="31065"/>
                      <a:pt x="158654" y="29254"/>
                    </a:cubicBezTo>
                    <a:cubicBezTo>
                      <a:pt x="153729" y="21592"/>
                      <a:pt x="150198" y="9380"/>
                      <a:pt x="150198" y="9380"/>
                    </a:cubicBezTo>
                    <a:cubicBezTo>
                      <a:pt x="150198" y="9380"/>
                      <a:pt x="139513" y="14116"/>
                      <a:pt x="133799" y="7012"/>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2" name="Freeform 48">
                <a:extLst>
                  <a:ext uri="{FF2B5EF4-FFF2-40B4-BE49-F238E27FC236}">
                    <a16:creationId xmlns:a16="http://schemas.microsoft.com/office/drawing/2014/main" id="{F720D243-EBFC-7738-1ACE-874FBC170737}"/>
                  </a:ext>
                </a:extLst>
              </p:cNvPr>
              <p:cNvSpPr/>
              <p:nvPr/>
            </p:nvSpPr>
            <p:spPr>
              <a:xfrm>
                <a:off x="11107702" y="2924722"/>
                <a:ext cx="649579" cy="405303"/>
              </a:xfrm>
              <a:custGeom>
                <a:avLst/>
                <a:gdLst>
                  <a:gd name="connsiteX0" fmla="*/ 135332 w 139071"/>
                  <a:gd name="connsiteY0" fmla="*/ 15957 h 86773"/>
                  <a:gd name="connsiteX1" fmla="*/ 130268 w 139071"/>
                  <a:gd name="connsiteY1" fmla="*/ 12521 h 86773"/>
                  <a:gd name="connsiteX2" fmla="*/ 116702 w 139071"/>
                  <a:gd name="connsiteY2" fmla="*/ 7135 h 86773"/>
                  <a:gd name="connsiteX3" fmla="*/ 96772 w 139071"/>
                  <a:gd name="connsiteY3" fmla="*/ 30 h 86773"/>
                  <a:gd name="connsiteX4" fmla="*/ 76795 w 139071"/>
                  <a:gd name="connsiteY4" fmla="*/ 14239 h 86773"/>
                  <a:gd name="connsiteX5" fmla="*/ 53984 w 139071"/>
                  <a:gd name="connsiteY5" fmla="*/ 22133 h 86773"/>
                  <a:gd name="connsiteX6" fmla="*/ 24762 w 139071"/>
                  <a:gd name="connsiteY6" fmla="*/ 22133 h 86773"/>
                  <a:gd name="connsiteX7" fmla="*/ 21835 w 139071"/>
                  <a:gd name="connsiteY7" fmla="*/ 18372 h 86773"/>
                  <a:gd name="connsiteX8" fmla="*/ 18955 w 139071"/>
                  <a:gd name="connsiteY8" fmla="*/ 24733 h 86773"/>
                  <a:gd name="connsiteX9" fmla="*/ 9478 w 139071"/>
                  <a:gd name="connsiteY9" fmla="*/ 30816 h 86773"/>
                  <a:gd name="connsiteX10" fmla="*/ 6969 w 139071"/>
                  <a:gd name="connsiteY10" fmla="*/ 40196 h 86773"/>
                  <a:gd name="connsiteX11" fmla="*/ 3484 w 139071"/>
                  <a:gd name="connsiteY11" fmla="*/ 50690 h 86773"/>
                  <a:gd name="connsiteX12" fmla="*/ 0 w 139071"/>
                  <a:gd name="connsiteY12" fmla="*/ 56309 h 86773"/>
                  <a:gd name="connsiteX13" fmla="*/ 5157 w 139071"/>
                  <a:gd name="connsiteY13" fmla="*/ 65225 h 86773"/>
                  <a:gd name="connsiteX14" fmla="*/ 4646 w 139071"/>
                  <a:gd name="connsiteY14" fmla="*/ 65735 h 86773"/>
                  <a:gd name="connsiteX15" fmla="*/ 22578 w 139071"/>
                  <a:gd name="connsiteY15" fmla="*/ 80548 h 86773"/>
                  <a:gd name="connsiteX16" fmla="*/ 44646 w 139071"/>
                  <a:gd name="connsiteY16" fmla="*/ 86074 h 86773"/>
                  <a:gd name="connsiteX17" fmla="*/ 74565 w 139071"/>
                  <a:gd name="connsiteY17" fmla="*/ 75812 h 86773"/>
                  <a:gd name="connsiteX18" fmla="*/ 83810 w 139071"/>
                  <a:gd name="connsiteY18" fmla="*/ 78969 h 86773"/>
                  <a:gd name="connsiteX19" fmla="*/ 89896 w 139071"/>
                  <a:gd name="connsiteY19" fmla="*/ 80084 h 86773"/>
                  <a:gd name="connsiteX20" fmla="*/ 102718 w 139071"/>
                  <a:gd name="connsiteY20" fmla="*/ 70054 h 86773"/>
                  <a:gd name="connsiteX21" fmla="*/ 122324 w 139071"/>
                  <a:gd name="connsiteY21" fmla="*/ 34020 h 86773"/>
                  <a:gd name="connsiteX22" fmla="*/ 136679 w 139071"/>
                  <a:gd name="connsiteY22" fmla="*/ 23944 h 86773"/>
                  <a:gd name="connsiteX23" fmla="*/ 135239 w 139071"/>
                  <a:gd name="connsiteY23" fmla="*/ 16004 h 8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9071" h="86773">
                    <a:moveTo>
                      <a:pt x="135332" y="15957"/>
                    </a:moveTo>
                    <a:cubicBezTo>
                      <a:pt x="133659" y="15354"/>
                      <a:pt x="131847" y="14100"/>
                      <a:pt x="130268" y="12521"/>
                    </a:cubicBezTo>
                    <a:cubicBezTo>
                      <a:pt x="124275" y="11035"/>
                      <a:pt x="118468" y="9085"/>
                      <a:pt x="116702" y="7135"/>
                    </a:cubicBezTo>
                    <a:cubicBezTo>
                      <a:pt x="113171" y="3188"/>
                      <a:pt x="98909" y="820"/>
                      <a:pt x="96772" y="30"/>
                    </a:cubicBezTo>
                    <a:cubicBezTo>
                      <a:pt x="94635" y="-759"/>
                      <a:pt x="81116" y="14239"/>
                      <a:pt x="76795" y="14239"/>
                    </a:cubicBezTo>
                    <a:cubicBezTo>
                      <a:pt x="72474" y="14239"/>
                      <a:pt x="53984" y="16607"/>
                      <a:pt x="53984" y="22133"/>
                    </a:cubicBezTo>
                    <a:cubicBezTo>
                      <a:pt x="53984" y="27659"/>
                      <a:pt x="31220" y="28448"/>
                      <a:pt x="24762" y="22133"/>
                    </a:cubicBezTo>
                    <a:cubicBezTo>
                      <a:pt x="23740" y="21158"/>
                      <a:pt x="22764" y="19811"/>
                      <a:pt x="21835" y="18372"/>
                    </a:cubicBezTo>
                    <a:cubicBezTo>
                      <a:pt x="20116" y="20136"/>
                      <a:pt x="18955" y="22272"/>
                      <a:pt x="18955" y="24733"/>
                    </a:cubicBezTo>
                    <a:cubicBezTo>
                      <a:pt x="18955" y="31931"/>
                      <a:pt x="13984" y="31374"/>
                      <a:pt x="9478" y="30816"/>
                    </a:cubicBezTo>
                    <a:cubicBezTo>
                      <a:pt x="4971" y="30259"/>
                      <a:pt x="9478" y="36899"/>
                      <a:pt x="6969" y="40196"/>
                    </a:cubicBezTo>
                    <a:cubicBezTo>
                      <a:pt x="4460" y="43493"/>
                      <a:pt x="6969" y="50133"/>
                      <a:pt x="3484" y="50690"/>
                    </a:cubicBezTo>
                    <a:cubicBezTo>
                      <a:pt x="1626" y="50969"/>
                      <a:pt x="604" y="53337"/>
                      <a:pt x="0" y="56309"/>
                    </a:cubicBezTo>
                    <a:cubicBezTo>
                      <a:pt x="1487" y="57098"/>
                      <a:pt x="5157" y="65225"/>
                      <a:pt x="5157" y="65225"/>
                    </a:cubicBezTo>
                    <a:cubicBezTo>
                      <a:pt x="5157" y="65225"/>
                      <a:pt x="4971" y="65410"/>
                      <a:pt x="4646" y="65735"/>
                    </a:cubicBezTo>
                    <a:cubicBezTo>
                      <a:pt x="9478" y="68939"/>
                      <a:pt x="19419" y="75812"/>
                      <a:pt x="22578" y="80548"/>
                    </a:cubicBezTo>
                    <a:cubicBezTo>
                      <a:pt x="26853" y="86863"/>
                      <a:pt x="38978" y="87652"/>
                      <a:pt x="44646" y="86074"/>
                    </a:cubicBezTo>
                    <a:cubicBezTo>
                      <a:pt x="50360" y="84495"/>
                      <a:pt x="74565" y="75812"/>
                      <a:pt x="74565" y="75812"/>
                    </a:cubicBezTo>
                    <a:cubicBezTo>
                      <a:pt x="74565" y="75812"/>
                      <a:pt x="80279" y="78180"/>
                      <a:pt x="83810" y="78969"/>
                    </a:cubicBezTo>
                    <a:cubicBezTo>
                      <a:pt x="84646" y="79155"/>
                      <a:pt x="86923" y="79573"/>
                      <a:pt x="89896" y="80084"/>
                    </a:cubicBezTo>
                    <a:cubicBezTo>
                      <a:pt x="91615" y="78087"/>
                      <a:pt x="97004" y="76369"/>
                      <a:pt x="102718" y="70054"/>
                    </a:cubicBezTo>
                    <a:cubicBezTo>
                      <a:pt x="109408" y="62624"/>
                      <a:pt x="119443" y="36156"/>
                      <a:pt x="122324" y="34020"/>
                    </a:cubicBezTo>
                    <a:cubicBezTo>
                      <a:pt x="125204" y="31884"/>
                      <a:pt x="132870" y="27148"/>
                      <a:pt x="136679" y="23944"/>
                    </a:cubicBezTo>
                    <a:cubicBezTo>
                      <a:pt x="140489" y="20786"/>
                      <a:pt x="139560" y="17582"/>
                      <a:pt x="135239" y="16004"/>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5" name="Freeform 49">
                <a:extLst>
                  <a:ext uri="{FF2B5EF4-FFF2-40B4-BE49-F238E27FC236}">
                    <a16:creationId xmlns:a16="http://schemas.microsoft.com/office/drawing/2014/main" id="{6CDCB07E-891E-90F4-4FF8-52C475BE4E97}"/>
                  </a:ext>
                </a:extLst>
              </p:cNvPr>
              <p:cNvSpPr/>
              <p:nvPr/>
            </p:nvSpPr>
            <p:spPr>
              <a:xfrm>
                <a:off x="8524453" y="3870761"/>
                <a:ext cx="336009" cy="656447"/>
              </a:xfrm>
              <a:custGeom>
                <a:avLst/>
                <a:gdLst>
                  <a:gd name="connsiteX0" fmla="*/ 70126 w 71937"/>
                  <a:gd name="connsiteY0" fmla="*/ 14479 h 140541"/>
                  <a:gd name="connsiteX1" fmla="*/ 64691 w 71937"/>
                  <a:gd name="connsiteY1" fmla="*/ 5006 h 140541"/>
                  <a:gd name="connsiteX2" fmla="*/ 51497 w 71937"/>
                  <a:gd name="connsiteY2" fmla="*/ 2452 h 140541"/>
                  <a:gd name="connsiteX3" fmla="*/ 42948 w 71937"/>
                  <a:gd name="connsiteY3" fmla="*/ 2452 h 140541"/>
                  <a:gd name="connsiteX4" fmla="*/ 31706 w 71937"/>
                  <a:gd name="connsiteY4" fmla="*/ 1942 h 140541"/>
                  <a:gd name="connsiteX5" fmla="*/ 31798 w 71937"/>
                  <a:gd name="connsiteY5" fmla="*/ 2267 h 140541"/>
                  <a:gd name="connsiteX6" fmla="*/ 31938 w 71937"/>
                  <a:gd name="connsiteY6" fmla="*/ 18008 h 140541"/>
                  <a:gd name="connsiteX7" fmla="*/ 28268 w 71937"/>
                  <a:gd name="connsiteY7" fmla="*/ 27109 h 140541"/>
                  <a:gd name="connsiteX8" fmla="*/ 18558 w 71937"/>
                  <a:gd name="connsiteY8" fmla="*/ 36025 h 140541"/>
                  <a:gd name="connsiteX9" fmla="*/ 19162 w 71937"/>
                  <a:gd name="connsiteY9" fmla="*/ 43222 h 140541"/>
                  <a:gd name="connsiteX10" fmla="*/ 9778 w 71937"/>
                  <a:gd name="connsiteY10" fmla="*/ 61564 h 140541"/>
                  <a:gd name="connsiteX11" fmla="*/ 3506 w 71937"/>
                  <a:gd name="connsiteY11" fmla="*/ 74241 h 140541"/>
                  <a:gd name="connsiteX12" fmla="*/ 11775 w 71937"/>
                  <a:gd name="connsiteY12" fmla="*/ 95090 h 140541"/>
                  <a:gd name="connsiteX13" fmla="*/ 14656 w 71937"/>
                  <a:gd name="connsiteY13" fmla="*/ 135720 h 140541"/>
                  <a:gd name="connsiteX14" fmla="*/ 31241 w 71937"/>
                  <a:gd name="connsiteY14" fmla="*/ 140317 h 140541"/>
                  <a:gd name="connsiteX15" fmla="*/ 48477 w 71937"/>
                  <a:gd name="connsiteY15" fmla="*/ 136556 h 140541"/>
                  <a:gd name="connsiteX16" fmla="*/ 45364 w 71937"/>
                  <a:gd name="connsiteY16" fmla="*/ 128801 h 140541"/>
                  <a:gd name="connsiteX17" fmla="*/ 53912 w 71937"/>
                  <a:gd name="connsiteY17" fmla="*/ 114174 h 140541"/>
                  <a:gd name="connsiteX18" fmla="*/ 49267 w 71937"/>
                  <a:gd name="connsiteY18" fmla="*/ 102148 h 140541"/>
                  <a:gd name="connsiteX19" fmla="*/ 54702 w 71937"/>
                  <a:gd name="connsiteY19" fmla="*/ 89239 h 140541"/>
                  <a:gd name="connsiteX20" fmla="*/ 48477 w 71937"/>
                  <a:gd name="connsiteY20" fmla="*/ 76330 h 140541"/>
                  <a:gd name="connsiteX21" fmla="*/ 53912 w 71937"/>
                  <a:gd name="connsiteY21" fmla="*/ 66904 h 140541"/>
                  <a:gd name="connsiteX22" fmla="*/ 57769 w 71937"/>
                  <a:gd name="connsiteY22" fmla="*/ 50559 h 140541"/>
                  <a:gd name="connsiteX23" fmla="*/ 56189 w 71937"/>
                  <a:gd name="connsiteY23" fmla="*/ 28224 h 140541"/>
                  <a:gd name="connsiteX24" fmla="*/ 70173 w 71937"/>
                  <a:gd name="connsiteY24" fmla="*/ 14479 h 140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937" h="140541">
                    <a:moveTo>
                      <a:pt x="70126" y="14479"/>
                    </a:moveTo>
                    <a:cubicBezTo>
                      <a:pt x="76305" y="7607"/>
                      <a:pt x="64691" y="10160"/>
                      <a:pt x="64691" y="5006"/>
                    </a:cubicBezTo>
                    <a:cubicBezTo>
                      <a:pt x="64691" y="-148"/>
                      <a:pt x="56932" y="-1866"/>
                      <a:pt x="51497" y="2452"/>
                    </a:cubicBezTo>
                    <a:cubicBezTo>
                      <a:pt x="46061" y="6771"/>
                      <a:pt x="47594" y="2452"/>
                      <a:pt x="42948" y="2452"/>
                    </a:cubicBezTo>
                    <a:cubicBezTo>
                      <a:pt x="39650" y="2452"/>
                      <a:pt x="34493" y="3242"/>
                      <a:pt x="31706" y="1942"/>
                    </a:cubicBezTo>
                    <a:cubicBezTo>
                      <a:pt x="31706" y="2034"/>
                      <a:pt x="31798" y="2174"/>
                      <a:pt x="31798" y="2267"/>
                    </a:cubicBezTo>
                    <a:cubicBezTo>
                      <a:pt x="32821" y="8303"/>
                      <a:pt x="33285" y="12064"/>
                      <a:pt x="31938" y="18008"/>
                    </a:cubicBezTo>
                    <a:cubicBezTo>
                      <a:pt x="31195" y="21212"/>
                      <a:pt x="29708" y="24184"/>
                      <a:pt x="28268" y="27109"/>
                    </a:cubicBezTo>
                    <a:cubicBezTo>
                      <a:pt x="26316" y="31103"/>
                      <a:pt x="22600" y="34028"/>
                      <a:pt x="18558" y="36025"/>
                    </a:cubicBezTo>
                    <a:cubicBezTo>
                      <a:pt x="18790" y="38439"/>
                      <a:pt x="18976" y="40807"/>
                      <a:pt x="19162" y="43222"/>
                    </a:cubicBezTo>
                    <a:cubicBezTo>
                      <a:pt x="19627" y="50605"/>
                      <a:pt x="15631" y="57292"/>
                      <a:pt x="9778" y="61564"/>
                    </a:cubicBezTo>
                    <a:cubicBezTo>
                      <a:pt x="7780" y="66997"/>
                      <a:pt x="5596" y="71547"/>
                      <a:pt x="3506" y="74241"/>
                    </a:cubicBezTo>
                    <a:cubicBezTo>
                      <a:pt x="-4810" y="84828"/>
                      <a:pt x="3181" y="87660"/>
                      <a:pt x="11775" y="95090"/>
                    </a:cubicBezTo>
                    <a:cubicBezTo>
                      <a:pt x="20370" y="102519"/>
                      <a:pt x="14656" y="129359"/>
                      <a:pt x="14656" y="135720"/>
                    </a:cubicBezTo>
                    <a:cubicBezTo>
                      <a:pt x="14656" y="142082"/>
                      <a:pt x="22321" y="140317"/>
                      <a:pt x="31241" y="140317"/>
                    </a:cubicBezTo>
                    <a:cubicBezTo>
                      <a:pt x="36584" y="140317"/>
                      <a:pt x="42577" y="137717"/>
                      <a:pt x="48477" y="136556"/>
                    </a:cubicBezTo>
                    <a:cubicBezTo>
                      <a:pt x="46712" y="133584"/>
                      <a:pt x="45364" y="130705"/>
                      <a:pt x="45364" y="128801"/>
                    </a:cubicBezTo>
                    <a:cubicBezTo>
                      <a:pt x="45364" y="123647"/>
                      <a:pt x="45364" y="115892"/>
                      <a:pt x="53912" y="114174"/>
                    </a:cubicBezTo>
                    <a:cubicBezTo>
                      <a:pt x="62461" y="112456"/>
                      <a:pt x="51590" y="104702"/>
                      <a:pt x="49267" y="102148"/>
                    </a:cubicBezTo>
                    <a:cubicBezTo>
                      <a:pt x="46944" y="99594"/>
                      <a:pt x="50057" y="89239"/>
                      <a:pt x="54702" y="89239"/>
                    </a:cubicBezTo>
                    <a:cubicBezTo>
                      <a:pt x="59348" y="89239"/>
                      <a:pt x="54702" y="83249"/>
                      <a:pt x="48477" y="76330"/>
                    </a:cubicBezTo>
                    <a:cubicBezTo>
                      <a:pt x="42298" y="69458"/>
                      <a:pt x="48477" y="66904"/>
                      <a:pt x="53912" y="66904"/>
                    </a:cubicBezTo>
                    <a:cubicBezTo>
                      <a:pt x="59348" y="66904"/>
                      <a:pt x="52380" y="56595"/>
                      <a:pt x="57769" y="50559"/>
                    </a:cubicBezTo>
                    <a:cubicBezTo>
                      <a:pt x="63204" y="44522"/>
                      <a:pt x="56189" y="33378"/>
                      <a:pt x="56189" y="28224"/>
                    </a:cubicBezTo>
                    <a:cubicBezTo>
                      <a:pt x="56189" y="23069"/>
                      <a:pt x="63948" y="21351"/>
                      <a:pt x="70173" y="14479"/>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6" name="Freeform 50">
                <a:extLst>
                  <a:ext uri="{FF2B5EF4-FFF2-40B4-BE49-F238E27FC236}">
                    <a16:creationId xmlns:a16="http://schemas.microsoft.com/office/drawing/2014/main" id="{3A3C55C2-8275-3AA0-C5CC-64A9D3CF284D}"/>
                  </a:ext>
                </a:extLst>
              </p:cNvPr>
              <p:cNvSpPr/>
              <p:nvPr/>
            </p:nvSpPr>
            <p:spPr>
              <a:xfrm>
                <a:off x="9814605" y="2219970"/>
                <a:ext cx="412525" cy="391916"/>
              </a:xfrm>
              <a:custGeom>
                <a:avLst/>
                <a:gdLst>
                  <a:gd name="connsiteX0" fmla="*/ 87248 w 88319"/>
                  <a:gd name="connsiteY0" fmla="*/ 16206 h 83907"/>
                  <a:gd name="connsiteX1" fmla="*/ 86644 w 88319"/>
                  <a:gd name="connsiteY1" fmla="*/ 0 h 83907"/>
                  <a:gd name="connsiteX2" fmla="*/ 81208 w 88319"/>
                  <a:gd name="connsiteY2" fmla="*/ 2415 h 83907"/>
                  <a:gd name="connsiteX3" fmla="*/ 78328 w 88319"/>
                  <a:gd name="connsiteY3" fmla="*/ 1207 h 83907"/>
                  <a:gd name="connsiteX4" fmla="*/ 59884 w 88319"/>
                  <a:gd name="connsiteY4" fmla="*/ 10262 h 83907"/>
                  <a:gd name="connsiteX5" fmla="*/ 50592 w 88319"/>
                  <a:gd name="connsiteY5" fmla="*/ 9891 h 83907"/>
                  <a:gd name="connsiteX6" fmla="*/ 50592 w 88319"/>
                  <a:gd name="connsiteY6" fmla="*/ 19735 h 83907"/>
                  <a:gd name="connsiteX7" fmla="*/ 41347 w 88319"/>
                  <a:gd name="connsiteY7" fmla="*/ 22289 h 83907"/>
                  <a:gd name="connsiteX8" fmla="*/ 38420 w 88319"/>
                  <a:gd name="connsiteY8" fmla="*/ 27768 h 83907"/>
                  <a:gd name="connsiteX9" fmla="*/ 33775 w 88319"/>
                  <a:gd name="connsiteY9" fmla="*/ 33804 h 83907"/>
                  <a:gd name="connsiteX10" fmla="*/ 19605 w 88319"/>
                  <a:gd name="connsiteY10" fmla="*/ 51125 h 83907"/>
                  <a:gd name="connsiteX11" fmla="*/ 3391 w 88319"/>
                  <a:gd name="connsiteY11" fmla="*/ 67748 h 83907"/>
                  <a:gd name="connsiteX12" fmla="*/ 0 w 88319"/>
                  <a:gd name="connsiteY12" fmla="*/ 69931 h 83907"/>
                  <a:gd name="connsiteX13" fmla="*/ 7665 w 88319"/>
                  <a:gd name="connsiteY13" fmla="*/ 72949 h 83907"/>
                  <a:gd name="connsiteX14" fmla="*/ 28153 w 88319"/>
                  <a:gd name="connsiteY14" fmla="*/ 65380 h 83907"/>
                  <a:gd name="connsiteX15" fmla="*/ 42788 w 88319"/>
                  <a:gd name="connsiteY15" fmla="*/ 67562 h 83907"/>
                  <a:gd name="connsiteX16" fmla="*/ 58398 w 88319"/>
                  <a:gd name="connsiteY16" fmla="*/ 79403 h 83907"/>
                  <a:gd name="connsiteX17" fmla="*/ 63090 w 88319"/>
                  <a:gd name="connsiteY17" fmla="*/ 83908 h 83907"/>
                  <a:gd name="connsiteX18" fmla="*/ 65552 w 88319"/>
                  <a:gd name="connsiteY18" fmla="*/ 65612 h 83907"/>
                  <a:gd name="connsiteX19" fmla="*/ 66806 w 88319"/>
                  <a:gd name="connsiteY19" fmla="*/ 54329 h 83907"/>
                  <a:gd name="connsiteX20" fmla="*/ 78932 w 88319"/>
                  <a:gd name="connsiteY20" fmla="*/ 47967 h 83907"/>
                  <a:gd name="connsiteX21" fmla="*/ 83392 w 88319"/>
                  <a:gd name="connsiteY21" fmla="*/ 40166 h 83907"/>
                  <a:gd name="connsiteX22" fmla="*/ 76377 w 88319"/>
                  <a:gd name="connsiteY22" fmla="*/ 27443 h 83907"/>
                  <a:gd name="connsiteX23" fmla="*/ 87248 w 88319"/>
                  <a:gd name="connsiteY23" fmla="*/ 16159 h 83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319" h="83907">
                    <a:moveTo>
                      <a:pt x="87248" y="16206"/>
                    </a:moveTo>
                    <a:cubicBezTo>
                      <a:pt x="89106" y="13141"/>
                      <a:pt x="88316" y="6826"/>
                      <a:pt x="86644" y="0"/>
                    </a:cubicBezTo>
                    <a:cubicBezTo>
                      <a:pt x="85808" y="2508"/>
                      <a:pt x="84089" y="4318"/>
                      <a:pt x="81208" y="2415"/>
                    </a:cubicBezTo>
                    <a:cubicBezTo>
                      <a:pt x="80326" y="1857"/>
                      <a:pt x="79350" y="1486"/>
                      <a:pt x="78328" y="1207"/>
                    </a:cubicBezTo>
                    <a:cubicBezTo>
                      <a:pt x="73961" y="6919"/>
                      <a:pt x="67224" y="10912"/>
                      <a:pt x="59884" y="10262"/>
                    </a:cubicBezTo>
                    <a:cubicBezTo>
                      <a:pt x="56771" y="9983"/>
                      <a:pt x="53705" y="9937"/>
                      <a:pt x="50592" y="9891"/>
                    </a:cubicBezTo>
                    <a:cubicBezTo>
                      <a:pt x="48734" y="13466"/>
                      <a:pt x="48734" y="17460"/>
                      <a:pt x="50592" y="19735"/>
                    </a:cubicBezTo>
                    <a:cubicBezTo>
                      <a:pt x="53659" y="23403"/>
                      <a:pt x="44460" y="25493"/>
                      <a:pt x="41347" y="22289"/>
                    </a:cubicBezTo>
                    <a:cubicBezTo>
                      <a:pt x="40418" y="24239"/>
                      <a:pt x="39443" y="26143"/>
                      <a:pt x="38420" y="27768"/>
                    </a:cubicBezTo>
                    <a:cubicBezTo>
                      <a:pt x="37492" y="29254"/>
                      <a:pt x="35587" y="31808"/>
                      <a:pt x="33775" y="33804"/>
                    </a:cubicBezTo>
                    <a:cubicBezTo>
                      <a:pt x="32613" y="41513"/>
                      <a:pt x="26806" y="48013"/>
                      <a:pt x="19605" y="51125"/>
                    </a:cubicBezTo>
                    <a:cubicBezTo>
                      <a:pt x="16818" y="58043"/>
                      <a:pt x="8920" y="64126"/>
                      <a:pt x="3391" y="67748"/>
                    </a:cubicBezTo>
                    <a:cubicBezTo>
                      <a:pt x="2323" y="68491"/>
                      <a:pt x="1161" y="69188"/>
                      <a:pt x="0" y="69931"/>
                    </a:cubicBezTo>
                    <a:cubicBezTo>
                      <a:pt x="3531" y="71742"/>
                      <a:pt x="6365" y="72949"/>
                      <a:pt x="7665" y="72949"/>
                    </a:cubicBezTo>
                    <a:cubicBezTo>
                      <a:pt x="13519" y="72949"/>
                      <a:pt x="24251" y="69745"/>
                      <a:pt x="28153" y="65380"/>
                    </a:cubicBezTo>
                    <a:cubicBezTo>
                      <a:pt x="32056" y="61062"/>
                      <a:pt x="38885" y="63244"/>
                      <a:pt x="42788" y="67562"/>
                    </a:cubicBezTo>
                    <a:cubicBezTo>
                      <a:pt x="46690" y="71881"/>
                      <a:pt x="52544" y="72949"/>
                      <a:pt x="58398" y="79403"/>
                    </a:cubicBezTo>
                    <a:cubicBezTo>
                      <a:pt x="59884" y="81075"/>
                      <a:pt x="61510" y="82561"/>
                      <a:pt x="63090" y="83908"/>
                    </a:cubicBezTo>
                    <a:cubicBezTo>
                      <a:pt x="63647" y="79357"/>
                      <a:pt x="63740" y="70302"/>
                      <a:pt x="65552" y="65612"/>
                    </a:cubicBezTo>
                    <a:cubicBezTo>
                      <a:pt x="67457" y="60690"/>
                      <a:pt x="63647" y="54329"/>
                      <a:pt x="66806" y="54329"/>
                    </a:cubicBezTo>
                    <a:cubicBezTo>
                      <a:pt x="69966" y="54329"/>
                      <a:pt x="78932" y="54329"/>
                      <a:pt x="78932" y="47967"/>
                    </a:cubicBezTo>
                    <a:cubicBezTo>
                      <a:pt x="78932" y="41605"/>
                      <a:pt x="81487" y="43742"/>
                      <a:pt x="83392" y="40166"/>
                    </a:cubicBezTo>
                    <a:cubicBezTo>
                      <a:pt x="85297" y="36637"/>
                      <a:pt x="77631" y="29579"/>
                      <a:pt x="76377" y="27443"/>
                    </a:cubicBezTo>
                    <a:cubicBezTo>
                      <a:pt x="75122" y="25353"/>
                      <a:pt x="82137" y="24610"/>
                      <a:pt x="87248" y="16159"/>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7" name="Freeform 53">
                <a:extLst>
                  <a:ext uri="{FF2B5EF4-FFF2-40B4-BE49-F238E27FC236}">
                    <a16:creationId xmlns:a16="http://schemas.microsoft.com/office/drawing/2014/main" id="{7188A681-C6C7-28AD-AEA7-901C906380F3}"/>
                  </a:ext>
                </a:extLst>
              </p:cNvPr>
              <p:cNvSpPr/>
              <p:nvPr/>
            </p:nvSpPr>
            <p:spPr>
              <a:xfrm>
                <a:off x="10080138" y="2717299"/>
                <a:ext cx="66689" cy="103023"/>
              </a:xfrm>
              <a:custGeom>
                <a:avLst/>
                <a:gdLst>
                  <a:gd name="connsiteX0" fmla="*/ 7588 w 14278"/>
                  <a:gd name="connsiteY0" fmla="*/ 0 h 22056"/>
                  <a:gd name="connsiteX1" fmla="*/ 62 w 14278"/>
                  <a:gd name="connsiteY1" fmla="*/ 20292 h 22056"/>
                  <a:gd name="connsiteX2" fmla="*/ 14278 w 14278"/>
                  <a:gd name="connsiteY2" fmla="*/ 22056 h 22056"/>
                  <a:gd name="connsiteX3" fmla="*/ 7449 w 14278"/>
                  <a:gd name="connsiteY3" fmla="*/ 2275 h 22056"/>
                  <a:gd name="connsiteX4" fmla="*/ 7588 w 14278"/>
                  <a:gd name="connsiteY4" fmla="*/ 0 h 22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78" h="22056">
                    <a:moveTo>
                      <a:pt x="7588" y="0"/>
                    </a:moveTo>
                    <a:cubicBezTo>
                      <a:pt x="3360" y="2647"/>
                      <a:pt x="-542" y="8312"/>
                      <a:pt x="62" y="20292"/>
                    </a:cubicBezTo>
                    <a:cubicBezTo>
                      <a:pt x="4197" y="20153"/>
                      <a:pt x="10050" y="20710"/>
                      <a:pt x="14278" y="22056"/>
                    </a:cubicBezTo>
                    <a:cubicBezTo>
                      <a:pt x="13256" y="9008"/>
                      <a:pt x="8657" y="4969"/>
                      <a:pt x="7449" y="2275"/>
                    </a:cubicBezTo>
                    <a:cubicBezTo>
                      <a:pt x="7123" y="1532"/>
                      <a:pt x="7216" y="789"/>
                      <a:pt x="7588" y="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8" name="Freeform 54">
                <a:extLst>
                  <a:ext uri="{FF2B5EF4-FFF2-40B4-BE49-F238E27FC236}">
                    <a16:creationId xmlns:a16="http://schemas.microsoft.com/office/drawing/2014/main" id="{3EB88E64-0E10-93CC-0E79-B87AF96AC6B1}"/>
                  </a:ext>
                </a:extLst>
              </p:cNvPr>
              <p:cNvSpPr/>
              <p:nvPr/>
            </p:nvSpPr>
            <p:spPr>
              <a:xfrm>
                <a:off x="9747334" y="2514827"/>
                <a:ext cx="388627" cy="299361"/>
              </a:xfrm>
              <a:custGeom>
                <a:avLst/>
                <a:gdLst>
                  <a:gd name="connsiteX0" fmla="*/ 2788 w 83202"/>
                  <a:gd name="connsiteY0" fmla="*/ 16834 h 64091"/>
                  <a:gd name="connsiteX1" fmla="*/ 10453 w 83202"/>
                  <a:gd name="connsiteY1" fmla="*/ 25842 h 64091"/>
                  <a:gd name="connsiteX2" fmla="*/ 21464 w 83202"/>
                  <a:gd name="connsiteY2" fmla="*/ 33272 h 64091"/>
                  <a:gd name="connsiteX3" fmla="*/ 34843 w 83202"/>
                  <a:gd name="connsiteY3" fmla="*/ 42280 h 64091"/>
                  <a:gd name="connsiteX4" fmla="*/ 41069 w 83202"/>
                  <a:gd name="connsiteY4" fmla="*/ 50221 h 64091"/>
                  <a:gd name="connsiteX5" fmla="*/ 50639 w 83202"/>
                  <a:gd name="connsiteY5" fmla="*/ 44927 h 64091"/>
                  <a:gd name="connsiteX6" fmla="*/ 56864 w 83202"/>
                  <a:gd name="connsiteY6" fmla="*/ 56071 h 64091"/>
                  <a:gd name="connsiteX7" fmla="*/ 67875 w 83202"/>
                  <a:gd name="connsiteY7" fmla="*/ 64012 h 64091"/>
                  <a:gd name="connsiteX8" fmla="*/ 71313 w 83202"/>
                  <a:gd name="connsiteY8" fmla="*/ 63687 h 64091"/>
                  <a:gd name="connsiteX9" fmla="*/ 78839 w 83202"/>
                  <a:gd name="connsiteY9" fmla="*/ 43395 h 64091"/>
                  <a:gd name="connsiteX10" fmla="*/ 83160 w 83202"/>
                  <a:gd name="connsiteY10" fmla="*/ 36476 h 64091"/>
                  <a:gd name="connsiteX11" fmla="*/ 77399 w 83202"/>
                  <a:gd name="connsiteY11" fmla="*/ 21663 h 64091"/>
                  <a:gd name="connsiteX12" fmla="*/ 77492 w 83202"/>
                  <a:gd name="connsiteY12" fmla="*/ 20874 h 64091"/>
                  <a:gd name="connsiteX13" fmla="*/ 72800 w 83202"/>
                  <a:gd name="connsiteY13" fmla="*/ 16370 h 64091"/>
                  <a:gd name="connsiteX14" fmla="*/ 57190 w 83202"/>
                  <a:gd name="connsiteY14" fmla="*/ 4529 h 64091"/>
                  <a:gd name="connsiteX15" fmla="*/ 42556 w 83202"/>
                  <a:gd name="connsiteY15" fmla="*/ 2346 h 64091"/>
                  <a:gd name="connsiteX16" fmla="*/ 22067 w 83202"/>
                  <a:gd name="connsiteY16" fmla="*/ 9915 h 64091"/>
                  <a:gd name="connsiteX17" fmla="*/ 14402 w 83202"/>
                  <a:gd name="connsiteY17" fmla="*/ 6897 h 64091"/>
                  <a:gd name="connsiteX18" fmla="*/ 0 w 83202"/>
                  <a:gd name="connsiteY18" fmla="*/ 13723 h 64091"/>
                  <a:gd name="connsiteX19" fmla="*/ 2788 w 83202"/>
                  <a:gd name="connsiteY19" fmla="*/ 16880 h 64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202" h="64091">
                    <a:moveTo>
                      <a:pt x="2788" y="16834"/>
                    </a:moveTo>
                    <a:cubicBezTo>
                      <a:pt x="3252" y="20549"/>
                      <a:pt x="8548" y="29557"/>
                      <a:pt x="10453" y="25842"/>
                    </a:cubicBezTo>
                    <a:cubicBezTo>
                      <a:pt x="12358" y="22127"/>
                      <a:pt x="17143" y="30625"/>
                      <a:pt x="21464" y="33272"/>
                    </a:cubicBezTo>
                    <a:cubicBezTo>
                      <a:pt x="25784" y="35919"/>
                      <a:pt x="34379" y="39076"/>
                      <a:pt x="34843" y="42280"/>
                    </a:cubicBezTo>
                    <a:cubicBezTo>
                      <a:pt x="35308" y="45438"/>
                      <a:pt x="36748" y="52356"/>
                      <a:pt x="41069" y="50221"/>
                    </a:cubicBezTo>
                    <a:cubicBezTo>
                      <a:pt x="45389" y="48085"/>
                      <a:pt x="50639" y="40701"/>
                      <a:pt x="50639" y="44927"/>
                    </a:cubicBezTo>
                    <a:cubicBezTo>
                      <a:pt x="50639" y="49152"/>
                      <a:pt x="52079" y="57139"/>
                      <a:pt x="56864" y="56071"/>
                    </a:cubicBezTo>
                    <a:cubicBezTo>
                      <a:pt x="61650" y="55003"/>
                      <a:pt x="63090" y="65080"/>
                      <a:pt x="67875" y="64012"/>
                    </a:cubicBezTo>
                    <a:cubicBezTo>
                      <a:pt x="68758" y="63826"/>
                      <a:pt x="69919" y="63733"/>
                      <a:pt x="71313" y="63687"/>
                    </a:cubicBezTo>
                    <a:cubicBezTo>
                      <a:pt x="70709" y="51706"/>
                      <a:pt x="74611" y="46041"/>
                      <a:pt x="78839" y="43395"/>
                    </a:cubicBezTo>
                    <a:cubicBezTo>
                      <a:pt x="79815" y="41305"/>
                      <a:pt x="82695" y="39076"/>
                      <a:pt x="83160" y="36476"/>
                    </a:cubicBezTo>
                    <a:cubicBezTo>
                      <a:pt x="83810" y="32947"/>
                      <a:pt x="76795" y="25889"/>
                      <a:pt x="77399" y="21663"/>
                    </a:cubicBezTo>
                    <a:cubicBezTo>
                      <a:pt x="77399" y="21431"/>
                      <a:pt x="77445" y="21152"/>
                      <a:pt x="77492" y="20874"/>
                    </a:cubicBezTo>
                    <a:cubicBezTo>
                      <a:pt x="75912" y="19527"/>
                      <a:pt x="74286" y="18041"/>
                      <a:pt x="72800" y="16370"/>
                    </a:cubicBezTo>
                    <a:cubicBezTo>
                      <a:pt x="66946" y="9915"/>
                      <a:pt x="61092" y="8847"/>
                      <a:pt x="57190" y="4529"/>
                    </a:cubicBezTo>
                    <a:cubicBezTo>
                      <a:pt x="53287" y="210"/>
                      <a:pt x="46458" y="-1972"/>
                      <a:pt x="42556" y="2346"/>
                    </a:cubicBezTo>
                    <a:cubicBezTo>
                      <a:pt x="38653" y="6665"/>
                      <a:pt x="27921" y="9915"/>
                      <a:pt x="22067" y="9915"/>
                    </a:cubicBezTo>
                    <a:cubicBezTo>
                      <a:pt x="20720" y="9915"/>
                      <a:pt x="17933" y="8708"/>
                      <a:pt x="14402" y="6897"/>
                    </a:cubicBezTo>
                    <a:cubicBezTo>
                      <a:pt x="9803" y="9869"/>
                      <a:pt x="4878" y="12655"/>
                      <a:pt x="0" y="13723"/>
                    </a:cubicBezTo>
                    <a:cubicBezTo>
                      <a:pt x="976" y="15209"/>
                      <a:pt x="2462" y="14419"/>
                      <a:pt x="2788" y="1688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20" name="Freeform 61">
                <a:extLst>
                  <a:ext uri="{FF2B5EF4-FFF2-40B4-BE49-F238E27FC236}">
                    <a16:creationId xmlns:a16="http://schemas.microsoft.com/office/drawing/2014/main" id="{541ED383-E7B4-ACAD-ACD2-D3E3967B397E}"/>
                  </a:ext>
                </a:extLst>
              </p:cNvPr>
              <p:cNvSpPr/>
              <p:nvPr/>
            </p:nvSpPr>
            <p:spPr>
              <a:xfrm>
                <a:off x="11525545" y="2969542"/>
                <a:ext cx="908105" cy="654786"/>
              </a:xfrm>
              <a:custGeom>
                <a:avLst/>
                <a:gdLst>
                  <a:gd name="connsiteX0" fmla="*/ 174422 w 194419"/>
                  <a:gd name="connsiteY0" fmla="*/ 93752 h 140186"/>
                  <a:gd name="connsiteX1" fmla="*/ 166106 w 194419"/>
                  <a:gd name="connsiteY1" fmla="*/ 88133 h 140186"/>
                  <a:gd name="connsiteX2" fmla="*/ 166663 w 194419"/>
                  <a:gd name="connsiteY2" fmla="*/ 87297 h 140186"/>
                  <a:gd name="connsiteX3" fmla="*/ 162947 w 194419"/>
                  <a:gd name="connsiteY3" fmla="*/ 60412 h 140186"/>
                  <a:gd name="connsiteX4" fmla="*/ 149288 w 194419"/>
                  <a:gd name="connsiteY4" fmla="*/ 26932 h 140186"/>
                  <a:gd name="connsiteX5" fmla="*/ 135072 w 194419"/>
                  <a:gd name="connsiteY5" fmla="*/ 0 h 140186"/>
                  <a:gd name="connsiteX6" fmla="*/ 124666 w 194419"/>
                  <a:gd name="connsiteY6" fmla="*/ 5479 h 140186"/>
                  <a:gd name="connsiteX7" fmla="*/ 112540 w 194419"/>
                  <a:gd name="connsiteY7" fmla="*/ 12537 h 140186"/>
                  <a:gd name="connsiteX8" fmla="*/ 101715 w 194419"/>
                  <a:gd name="connsiteY8" fmla="*/ 13930 h 140186"/>
                  <a:gd name="connsiteX9" fmla="*/ 92145 w 194419"/>
                  <a:gd name="connsiteY9" fmla="*/ 16763 h 140186"/>
                  <a:gd name="connsiteX10" fmla="*/ 79369 w 194419"/>
                  <a:gd name="connsiteY10" fmla="*/ 12537 h 140186"/>
                  <a:gd name="connsiteX11" fmla="*/ 57720 w 194419"/>
                  <a:gd name="connsiteY11" fmla="*/ 8312 h 140186"/>
                  <a:gd name="connsiteX12" fmla="*/ 49404 w 194419"/>
                  <a:gd name="connsiteY12" fmla="*/ 9101 h 140186"/>
                  <a:gd name="connsiteX13" fmla="*/ 47360 w 194419"/>
                  <a:gd name="connsiteY13" fmla="*/ 14302 h 140186"/>
                  <a:gd name="connsiteX14" fmla="*/ 33004 w 194419"/>
                  <a:gd name="connsiteY14" fmla="*/ 24378 h 140186"/>
                  <a:gd name="connsiteX15" fmla="*/ 13399 w 194419"/>
                  <a:gd name="connsiteY15" fmla="*/ 60412 h 140186"/>
                  <a:gd name="connsiteX16" fmla="*/ 19 w 194419"/>
                  <a:gd name="connsiteY16" fmla="*/ 71509 h 140186"/>
                  <a:gd name="connsiteX17" fmla="*/ 7685 w 194419"/>
                  <a:gd name="connsiteY17" fmla="*/ 85301 h 140186"/>
                  <a:gd name="connsiteX18" fmla="*/ 14839 w 194419"/>
                  <a:gd name="connsiteY18" fmla="*/ 93752 h 140186"/>
                  <a:gd name="connsiteX19" fmla="*/ 17720 w 194419"/>
                  <a:gd name="connsiteY19" fmla="*/ 108611 h 140186"/>
                  <a:gd name="connsiteX20" fmla="*/ 41646 w 194419"/>
                  <a:gd name="connsiteY20" fmla="*/ 116551 h 140186"/>
                  <a:gd name="connsiteX21" fmla="*/ 42946 w 194419"/>
                  <a:gd name="connsiteY21" fmla="*/ 126999 h 140186"/>
                  <a:gd name="connsiteX22" fmla="*/ 55258 w 194419"/>
                  <a:gd name="connsiteY22" fmla="*/ 136147 h 140186"/>
                  <a:gd name="connsiteX23" fmla="*/ 78208 w 194419"/>
                  <a:gd name="connsiteY23" fmla="*/ 138979 h 140186"/>
                  <a:gd name="connsiteX24" fmla="*/ 101158 w 194419"/>
                  <a:gd name="connsiteY24" fmla="*/ 139676 h 140186"/>
                  <a:gd name="connsiteX25" fmla="*/ 116443 w 194419"/>
                  <a:gd name="connsiteY25" fmla="*/ 132618 h 140186"/>
                  <a:gd name="connsiteX26" fmla="*/ 141994 w 194419"/>
                  <a:gd name="connsiteY26" fmla="*/ 127649 h 140186"/>
                  <a:gd name="connsiteX27" fmla="*/ 159230 w 194419"/>
                  <a:gd name="connsiteY27" fmla="*/ 133314 h 140186"/>
                  <a:gd name="connsiteX28" fmla="*/ 172332 w 194419"/>
                  <a:gd name="connsiteY28" fmla="*/ 140186 h 140186"/>
                  <a:gd name="connsiteX29" fmla="*/ 172332 w 194419"/>
                  <a:gd name="connsiteY29" fmla="*/ 127649 h 140186"/>
                  <a:gd name="connsiteX30" fmla="*/ 183156 w 194419"/>
                  <a:gd name="connsiteY30" fmla="*/ 108239 h 140186"/>
                  <a:gd name="connsiteX31" fmla="*/ 194306 w 194419"/>
                  <a:gd name="connsiteY31" fmla="*/ 95191 h 140186"/>
                  <a:gd name="connsiteX32" fmla="*/ 194259 w 194419"/>
                  <a:gd name="connsiteY32" fmla="*/ 94077 h 140186"/>
                  <a:gd name="connsiteX33" fmla="*/ 186687 w 194419"/>
                  <a:gd name="connsiteY33" fmla="*/ 88133 h 140186"/>
                  <a:gd name="connsiteX34" fmla="*/ 174561 w 194419"/>
                  <a:gd name="connsiteY34" fmla="*/ 93752 h 140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4419" h="140186">
                    <a:moveTo>
                      <a:pt x="174422" y="93752"/>
                    </a:moveTo>
                    <a:cubicBezTo>
                      <a:pt x="169962" y="93055"/>
                      <a:pt x="164201" y="90966"/>
                      <a:pt x="166106" y="88133"/>
                    </a:cubicBezTo>
                    <a:cubicBezTo>
                      <a:pt x="166246" y="87947"/>
                      <a:pt x="166478" y="87576"/>
                      <a:pt x="166663" y="87297"/>
                    </a:cubicBezTo>
                    <a:cubicBezTo>
                      <a:pt x="160671" y="81957"/>
                      <a:pt x="159137" y="64637"/>
                      <a:pt x="162947" y="60412"/>
                    </a:cubicBezTo>
                    <a:cubicBezTo>
                      <a:pt x="167825" y="55025"/>
                      <a:pt x="155142" y="34501"/>
                      <a:pt x="149288" y="26932"/>
                    </a:cubicBezTo>
                    <a:cubicBezTo>
                      <a:pt x="146547" y="23403"/>
                      <a:pt x="140601" y="11562"/>
                      <a:pt x="135072" y="0"/>
                    </a:cubicBezTo>
                    <a:cubicBezTo>
                      <a:pt x="130008" y="1811"/>
                      <a:pt x="125548" y="3854"/>
                      <a:pt x="124666" y="5479"/>
                    </a:cubicBezTo>
                    <a:cubicBezTo>
                      <a:pt x="122761" y="9008"/>
                      <a:pt x="116350" y="12537"/>
                      <a:pt x="112540" y="12537"/>
                    </a:cubicBezTo>
                    <a:cubicBezTo>
                      <a:pt x="108731" y="12537"/>
                      <a:pt x="104875" y="10401"/>
                      <a:pt x="101715" y="13930"/>
                    </a:cubicBezTo>
                    <a:cubicBezTo>
                      <a:pt x="98510" y="17460"/>
                      <a:pt x="94050" y="18852"/>
                      <a:pt x="92145" y="16763"/>
                    </a:cubicBezTo>
                    <a:cubicBezTo>
                      <a:pt x="90240" y="14627"/>
                      <a:pt x="83876" y="12537"/>
                      <a:pt x="79369" y="12537"/>
                    </a:cubicBezTo>
                    <a:cubicBezTo>
                      <a:pt x="74863" y="12537"/>
                      <a:pt x="60879" y="8312"/>
                      <a:pt x="57720" y="8312"/>
                    </a:cubicBezTo>
                    <a:cubicBezTo>
                      <a:pt x="55815" y="8312"/>
                      <a:pt x="52749" y="8590"/>
                      <a:pt x="49404" y="9101"/>
                    </a:cubicBezTo>
                    <a:cubicBezTo>
                      <a:pt x="50147" y="10634"/>
                      <a:pt x="49543" y="12444"/>
                      <a:pt x="47360" y="14302"/>
                    </a:cubicBezTo>
                    <a:cubicBezTo>
                      <a:pt x="43550" y="17460"/>
                      <a:pt x="35885" y="22242"/>
                      <a:pt x="33004" y="24378"/>
                    </a:cubicBezTo>
                    <a:cubicBezTo>
                      <a:pt x="30124" y="26468"/>
                      <a:pt x="20089" y="52982"/>
                      <a:pt x="13399" y="60412"/>
                    </a:cubicBezTo>
                    <a:cubicBezTo>
                      <a:pt x="6709" y="67841"/>
                      <a:pt x="484" y="68909"/>
                      <a:pt x="19" y="71509"/>
                    </a:cubicBezTo>
                    <a:cubicBezTo>
                      <a:pt x="-445" y="74156"/>
                      <a:pt x="7685" y="81075"/>
                      <a:pt x="7685" y="85301"/>
                    </a:cubicBezTo>
                    <a:cubicBezTo>
                      <a:pt x="7685" y="89526"/>
                      <a:pt x="9589" y="93752"/>
                      <a:pt x="14839" y="93752"/>
                    </a:cubicBezTo>
                    <a:cubicBezTo>
                      <a:pt x="20089" y="93752"/>
                      <a:pt x="14375" y="107543"/>
                      <a:pt x="17720" y="108611"/>
                    </a:cubicBezTo>
                    <a:cubicBezTo>
                      <a:pt x="21065" y="109679"/>
                      <a:pt x="41646" y="111258"/>
                      <a:pt x="41646" y="116551"/>
                    </a:cubicBezTo>
                    <a:cubicBezTo>
                      <a:pt x="41646" y="120684"/>
                      <a:pt x="43922" y="124120"/>
                      <a:pt x="42946" y="126999"/>
                    </a:cubicBezTo>
                    <a:cubicBezTo>
                      <a:pt x="48707" y="128067"/>
                      <a:pt x="52981" y="136797"/>
                      <a:pt x="55258" y="136147"/>
                    </a:cubicBezTo>
                    <a:cubicBezTo>
                      <a:pt x="57813" y="135450"/>
                      <a:pt x="75049" y="139676"/>
                      <a:pt x="78208" y="138979"/>
                    </a:cubicBezTo>
                    <a:cubicBezTo>
                      <a:pt x="81413" y="138283"/>
                      <a:pt x="96047" y="138979"/>
                      <a:pt x="101158" y="139676"/>
                    </a:cubicBezTo>
                    <a:cubicBezTo>
                      <a:pt x="106268" y="140372"/>
                      <a:pt x="111983" y="137540"/>
                      <a:pt x="116443" y="132618"/>
                    </a:cubicBezTo>
                    <a:cubicBezTo>
                      <a:pt x="120903" y="127649"/>
                      <a:pt x="136884" y="126953"/>
                      <a:pt x="141994" y="127649"/>
                    </a:cubicBezTo>
                    <a:cubicBezTo>
                      <a:pt x="147058" y="128346"/>
                      <a:pt x="157279" y="129785"/>
                      <a:pt x="159230" y="133314"/>
                    </a:cubicBezTo>
                    <a:cubicBezTo>
                      <a:pt x="160252" y="135125"/>
                      <a:pt x="166246" y="137911"/>
                      <a:pt x="172332" y="140186"/>
                    </a:cubicBezTo>
                    <a:cubicBezTo>
                      <a:pt x="173075" y="136657"/>
                      <a:pt x="172145" y="132107"/>
                      <a:pt x="172332" y="127649"/>
                    </a:cubicBezTo>
                    <a:cubicBezTo>
                      <a:pt x="172656" y="120220"/>
                      <a:pt x="176466" y="108936"/>
                      <a:pt x="183156" y="108239"/>
                    </a:cubicBezTo>
                    <a:cubicBezTo>
                      <a:pt x="189846" y="107543"/>
                      <a:pt x="195282" y="107543"/>
                      <a:pt x="194306" y="95191"/>
                    </a:cubicBezTo>
                    <a:cubicBezTo>
                      <a:pt x="194306" y="94773"/>
                      <a:pt x="194306" y="94448"/>
                      <a:pt x="194259" y="94077"/>
                    </a:cubicBezTo>
                    <a:cubicBezTo>
                      <a:pt x="190868" y="90873"/>
                      <a:pt x="187709" y="88133"/>
                      <a:pt x="186687" y="88133"/>
                    </a:cubicBezTo>
                    <a:cubicBezTo>
                      <a:pt x="184132" y="88133"/>
                      <a:pt x="176466" y="94077"/>
                      <a:pt x="174561" y="93752"/>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21" name="Freeform 62">
                <a:extLst>
                  <a:ext uri="{FF2B5EF4-FFF2-40B4-BE49-F238E27FC236}">
                    <a16:creationId xmlns:a16="http://schemas.microsoft.com/office/drawing/2014/main" id="{CC73F60D-23ED-11A6-C72A-FB1C77E1C77B}"/>
                  </a:ext>
                </a:extLst>
              </p:cNvPr>
              <p:cNvSpPr/>
              <p:nvPr/>
            </p:nvSpPr>
            <p:spPr>
              <a:xfrm>
                <a:off x="11568774" y="1483736"/>
                <a:ext cx="731547" cy="387250"/>
              </a:xfrm>
              <a:custGeom>
                <a:avLst/>
                <a:gdLst>
                  <a:gd name="connsiteX0" fmla="*/ 51345 w 156619"/>
                  <a:gd name="connsiteY0" fmla="*/ 57834 h 82908"/>
                  <a:gd name="connsiteX1" fmla="*/ 78663 w 156619"/>
                  <a:gd name="connsiteY1" fmla="*/ 57834 h 82908"/>
                  <a:gd name="connsiteX2" fmla="*/ 91346 w 156619"/>
                  <a:gd name="connsiteY2" fmla="*/ 63220 h 82908"/>
                  <a:gd name="connsiteX3" fmla="*/ 111834 w 156619"/>
                  <a:gd name="connsiteY3" fmla="*/ 75107 h 82908"/>
                  <a:gd name="connsiteX4" fmla="*/ 122751 w 156619"/>
                  <a:gd name="connsiteY4" fmla="*/ 82908 h 82908"/>
                  <a:gd name="connsiteX5" fmla="*/ 126932 w 156619"/>
                  <a:gd name="connsiteY5" fmla="*/ 77754 h 82908"/>
                  <a:gd name="connsiteX6" fmla="*/ 141613 w 156619"/>
                  <a:gd name="connsiteY6" fmla="*/ 75618 h 82908"/>
                  <a:gd name="connsiteX7" fmla="*/ 149929 w 156619"/>
                  <a:gd name="connsiteY7" fmla="*/ 67121 h 82908"/>
                  <a:gd name="connsiteX8" fmla="*/ 156619 w 156619"/>
                  <a:gd name="connsiteY8" fmla="*/ 64149 h 82908"/>
                  <a:gd name="connsiteX9" fmla="*/ 151973 w 156619"/>
                  <a:gd name="connsiteY9" fmla="*/ 49475 h 82908"/>
                  <a:gd name="connsiteX10" fmla="*/ 145283 w 156619"/>
                  <a:gd name="connsiteY10" fmla="*/ 35684 h 82908"/>
                  <a:gd name="connsiteX11" fmla="*/ 142867 w 156619"/>
                  <a:gd name="connsiteY11" fmla="*/ 22450 h 82908"/>
                  <a:gd name="connsiteX12" fmla="*/ 139244 w 156619"/>
                  <a:gd name="connsiteY12" fmla="*/ 16368 h 82908"/>
                  <a:gd name="connsiteX13" fmla="*/ 118663 w 156619"/>
                  <a:gd name="connsiteY13" fmla="*/ 14882 h 82908"/>
                  <a:gd name="connsiteX14" fmla="*/ 96967 w 156619"/>
                  <a:gd name="connsiteY14" fmla="*/ 765 h 82908"/>
                  <a:gd name="connsiteX15" fmla="*/ 73738 w 156619"/>
                  <a:gd name="connsiteY15" fmla="*/ 1137 h 82908"/>
                  <a:gd name="connsiteX16" fmla="*/ 71787 w 156619"/>
                  <a:gd name="connsiteY16" fmla="*/ 24772 h 82908"/>
                  <a:gd name="connsiteX17" fmla="*/ 54272 w 156619"/>
                  <a:gd name="connsiteY17" fmla="*/ 33966 h 82908"/>
                  <a:gd name="connsiteX18" fmla="*/ 35132 w 156619"/>
                  <a:gd name="connsiteY18" fmla="*/ 9217 h 82908"/>
                  <a:gd name="connsiteX19" fmla="*/ 14365 w 156619"/>
                  <a:gd name="connsiteY19" fmla="*/ 19804 h 82908"/>
                  <a:gd name="connsiteX20" fmla="*/ 5770 w 156619"/>
                  <a:gd name="connsiteY20" fmla="*/ 38888 h 82908"/>
                  <a:gd name="connsiteX21" fmla="*/ 2565 w 156619"/>
                  <a:gd name="connsiteY21" fmla="*/ 61502 h 82908"/>
                  <a:gd name="connsiteX22" fmla="*/ 3122 w 156619"/>
                  <a:gd name="connsiteY22" fmla="*/ 62756 h 82908"/>
                  <a:gd name="connsiteX23" fmla="*/ 20219 w 156619"/>
                  <a:gd name="connsiteY23" fmla="*/ 57834 h 82908"/>
                  <a:gd name="connsiteX24" fmla="*/ 51392 w 156619"/>
                  <a:gd name="connsiteY24" fmla="*/ 57834 h 8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6619" h="82908">
                    <a:moveTo>
                      <a:pt x="51345" y="57834"/>
                    </a:moveTo>
                    <a:cubicBezTo>
                      <a:pt x="57199" y="57834"/>
                      <a:pt x="70858" y="61084"/>
                      <a:pt x="78663" y="57834"/>
                    </a:cubicBezTo>
                    <a:cubicBezTo>
                      <a:pt x="86468" y="54583"/>
                      <a:pt x="86468" y="64335"/>
                      <a:pt x="91346" y="63220"/>
                    </a:cubicBezTo>
                    <a:cubicBezTo>
                      <a:pt x="96224" y="62152"/>
                      <a:pt x="105980" y="69721"/>
                      <a:pt x="111834" y="75107"/>
                    </a:cubicBezTo>
                    <a:cubicBezTo>
                      <a:pt x="114946" y="77986"/>
                      <a:pt x="118663" y="80262"/>
                      <a:pt x="122751" y="82908"/>
                    </a:cubicBezTo>
                    <a:cubicBezTo>
                      <a:pt x="123680" y="81144"/>
                      <a:pt x="124935" y="79426"/>
                      <a:pt x="126932" y="77754"/>
                    </a:cubicBezTo>
                    <a:cubicBezTo>
                      <a:pt x="132043" y="73529"/>
                      <a:pt x="137153" y="75618"/>
                      <a:pt x="141613" y="75618"/>
                    </a:cubicBezTo>
                    <a:cubicBezTo>
                      <a:pt x="146073" y="75618"/>
                      <a:pt x="146724" y="69953"/>
                      <a:pt x="149929" y="67121"/>
                    </a:cubicBezTo>
                    <a:cubicBezTo>
                      <a:pt x="151741" y="65542"/>
                      <a:pt x="154528" y="64613"/>
                      <a:pt x="156619" y="64149"/>
                    </a:cubicBezTo>
                    <a:cubicBezTo>
                      <a:pt x="154900" y="60248"/>
                      <a:pt x="154807" y="52633"/>
                      <a:pt x="151973" y="49475"/>
                    </a:cubicBezTo>
                    <a:cubicBezTo>
                      <a:pt x="148628" y="45761"/>
                      <a:pt x="143843" y="39399"/>
                      <a:pt x="145283" y="35684"/>
                    </a:cubicBezTo>
                    <a:cubicBezTo>
                      <a:pt x="146724" y="31970"/>
                      <a:pt x="146724" y="26676"/>
                      <a:pt x="142867" y="22450"/>
                    </a:cubicBezTo>
                    <a:cubicBezTo>
                      <a:pt x="141195" y="20593"/>
                      <a:pt x="139894" y="18411"/>
                      <a:pt x="139244" y="16368"/>
                    </a:cubicBezTo>
                    <a:cubicBezTo>
                      <a:pt x="131485" y="15253"/>
                      <a:pt x="120986" y="13999"/>
                      <a:pt x="118663" y="14882"/>
                    </a:cubicBezTo>
                    <a:cubicBezTo>
                      <a:pt x="114854" y="16321"/>
                      <a:pt x="99522" y="2855"/>
                      <a:pt x="96967" y="765"/>
                    </a:cubicBezTo>
                    <a:cubicBezTo>
                      <a:pt x="95295" y="-628"/>
                      <a:pt x="83959" y="115"/>
                      <a:pt x="73738" y="1137"/>
                    </a:cubicBezTo>
                    <a:cubicBezTo>
                      <a:pt x="67838" y="8334"/>
                      <a:pt x="72112" y="13674"/>
                      <a:pt x="71787" y="24772"/>
                    </a:cubicBezTo>
                    <a:cubicBezTo>
                      <a:pt x="71462" y="36102"/>
                      <a:pt x="60312" y="33966"/>
                      <a:pt x="54272" y="33966"/>
                    </a:cubicBezTo>
                    <a:cubicBezTo>
                      <a:pt x="48233" y="33966"/>
                      <a:pt x="38337" y="13814"/>
                      <a:pt x="35132" y="9217"/>
                    </a:cubicBezTo>
                    <a:cubicBezTo>
                      <a:pt x="31926" y="4620"/>
                      <a:pt x="21705" y="14882"/>
                      <a:pt x="14365" y="19804"/>
                    </a:cubicBezTo>
                    <a:cubicBezTo>
                      <a:pt x="7025" y="24772"/>
                      <a:pt x="10834" y="34291"/>
                      <a:pt x="5770" y="38888"/>
                    </a:cubicBezTo>
                    <a:cubicBezTo>
                      <a:pt x="660" y="43485"/>
                      <a:pt x="-2499" y="51240"/>
                      <a:pt x="2565" y="61502"/>
                    </a:cubicBezTo>
                    <a:cubicBezTo>
                      <a:pt x="2751" y="61920"/>
                      <a:pt x="2890" y="62338"/>
                      <a:pt x="3122" y="62756"/>
                    </a:cubicBezTo>
                    <a:cubicBezTo>
                      <a:pt x="9487" y="62199"/>
                      <a:pt x="16270" y="60898"/>
                      <a:pt x="20219" y="57834"/>
                    </a:cubicBezTo>
                    <a:cubicBezTo>
                      <a:pt x="27048" y="52447"/>
                      <a:pt x="45585" y="57834"/>
                      <a:pt x="51392" y="57834"/>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22" name="Freeform 63">
                <a:extLst>
                  <a:ext uri="{FF2B5EF4-FFF2-40B4-BE49-F238E27FC236}">
                    <a16:creationId xmlns:a16="http://schemas.microsoft.com/office/drawing/2014/main" id="{A298F201-D682-3E3B-032F-95F4C4C2BB67}"/>
                  </a:ext>
                </a:extLst>
              </p:cNvPr>
              <p:cNvSpPr/>
              <p:nvPr/>
            </p:nvSpPr>
            <p:spPr>
              <a:xfrm>
                <a:off x="11564276" y="1742688"/>
                <a:ext cx="577631" cy="392637"/>
              </a:xfrm>
              <a:custGeom>
                <a:avLst/>
                <a:gdLst>
                  <a:gd name="connsiteX0" fmla="*/ 16071 w 123667"/>
                  <a:gd name="connsiteY0" fmla="*/ 41213 h 84061"/>
                  <a:gd name="connsiteX1" fmla="*/ 28987 w 123667"/>
                  <a:gd name="connsiteY1" fmla="*/ 46507 h 84061"/>
                  <a:gd name="connsiteX2" fmla="*/ 40926 w 123667"/>
                  <a:gd name="connsiteY2" fmla="*/ 54447 h 84061"/>
                  <a:gd name="connsiteX3" fmla="*/ 40926 w 123667"/>
                  <a:gd name="connsiteY3" fmla="*/ 71396 h 84061"/>
                  <a:gd name="connsiteX4" fmla="*/ 57837 w 123667"/>
                  <a:gd name="connsiteY4" fmla="*/ 82494 h 84061"/>
                  <a:gd name="connsiteX5" fmla="*/ 73633 w 123667"/>
                  <a:gd name="connsiteY5" fmla="*/ 83748 h 84061"/>
                  <a:gd name="connsiteX6" fmla="*/ 84457 w 123667"/>
                  <a:gd name="connsiteY6" fmla="*/ 78083 h 84061"/>
                  <a:gd name="connsiteX7" fmla="*/ 98487 w 123667"/>
                  <a:gd name="connsiteY7" fmla="*/ 73160 h 84061"/>
                  <a:gd name="connsiteX8" fmla="*/ 101693 w 123667"/>
                  <a:gd name="connsiteY8" fmla="*/ 61830 h 84061"/>
                  <a:gd name="connsiteX9" fmla="*/ 112564 w 123667"/>
                  <a:gd name="connsiteY9" fmla="*/ 50547 h 84061"/>
                  <a:gd name="connsiteX10" fmla="*/ 119579 w 123667"/>
                  <a:gd name="connsiteY10" fmla="*/ 44185 h 84061"/>
                  <a:gd name="connsiteX11" fmla="*/ 122135 w 123667"/>
                  <a:gd name="connsiteY11" fmla="*/ 34991 h 84061"/>
                  <a:gd name="connsiteX12" fmla="*/ 123668 w 123667"/>
                  <a:gd name="connsiteY12" fmla="*/ 27469 h 84061"/>
                  <a:gd name="connsiteX13" fmla="*/ 112750 w 123667"/>
                  <a:gd name="connsiteY13" fmla="*/ 19668 h 84061"/>
                  <a:gd name="connsiteX14" fmla="*/ 92262 w 123667"/>
                  <a:gd name="connsiteY14" fmla="*/ 7780 h 84061"/>
                  <a:gd name="connsiteX15" fmla="*/ 79579 w 123667"/>
                  <a:gd name="connsiteY15" fmla="*/ 2394 h 84061"/>
                  <a:gd name="connsiteX16" fmla="*/ 52262 w 123667"/>
                  <a:gd name="connsiteY16" fmla="*/ 2394 h 84061"/>
                  <a:gd name="connsiteX17" fmla="*/ 21089 w 123667"/>
                  <a:gd name="connsiteY17" fmla="*/ 2394 h 84061"/>
                  <a:gd name="connsiteX18" fmla="*/ 3992 w 123667"/>
                  <a:gd name="connsiteY18" fmla="*/ 7316 h 84061"/>
                  <a:gd name="connsiteX19" fmla="*/ 1855 w 123667"/>
                  <a:gd name="connsiteY19" fmla="*/ 33273 h 84061"/>
                  <a:gd name="connsiteX20" fmla="*/ 2924 w 123667"/>
                  <a:gd name="connsiteY20" fmla="*/ 39913 h 84061"/>
                  <a:gd name="connsiteX21" fmla="*/ 16025 w 123667"/>
                  <a:gd name="connsiteY21" fmla="*/ 41213 h 8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3667" h="84061">
                    <a:moveTo>
                      <a:pt x="16071" y="41213"/>
                    </a:moveTo>
                    <a:cubicBezTo>
                      <a:pt x="18441" y="44928"/>
                      <a:pt x="26106" y="48086"/>
                      <a:pt x="28987" y="46507"/>
                    </a:cubicBezTo>
                    <a:cubicBezTo>
                      <a:pt x="31867" y="44928"/>
                      <a:pt x="40926" y="50222"/>
                      <a:pt x="40926" y="54447"/>
                    </a:cubicBezTo>
                    <a:cubicBezTo>
                      <a:pt x="40926" y="58673"/>
                      <a:pt x="38557" y="71396"/>
                      <a:pt x="40926" y="71396"/>
                    </a:cubicBezTo>
                    <a:cubicBezTo>
                      <a:pt x="43110" y="71396"/>
                      <a:pt x="56861" y="76132"/>
                      <a:pt x="57837" y="82494"/>
                    </a:cubicBezTo>
                    <a:cubicBezTo>
                      <a:pt x="64016" y="82633"/>
                      <a:pt x="71031" y="83005"/>
                      <a:pt x="73633" y="83748"/>
                    </a:cubicBezTo>
                    <a:cubicBezTo>
                      <a:pt x="78743" y="85141"/>
                      <a:pt x="81902" y="81658"/>
                      <a:pt x="84457" y="78083"/>
                    </a:cubicBezTo>
                    <a:cubicBezTo>
                      <a:pt x="87012" y="74553"/>
                      <a:pt x="95932" y="73160"/>
                      <a:pt x="98487" y="73160"/>
                    </a:cubicBezTo>
                    <a:cubicBezTo>
                      <a:pt x="101043" y="73160"/>
                      <a:pt x="101043" y="65406"/>
                      <a:pt x="101693" y="61830"/>
                    </a:cubicBezTo>
                    <a:cubicBezTo>
                      <a:pt x="102343" y="58301"/>
                      <a:pt x="108708" y="51940"/>
                      <a:pt x="112564" y="50547"/>
                    </a:cubicBezTo>
                    <a:cubicBezTo>
                      <a:pt x="116420" y="49107"/>
                      <a:pt x="115770" y="44185"/>
                      <a:pt x="119579" y="44185"/>
                    </a:cubicBezTo>
                    <a:cubicBezTo>
                      <a:pt x="123389" y="44185"/>
                      <a:pt x="122785" y="38520"/>
                      <a:pt x="122135" y="34991"/>
                    </a:cubicBezTo>
                    <a:cubicBezTo>
                      <a:pt x="121763" y="32855"/>
                      <a:pt x="122228" y="30162"/>
                      <a:pt x="123668" y="27469"/>
                    </a:cubicBezTo>
                    <a:cubicBezTo>
                      <a:pt x="119579" y="24822"/>
                      <a:pt x="115863" y="22547"/>
                      <a:pt x="112750" y="19668"/>
                    </a:cubicBezTo>
                    <a:cubicBezTo>
                      <a:pt x="106896" y="14281"/>
                      <a:pt x="97140" y="6712"/>
                      <a:pt x="92262" y="7780"/>
                    </a:cubicBezTo>
                    <a:cubicBezTo>
                      <a:pt x="87384" y="8895"/>
                      <a:pt x="87384" y="-857"/>
                      <a:pt x="79579" y="2394"/>
                    </a:cubicBezTo>
                    <a:cubicBezTo>
                      <a:pt x="71774" y="5644"/>
                      <a:pt x="58116" y="2394"/>
                      <a:pt x="52262" y="2394"/>
                    </a:cubicBezTo>
                    <a:cubicBezTo>
                      <a:pt x="46408" y="2394"/>
                      <a:pt x="27872" y="-2992"/>
                      <a:pt x="21089" y="2394"/>
                    </a:cubicBezTo>
                    <a:cubicBezTo>
                      <a:pt x="17186" y="5459"/>
                      <a:pt x="10403" y="6759"/>
                      <a:pt x="3992" y="7316"/>
                    </a:cubicBezTo>
                    <a:cubicBezTo>
                      <a:pt x="8359" y="17160"/>
                      <a:pt x="6780" y="27144"/>
                      <a:pt x="1855" y="33273"/>
                    </a:cubicBezTo>
                    <a:cubicBezTo>
                      <a:pt x="-1629" y="37638"/>
                      <a:pt x="415" y="38195"/>
                      <a:pt x="2924" y="39913"/>
                    </a:cubicBezTo>
                    <a:cubicBezTo>
                      <a:pt x="8173" y="39356"/>
                      <a:pt x="14120" y="38242"/>
                      <a:pt x="16025" y="41213"/>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23" name="Freeform 64">
                <a:extLst>
                  <a:ext uri="{FF2B5EF4-FFF2-40B4-BE49-F238E27FC236}">
                    <a16:creationId xmlns:a16="http://schemas.microsoft.com/office/drawing/2014/main" id="{46137BC0-7F10-4997-126B-8C19F6E9CB7D}"/>
                  </a:ext>
                </a:extLst>
              </p:cNvPr>
              <p:cNvSpPr/>
              <p:nvPr/>
            </p:nvSpPr>
            <p:spPr>
              <a:xfrm>
                <a:off x="10121603" y="3070596"/>
                <a:ext cx="450540" cy="264401"/>
              </a:xfrm>
              <a:custGeom>
                <a:avLst/>
                <a:gdLst>
                  <a:gd name="connsiteX0" fmla="*/ 85773 w 96458"/>
                  <a:gd name="connsiteY0" fmla="*/ 23917 h 56607"/>
                  <a:gd name="connsiteX1" fmla="*/ 74763 w 96458"/>
                  <a:gd name="connsiteY1" fmla="*/ 17556 h 56607"/>
                  <a:gd name="connsiteX2" fmla="*/ 74763 w 96458"/>
                  <a:gd name="connsiteY2" fmla="*/ 7526 h 56607"/>
                  <a:gd name="connsiteX3" fmla="*/ 62312 w 96458"/>
                  <a:gd name="connsiteY3" fmla="*/ 1490 h 56607"/>
                  <a:gd name="connsiteX4" fmla="*/ 47631 w 96458"/>
                  <a:gd name="connsiteY4" fmla="*/ 2186 h 56607"/>
                  <a:gd name="connsiteX5" fmla="*/ 29327 w 96458"/>
                  <a:gd name="connsiteY5" fmla="*/ 2882 h 56607"/>
                  <a:gd name="connsiteX6" fmla="*/ 26400 w 96458"/>
                  <a:gd name="connsiteY6" fmla="*/ 6412 h 56607"/>
                  <a:gd name="connsiteX7" fmla="*/ 15389 w 96458"/>
                  <a:gd name="connsiteY7" fmla="*/ 16488 h 56607"/>
                  <a:gd name="connsiteX8" fmla="*/ 1499 w 96458"/>
                  <a:gd name="connsiteY8" fmla="*/ 35573 h 56607"/>
                  <a:gd name="connsiteX9" fmla="*/ 4379 w 96458"/>
                  <a:gd name="connsiteY9" fmla="*/ 43513 h 56607"/>
                  <a:gd name="connsiteX10" fmla="*/ 13949 w 96458"/>
                  <a:gd name="connsiteY10" fmla="*/ 44581 h 56607"/>
                  <a:gd name="connsiteX11" fmla="*/ 17759 w 96458"/>
                  <a:gd name="connsiteY11" fmla="*/ 56236 h 56607"/>
                  <a:gd name="connsiteX12" fmla="*/ 17712 w 96458"/>
                  <a:gd name="connsiteY12" fmla="*/ 56608 h 56607"/>
                  <a:gd name="connsiteX13" fmla="*/ 36110 w 96458"/>
                  <a:gd name="connsiteY13" fmla="*/ 55168 h 56607"/>
                  <a:gd name="connsiteX14" fmla="*/ 46934 w 96458"/>
                  <a:gd name="connsiteY14" fmla="*/ 38219 h 56607"/>
                  <a:gd name="connsiteX15" fmla="*/ 59060 w 96458"/>
                  <a:gd name="connsiteY15" fmla="*/ 54472 h 56607"/>
                  <a:gd name="connsiteX16" fmla="*/ 64821 w 96458"/>
                  <a:gd name="connsiteY16" fmla="*/ 45974 h 56607"/>
                  <a:gd name="connsiteX17" fmla="*/ 72486 w 96458"/>
                  <a:gd name="connsiteY17" fmla="*/ 41052 h 56607"/>
                  <a:gd name="connsiteX18" fmla="*/ 82707 w 96458"/>
                  <a:gd name="connsiteY18" fmla="*/ 38219 h 56607"/>
                  <a:gd name="connsiteX19" fmla="*/ 89072 w 96458"/>
                  <a:gd name="connsiteY19" fmla="*/ 35433 h 56607"/>
                  <a:gd name="connsiteX20" fmla="*/ 92277 w 96458"/>
                  <a:gd name="connsiteY20" fmla="*/ 29768 h 56607"/>
                  <a:gd name="connsiteX21" fmla="*/ 96458 w 96458"/>
                  <a:gd name="connsiteY21" fmla="*/ 25496 h 56607"/>
                  <a:gd name="connsiteX22" fmla="*/ 85727 w 96458"/>
                  <a:gd name="connsiteY22" fmla="*/ 23964 h 56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6458" h="56607">
                    <a:moveTo>
                      <a:pt x="85773" y="23917"/>
                    </a:moveTo>
                    <a:cubicBezTo>
                      <a:pt x="81453" y="26007"/>
                      <a:pt x="74763" y="19692"/>
                      <a:pt x="74763" y="17556"/>
                    </a:cubicBezTo>
                    <a:cubicBezTo>
                      <a:pt x="74763" y="16070"/>
                      <a:pt x="73880" y="10823"/>
                      <a:pt x="74763" y="7526"/>
                    </a:cubicBezTo>
                    <a:cubicBezTo>
                      <a:pt x="71232" y="5483"/>
                      <a:pt x="66122" y="2743"/>
                      <a:pt x="62312" y="1490"/>
                    </a:cubicBezTo>
                    <a:cubicBezTo>
                      <a:pt x="55947" y="-600"/>
                      <a:pt x="52742" y="-600"/>
                      <a:pt x="47631" y="2186"/>
                    </a:cubicBezTo>
                    <a:cubicBezTo>
                      <a:pt x="44379" y="3997"/>
                      <a:pt x="35413" y="3486"/>
                      <a:pt x="29327" y="2882"/>
                    </a:cubicBezTo>
                    <a:cubicBezTo>
                      <a:pt x="28769" y="4972"/>
                      <a:pt x="27933" y="6412"/>
                      <a:pt x="26400" y="6412"/>
                    </a:cubicBezTo>
                    <a:cubicBezTo>
                      <a:pt x="22079" y="6412"/>
                      <a:pt x="16365" y="11194"/>
                      <a:pt x="15389" y="16488"/>
                    </a:cubicBezTo>
                    <a:cubicBezTo>
                      <a:pt x="14414" y="21781"/>
                      <a:pt x="4379" y="26007"/>
                      <a:pt x="1499" y="35573"/>
                    </a:cubicBezTo>
                    <a:cubicBezTo>
                      <a:pt x="-1382" y="45092"/>
                      <a:pt x="58" y="49364"/>
                      <a:pt x="4379" y="43513"/>
                    </a:cubicBezTo>
                    <a:cubicBezTo>
                      <a:pt x="8699" y="37709"/>
                      <a:pt x="13949" y="39798"/>
                      <a:pt x="13949" y="44581"/>
                    </a:cubicBezTo>
                    <a:cubicBezTo>
                      <a:pt x="13949" y="49364"/>
                      <a:pt x="19710" y="49874"/>
                      <a:pt x="17759" y="56236"/>
                    </a:cubicBezTo>
                    <a:cubicBezTo>
                      <a:pt x="17759" y="56375"/>
                      <a:pt x="17759" y="56468"/>
                      <a:pt x="17712" y="56608"/>
                    </a:cubicBezTo>
                    <a:cubicBezTo>
                      <a:pt x="24263" y="55957"/>
                      <a:pt x="33369" y="55168"/>
                      <a:pt x="36110" y="55168"/>
                    </a:cubicBezTo>
                    <a:cubicBezTo>
                      <a:pt x="40570" y="55168"/>
                      <a:pt x="45030" y="39659"/>
                      <a:pt x="46934" y="38219"/>
                    </a:cubicBezTo>
                    <a:cubicBezTo>
                      <a:pt x="48839" y="36826"/>
                      <a:pt x="53949" y="49549"/>
                      <a:pt x="59060" y="54472"/>
                    </a:cubicBezTo>
                    <a:cubicBezTo>
                      <a:pt x="64170" y="59394"/>
                      <a:pt x="64821" y="50246"/>
                      <a:pt x="64821" y="45974"/>
                    </a:cubicBezTo>
                    <a:cubicBezTo>
                      <a:pt x="64821" y="41702"/>
                      <a:pt x="69281" y="40309"/>
                      <a:pt x="72486" y="41052"/>
                    </a:cubicBezTo>
                    <a:cubicBezTo>
                      <a:pt x="75692" y="41748"/>
                      <a:pt x="82707" y="43141"/>
                      <a:pt x="82707" y="38219"/>
                    </a:cubicBezTo>
                    <a:cubicBezTo>
                      <a:pt x="82707" y="33297"/>
                      <a:pt x="86516" y="35433"/>
                      <a:pt x="89072" y="35433"/>
                    </a:cubicBezTo>
                    <a:cubicBezTo>
                      <a:pt x="91627" y="35433"/>
                      <a:pt x="92277" y="29768"/>
                      <a:pt x="92277" y="29768"/>
                    </a:cubicBezTo>
                    <a:lnTo>
                      <a:pt x="96458" y="25496"/>
                    </a:lnTo>
                    <a:cubicBezTo>
                      <a:pt x="93067" y="23592"/>
                      <a:pt x="89118" y="22292"/>
                      <a:pt x="85727" y="23964"/>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27" name="Freeform 67">
                <a:extLst>
                  <a:ext uri="{FF2B5EF4-FFF2-40B4-BE49-F238E27FC236}">
                    <a16:creationId xmlns:a16="http://schemas.microsoft.com/office/drawing/2014/main" id="{319493AF-DF01-4F7C-F3E5-E11197E945EB}"/>
                  </a:ext>
                </a:extLst>
              </p:cNvPr>
              <p:cNvSpPr/>
              <p:nvPr/>
            </p:nvSpPr>
            <p:spPr>
              <a:xfrm>
                <a:off x="10108679" y="2001996"/>
                <a:ext cx="895308" cy="1116032"/>
              </a:xfrm>
              <a:custGeom>
                <a:avLst/>
                <a:gdLst>
                  <a:gd name="connsiteX0" fmla="*/ 24288 w 191679"/>
                  <a:gd name="connsiteY0" fmla="*/ 62873 h 238935"/>
                  <a:gd name="connsiteX1" fmla="*/ 13417 w 191679"/>
                  <a:gd name="connsiteY1" fmla="*/ 74156 h 238935"/>
                  <a:gd name="connsiteX2" fmla="*/ 20432 w 191679"/>
                  <a:gd name="connsiteY2" fmla="*/ 86879 h 238935"/>
                  <a:gd name="connsiteX3" fmla="*/ 15972 w 191679"/>
                  <a:gd name="connsiteY3" fmla="*/ 94680 h 238935"/>
                  <a:gd name="connsiteX4" fmla="*/ 3847 w 191679"/>
                  <a:gd name="connsiteY4" fmla="*/ 101042 h 238935"/>
                  <a:gd name="connsiteX5" fmla="*/ 2592 w 191679"/>
                  <a:gd name="connsiteY5" fmla="*/ 112326 h 238935"/>
                  <a:gd name="connsiteX6" fmla="*/ 37 w 191679"/>
                  <a:gd name="connsiteY6" fmla="*/ 131410 h 238935"/>
                  <a:gd name="connsiteX7" fmla="*/ 5798 w 191679"/>
                  <a:gd name="connsiteY7" fmla="*/ 146223 h 238935"/>
                  <a:gd name="connsiteX8" fmla="*/ 1338 w 191679"/>
                  <a:gd name="connsiteY8" fmla="*/ 155417 h 238935"/>
                  <a:gd name="connsiteX9" fmla="*/ 8167 w 191679"/>
                  <a:gd name="connsiteY9" fmla="*/ 175198 h 238935"/>
                  <a:gd name="connsiteX10" fmla="*/ 12952 w 191679"/>
                  <a:gd name="connsiteY10" fmla="*/ 177984 h 238935"/>
                  <a:gd name="connsiteX11" fmla="*/ 26843 w 191679"/>
                  <a:gd name="connsiteY11" fmla="*/ 185414 h 238935"/>
                  <a:gd name="connsiteX12" fmla="*/ 38318 w 191679"/>
                  <a:gd name="connsiteY12" fmla="*/ 189639 h 238935"/>
                  <a:gd name="connsiteX13" fmla="*/ 42639 w 191679"/>
                  <a:gd name="connsiteY13" fmla="*/ 197580 h 238935"/>
                  <a:gd name="connsiteX14" fmla="*/ 34044 w 191679"/>
                  <a:gd name="connsiteY14" fmla="*/ 217175 h 238935"/>
                  <a:gd name="connsiteX15" fmla="*/ 32186 w 191679"/>
                  <a:gd name="connsiteY15" fmla="*/ 231663 h 238935"/>
                  <a:gd name="connsiteX16" fmla="*/ 50490 w 191679"/>
                  <a:gd name="connsiteY16" fmla="*/ 230966 h 238935"/>
                  <a:gd name="connsiteX17" fmla="*/ 65171 w 191679"/>
                  <a:gd name="connsiteY17" fmla="*/ 230270 h 238935"/>
                  <a:gd name="connsiteX18" fmla="*/ 77622 w 191679"/>
                  <a:gd name="connsiteY18" fmla="*/ 236306 h 238935"/>
                  <a:gd name="connsiteX19" fmla="*/ 79991 w 191679"/>
                  <a:gd name="connsiteY19" fmla="*/ 233613 h 238935"/>
                  <a:gd name="connsiteX20" fmla="*/ 92442 w 191679"/>
                  <a:gd name="connsiteY20" fmla="*/ 237328 h 238935"/>
                  <a:gd name="connsiteX21" fmla="*/ 105357 w 191679"/>
                  <a:gd name="connsiteY21" fmla="*/ 235238 h 238935"/>
                  <a:gd name="connsiteX22" fmla="*/ 117808 w 191679"/>
                  <a:gd name="connsiteY22" fmla="*/ 234170 h 238935"/>
                  <a:gd name="connsiteX23" fmla="*/ 139829 w 191679"/>
                  <a:gd name="connsiteY23" fmla="*/ 229434 h 238935"/>
                  <a:gd name="connsiteX24" fmla="*/ 148424 w 191679"/>
                  <a:gd name="connsiteY24" fmla="*/ 222562 h 238935"/>
                  <a:gd name="connsiteX25" fmla="*/ 157018 w 191679"/>
                  <a:gd name="connsiteY25" fmla="*/ 207749 h 238935"/>
                  <a:gd name="connsiteX26" fmla="*/ 169004 w 191679"/>
                  <a:gd name="connsiteY26" fmla="*/ 197162 h 238935"/>
                  <a:gd name="connsiteX27" fmla="*/ 146519 w 191679"/>
                  <a:gd name="connsiteY27" fmla="*/ 178634 h 238935"/>
                  <a:gd name="connsiteX28" fmla="*/ 139364 w 191679"/>
                  <a:gd name="connsiteY28" fmla="*/ 158482 h 238935"/>
                  <a:gd name="connsiteX29" fmla="*/ 137924 w 191679"/>
                  <a:gd name="connsiteY29" fmla="*/ 145759 h 238935"/>
                  <a:gd name="connsiteX30" fmla="*/ 160409 w 191679"/>
                  <a:gd name="connsiteY30" fmla="*/ 136239 h 238935"/>
                  <a:gd name="connsiteX31" fmla="*/ 178110 w 191679"/>
                  <a:gd name="connsiteY31" fmla="*/ 127231 h 238935"/>
                  <a:gd name="connsiteX32" fmla="*/ 189585 w 191679"/>
                  <a:gd name="connsiteY32" fmla="*/ 126674 h 238935"/>
                  <a:gd name="connsiteX33" fmla="*/ 190050 w 191679"/>
                  <a:gd name="connsiteY33" fmla="*/ 113440 h 238935"/>
                  <a:gd name="connsiteX34" fmla="*/ 184800 w 191679"/>
                  <a:gd name="connsiteY34" fmla="*/ 94355 h 238935"/>
                  <a:gd name="connsiteX35" fmla="*/ 181920 w 191679"/>
                  <a:gd name="connsiteY35" fmla="*/ 81632 h 238935"/>
                  <a:gd name="connsiteX36" fmla="*/ 177134 w 191679"/>
                  <a:gd name="connsiteY36" fmla="*/ 69977 h 238935"/>
                  <a:gd name="connsiteX37" fmla="*/ 175694 w 191679"/>
                  <a:gd name="connsiteY37" fmla="*/ 60458 h 238935"/>
                  <a:gd name="connsiteX38" fmla="*/ 176159 w 191679"/>
                  <a:gd name="connsiteY38" fmla="*/ 35569 h 238935"/>
                  <a:gd name="connsiteX39" fmla="*/ 176066 w 191679"/>
                  <a:gd name="connsiteY39" fmla="*/ 32644 h 238935"/>
                  <a:gd name="connsiteX40" fmla="*/ 174254 w 191679"/>
                  <a:gd name="connsiteY40" fmla="*/ 29718 h 238935"/>
                  <a:gd name="connsiteX41" fmla="*/ 161525 w 191679"/>
                  <a:gd name="connsiteY41" fmla="*/ 21964 h 238935"/>
                  <a:gd name="connsiteX42" fmla="*/ 163429 w 191679"/>
                  <a:gd name="connsiteY42" fmla="*/ 8172 h 238935"/>
                  <a:gd name="connsiteX43" fmla="*/ 144289 w 191679"/>
                  <a:gd name="connsiteY43" fmla="*/ 13791 h 238935"/>
                  <a:gd name="connsiteX44" fmla="*/ 120038 w 191679"/>
                  <a:gd name="connsiteY44" fmla="*/ 29347 h 238935"/>
                  <a:gd name="connsiteX45" fmla="*/ 108841 w 191679"/>
                  <a:gd name="connsiteY45" fmla="*/ 20153 h 238935"/>
                  <a:gd name="connsiteX46" fmla="*/ 101176 w 191679"/>
                  <a:gd name="connsiteY46" fmla="*/ 15927 h 238935"/>
                  <a:gd name="connsiteX47" fmla="*/ 85241 w 191679"/>
                  <a:gd name="connsiteY47" fmla="*/ 7429 h 238935"/>
                  <a:gd name="connsiteX48" fmla="*/ 83987 w 191679"/>
                  <a:gd name="connsiteY48" fmla="*/ 1950 h 238935"/>
                  <a:gd name="connsiteX49" fmla="*/ 75996 w 191679"/>
                  <a:gd name="connsiteY49" fmla="*/ 2136 h 238935"/>
                  <a:gd name="connsiteX50" fmla="*/ 56298 w 191679"/>
                  <a:gd name="connsiteY50" fmla="*/ 0 h 238935"/>
                  <a:gd name="connsiteX51" fmla="*/ 60014 w 191679"/>
                  <a:gd name="connsiteY51" fmla="*/ 11330 h 238935"/>
                  <a:gd name="connsiteX52" fmla="*/ 65775 w 191679"/>
                  <a:gd name="connsiteY52" fmla="*/ 31808 h 238935"/>
                  <a:gd name="connsiteX53" fmla="*/ 56530 w 191679"/>
                  <a:gd name="connsiteY53" fmla="*/ 41327 h 238935"/>
                  <a:gd name="connsiteX54" fmla="*/ 40595 w 191679"/>
                  <a:gd name="connsiteY54" fmla="*/ 38866 h 238935"/>
                  <a:gd name="connsiteX55" fmla="*/ 24335 w 191679"/>
                  <a:gd name="connsiteY55" fmla="*/ 41698 h 238935"/>
                  <a:gd name="connsiteX56" fmla="*/ 23731 w 191679"/>
                  <a:gd name="connsiteY56" fmla="*/ 46713 h 238935"/>
                  <a:gd name="connsiteX57" fmla="*/ 24335 w 191679"/>
                  <a:gd name="connsiteY57" fmla="*/ 62919 h 238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91679" h="238935">
                    <a:moveTo>
                      <a:pt x="24288" y="62873"/>
                    </a:moveTo>
                    <a:cubicBezTo>
                      <a:pt x="19178" y="71324"/>
                      <a:pt x="12163" y="72020"/>
                      <a:pt x="13417" y="74156"/>
                    </a:cubicBezTo>
                    <a:cubicBezTo>
                      <a:pt x="14718" y="76292"/>
                      <a:pt x="22337" y="83350"/>
                      <a:pt x="20432" y="86879"/>
                    </a:cubicBezTo>
                    <a:cubicBezTo>
                      <a:pt x="18527" y="90408"/>
                      <a:pt x="15972" y="88319"/>
                      <a:pt x="15972" y="94680"/>
                    </a:cubicBezTo>
                    <a:cubicBezTo>
                      <a:pt x="15972" y="101042"/>
                      <a:pt x="7052" y="101042"/>
                      <a:pt x="3847" y="101042"/>
                    </a:cubicBezTo>
                    <a:cubicBezTo>
                      <a:pt x="641" y="101042"/>
                      <a:pt x="4497" y="107403"/>
                      <a:pt x="2592" y="112326"/>
                    </a:cubicBezTo>
                    <a:cubicBezTo>
                      <a:pt x="687" y="117248"/>
                      <a:pt x="687" y="127138"/>
                      <a:pt x="37" y="131410"/>
                    </a:cubicBezTo>
                    <a:cubicBezTo>
                      <a:pt x="-567" y="135636"/>
                      <a:pt x="6402" y="142694"/>
                      <a:pt x="5798" y="146223"/>
                    </a:cubicBezTo>
                    <a:cubicBezTo>
                      <a:pt x="5147" y="149752"/>
                      <a:pt x="37" y="152584"/>
                      <a:pt x="1338" y="155417"/>
                    </a:cubicBezTo>
                    <a:cubicBezTo>
                      <a:pt x="2546" y="158110"/>
                      <a:pt x="7145" y="162150"/>
                      <a:pt x="8167" y="175198"/>
                    </a:cubicBezTo>
                    <a:cubicBezTo>
                      <a:pt x="10351" y="175895"/>
                      <a:pt x="12163" y="176823"/>
                      <a:pt x="12952" y="177984"/>
                    </a:cubicBezTo>
                    <a:cubicBezTo>
                      <a:pt x="15833" y="182210"/>
                      <a:pt x="20618" y="185414"/>
                      <a:pt x="26843" y="185414"/>
                    </a:cubicBezTo>
                    <a:cubicBezTo>
                      <a:pt x="33069" y="185414"/>
                      <a:pt x="35438" y="190197"/>
                      <a:pt x="38318" y="189639"/>
                    </a:cubicBezTo>
                    <a:cubicBezTo>
                      <a:pt x="41199" y="189129"/>
                      <a:pt x="48864" y="191775"/>
                      <a:pt x="42639" y="197580"/>
                    </a:cubicBezTo>
                    <a:cubicBezTo>
                      <a:pt x="36413" y="203384"/>
                      <a:pt x="35438" y="210303"/>
                      <a:pt x="34044" y="217175"/>
                    </a:cubicBezTo>
                    <a:cubicBezTo>
                      <a:pt x="33115" y="221633"/>
                      <a:pt x="33162" y="227809"/>
                      <a:pt x="32186" y="231663"/>
                    </a:cubicBezTo>
                    <a:cubicBezTo>
                      <a:pt x="38272" y="232266"/>
                      <a:pt x="47238" y="232731"/>
                      <a:pt x="50490" y="230966"/>
                    </a:cubicBezTo>
                    <a:cubicBezTo>
                      <a:pt x="55601" y="228180"/>
                      <a:pt x="58760" y="228180"/>
                      <a:pt x="65171" y="230270"/>
                    </a:cubicBezTo>
                    <a:cubicBezTo>
                      <a:pt x="68980" y="231524"/>
                      <a:pt x="74091" y="234263"/>
                      <a:pt x="77622" y="236306"/>
                    </a:cubicBezTo>
                    <a:cubicBezTo>
                      <a:pt x="77993" y="234867"/>
                      <a:pt x="78690" y="233799"/>
                      <a:pt x="79991" y="233613"/>
                    </a:cubicBezTo>
                    <a:cubicBezTo>
                      <a:pt x="84311" y="233102"/>
                      <a:pt x="89561" y="242621"/>
                      <a:pt x="92442" y="237328"/>
                    </a:cubicBezTo>
                    <a:cubicBezTo>
                      <a:pt x="95322" y="232034"/>
                      <a:pt x="102012" y="233102"/>
                      <a:pt x="105357" y="235238"/>
                    </a:cubicBezTo>
                    <a:cubicBezTo>
                      <a:pt x="108702" y="237328"/>
                      <a:pt x="113952" y="238396"/>
                      <a:pt x="117808" y="234170"/>
                    </a:cubicBezTo>
                    <a:cubicBezTo>
                      <a:pt x="121617" y="229945"/>
                      <a:pt x="136437" y="227809"/>
                      <a:pt x="139829" y="229434"/>
                    </a:cubicBezTo>
                    <a:cubicBezTo>
                      <a:pt x="143174" y="231013"/>
                      <a:pt x="151768" y="235238"/>
                      <a:pt x="148424" y="222562"/>
                    </a:cubicBezTo>
                    <a:cubicBezTo>
                      <a:pt x="145078" y="209839"/>
                      <a:pt x="155578" y="212485"/>
                      <a:pt x="157018" y="207749"/>
                    </a:cubicBezTo>
                    <a:cubicBezTo>
                      <a:pt x="158458" y="202966"/>
                      <a:pt x="170909" y="200877"/>
                      <a:pt x="169004" y="197162"/>
                    </a:cubicBezTo>
                    <a:cubicBezTo>
                      <a:pt x="167099" y="193447"/>
                      <a:pt x="151304" y="182303"/>
                      <a:pt x="146519" y="178634"/>
                    </a:cubicBezTo>
                    <a:cubicBezTo>
                      <a:pt x="141734" y="174920"/>
                      <a:pt x="141734" y="163264"/>
                      <a:pt x="139364" y="158482"/>
                    </a:cubicBezTo>
                    <a:cubicBezTo>
                      <a:pt x="136995" y="153699"/>
                      <a:pt x="131699" y="147384"/>
                      <a:pt x="137924" y="145759"/>
                    </a:cubicBezTo>
                    <a:cubicBezTo>
                      <a:pt x="144149" y="144180"/>
                      <a:pt x="155160" y="141533"/>
                      <a:pt x="160409" y="136239"/>
                    </a:cubicBezTo>
                    <a:cubicBezTo>
                      <a:pt x="165659" y="130946"/>
                      <a:pt x="175230" y="130435"/>
                      <a:pt x="178110" y="127231"/>
                    </a:cubicBezTo>
                    <a:cubicBezTo>
                      <a:pt x="180990" y="124074"/>
                      <a:pt x="187680" y="129878"/>
                      <a:pt x="189585" y="126674"/>
                    </a:cubicBezTo>
                    <a:cubicBezTo>
                      <a:pt x="191490" y="123516"/>
                      <a:pt x="192930" y="117155"/>
                      <a:pt x="190050" y="113440"/>
                    </a:cubicBezTo>
                    <a:cubicBezTo>
                      <a:pt x="187169" y="109725"/>
                      <a:pt x="185265" y="103364"/>
                      <a:pt x="184800" y="94355"/>
                    </a:cubicBezTo>
                    <a:cubicBezTo>
                      <a:pt x="184335" y="85347"/>
                      <a:pt x="181920" y="85858"/>
                      <a:pt x="181920" y="81632"/>
                    </a:cubicBezTo>
                    <a:cubicBezTo>
                      <a:pt x="181920" y="77407"/>
                      <a:pt x="180479" y="72113"/>
                      <a:pt x="177134" y="69977"/>
                    </a:cubicBezTo>
                    <a:cubicBezTo>
                      <a:pt x="173789" y="67888"/>
                      <a:pt x="172349" y="66262"/>
                      <a:pt x="175694" y="60458"/>
                    </a:cubicBezTo>
                    <a:cubicBezTo>
                      <a:pt x="179039" y="54607"/>
                      <a:pt x="177599" y="39794"/>
                      <a:pt x="176159" y="35569"/>
                    </a:cubicBezTo>
                    <a:cubicBezTo>
                      <a:pt x="175880" y="34733"/>
                      <a:pt x="175927" y="33758"/>
                      <a:pt x="176066" y="32644"/>
                    </a:cubicBezTo>
                    <a:cubicBezTo>
                      <a:pt x="175230" y="32179"/>
                      <a:pt x="174533" y="31250"/>
                      <a:pt x="174254" y="29718"/>
                    </a:cubicBezTo>
                    <a:cubicBezTo>
                      <a:pt x="173278" y="24053"/>
                      <a:pt x="169794" y="21964"/>
                      <a:pt x="161525" y="21964"/>
                    </a:cubicBezTo>
                    <a:cubicBezTo>
                      <a:pt x="153255" y="21964"/>
                      <a:pt x="166635" y="12770"/>
                      <a:pt x="163429" y="8172"/>
                    </a:cubicBezTo>
                    <a:cubicBezTo>
                      <a:pt x="160270" y="3575"/>
                      <a:pt x="151954" y="16624"/>
                      <a:pt x="144289" y="13791"/>
                    </a:cubicBezTo>
                    <a:cubicBezTo>
                      <a:pt x="136623" y="11005"/>
                      <a:pt x="126774" y="23682"/>
                      <a:pt x="120038" y="29347"/>
                    </a:cubicBezTo>
                    <a:cubicBezTo>
                      <a:pt x="113348" y="35012"/>
                      <a:pt x="103777" y="28279"/>
                      <a:pt x="108841" y="20153"/>
                    </a:cubicBezTo>
                    <a:cubicBezTo>
                      <a:pt x="113952" y="12027"/>
                      <a:pt x="108841" y="12723"/>
                      <a:pt x="101176" y="15927"/>
                    </a:cubicBezTo>
                    <a:cubicBezTo>
                      <a:pt x="93510" y="19085"/>
                      <a:pt x="84265" y="15231"/>
                      <a:pt x="85241" y="7429"/>
                    </a:cubicBezTo>
                    <a:cubicBezTo>
                      <a:pt x="85473" y="5479"/>
                      <a:pt x="84915" y="3668"/>
                      <a:pt x="83987" y="1950"/>
                    </a:cubicBezTo>
                    <a:cubicBezTo>
                      <a:pt x="80270" y="2507"/>
                      <a:pt x="77389" y="2647"/>
                      <a:pt x="75996" y="2136"/>
                    </a:cubicBezTo>
                    <a:cubicBezTo>
                      <a:pt x="72558" y="882"/>
                      <a:pt x="64799" y="186"/>
                      <a:pt x="56298" y="0"/>
                    </a:cubicBezTo>
                    <a:cubicBezTo>
                      <a:pt x="58853" y="4133"/>
                      <a:pt x="61594" y="8126"/>
                      <a:pt x="60014" y="11330"/>
                    </a:cubicBezTo>
                    <a:cubicBezTo>
                      <a:pt x="57134" y="17320"/>
                      <a:pt x="61594" y="22985"/>
                      <a:pt x="65775" y="31808"/>
                    </a:cubicBezTo>
                    <a:cubicBezTo>
                      <a:pt x="69910" y="40630"/>
                      <a:pt x="56855" y="35708"/>
                      <a:pt x="56530" y="41327"/>
                    </a:cubicBezTo>
                    <a:cubicBezTo>
                      <a:pt x="56205" y="46992"/>
                      <a:pt x="44404" y="40955"/>
                      <a:pt x="40595" y="38866"/>
                    </a:cubicBezTo>
                    <a:cubicBezTo>
                      <a:pt x="36785" y="36776"/>
                      <a:pt x="24009" y="38169"/>
                      <a:pt x="24335" y="41698"/>
                    </a:cubicBezTo>
                    <a:cubicBezTo>
                      <a:pt x="24474" y="43091"/>
                      <a:pt x="24242" y="45042"/>
                      <a:pt x="23731" y="46713"/>
                    </a:cubicBezTo>
                    <a:cubicBezTo>
                      <a:pt x="25449" y="53539"/>
                      <a:pt x="26193" y="59808"/>
                      <a:pt x="24335" y="62919"/>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28" name="Freeform 69">
                <a:extLst>
                  <a:ext uri="{FF2B5EF4-FFF2-40B4-BE49-F238E27FC236}">
                    <a16:creationId xmlns:a16="http://schemas.microsoft.com/office/drawing/2014/main" id="{AD09F389-CEF8-978A-169C-9F28E726CB3E}"/>
                  </a:ext>
                </a:extLst>
              </p:cNvPr>
              <p:cNvSpPr/>
              <p:nvPr/>
            </p:nvSpPr>
            <p:spPr>
              <a:xfrm>
                <a:off x="11578581" y="-694094"/>
                <a:ext cx="1054834" cy="1851277"/>
              </a:xfrm>
              <a:custGeom>
                <a:avLst/>
                <a:gdLst>
                  <a:gd name="connsiteX0" fmla="*/ 218538 w 225833"/>
                  <a:gd name="connsiteY0" fmla="*/ 279847 h 396346"/>
                  <a:gd name="connsiteX1" fmla="*/ 191128 w 225833"/>
                  <a:gd name="connsiteY1" fmla="*/ 256537 h 396346"/>
                  <a:gd name="connsiteX2" fmla="*/ 204508 w 225833"/>
                  <a:gd name="connsiteY2" fmla="*/ 243117 h 396346"/>
                  <a:gd name="connsiteX3" fmla="*/ 193032 w 225833"/>
                  <a:gd name="connsiteY3" fmla="*/ 230394 h 396346"/>
                  <a:gd name="connsiteX4" fmla="*/ 196238 w 225833"/>
                  <a:gd name="connsiteY4" fmla="*/ 218367 h 396346"/>
                  <a:gd name="connsiteX5" fmla="*/ 185413 w 225833"/>
                  <a:gd name="connsiteY5" fmla="*/ 210566 h 396346"/>
                  <a:gd name="connsiteX6" fmla="*/ 190524 w 225833"/>
                  <a:gd name="connsiteY6" fmla="*/ 203508 h 396346"/>
                  <a:gd name="connsiteX7" fmla="*/ 187365 w 225833"/>
                  <a:gd name="connsiteY7" fmla="*/ 185120 h 396346"/>
                  <a:gd name="connsiteX8" fmla="*/ 194380 w 225833"/>
                  <a:gd name="connsiteY8" fmla="*/ 171004 h 396346"/>
                  <a:gd name="connsiteX9" fmla="*/ 173985 w 225833"/>
                  <a:gd name="connsiteY9" fmla="*/ 134970 h 396346"/>
                  <a:gd name="connsiteX10" fmla="*/ 180396 w 225833"/>
                  <a:gd name="connsiteY10" fmla="*/ 120854 h 396346"/>
                  <a:gd name="connsiteX11" fmla="*/ 193776 w 225833"/>
                  <a:gd name="connsiteY11" fmla="*/ 103163 h 396346"/>
                  <a:gd name="connsiteX12" fmla="*/ 178491 w 225833"/>
                  <a:gd name="connsiteY12" fmla="*/ 85517 h 396346"/>
                  <a:gd name="connsiteX13" fmla="*/ 165111 w 225833"/>
                  <a:gd name="connsiteY13" fmla="*/ 77020 h 396346"/>
                  <a:gd name="connsiteX14" fmla="*/ 161906 w 225833"/>
                  <a:gd name="connsiteY14" fmla="*/ 63600 h 396346"/>
                  <a:gd name="connsiteX15" fmla="*/ 165111 w 225833"/>
                  <a:gd name="connsiteY15" fmla="*/ 50877 h 396346"/>
                  <a:gd name="connsiteX16" fmla="*/ 173381 w 225833"/>
                  <a:gd name="connsiteY16" fmla="*/ 43819 h 396346"/>
                  <a:gd name="connsiteX17" fmla="*/ 178166 w 225833"/>
                  <a:gd name="connsiteY17" fmla="*/ 35136 h 396346"/>
                  <a:gd name="connsiteX18" fmla="*/ 178166 w 225833"/>
                  <a:gd name="connsiteY18" fmla="*/ 21809 h 396346"/>
                  <a:gd name="connsiteX19" fmla="*/ 155634 w 225833"/>
                  <a:gd name="connsiteY19" fmla="*/ 4767 h 396346"/>
                  <a:gd name="connsiteX20" fmla="*/ 138212 w 225833"/>
                  <a:gd name="connsiteY20" fmla="*/ 4767 h 396346"/>
                  <a:gd name="connsiteX21" fmla="*/ 116702 w 225833"/>
                  <a:gd name="connsiteY21" fmla="*/ 10432 h 396346"/>
                  <a:gd name="connsiteX22" fmla="*/ 103415 w 225833"/>
                  <a:gd name="connsiteY22" fmla="*/ 26313 h 396346"/>
                  <a:gd name="connsiteX23" fmla="*/ 99327 w 225833"/>
                  <a:gd name="connsiteY23" fmla="*/ 46744 h 396346"/>
                  <a:gd name="connsiteX24" fmla="*/ 90128 w 225833"/>
                  <a:gd name="connsiteY24" fmla="*/ 60350 h 396346"/>
                  <a:gd name="connsiteX25" fmla="*/ 77817 w 225833"/>
                  <a:gd name="connsiteY25" fmla="*/ 56960 h 396346"/>
                  <a:gd name="connsiteX26" fmla="*/ 61417 w 225833"/>
                  <a:gd name="connsiteY26" fmla="*/ 55846 h 396346"/>
                  <a:gd name="connsiteX27" fmla="*/ 37863 w 225833"/>
                  <a:gd name="connsiteY27" fmla="*/ 54731 h 396346"/>
                  <a:gd name="connsiteX28" fmla="*/ 14309 w 225833"/>
                  <a:gd name="connsiteY28" fmla="*/ 35461 h 396346"/>
                  <a:gd name="connsiteX29" fmla="*/ 0 w 225833"/>
                  <a:gd name="connsiteY29" fmla="*/ 47116 h 396346"/>
                  <a:gd name="connsiteX30" fmla="*/ 23508 w 225833"/>
                  <a:gd name="connsiteY30" fmla="*/ 66108 h 396346"/>
                  <a:gd name="connsiteX31" fmla="*/ 54263 w 225833"/>
                  <a:gd name="connsiteY31" fmla="*/ 86539 h 396346"/>
                  <a:gd name="connsiteX32" fmla="*/ 55285 w 225833"/>
                  <a:gd name="connsiteY32" fmla="*/ 109246 h 396346"/>
                  <a:gd name="connsiteX33" fmla="*/ 60395 w 225833"/>
                  <a:gd name="connsiteY33" fmla="*/ 130791 h 396346"/>
                  <a:gd name="connsiteX34" fmla="*/ 59373 w 225833"/>
                  <a:gd name="connsiteY34" fmla="*/ 151223 h 396346"/>
                  <a:gd name="connsiteX35" fmla="*/ 63508 w 225833"/>
                  <a:gd name="connsiteY35" fmla="*/ 163667 h 396346"/>
                  <a:gd name="connsiteX36" fmla="*/ 66528 w 225833"/>
                  <a:gd name="connsiteY36" fmla="*/ 175461 h 396346"/>
                  <a:gd name="connsiteX37" fmla="*/ 83903 w 225833"/>
                  <a:gd name="connsiteY37" fmla="*/ 183355 h 396346"/>
                  <a:gd name="connsiteX38" fmla="*/ 91569 w 225833"/>
                  <a:gd name="connsiteY38" fmla="*/ 201697 h 396346"/>
                  <a:gd name="connsiteX39" fmla="*/ 87759 w 225833"/>
                  <a:gd name="connsiteY39" fmla="*/ 210148 h 396346"/>
                  <a:gd name="connsiteX40" fmla="*/ 75958 w 225833"/>
                  <a:gd name="connsiteY40" fmla="*/ 220735 h 396346"/>
                  <a:gd name="connsiteX41" fmla="*/ 53938 w 225833"/>
                  <a:gd name="connsiteY41" fmla="*/ 244742 h 396346"/>
                  <a:gd name="connsiteX42" fmla="*/ 41162 w 225833"/>
                  <a:gd name="connsiteY42" fmla="*/ 255701 h 396346"/>
                  <a:gd name="connsiteX43" fmla="*/ 31870 w 225833"/>
                  <a:gd name="connsiteY43" fmla="*/ 261505 h 396346"/>
                  <a:gd name="connsiteX44" fmla="*/ 29965 w 225833"/>
                  <a:gd name="connsiteY44" fmla="*/ 265823 h 396346"/>
                  <a:gd name="connsiteX45" fmla="*/ 29733 w 225833"/>
                  <a:gd name="connsiteY45" fmla="*/ 268749 h 396346"/>
                  <a:gd name="connsiteX46" fmla="*/ 15563 w 225833"/>
                  <a:gd name="connsiteY46" fmla="*/ 276875 h 396346"/>
                  <a:gd name="connsiteX47" fmla="*/ 12729 w 225833"/>
                  <a:gd name="connsiteY47" fmla="*/ 277479 h 396346"/>
                  <a:gd name="connsiteX48" fmla="*/ 5203 w 225833"/>
                  <a:gd name="connsiteY48" fmla="*/ 292059 h 396346"/>
                  <a:gd name="connsiteX49" fmla="*/ 5854 w 225833"/>
                  <a:gd name="connsiteY49" fmla="*/ 305850 h 396346"/>
                  <a:gd name="connsiteX50" fmla="*/ 8084 w 225833"/>
                  <a:gd name="connsiteY50" fmla="*/ 322474 h 396346"/>
                  <a:gd name="connsiteX51" fmla="*/ 11940 w 225833"/>
                  <a:gd name="connsiteY51" fmla="*/ 349313 h 396346"/>
                  <a:gd name="connsiteX52" fmla="*/ 6179 w 225833"/>
                  <a:gd name="connsiteY52" fmla="*/ 374063 h 396346"/>
                  <a:gd name="connsiteX53" fmla="*/ 26295 w 225833"/>
                  <a:gd name="connsiteY53" fmla="*/ 382885 h 396346"/>
                  <a:gd name="connsiteX54" fmla="*/ 39350 w 225833"/>
                  <a:gd name="connsiteY54" fmla="*/ 390640 h 396346"/>
                  <a:gd name="connsiteX55" fmla="*/ 62950 w 225833"/>
                  <a:gd name="connsiteY55" fmla="*/ 396305 h 396346"/>
                  <a:gd name="connsiteX56" fmla="*/ 129896 w 225833"/>
                  <a:gd name="connsiteY56" fmla="*/ 379356 h 396346"/>
                  <a:gd name="connsiteX57" fmla="*/ 149223 w 225833"/>
                  <a:gd name="connsiteY57" fmla="*/ 376942 h 396346"/>
                  <a:gd name="connsiteX58" fmla="*/ 159536 w 225833"/>
                  <a:gd name="connsiteY58" fmla="*/ 362408 h 396346"/>
                  <a:gd name="connsiteX59" fmla="*/ 192707 w 225833"/>
                  <a:gd name="connsiteY59" fmla="*/ 332736 h 396346"/>
                  <a:gd name="connsiteX60" fmla="*/ 224624 w 225833"/>
                  <a:gd name="connsiteY60" fmla="*/ 298839 h 396346"/>
                  <a:gd name="connsiteX61" fmla="*/ 218863 w 225833"/>
                  <a:gd name="connsiteY61" fmla="*/ 279754 h 39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25833" h="396346">
                    <a:moveTo>
                      <a:pt x="218538" y="279847"/>
                    </a:moveTo>
                    <a:cubicBezTo>
                      <a:pt x="210222" y="269260"/>
                      <a:pt x="191778" y="262202"/>
                      <a:pt x="191128" y="256537"/>
                    </a:cubicBezTo>
                    <a:cubicBezTo>
                      <a:pt x="190477" y="250871"/>
                      <a:pt x="205158" y="250175"/>
                      <a:pt x="204508" y="243117"/>
                    </a:cubicBezTo>
                    <a:cubicBezTo>
                      <a:pt x="203857" y="236059"/>
                      <a:pt x="196238" y="236059"/>
                      <a:pt x="193032" y="230394"/>
                    </a:cubicBezTo>
                    <a:cubicBezTo>
                      <a:pt x="189827" y="224729"/>
                      <a:pt x="196888" y="221200"/>
                      <a:pt x="196238" y="218367"/>
                    </a:cubicBezTo>
                    <a:cubicBezTo>
                      <a:pt x="195587" y="215535"/>
                      <a:pt x="186017" y="214142"/>
                      <a:pt x="185413" y="210566"/>
                    </a:cubicBezTo>
                    <a:cubicBezTo>
                      <a:pt x="184763" y="207037"/>
                      <a:pt x="191824" y="207780"/>
                      <a:pt x="190524" y="203508"/>
                    </a:cubicBezTo>
                    <a:cubicBezTo>
                      <a:pt x="189269" y="199282"/>
                      <a:pt x="182905" y="191481"/>
                      <a:pt x="187365" y="185120"/>
                    </a:cubicBezTo>
                    <a:cubicBezTo>
                      <a:pt x="191824" y="178758"/>
                      <a:pt x="201395" y="185120"/>
                      <a:pt x="194380" y="171004"/>
                    </a:cubicBezTo>
                    <a:cubicBezTo>
                      <a:pt x="187365" y="156888"/>
                      <a:pt x="176540" y="139242"/>
                      <a:pt x="173985" y="134970"/>
                    </a:cubicBezTo>
                    <a:cubicBezTo>
                      <a:pt x="171430" y="130745"/>
                      <a:pt x="176540" y="123640"/>
                      <a:pt x="180396" y="120854"/>
                    </a:cubicBezTo>
                    <a:cubicBezTo>
                      <a:pt x="184206" y="118022"/>
                      <a:pt x="193776" y="107435"/>
                      <a:pt x="193776" y="103163"/>
                    </a:cubicBezTo>
                    <a:cubicBezTo>
                      <a:pt x="193776" y="98891"/>
                      <a:pt x="181650" y="87607"/>
                      <a:pt x="178491" y="85517"/>
                    </a:cubicBezTo>
                    <a:cubicBezTo>
                      <a:pt x="175285" y="83381"/>
                      <a:pt x="168270" y="84124"/>
                      <a:pt x="165111" y="77020"/>
                    </a:cubicBezTo>
                    <a:cubicBezTo>
                      <a:pt x="161906" y="69962"/>
                      <a:pt x="158746" y="67872"/>
                      <a:pt x="161906" y="63600"/>
                    </a:cubicBezTo>
                    <a:cubicBezTo>
                      <a:pt x="165111" y="59375"/>
                      <a:pt x="165111" y="55149"/>
                      <a:pt x="165111" y="50877"/>
                    </a:cubicBezTo>
                    <a:cubicBezTo>
                      <a:pt x="165111" y="46605"/>
                      <a:pt x="172126" y="50181"/>
                      <a:pt x="173381" y="43819"/>
                    </a:cubicBezTo>
                    <a:cubicBezTo>
                      <a:pt x="173985" y="40940"/>
                      <a:pt x="175797" y="37736"/>
                      <a:pt x="178166" y="35136"/>
                    </a:cubicBezTo>
                    <a:cubicBezTo>
                      <a:pt x="178166" y="30306"/>
                      <a:pt x="178677" y="25106"/>
                      <a:pt x="178166" y="21809"/>
                    </a:cubicBezTo>
                    <a:cubicBezTo>
                      <a:pt x="177144" y="14983"/>
                      <a:pt x="159722" y="12708"/>
                      <a:pt x="155634" y="4767"/>
                    </a:cubicBezTo>
                    <a:cubicBezTo>
                      <a:pt x="151499" y="-3173"/>
                      <a:pt x="141278" y="217"/>
                      <a:pt x="138212" y="4767"/>
                    </a:cubicBezTo>
                    <a:cubicBezTo>
                      <a:pt x="135146" y="9318"/>
                      <a:pt x="116702" y="3653"/>
                      <a:pt x="116702" y="10432"/>
                    </a:cubicBezTo>
                    <a:cubicBezTo>
                      <a:pt x="116702" y="17212"/>
                      <a:pt x="103415" y="18373"/>
                      <a:pt x="103415" y="26313"/>
                    </a:cubicBezTo>
                    <a:cubicBezTo>
                      <a:pt x="103415" y="34253"/>
                      <a:pt x="109548" y="47859"/>
                      <a:pt x="99327" y="46744"/>
                    </a:cubicBezTo>
                    <a:cubicBezTo>
                      <a:pt x="89060" y="45630"/>
                      <a:pt x="96261" y="51295"/>
                      <a:pt x="90128" y="60350"/>
                    </a:cubicBezTo>
                    <a:cubicBezTo>
                      <a:pt x="83949" y="69451"/>
                      <a:pt x="83949" y="54685"/>
                      <a:pt x="77817" y="56960"/>
                    </a:cubicBezTo>
                    <a:cubicBezTo>
                      <a:pt x="71684" y="59235"/>
                      <a:pt x="64484" y="50134"/>
                      <a:pt x="61417" y="55846"/>
                    </a:cubicBezTo>
                    <a:cubicBezTo>
                      <a:pt x="58351" y="61511"/>
                      <a:pt x="48084" y="56960"/>
                      <a:pt x="37863" y="54731"/>
                    </a:cubicBezTo>
                    <a:cubicBezTo>
                      <a:pt x="27596" y="52456"/>
                      <a:pt x="22486" y="36575"/>
                      <a:pt x="14309" y="35461"/>
                    </a:cubicBezTo>
                    <a:cubicBezTo>
                      <a:pt x="8873" y="34718"/>
                      <a:pt x="3066" y="39501"/>
                      <a:pt x="0" y="47116"/>
                    </a:cubicBezTo>
                    <a:cubicBezTo>
                      <a:pt x="7944" y="52781"/>
                      <a:pt x="13148" y="60861"/>
                      <a:pt x="23508" y="66108"/>
                    </a:cubicBezTo>
                    <a:cubicBezTo>
                      <a:pt x="34797" y="71773"/>
                      <a:pt x="55285" y="78599"/>
                      <a:pt x="54263" y="86539"/>
                    </a:cubicBezTo>
                    <a:cubicBezTo>
                      <a:pt x="53241" y="94479"/>
                      <a:pt x="50128" y="105809"/>
                      <a:pt x="55285" y="109246"/>
                    </a:cubicBezTo>
                    <a:cubicBezTo>
                      <a:pt x="60395" y="112635"/>
                      <a:pt x="54263" y="127402"/>
                      <a:pt x="60395" y="130791"/>
                    </a:cubicBezTo>
                    <a:cubicBezTo>
                      <a:pt x="66528" y="134181"/>
                      <a:pt x="64484" y="151223"/>
                      <a:pt x="59373" y="151223"/>
                    </a:cubicBezTo>
                    <a:cubicBezTo>
                      <a:pt x="54263" y="151223"/>
                      <a:pt x="60395" y="160277"/>
                      <a:pt x="63508" y="163667"/>
                    </a:cubicBezTo>
                    <a:cubicBezTo>
                      <a:pt x="64901" y="165246"/>
                      <a:pt x="66017" y="169843"/>
                      <a:pt x="66528" y="175461"/>
                    </a:cubicBezTo>
                    <a:cubicBezTo>
                      <a:pt x="72846" y="177133"/>
                      <a:pt x="78421" y="180662"/>
                      <a:pt x="83903" y="183355"/>
                    </a:cubicBezTo>
                    <a:cubicBezTo>
                      <a:pt x="92497" y="187581"/>
                      <a:pt x="91243" y="194314"/>
                      <a:pt x="91569" y="201697"/>
                    </a:cubicBezTo>
                    <a:cubicBezTo>
                      <a:pt x="91894" y="209127"/>
                      <a:pt x="92219" y="213352"/>
                      <a:pt x="87759" y="210148"/>
                    </a:cubicBezTo>
                    <a:cubicBezTo>
                      <a:pt x="83299" y="206991"/>
                      <a:pt x="78514" y="210148"/>
                      <a:pt x="75958" y="220735"/>
                    </a:cubicBezTo>
                    <a:cubicBezTo>
                      <a:pt x="73403" y="231322"/>
                      <a:pt x="61278" y="244046"/>
                      <a:pt x="53938" y="244742"/>
                    </a:cubicBezTo>
                    <a:cubicBezTo>
                      <a:pt x="46597" y="245439"/>
                      <a:pt x="47248" y="253936"/>
                      <a:pt x="41162" y="255701"/>
                    </a:cubicBezTo>
                    <a:cubicBezTo>
                      <a:pt x="37538" y="256769"/>
                      <a:pt x="34007" y="258626"/>
                      <a:pt x="31870" y="261505"/>
                    </a:cubicBezTo>
                    <a:cubicBezTo>
                      <a:pt x="31359" y="262991"/>
                      <a:pt x="30709" y="264430"/>
                      <a:pt x="29965" y="265823"/>
                    </a:cubicBezTo>
                    <a:cubicBezTo>
                      <a:pt x="29779" y="266752"/>
                      <a:pt x="29687" y="267681"/>
                      <a:pt x="29733" y="268749"/>
                    </a:cubicBezTo>
                    <a:cubicBezTo>
                      <a:pt x="30012" y="275853"/>
                      <a:pt x="21603" y="276782"/>
                      <a:pt x="15563" y="276875"/>
                    </a:cubicBezTo>
                    <a:cubicBezTo>
                      <a:pt x="14634" y="277154"/>
                      <a:pt x="13659" y="277339"/>
                      <a:pt x="12729" y="277479"/>
                    </a:cubicBezTo>
                    <a:cubicBezTo>
                      <a:pt x="8966" y="279893"/>
                      <a:pt x="9338" y="289319"/>
                      <a:pt x="5203" y="292059"/>
                    </a:cubicBezTo>
                    <a:cubicBezTo>
                      <a:pt x="418" y="295263"/>
                      <a:pt x="1347" y="299489"/>
                      <a:pt x="5854" y="305850"/>
                    </a:cubicBezTo>
                    <a:cubicBezTo>
                      <a:pt x="10314" y="312212"/>
                      <a:pt x="6504" y="317877"/>
                      <a:pt x="8084" y="322474"/>
                    </a:cubicBezTo>
                    <a:cubicBezTo>
                      <a:pt x="9710" y="327071"/>
                      <a:pt x="16725" y="337658"/>
                      <a:pt x="11940" y="349313"/>
                    </a:cubicBezTo>
                    <a:cubicBezTo>
                      <a:pt x="7154" y="360968"/>
                      <a:pt x="2044" y="375456"/>
                      <a:pt x="6179" y="374063"/>
                    </a:cubicBezTo>
                    <a:cubicBezTo>
                      <a:pt x="10314" y="372670"/>
                      <a:pt x="19884" y="383582"/>
                      <a:pt x="26295" y="382885"/>
                    </a:cubicBezTo>
                    <a:cubicBezTo>
                      <a:pt x="32660" y="382189"/>
                      <a:pt x="33310" y="392776"/>
                      <a:pt x="39350" y="390640"/>
                    </a:cubicBezTo>
                    <a:cubicBezTo>
                      <a:pt x="45389" y="388550"/>
                      <a:pt x="45389" y="397002"/>
                      <a:pt x="62950" y="396305"/>
                    </a:cubicBezTo>
                    <a:cubicBezTo>
                      <a:pt x="80465" y="395609"/>
                      <a:pt x="115866" y="379356"/>
                      <a:pt x="129896" y="379356"/>
                    </a:cubicBezTo>
                    <a:cubicBezTo>
                      <a:pt x="137840" y="379356"/>
                      <a:pt x="144205" y="378288"/>
                      <a:pt x="149223" y="376942"/>
                    </a:cubicBezTo>
                    <a:cubicBezTo>
                      <a:pt x="152243" y="371927"/>
                      <a:pt x="155866" y="366494"/>
                      <a:pt x="159536" y="362408"/>
                    </a:cubicBezTo>
                    <a:cubicBezTo>
                      <a:pt x="168456" y="352517"/>
                      <a:pt x="187597" y="345459"/>
                      <a:pt x="192707" y="332736"/>
                    </a:cubicBezTo>
                    <a:cubicBezTo>
                      <a:pt x="197818" y="320013"/>
                      <a:pt x="220768" y="310215"/>
                      <a:pt x="224624" y="298839"/>
                    </a:cubicBezTo>
                    <a:cubicBezTo>
                      <a:pt x="226529" y="293174"/>
                      <a:pt x="227179" y="290341"/>
                      <a:pt x="218863" y="279754"/>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29" name="Freeform 70">
                <a:extLst>
                  <a:ext uri="{FF2B5EF4-FFF2-40B4-BE49-F238E27FC236}">
                    <a16:creationId xmlns:a16="http://schemas.microsoft.com/office/drawing/2014/main" id="{4098694F-F6E3-CDF1-C7BC-65B165907751}"/>
                  </a:ext>
                </a:extLst>
              </p:cNvPr>
              <p:cNvSpPr/>
              <p:nvPr/>
            </p:nvSpPr>
            <p:spPr>
              <a:xfrm>
                <a:off x="9006358" y="2578488"/>
                <a:ext cx="1312573" cy="1231436"/>
              </a:xfrm>
              <a:custGeom>
                <a:avLst/>
                <a:gdLst>
                  <a:gd name="connsiteX0" fmla="*/ 254250 w 281013"/>
                  <a:gd name="connsiteY0" fmla="*/ 121845 h 263642"/>
                  <a:gd name="connsiteX1" fmla="*/ 265261 w 281013"/>
                  <a:gd name="connsiteY1" fmla="*/ 111768 h 263642"/>
                  <a:gd name="connsiteX2" fmla="*/ 270046 w 281013"/>
                  <a:gd name="connsiteY2" fmla="*/ 93752 h 263642"/>
                  <a:gd name="connsiteX3" fmla="*/ 278640 w 281013"/>
                  <a:gd name="connsiteY3" fmla="*/ 74156 h 263642"/>
                  <a:gd name="connsiteX4" fmla="*/ 274320 w 281013"/>
                  <a:gd name="connsiteY4" fmla="*/ 66216 h 263642"/>
                  <a:gd name="connsiteX5" fmla="*/ 262845 w 281013"/>
                  <a:gd name="connsiteY5" fmla="*/ 61990 h 263642"/>
                  <a:gd name="connsiteX6" fmla="*/ 248954 w 281013"/>
                  <a:gd name="connsiteY6" fmla="*/ 54561 h 263642"/>
                  <a:gd name="connsiteX7" fmla="*/ 226468 w 281013"/>
                  <a:gd name="connsiteY7" fmla="*/ 50335 h 263642"/>
                  <a:gd name="connsiteX8" fmla="*/ 215458 w 281013"/>
                  <a:gd name="connsiteY8" fmla="*/ 42395 h 263642"/>
                  <a:gd name="connsiteX9" fmla="*/ 209232 w 281013"/>
                  <a:gd name="connsiteY9" fmla="*/ 31251 h 263642"/>
                  <a:gd name="connsiteX10" fmla="*/ 199662 w 281013"/>
                  <a:gd name="connsiteY10" fmla="*/ 36544 h 263642"/>
                  <a:gd name="connsiteX11" fmla="*/ 193437 w 281013"/>
                  <a:gd name="connsiteY11" fmla="*/ 28604 h 263642"/>
                  <a:gd name="connsiteX12" fmla="*/ 180057 w 281013"/>
                  <a:gd name="connsiteY12" fmla="*/ 19595 h 263642"/>
                  <a:gd name="connsiteX13" fmla="*/ 169046 w 281013"/>
                  <a:gd name="connsiteY13" fmla="*/ 12166 h 263642"/>
                  <a:gd name="connsiteX14" fmla="*/ 161381 w 281013"/>
                  <a:gd name="connsiteY14" fmla="*/ 3158 h 263642"/>
                  <a:gd name="connsiteX15" fmla="*/ 158593 w 281013"/>
                  <a:gd name="connsiteY15" fmla="*/ 0 h 263642"/>
                  <a:gd name="connsiteX16" fmla="*/ 153715 w 281013"/>
                  <a:gd name="connsiteY16" fmla="*/ 511 h 263642"/>
                  <a:gd name="connsiteX17" fmla="*/ 140661 w 281013"/>
                  <a:gd name="connsiteY17" fmla="*/ 21035 h 263642"/>
                  <a:gd name="connsiteX18" fmla="*/ 118314 w 281013"/>
                  <a:gd name="connsiteY18" fmla="*/ 37612 h 263642"/>
                  <a:gd name="connsiteX19" fmla="*/ 104284 w 281013"/>
                  <a:gd name="connsiteY19" fmla="*/ 54561 h 263642"/>
                  <a:gd name="connsiteX20" fmla="*/ 77153 w 281013"/>
                  <a:gd name="connsiteY20" fmla="*/ 44345 h 263642"/>
                  <a:gd name="connsiteX21" fmla="*/ 64702 w 281013"/>
                  <a:gd name="connsiteY21" fmla="*/ 53493 h 263642"/>
                  <a:gd name="connsiteX22" fmla="*/ 67582 w 281013"/>
                  <a:gd name="connsiteY22" fmla="*/ 78939 h 263642"/>
                  <a:gd name="connsiteX23" fmla="*/ 48767 w 281013"/>
                  <a:gd name="connsiteY23" fmla="*/ 77871 h 263642"/>
                  <a:gd name="connsiteX24" fmla="*/ 35712 w 281013"/>
                  <a:gd name="connsiteY24" fmla="*/ 70813 h 263642"/>
                  <a:gd name="connsiteX25" fmla="*/ 14667 w 281013"/>
                  <a:gd name="connsiteY25" fmla="*/ 73274 h 263642"/>
                  <a:gd name="connsiteX26" fmla="*/ 1287 w 281013"/>
                  <a:gd name="connsiteY26" fmla="*/ 84558 h 263642"/>
                  <a:gd name="connsiteX27" fmla="*/ 3842 w 281013"/>
                  <a:gd name="connsiteY27" fmla="*/ 99417 h 263642"/>
                  <a:gd name="connsiteX28" fmla="*/ 16154 w 281013"/>
                  <a:gd name="connsiteY28" fmla="*/ 104060 h 263642"/>
                  <a:gd name="connsiteX29" fmla="*/ 29766 w 281013"/>
                  <a:gd name="connsiteY29" fmla="*/ 103735 h 263642"/>
                  <a:gd name="connsiteX30" fmla="*/ 42820 w 281013"/>
                  <a:gd name="connsiteY30" fmla="*/ 113115 h 263642"/>
                  <a:gd name="connsiteX31" fmla="*/ 51369 w 281013"/>
                  <a:gd name="connsiteY31" fmla="*/ 115344 h 263642"/>
                  <a:gd name="connsiteX32" fmla="*/ 58384 w 281013"/>
                  <a:gd name="connsiteY32" fmla="*/ 125931 h 263642"/>
                  <a:gd name="connsiteX33" fmla="*/ 58523 w 281013"/>
                  <a:gd name="connsiteY33" fmla="*/ 127138 h 263642"/>
                  <a:gd name="connsiteX34" fmla="*/ 64377 w 281013"/>
                  <a:gd name="connsiteY34" fmla="*/ 134104 h 263642"/>
                  <a:gd name="connsiteX35" fmla="*/ 68790 w 281013"/>
                  <a:gd name="connsiteY35" fmla="*/ 143390 h 263642"/>
                  <a:gd name="connsiteX36" fmla="*/ 75294 w 281013"/>
                  <a:gd name="connsiteY36" fmla="*/ 146409 h 263642"/>
                  <a:gd name="connsiteX37" fmla="*/ 81055 w 281013"/>
                  <a:gd name="connsiteY37" fmla="*/ 165122 h 263642"/>
                  <a:gd name="connsiteX38" fmla="*/ 81520 w 281013"/>
                  <a:gd name="connsiteY38" fmla="*/ 172505 h 263642"/>
                  <a:gd name="connsiteX39" fmla="*/ 85051 w 281013"/>
                  <a:gd name="connsiteY39" fmla="*/ 183185 h 263642"/>
                  <a:gd name="connsiteX40" fmla="*/ 77292 w 281013"/>
                  <a:gd name="connsiteY40" fmla="*/ 207285 h 263642"/>
                  <a:gd name="connsiteX41" fmla="*/ 67722 w 281013"/>
                  <a:gd name="connsiteY41" fmla="*/ 236864 h 263642"/>
                  <a:gd name="connsiteX42" fmla="*/ 66467 w 281013"/>
                  <a:gd name="connsiteY42" fmla="*/ 237142 h 263642"/>
                  <a:gd name="connsiteX43" fmla="*/ 78732 w 281013"/>
                  <a:gd name="connsiteY43" fmla="*/ 243875 h 263642"/>
                  <a:gd name="connsiteX44" fmla="*/ 99685 w 281013"/>
                  <a:gd name="connsiteY44" fmla="*/ 255066 h 263642"/>
                  <a:gd name="connsiteX45" fmla="*/ 116735 w 281013"/>
                  <a:gd name="connsiteY45" fmla="*/ 253348 h 263642"/>
                  <a:gd name="connsiteX46" fmla="*/ 126816 w 281013"/>
                  <a:gd name="connsiteY46" fmla="*/ 255948 h 263642"/>
                  <a:gd name="connsiteX47" fmla="*/ 152415 w 281013"/>
                  <a:gd name="connsiteY47" fmla="*/ 262821 h 263642"/>
                  <a:gd name="connsiteX48" fmla="*/ 174575 w 281013"/>
                  <a:gd name="connsiteY48" fmla="*/ 263517 h 263642"/>
                  <a:gd name="connsiteX49" fmla="*/ 173274 w 281013"/>
                  <a:gd name="connsiteY49" fmla="*/ 257388 h 263642"/>
                  <a:gd name="connsiteX50" fmla="*/ 191114 w 281013"/>
                  <a:gd name="connsiteY50" fmla="*/ 233706 h 263642"/>
                  <a:gd name="connsiteX51" fmla="*/ 230649 w 281013"/>
                  <a:gd name="connsiteY51" fmla="*/ 243225 h 263642"/>
                  <a:gd name="connsiteX52" fmla="*/ 255505 w 281013"/>
                  <a:gd name="connsiteY52" fmla="*/ 234031 h 263642"/>
                  <a:gd name="connsiteX53" fmla="*/ 269024 w 281013"/>
                  <a:gd name="connsiteY53" fmla="*/ 224280 h 263642"/>
                  <a:gd name="connsiteX54" fmla="*/ 271440 w 281013"/>
                  <a:gd name="connsiteY54" fmla="*/ 216200 h 263642"/>
                  <a:gd name="connsiteX55" fmla="*/ 261404 w 281013"/>
                  <a:gd name="connsiteY55" fmla="*/ 212485 h 263642"/>
                  <a:gd name="connsiteX56" fmla="*/ 256619 w 281013"/>
                  <a:gd name="connsiteY56" fmla="*/ 200830 h 263642"/>
                  <a:gd name="connsiteX57" fmla="*/ 250394 w 281013"/>
                  <a:gd name="connsiteY57" fmla="*/ 188664 h 263642"/>
                  <a:gd name="connsiteX58" fmla="*/ 254715 w 281013"/>
                  <a:gd name="connsiteY58" fmla="*/ 182860 h 263642"/>
                  <a:gd name="connsiteX59" fmla="*/ 259035 w 281013"/>
                  <a:gd name="connsiteY59" fmla="*/ 173341 h 263642"/>
                  <a:gd name="connsiteX60" fmla="*/ 256666 w 281013"/>
                  <a:gd name="connsiteY60" fmla="*/ 161686 h 263642"/>
                  <a:gd name="connsiteX61" fmla="*/ 252856 w 281013"/>
                  <a:gd name="connsiteY61" fmla="*/ 150031 h 263642"/>
                  <a:gd name="connsiteX62" fmla="*/ 243286 w 281013"/>
                  <a:gd name="connsiteY62" fmla="*/ 148963 h 263642"/>
                  <a:gd name="connsiteX63" fmla="*/ 240406 w 281013"/>
                  <a:gd name="connsiteY63" fmla="*/ 141022 h 263642"/>
                  <a:gd name="connsiteX64" fmla="*/ 254297 w 281013"/>
                  <a:gd name="connsiteY64" fmla="*/ 121938 h 26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81013" h="263642">
                    <a:moveTo>
                      <a:pt x="254250" y="121845"/>
                    </a:moveTo>
                    <a:cubicBezTo>
                      <a:pt x="255226" y="116551"/>
                      <a:pt x="260940" y="111768"/>
                      <a:pt x="265261" y="111768"/>
                    </a:cubicBezTo>
                    <a:cubicBezTo>
                      <a:pt x="269581" y="111768"/>
                      <a:pt x="268606" y="100624"/>
                      <a:pt x="270046" y="93752"/>
                    </a:cubicBezTo>
                    <a:cubicBezTo>
                      <a:pt x="271486" y="86879"/>
                      <a:pt x="272461" y="79961"/>
                      <a:pt x="278640" y="74156"/>
                    </a:cubicBezTo>
                    <a:cubicBezTo>
                      <a:pt x="284866" y="68352"/>
                      <a:pt x="277200" y="65659"/>
                      <a:pt x="274320" y="66216"/>
                    </a:cubicBezTo>
                    <a:cubicBezTo>
                      <a:pt x="271440" y="66773"/>
                      <a:pt x="269070" y="61990"/>
                      <a:pt x="262845" y="61990"/>
                    </a:cubicBezTo>
                    <a:cubicBezTo>
                      <a:pt x="256619" y="61990"/>
                      <a:pt x="251834" y="58833"/>
                      <a:pt x="248954" y="54561"/>
                    </a:cubicBezTo>
                    <a:cubicBezTo>
                      <a:pt x="246073" y="50335"/>
                      <a:pt x="231253" y="49267"/>
                      <a:pt x="226468" y="50335"/>
                    </a:cubicBezTo>
                    <a:cubicBezTo>
                      <a:pt x="221683" y="51403"/>
                      <a:pt x="220243" y="41327"/>
                      <a:pt x="215458" y="42395"/>
                    </a:cubicBezTo>
                    <a:cubicBezTo>
                      <a:pt x="210673" y="43463"/>
                      <a:pt x="209232" y="35523"/>
                      <a:pt x="209232" y="31251"/>
                    </a:cubicBezTo>
                    <a:cubicBezTo>
                      <a:pt x="209232" y="26979"/>
                      <a:pt x="203983" y="34408"/>
                      <a:pt x="199662" y="36544"/>
                    </a:cubicBezTo>
                    <a:cubicBezTo>
                      <a:pt x="195342" y="38680"/>
                      <a:pt x="193901" y="31761"/>
                      <a:pt x="193437" y="28604"/>
                    </a:cubicBezTo>
                    <a:cubicBezTo>
                      <a:pt x="192972" y="25446"/>
                      <a:pt x="184331" y="22242"/>
                      <a:pt x="180057" y="19595"/>
                    </a:cubicBezTo>
                    <a:cubicBezTo>
                      <a:pt x="175736" y="16949"/>
                      <a:pt x="170951" y="8451"/>
                      <a:pt x="169046" y="12166"/>
                    </a:cubicBezTo>
                    <a:cubicBezTo>
                      <a:pt x="167142" y="15881"/>
                      <a:pt x="161892" y="6872"/>
                      <a:pt x="161381" y="3158"/>
                    </a:cubicBezTo>
                    <a:cubicBezTo>
                      <a:pt x="161056" y="696"/>
                      <a:pt x="159569" y="1486"/>
                      <a:pt x="158593" y="0"/>
                    </a:cubicBezTo>
                    <a:cubicBezTo>
                      <a:pt x="156967" y="371"/>
                      <a:pt x="155341" y="604"/>
                      <a:pt x="153715" y="511"/>
                    </a:cubicBezTo>
                    <a:cubicBezTo>
                      <a:pt x="146050" y="186"/>
                      <a:pt x="139360" y="6872"/>
                      <a:pt x="140661" y="21035"/>
                    </a:cubicBezTo>
                    <a:cubicBezTo>
                      <a:pt x="141915" y="35151"/>
                      <a:pt x="131415" y="36544"/>
                      <a:pt x="118314" y="37612"/>
                    </a:cubicBezTo>
                    <a:cubicBezTo>
                      <a:pt x="105213" y="38680"/>
                      <a:pt x="109720" y="49964"/>
                      <a:pt x="104284" y="54561"/>
                    </a:cubicBezTo>
                    <a:cubicBezTo>
                      <a:pt x="98848" y="59158"/>
                      <a:pt x="79708" y="52100"/>
                      <a:pt x="77153" y="44345"/>
                    </a:cubicBezTo>
                    <a:cubicBezTo>
                      <a:pt x="74598" y="36591"/>
                      <a:pt x="57408" y="44345"/>
                      <a:pt x="64702" y="53493"/>
                    </a:cubicBezTo>
                    <a:cubicBezTo>
                      <a:pt x="72042" y="62687"/>
                      <a:pt x="71717" y="75410"/>
                      <a:pt x="67582" y="78939"/>
                    </a:cubicBezTo>
                    <a:cubicBezTo>
                      <a:pt x="63448" y="82468"/>
                      <a:pt x="54481" y="73274"/>
                      <a:pt x="48767" y="77871"/>
                    </a:cubicBezTo>
                    <a:cubicBezTo>
                      <a:pt x="43053" y="82468"/>
                      <a:pt x="42727" y="73646"/>
                      <a:pt x="35712" y="70813"/>
                    </a:cubicBezTo>
                    <a:cubicBezTo>
                      <a:pt x="28697" y="67981"/>
                      <a:pt x="25817" y="74342"/>
                      <a:pt x="14667" y="73274"/>
                    </a:cubicBezTo>
                    <a:cubicBezTo>
                      <a:pt x="3517" y="72206"/>
                      <a:pt x="-2894" y="79264"/>
                      <a:pt x="1287" y="84558"/>
                    </a:cubicBezTo>
                    <a:cubicBezTo>
                      <a:pt x="5422" y="89851"/>
                      <a:pt x="636" y="94773"/>
                      <a:pt x="3842" y="99417"/>
                    </a:cubicBezTo>
                    <a:cubicBezTo>
                      <a:pt x="5515" y="101831"/>
                      <a:pt x="10346" y="102760"/>
                      <a:pt x="16154" y="104060"/>
                    </a:cubicBezTo>
                    <a:cubicBezTo>
                      <a:pt x="20567" y="102714"/>
                      <a:pt x="25631" y="102621"/>
                      <a:pt x="29766" y="103735"/>
                    </a:cubicBezTo>
                    <a:cubicBezTo>
                      <a:pt x="35201" y="105221"/>
                      <a:pt x="39568" y="108704"/>
                      <a:pt x="42820" y="113115"/>
                    </a:cubicBezTo>
                    <a:cubicBezTo>
                      <a:pt x="46119" y="113301"/>
                      <a:pt x="48302" y="112697"/>
                      <a:pt x="51369" y="115344"/>
                    </a:cubicBezTo>
                    <a:cubicBezTo>
                      <a:pt x="56804" y="119941"/>
                      <a:pt x="58059" y="117108"/>
                      <a:pt x="58384" y="125931"/>
                    </a:cubicBezTo>
                    <a:cubicBezTo>
                      <a:pt x="58384" y="126349"/>
                      <a:pt x="58477" y="126720"/>
                      <a:pt x="58523" y="127138"/>
                    </a:cubicBezTo>
                    <a:cubicBezTo>
                      <a:pt x="60707" y="128903"/>
                      <a:pt x="62751" y="131178"/>
                      <a:pt x="64377" y="134104"/>
                    </a:cubicBezTo>
                    <a:cubicBezTo>
                      <a:pt x="65956" y="136890"/>
                      <a:pt x="67396" y="140094"/>
                      <a:pt x="68790" y="143390"/>
                    </a:cubicBezTo>
                    <a:cubicBezTo>
                      <a:pt x="70695" y="144598"/>
                      <a:pt x="72879" y="145666"/>
                      <a:pt x="75294" y="146409"/>
                    </a:cubicBezTo>
                    <a:cubicBezTo>
                      <a:pt x="85840" y="149566"/>
                      <a:pt x="77849" y="157367"/>
                      <a:pt x="81055" y="165122"/>
                    </a:cubicBezTo>
                    <a:cubicBezTo>
                      <a:pt x="81938" y="167351"/>
                      <a:pt x="81938" y="169858"/>
                      <a:pt x="81520" y="172505"/>
                    </a:cubicBezTo>
                    <a:cubicBezTo>
                      <a:pt x="83006" y="176034"/>
                      <a:pt x="84354" y="179702"/>
                      <a:pt x="85051" y="183185"/>
                    </a:cubicBezTo>
                    <a:cubicBezTo>
                      <a:pt x="86862" y="192333"/>
                      <a:pt x="84121" y="201620"/>
                      <a:pt x="77292" y="207285"/>
                    </a:cubicBezTo>
                    <a:cubicBezTo>
                      <a:pt x="75480" y="219683"/>
                      <a:pt x="71206" y="234913"/>
                      <a:pt x="67722" y="236864"/>
                    </a:cubicBezTo>
                    <a:cubicBezTo>
                      <a:pt x="67396" y="237049"/>
                      <a:pt x="66885" y="237049"/>
                      <a:pt x="66467" y="237142"/>
                    </a:cubicBezTo>
                    <a:cubicBezTo>
                      <a:pt x="71252" y="239789"/>
                      <a:pt x="76270" y="242064"/>
                      <a:pt x="78732" y="243875"/>
                    </a:cubicBezTo>
                    <a:cubicBezTo>
                      <a:pt x="83378" y="247311"/>
                      <a:pt x="93459" y="250748"/>
                      <a:pt x="99685" y="255066"/>
                    </a:cubicBezTo>
                    <a:cubicBezTo>
                      <a:pt x="105910" y="259384"/>
                      <a:pt x="116735" y="258502"/>
                      <a:pt x="116735" y="253348"/>
                    </a:cubicBezTo>
                    <a:cubicBezTo>
                      <a:pt x="116735" y="248194"/>
                      <a:pt x="122914" y="251676"/>
                      <a:pt x="126816" y="255948"/>
                    </a:cubicBezTo>
                    <a:cubicBezTo>
                      <a:pt x="130672" y="260267"/>
                      <a:pt x="145446" y="261103"/>
                      <a:pt x="152415" y="262821"/>
                    </a:cubicBezTo>
                    <a:cubicBezTo>
                      <a:pt x="158314" y="264260"/>
                      <a:pt x="166909" y="263331"/>
                      <a:pt x="174575" y="263517"/>
                    </a:cubicBezTo>
                    <a:cubicBezTo>
                      <a:pt x="174296" y="261567"/>
                      <a:pt x="173878" y="259570"/>
                      <a:pt x="173274" y="257388"/>
                    </a:cubicBezTo>
                    <a:cubicBezTo>
                      <a:pt x="169464" y="243597"/>
                      <a:pt x="180614" y="235470"/>
                      <a:pt x="191114" y="233706"/>
                    </a:cubicBezTo>
                    <a:cubicBezTo>
                      <a:pt x="201613" y="231942"/>
                      <a:pt x="224610" y="239000"/>
                      <a:pt x="230649" y="243225"/>
                    </a:cubicBezTo>
                    <a:cubicBezTo>
                      <a:pt x="236689" y="247451"/>
                      <a:pt x="245005" y="246383"/>
                      <a:pt x="255505" y="234031"/>
                    </a:cubicBezTo>
                    <a:cubicBezTo>
                      <a:pt x="260800" y="227762"/>
                      <a:pt x="265168" y="225534"/>
                      <a:pt x="269024" y="224280"/>
                    </a:cubicBezTo>
                    <a:cubicBezTo>
                      <a:pt x="269302" y="221494"/>
                      <a:pt x="270603" y="218661"/>
                      <a:pt x="271440" y="216200"/>
                    </a:cubicBezTo>
                    <a:cubicBezTo>
                      <a:pt x="272880" y="211975"/>
                      <a:pt x="266190" y="212996"/>
                      <a:pt x="261404" y="212485"/>
                    </a:cubicBezTo>
                    <a:cubicBezTo>
                      <a:pt x="256619" y="211975"/>
                      <a:pt x="253274" y="206635"/>
                      <a:pt x="256619" y="200830"/>
                    </a:cubicBezTo>
                    <a:cubicBezTo>
                      <a:pt x="259964" y="195026"/>
                      <a:pt x="253739" y="194469"/>
                      <a:pt x="250394" y="188664"/>
                    </a:cubicBezTo>
                    <a:cubicBezTo>
                      <a:pt x="247049" y="182860"/>
                      <a:pt x="251834" y="184439"/>
                      <a:pt x="254715" y="182860"/>
                    </a:cubicBezTo>
                    <a:cubicBezTo>
                      <a:pt x="257595" y="181281"/>
                      <a:pt x="261404" y="174920"/>
                      <a:pt x="259035" y="173341"/>
                    </a:cubicBezTo>
                    <a:cubicBezTo>
                      <a:pt x="256666" y="171762"/>
                      <a:pt x="254715" y="168047"/>
                      <a:pt x="256666" y="161686"/>
                    </a:cubicBezTo>
                    <a:cubicBezTo>
                      <a:pt x="258571" y="155324"/>
                      <a:pt x="252856" y="154813"/>
                      <a:pt x="252856" y="150031"/>
                    </a:cubicBezTo>
                    <a:cubicBezTo>
                      <a:pt x="252856" y="145248"/>
                      <a:pt x="247607" y="143158"/>
                      <a:pt x="243286" y="148963"/>
                    </a:cubicBezTo>
                    <a:cubicBezTo>
                      <a:pt x="238966" y="154767"/>
                      <a:pt x="237525" y="150541"/>
                      <a:pt x="240406" y="141022"/>
                    </a:cubicBezTo>
                    <a:cubicBezTo>
                      <a:pt x="243286" y="131503"/>
                      <a:pt x="253321" y="127231"/>
                      <a:pt x="254297" y="121938"/>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31" name="Freeform 71">
                <a:extLst>
                  <a:ext uri="{FF2B5EF4-FFF2-40B4-BE49-F238E27FC236}">
                    <a16:creationId xmlns:a16="http://schemas.microsoft.com/office/drawing/2014/main" id="{2352E0B8-24E1-AE03-9475-BA5EDE135FBC}"/>
                  </a:ext>
                </a:extLst>
              </p:cNvPr>
              <p:cNvSpPr/>
              <p:nvPr/>
            </p:nvSpPr>
            <p:spPr>
              <a:xfrm>
                <a:off x="10367442" y="3727524"/>
                <a:ext cx="91941" cy="208055"/>
              </a:xfrm>
              <a:custGeom>
                <a:avLst/>
                <a:gdLst>
                  <a:gd name="connsiteX0" fmla="*/ 17066 w 19685"/>
                  <a:gd name="connsiteY0" fmla="*/ 11 h 44543"/>
                  <a:gd name="connsiteX1" fmla="*/ 3686 w 19685"/>
                  <a:gd name="connsiteY1" fmla="*/ 12734 h 44543"/>
                  <a:gd name="connsiteX2" fmla="*/ 12606 w 19685"/>
                  <a:gd name="connsiteY2" fmla="*/ 44495 h 44543"/>
                  <a:gd name="connsiteX3" fmla="*/ 17066 w 19685"/>
                  <a:gd name="connsiteY3" fmla="*/ 11 h 44543"/>
                </a:gdLst>
                <a:ahLst/>
                <a:cxnLst>
                  <a:cxn ang="0">
                    <a:pos x="connsiteX0" y="connsiteY0"/>
                  </a:cxn>
                  <a:cxn ang="0">
                    <a:pos x="connsiteX1" y="connsiteY1"/>
                  </a:cxn>
                  <a:cxn ang="0">
                    <a:pos x="connsiteX2" y="connsiteY2"/>
                  </a:cxn>
                  <a:cxn ang="0">
                    <a:pos x="connsiteX3" y="connsiteY3"/>
                  </a:cxn>
                </a:cxnLst>
                <a:rect l="l" t="t" r="r" b="b"/>
                <a:pathLst>
                  <a:path w="19685" h="44543">
                    <a:moveTo>
                      <a:pt x="17066" y="11"/>
                    </a:moveTo>
                    <a:cubicBezTo>
                      <a:pt x="13535" y="-314"/>
                      <a:pt x="12606" y="6698"/>
                      <a:pt x="3686" y="12734"/>
                    </a:cubicBezTo>
                    <a:cubicBezTo>
                      <a:pt x="-5234" y="18724"/>
                      <a:pt x="3733" y="45842"/>
                      <a:pt x="12606" y="44495"/>
                    </a:cubicBezTo>
                    <a:cubicBezTo>
                      <a:pt x="21851" y="43102"/>
                      <a:pt x="20550" y="336"/>
                      <a:pt x="17066" y="11"/>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32" name="Freeform 72">
                <a:extLst>
                  <a:ext uri="{FF2B5EF4-FFF2-40B4-BE49-F238E27FC236}">
                    <a16:creationId xmlns:a16="http://schemas.microsoft.com/office/drawing/2014/main" id="{22C10405-3C71-E804-2B49-A445F42562CF}"/>
                  </a:ext>
                </a:extLst>
              </p:cNvPr>
              <p:cNvSpPr/>
              <p:nvPr/>
            </p:nvSpPr>
            <p:spPr>
              <a:xfrm>
                <a:off x="8617858" y="3626934"/>
                <a:ext cx="1206108" cy="1014773"/>
              </a:xfrm>
              <a:custGeom>
                <a:avLst/>
                <a:gdLst>
                  <a:gd name="connsiteX0" fmla="*/ 257748 w 258219"/>
                  <a:gd name="connsiteY0" fmla="*/ 39005 h 217256"/>
                  <a:gd name="connsiteX1" fmla="*/ 235588 w 258219"/>
                  <a:gd name="connsiteY1" fmla="*/ 38309 h 217256"/>
                  <a:gd name="connsiteX2" fmla="*/ 209990 w 258219"/>
                  <a:gd name="connsiteY2" fmla="*/ 31436 h 217256"/>
                  <a:gd name="connsiteX3" fmla="*/ 199908 w 258219"/>
                  <a:gd name="connsiteY3" fmla="*/ 28836 h 217256"/>
                  <a:gd name="connsiteX4" fmla="*/ 182858 w 258219"/>
                  <a:gd name="connsiteY4" fmla="*/ 30554 h 217256"/>
                  <a:gd name="connsiteX5" fmla="*/ 161906 w 258219"/>
                  <a:gd name="connsiteY5" fmla="*/ 19363 h 217256"/>
                  <a:gd name="connsiteX6" fmla="*/ 149641 w 258219"/>
                  <a:gd name="connsiteY6" fmla="*/ 12630 h 217256"/>
                  <a:gd name="connsiteX7" fmla="*/ 112335 w 258219"/>
                  <a:gd name="connsiteY7" fmla="*/ 8126 h 217256"/>
                  <a:gd name="connsiteX8" fmla="*/ 41208 w 258219"/>
                  <a:gd name="connsiteY8" fmla="*/ 7430 h 217256"/>
                  <a:gd name="connsiteX9" fmla="*/ 15052 w 258219"/>
                  <a:gd name="connsiteY9" fmla="*/ 0 h 217256"/>
                  <a:gd name="connsiteX10" fmla="*/ 0 w 258219"/>
                  <a:gd name="connsiteY10" fmla="*/ 12027 h 217256"/>
                  <a:gd name="connsiteX11" fmla="*/ 976 w 258219"/>
                  <a:gd name="connsiteY11" fmla="*/ 23775 h 217256"/>
                  <a:gd name="connsiteX12" fmla="*/ 9477 w 258219"/>
                  <a:gd name="connsiteY12" fmla="*/ 33247 h 217256"/>
                  <a:gd name="connsiteX13" fmla="*/ 11847 w 258219"/>
                  <a:gd name="connsiteY13" fmla="*/ 51125 h 217256"/>
                  <a:gd name="connsiteX14" fmla="*/ 11382 w 258219"/>
                  <a:gd name="connsiteY14" fmla="*/ 52611 h 217256"/>
                  <a:gd name="connsiteX15" fmla="*/ 11754 w 258219"/>
                  <a:gd name="connsiteY15" fmla="*/ 54096 h 217256"/>
                  <a:gd name="connsiteX16" fmla="*/ 22997 w 258219"/>
                  <a:gd name="connsiteY16" fmla="*/ 54607 h 217256"/>
                  <a:gd name="connsiteX17" fmla="*/ 31545 w 258219"/>
                  <a:gd name="connsiteY17" fmla="*/ 54607 h 217256"/>
                  <a:gd name="connsiteX18" fmla="*/ 44739 w 258219"/>
                  <a:gd name="connsiteY18" fmla="*/ 57161 h 217256"/>
                  <a:gd name="connsiteX19" fmla="*/ 50174 w 258219"/>
                  <a:gd name="connsiteY19" fmla="*/ 66634 h 217256"/>
                  <a:gd name="connsiteX20" fmla="*/ 36191 w 258219"/>
                  <a:gd name="connsiteY20" fmla="*/ 80379 h 217256"/>
                  <a:gd name="connsiteX21" fmla="*/ 37770 w 258219"/>
                  <a:gd name="connsiteY21" fmla="*/ 102714 h 217256"/>
                  <a:gd name="connsiteX22" fmla="*/ 33914 w 258219"/>
                  <a:gd name="connsiteY22" fmla="*/ 119059 h 217256"/>
                  <a:gd name="connsiteX23" fmla="*/ 28479 w 258219"/>
                  <a:gd name="connsiteY23" fmla="*/ 128485 h 217256"/>
                  <a:gd name="connsiteX24" fmla="*/ 34704 w 258219"/>
                  <a:gd name="connsiteY24" fmla="*/ 141394 h 217256"/>
                  <a:gd name="connsiteX25" fmla="*/ 29268 w 258219"/>
                  <a:gd name="connsiteY25" fmla="*/ 154303 h 217256"/>
                  <a:gd name="connsiteX26" fmla="*/ 33914 w 258219"/>
                  <a:gd name="connsiteY26" fmla="*/ 166329 h 217256"/>
                  <a:gd name="connsiteX27" fmla="*/ 25366 w 258219"/>
                  <a:gd name="connsiteY27" fmla="*/ 180956 h 217256"/>
                  <a:gd name="connsiteX28" fmla="*/ 28479 w 258219"/>
                  <a:gd name="connsiteY28" fmla="*/ 188711 h 217256"/>
                  <a:gd name="connsiteX29" fmla="*/ 39954 w 258219"/>
                  <a:gd name="connsiteY29" fmla="*/ 189639 h 217256"/>
                  <a:gd name="connsiteX30" fmla="*/ 66109 w 258219"/>
                  <a:gd name="connsiteY30" fmla="*/ 217175 h 217256"/>
                  <a:gd name="connsiteX31" fmla="*/ 71220 w 258219"/>
                  <a:gd name="connsiteY31" fmla="*/ 209421 h 217256"/>
                  <a:gd name="connsiteX32" fmla="*/ 83671 w 258219"/>
                  <a:gd name="connsiteY32" fmla="*/ 208724 h 217256"/>
                  <a:gd name="connsiteX33" fmla="*/ 103415 w 258219"/>
                  <a:gd name="connsiteY33" fmla="*/ 200273 h 217256"/>
                  <a:gd name="connsiteX34" fmla="*/ 130825 w 258219"/>
                  <a:gd name="connsiteY34" fmla="*/ 199205 h 217256"/>
                  <a:gd name="connsiteX35" fmla="*/ 146435 w 258219"/>
                  <a:gd name="connsiteY35" fmla="*/ 190754 h 217256"/>
                  <a:gd name="connsiteX36" fmla="*/ 163346 w 258219"/>
                  <a:gd name="connsiteY36" fmla="*/ 178031 h 217256"/>
                  <a:gd name="connsiteX37" fmla="*/ 171337 w 258219"/>
                  <a:gd name="connsiteY37" fmla="*/ 161082 h 217256"/>
                  <a:gd name="connsiteX38" fmla="*/ 187272 w 258219"/>
                  <a:gd name="connsiteY38" fmla="*/ 142694 h 217256"/>
                  <a:gd name="connsiteX39" fmla="*/ 187597 w 258219"/>
                  <a:gd name="connsiteY39" fmla="*/ 107729 h 217256"/>
                  <a:gd name="connsiteX40" fmla="*/ 205437 w 258219"/>
                  <a:gd name="connsiteY40" fmla="*/ 84418 h 217256"/>
                  <a:gd name="connsiteX41" fmla="*/ 225228 w 258219"/>
                  <a:gd name="connsiteY41" fmla="*/ 72763 h 217256"/>
                  <a:gd name="connsiteX42" fmla="*/ 248828 w 258219"/>
                  <a:gd name="connsiteY42" fmla="*/ 59019 h 217256"/>
                  <a:gd name="connsiteX43" fmla="*/ 257795 w 258219"/>
                  <a:gd name="connsiteY43" fmla="*/ 39052 h 21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58219" h="217256">
                    <a:moveTo>
                      <a:pt x="257748" y="39005"/>
                    </a:moveTo>
                    <a:cubicBezTo>
                      <a:pt x="250083" y="38820"/>
                      <a:pt x="241488" y="39748"/>
                      <a:pt x="235588" y="38309"/>
                    </a:cubicBezTo>
                    <a:cubicBezTo>
                      <a:pt x="228619" y="36591"/>
                      <a:pt x="213846" y="35755"/>
                      <a:pt x="209990" y="31436"/>
                    </a:cubicBezTo>
                    <a:cubicBezTo>
                      <a:pt x="206087" y="27164"/>
                      <a:pt x="199908" y="23728"/>
                      <a:pt x="199908" y="28836"/>
                    </a:cubicBezTo>
                    <a:cubicBezTo>
                      <a:pt x="199908" y="33944"/>
                      <a:pt x="189037" y="34873"/>
                      <a:pt x="182858" y="30554"/>
                    </a:cubicBezTo>
                    <a:cubicBezTo>
                      <a:pt x="176633" y="26236"/>
                      <a:pt x="166551" y="22846"/>
                      <a:pt x="161906" y="19363"/>
                    </a:cubicBezTo>
                    <a:cubicBezTo>
                      <a:pt x="159443" y="17552"/>
                      <a:pt x="154426" y="15277"/>
                      <a:pt x="149641" y="12630"/>
                    </a:cubicBezTo>
                    <a:cubicBezTo>
                      <a:pt x="143183" y="14023"/>
                      <a:pt x="124600" y="6454"/>
                      <a:pt x="112335" y="8126"/>
                    </a:cubicBezTo>
                    <a:cubicBezTo>
                      <a:pt x="99234" y="9891"/>
                      <a:pt x="57468" y="5990"/>
                      <a:pt x="41208" y="7430"/>
                    </a:cubicBezTo>
                    <a:cubicBezTo>
                      <a:pt x="24948" y="8823"/>
                      <a:pt x="23972" y="0"/>
                      <a:pt x="15052" y="0"/>
                    </a:cubicBezTo>
                    <a:cubicBezTo>
                      <a:pt x="6876" y="0"/>
                      <a:pt x="9385" y="10076"/>
                      <a:pt x="0" y="12027"/>
                    </a:cubicBezTo>
                    <a:cubicBezTo>
                      <a:pt x="1301" y="15741"/>
                      <a:pt x="1533" y="19828"/>
                      <a:pt x="976" y="23775"/>
                    </a:cubicBezTo>
                    <a:cubicBezTo>
                      <a:pt x="4228" y="26468"/>
                      <a:pt x="6597" y="29161"/>
                      <a:pt x="9477" y="33247"/>
                    </a:cubicBezTo>
                    <a:cubicBezTo>
                      <a:pt x="13055" y="38309"/>
                      <a:pt x="13194" y="45320"/>
                      <a:pt x="11847" y="51125"/>
                    </a:cubicBezTo>
                    <a:cubicBezTo>
                      <a:pt x="11707" y="51635"/>
                      <a:pt x="11521" y="52146"/>
                      <a:pt x="11382" y="52611"/>
                    </a:cubicBezTo>
                    <a:cubicBezTo>
                      <a:pt x="11568" y="53121"/>
                      <a:pt x="11661" y="53586"/>
                      <a:pt x="11754" y="54096"/>
                    </a:cubicBezTo>
                    <a:cubicBezTo>
                      <a:pt x="14541" y="55443"/>
                      <a:pt x="19698" y="54607"/>
                      <a:pt x="22997" y="54607"/>
                    </a:cubicBezTo>
                    <a:cubicBezTo>
                      <a:pt x="27642" y="54607"/>
                      <a:pt x="26109" y="58926"/>
                      <a:pt x="31545" y="54607"/>
                    </a:cubicBezTo>
                    <a:cubicBezTo>
                      <a:pt x="36981" y="50289"/>
                      <a:pt x="44739" y="52007"/>
                      <a:pt x="44739" y="57161"/>
                    </a:cubicBezTo>
                    <a:cubicBezTo>
                      <a:pt x="44739" y="62315"/>
                      <a:pt x="56400" y="59715"/>
                      <a:pt x="50174" y="66634"/>
                    </a:cubicBezTo>
                    <a:cubicBezTo>
                      <a:pt x="43949" y="73506"/>
                      <a:pt x="36191" y="75224"/>
                      <a:pt x="36191" y="80379"/>
                    </a:cubicBezTo>
                    <a:cubicBezTo>
                      <a:pt x="36191" y="85533"/>
                      <a:pt x="43159" y="96677"/>
                      <a:pt x="37770" y="102714"/>
                    </a:cubicBezTo>
                    <a:cubicBezTo>
                      <a:pt x="32335" y="108704"/>
                      <a:pt x="39303" y="119059"/>
                      <a:pt x="33914" y="119059"/>
                    </a:cubicBezTo>
                    <a:cubicBezTo>
                      <a:pt x="28525" y="119059"/>
                      <a:pt x="22253" y="121613"/>
                      <a:pt x="28479" y="128485"/>
                    </a:cubicBezTo>
                    <a:cubicBezTo>
                      <a:pt x="34704" y="135357"/>
                      <a:pt x="39350" y="141394"/>
                      <a:pt x="34704" y="141394"/>
                    </a:cubicBezTo>
                    <a:cubicBezTo>
                      <a:pt x="30058" y="141394"/>
                      <a:pt x="26946" y="151702"/>
                      <a:pt x="29268" y="154303"/>
                    </a:cubicBezTo>
                    <a:cubicBezTo>
                      <a:pt x="31591" y="156857"/>
                      <a:pt x="42463" y="164611"/>
                      <a:pt x="33914" y="166329"/>
                    </a:cubicBezTo>
                    <a:cubicBezTo>
                      <a:pt x="25366" y="168047"/>
                      <a:pt x="25366" y="175755"/>
                      <a:pt x="25366" y="180956"/>
                    </a:cubicBezTo>
                    <a:cubicBezTo>
                      <a:pt x="25366" y="182860"/>
                      <a:pt x="26760" y="185785"/>
                      <a:pt x="28479" y="188711"/>
                    </a:cubicBezTo>
                    <a:cubicBezTo>
                      <a:pt x="32427" y="187921"/>
                      <a:pt x="36330" y="187782"/>
                      <a:pt x="39954" y="189639"/>
                    </a:cubicBezTo>
                    <a:cubicBezTo>
                      <a:pt x="48874" y="194237"/>
                      <a:pt x="54031" y="218847"/>
                      <a:pt x="66109" y="217175"/>
                    </a:cubicBezTo>
                    <a:cubicBezTo>
                      <a:pt x="71220" y="216479"/>
                      <a:pt x="68665" y="212207"/>
                      <a:pt x="71220" y="209421"/>
                    </a:cubicBezTo>
                    <a:cubicBezTo>
                      <a:pt x="73775" y="206588"/>
                      <a:pt x="78560" y="208724"/>
                      <a:pt x="83671" y="208724"/>
                    </a:cubicBezTo>
                    <a:cubicBezTo>
                      <a:pt x="88781" y="208724"/>
                      <a:pt x="91336" y="200598"/>
                      <a:pt x="103415" y="200273"/>
                    </a:cubicBezTo>
                    <a:cubicBezTo>
                      <a:pt x="115541" y="199902"/>
                      <a:pt x="123206" y="198834"/>
                      <a:pt x="130825" y="199205"/>
                    </a:cubicBezTo>
                    <a:cubicBezTo>
                      <a:pt x="138491" y="199530"/>
                      <a:pt x="144530" y="196744"/>
                      <a:pt x="146435" y="190754"/>
                    </a:cubicBezTo>
                    <a:cubicBezTo>
                      <a:pt x="148340" y="184764"/>
                      <a:pt x="154705" y="179470"/>
                      <a:pt x="163346" y="178031"/>
                    </a:cubicBezTo>
                    <a:cubicBezTo>
                      <a:pt x="171941" y="176638"/>
                      <a:pt x="170686" y="166701"/>
                      <a:pt x="171337" y="161082"/>
                    </a:cubicBezTo>
                    <a:cubicBezTo>
                      <a:pt x="171987" y="155464"/>
                      <a:pt x="186342" y="146966"/>
                      <a:pt x="187272" y="142694"/>
                    </a:cubicBezTo>
                    <a:cubicBezTo>
                      <a:pt x="188247" y="138468"/>
                      <a:pt x="178956" y="122216"/>
                      <a:pt x="187597" y="107729"/>
                    </a:cubicBezTo>
                    <a:cubicBezTo>
                      <a:pt x="196191" y="93241"/>
                      <a:pt x="205437" y="92544"/>
                      <a:pt x="205437" y="84418"/>
                    </a:cubicBezTo>
                    <a:cubicBezTo>
                      <a:pt x="205437" y="76989"/>
                      <a:pt x="214357" y="74203"/>
                      <a:pt x="225228" y="72763"/>
                    </a:cubicBezTo>
                    <a:cubicBezTo>
                      <a:pt x="236052" y="71370"/>
                      <a:pt x="239583" y="63244"/>
                      <a:pt x="248828" y="59019"/>
                    </a:cubicBezTo>
                    <a:cubicBezTo>
                      <a:pt x="256587" y="55443"/>
                      <a:pt x="259374" y="49128"/>
                      <a:pt x="257795" y="39052"/>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37" name="Freeform 73">
                <a:extLst>
                  <a:ext uri="{FF2B5EF4-FFF2-40B4-BE49-F238E27FC236}">
                    <a16:creationId xmlns:a16="http://schemas.microsoft.com/office/drawing/2014/main" id="{E3F3888D-7F5C-D7D7-2D6C-3FFA1C2752B2}"/>
                  </a:ext>
                </a:extLst>
              </p:cNvPr>
              <p:cNvSpPr/>
              <p:nvPr/>
            </p:nvSpPr>
            <p:spPr>
              <a:xfrm>
                <a:off x="9739494" y="4148665"/>
                <a:ext cx="91673" cy="72711"/>
              </a:xfrm>
              <a:custGeom>
                <a:avLst/>
                <a:gdLst>
                  <a:gd name="connsiteX0" fmla="*/ 19472 w 19626"/>
                  <a:gd name="connsiteY0" fmla="*/ 4482 h 15567"/>
                  <a:gd name="connsiteX1" fmla="*/ 657 w 19626"/>
                  <a:gd name="connsiteY1" fmla="*/ 11540 h 15567"/>
                  <a:gd name="connsiteX2" fmla="*/ 19472 w 19626"/>
                  <a:gd name="connsiteY2" fmla="*/ 4482 h 15567"/>
                </a:gdLst>
                <a:ahLst/>
                <a:cxnLst>
                  <a:cxn ang="0">
                    <a:pos x="connsiteX0" y="connsiteY0"/>
                  </a:cxn>
                  <a:cxn ang="0">
                    <a:pos x="connsiteX1" y="connsiteY1"/>
                  </a:cxn>
                  <a:cxn ang="0">
                    <a:pos x="connsiteX2" y="connsiteY2"/>
                  </a:cxn>
                </a:cxnLst>
                <a:rect l="l" t="t" r="r" b="b"/>
                <a:pathLst>
                  <a:path w="19626" h="15567">
                    <a:moveTo>
                      <a:pt x="19472" y="4482"/>
                    </a:moveTo>
                    <a:cubicBezTo>
                      <a:pt x="17893" y="-7545"/>
                      <a:pt x="-4035" y="8057"/>
                      <a:pt x="657" y="11540"/>
                    </a:cubicBezTo>
                    <a:cubicBezTo>
                      <a:pt x="10227" y="18598"/>
                      <a:pt x="21052" y="16462"/>
                      <a:pt x="19472" y="4482"/>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38" name="Freeform 74">
                <a:extLst>
                  <a:ext uri="{FF2B5EF4-FFF2-40B4-BE49-F238E27FC236}">
                    <a16:creationId xmlns:a16="http://schemas.microsoft.com/office/drawing/2014/main" id="{BF8E54D2-9B04-1589-CE95-3F8FAE36BF6B}"/>
                  </a:ext>
                </a:extLst>
              </p:cNvPr>
              <p:cNvSpPr/>
              <p:nvPr/>
            </p:nvSpPr>
            <p:spPr>
              <a:xfrm>
                <a:off x="11489615" y="3893277"/>
                <a:ext cx="638403" cy="883677"/>
              </a:xfrm>
              <a:custGeom>
                <a:avLst/>
                <a:gdLst>
                  <a:gd name="connsiteX0" fmla="*/ 135053 w 136678"/>
                  <a:gd name="connsiteY0" fmla="*/ 0 h 189189"/>
                  <a:gd name="connsiteX1" fmla="*/ 124693 w 136678"/>
                  <a:gd name="connsiteY1" fmla="*/ 5479 h 189189"/>
                  <a:gd name="connsiteX2" fmla="*/ 116423 w 136678"/>
                  <a:gd name="connsiteY2" fmla="*/ 11098 h 189189"/>
                  <a:gd name="connsiteX3" fmla="*/ 93427 w 136678"/>
                  <a:gd name="connsiteY3" fmla="*/ 6872 h 189189"/>
                  <a:gd name="connsiteX4" fmla="*/ 64484 w 136678"/>
                  <a:gd name="connsiteY4" fmla="*/ 6501 h 189189"/>
                  <a:gd name="connsiteX5" fmla="*/ 64065 w 136678"/>
                  <a:gd name="connsiteY5" fmla="*/ 7569 h 189189"/>
                  <a:gd name="connsiteX6" fmla="*/ 43949 w 136678"/>
                  <a:gd name="connsiteY6" fmla="*/ 17785 h 189189"/>
                  <a:gd name="connsiteX7" fmla="*/ 33914 w 136678"/>
                  <a:gd name="connsiteY7" fmla="*/ 24657 h 189189"/>
                  <a:gd name="connsiteX8" fmla="*/ 19094 w 136678"/>
                  <a:gd name="connsiteY8" fmla="*/ 26793 h 189189"/>
                  <a:gd name="connsiteX9" fmla="*/ 11428 w 136678"/>
                  <a:gd name="connsiteY9" fmla="*/ 40538 h 189189"/>
                  <a:gd name="connsiteX10" fmla="*/ 6179 w 136678"/>
                  <a:gd name="connsiteY10" fmla="*/ 49546 h 189189"/>
                  <a:gd name="connsiteX11" fmla="*/ 0 w 136678"/>
                  <a:gd name="connsiteY11" fmla="*/ 62455 h 189189"/>
                  <a:gd name="connsiteX12" fmla="*/ 929 w 136678"/>
                  <a:gd name="connsiteY12" fmla="*/ 63012 h 189189"/>
                  <a:gd name="connsiteX13" fmla="*/ 12404 w 136678"/>
                  <a:gd name="connsiteY13" fmla="*/ 83490 h 189189"/>
                  <a:gd name="connsiteX14" fmla="*/ 27689 w 136678"/>
                  <a:gd name="connsiteY14" fmla="*/ 89155 h 189189"/>
                  <a:gd name="connsiteX15" fmla="*/ 47155 w 136678"/>
                  <a:gd name="connsiteY15" fmla="*/ 96909 h 189189"/>
                  <a:gd name="connsiteX16" fmla="*/ 24158 w 136678"/>
                  <a:gd name="connsiteY16" fmla="*/ 99045 h 189189"/>
                  <a:gd name="connsiteX17" fmla="*/ 28664 w 136678"/>
                  <a:gd name="connsiteY17" fmla="*/ 119198 h 189189"/>
                  <a:gd name="connsiteX18" fmla="*/ 39814 w 136678"/>
                  <a:gd name="connsiteY18" fmla="*/ 135822 h 189189"/>
                  <a:gd name="connsiteX19" fmla="*/ 59884 w 136678"/>
                  <a:gd name="connsiteY19" fmla="*/ 146409 h 189189"/>
                  <a:gd name="connsiteX20" fmla="*/ 56074 w 136678"/>
                  <a:gd name="connsiteY20" fmla="*/ 122402 h 189189"/>
                  <a:gd name="connsiteX21" fmla="*/ 71034 w 136678"/>
                  <a:gd name="connsiteY21" fmla="*/ 121705 h 189189"/>
                  <a:gd name="connsiteX22" fmla="*/ 61138 w 136678"/>
                  <a:gd name="connsiteY22" fmla="*/ 112186 h 189189"/>
                  <a:gd name="connsiteX23" fmla="*/ 68804 w 136678"/>
                  <a:gd name="connsiteY23" fmla="*/ 107589 h 189189"/>
                  <a:gd name="connsiteX24" fmla="*/ 84414 w 136678"/>
                  <a:gd name="connsiteY24" fmla="*/ 105453 h 189189"/>
                  <a:gd name="connsiteX25" fmla="*/ 77399 w 136678"/>
                  <a:gd name="connsiteY25" fmla="*/ 86044 h 189189"/>
                  <a:gd name="connsiteX26" fmla="*/ 59513 w 136678"/>
                  <a:gd name="connsiteY26" fmla="*/ 86740 h 189189"/>
                  <a:gd name="connsiteX27" fmla="*/ 66527 w 136678"/>
                  <a:gd name="connsiteY27" fmla="*/ 74017 h 189189"/>
                  <a:gd name="connsiteX28" fmla="*/ 48966 w 136678"/>
                  <a:gd name="connsiteY28" fmla="*/ 47178 h 189189"/>
                  <a:gd name="connsiteX29" fmla="*/ 60116 w 136678"/>
                  <a:gd name="connsiteY29" fmla="*/ 40491 h 189189"/>
                  <a:gd name="connsiteX30" fmla="*/ 77352 w 136678"/>
                  <a:gd name="connsiteY30" fmla="*/ 43277 h 189189"/>
                  <a:gd name="connsiteX31" fmla="*/ 81487 w 136678"/>
                  <a:gd name="connsiteY31" fmla="*/ 25261 h 189189"/>
                  <a:gd name="connsiteX32" fmla="*/ 94588 w 136678"/>
                  <a:gd name="connsiteY32" fmla="*/ 29857 h 189189"/>
                  <a:gd name="connsiteX33" fmla="*/ 110848 w 136678"/>
                  <a:gd name="connsiteY33" fmla="*/ 21035 h 189189"/>
                  <a:gd name="connsiteX34" fmla="*/ 125390 w 136678"/>
                  <a:gd name="connsiteY34" fmla="*/ 28697 h 189189"/>
                  <a:gd name="connsiteX35" fmla="*/ 130453 w 136678"/>
                  <a:gd name="connsiteY35" fmla="*/ 20524 h 189189"/>
                  <a:gd name="connsiteX36" fmla="*/ 136679 w 136678"/>
                  <a:gd name="connsiteY36" fmla="*/ 9380 h 189189"/>
                  <a:gd name="connsiteX37" fmla="*/ 134914 w 136678"/>
                  <a:gd name="connsiteY37" fmla="*/ 0 h 189189"/>
                  <a:gd name="connsiteX38" fmla="*/ 117027 w 136678"/>
                  <a:gd name="connsiteY38" fmla="*/ 178217 h 189189"/>
                  <a:gd name="connsiteX39" fmla="*/ 82927 w 136678"/>
                  <a:gd name="connsiteY39" fmla="*/ 173991 h 189189"/>
                  <a:gd name="connsiteX40" fmla="*/ 69826 w 136678"/>
                  <a:gd name="connsiteY40" fmla="*/ 179981 h 189189"/>
                  <a:gd name="connsiteX41" fmla="*/ 101371 w 136678"/>
                  <a:gd name="connsiteY41" fmla="*/ 189175 h 189189"/>
                  <a:gd name="connsiteX42" fmla="*/ 130407 w 136678"/>
                  <a:gd name="connsiteY42" fmla="*/ 179285 h 189189"/>
                  <a:gd name="connsiteX43" fmla="*/ 117027 w 136678"/>
                  <a:gd name="connsiteY43" fmla="*/ 178217 h 18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36678" h="189189">
                    <a:moveTo>
                      <a:pt x="135053" y="0"/>
                    </a:moveTo>
                    <a:cubicBezTo>
                      <a:pt x="130268" y="557"/>
                      <a:pt x="123624" y="2508"/>
                      <a:pt x="124693" y="5479"/>
                    </a:cubicBezTo>
                    <a:cubicBezTo>
                      <a:pt x="125947" y="9008"/>
                      <a:pt x="121487" y="11098"/>
                      <a:pt x="116423" y="11098"/>
                    </a:cubicBezTo>
                    <a:cubicBezTo>
                      <a:pt x="116423" y="11098"/>
                      <a:pt x="98537" y="9705"/>
                      <a:pt x="93427" y="6872"/>
                    </a:cubicBezTo>
                    <a:cubicBezTo>
                      <a:pt x="89571" y="4736"/>
                      <a:pt x="72521" y="5804"/>
                      <a:pt x="64484" y="6501"/>
                    </a:cubicBezTo>
                    <a:cubicBezTo>
                      <a:pt x="64484" y="6872"/>
                      <a:pt x="64344" y="7197"/>
                      <a:pt x="64065" y="7569"/>
                    </a:cubicBezTo>
                    <a:cubicBezTo>
                      <a:pt x="62161" y="10726"/>
                      <a:pt x="46829" y="19410"/>
                      <a:pt x="43949" y="17785"/>
                    </a:cubicBezTo>
                    <a:cubicBezTo>
                      <a:pt x="41069" y="16206"/>
                      <a:pt x="39628" y="23078"/>
                      <a:pt x="33914" y="24657"/>
                    </a:cubicBezTo>
                    <a:cubicBezTo>
                      <a:pt x="28153" y="26236"/>
                      <a:pt x="19559" y="24100"/>
                      <a:pt x="19094" y="26793"/>
                    </a:cubicBezTo>
                    <a:cubicBezTo>
                      <a:pt x="18583" y="29440"/>
                      <a:pt x="14774" y="36869"/>
                      <a:pt x="11428" y="40538"/>
                    </a:cubicBezTo>
                    <a:cubicBezTo>
                      <a:pt x="8084" y="44252"/>
                      <a:pt x="10964" y="48478"/>
                      <a:pt x="6179" y="49546"/>
                    </a:cubicBezTo>
                    <a:cubicBezTo>
                      <a:pt x="3020" y="50242"/>
                      <a:pt x="1719" y="56743"/>
                      <a:pt x="0" y="62455"/>
                    </a:cubicBezTo>
                    <a:cubicBezTo>
                      <a:pt x="325" y="62641"/>
                      <a:pt x="604" y="62873"/>
                      <a:pt x="929" y="63012"/>
                    </a:cubicBezTo>
                    <a:cubicBezTo>
                      <a:pt x="7944" y="65473"/>
                      <a:pt x="13380" y="74667"/>
                      <a:pt x="12404" y="83490"/>
                    </a:cubicBezTo>
                    <a:cubicBezTo>
                      <a:pt x="11475" y="92312"/>
                      <a:pt x="22625" y="95516"/>
                      <a:pt x="27689" y="89155"/>
                    </a:cubicBezTo>
                    <a:cubicBezTo>
                      <a:pt x="32799" y="82793"/>
                      <a:pt x="47155" y="92684"/>
                      <a:pt x="47155" y="96909"/>
                    </a:cubicBezTo>
                    <a:cubicBezTo>
                      <a:pt x="47155" y="101135"/>
                      <a:pt x="32474" y="92312"/>
                      <a:pt x="24158" y="99045"/>
                    </a:cubicBezTo>
                    <a:cubicBezTo>
                      <a:pt x="15889" y="105732"/>
                      <a:pt x="30569" y="112094"/>
                      <a:pt x="28664" y="119198"/>
                    </a:cubicBezTo>
                    <a:cubicBezTo>
                      <a:pt x="26759" y="126256"/>
                      <a:pt x="32474" y="136147"/>
                      <a:pt x="39814" y="135822"/>
                    </a:cubicBezTo>
                    <a:cubicBezTo>
                      <a:pt x="47155" y="135450"/>
                      <a:pt x="55424" y="148870"/>
                      <a:pt x="59884" y="146409"/>
                    </a:cubicBezTo>
                    <a:cubicBezTo>
                      <a:pt x="64344" y="143948"/>
                      <a:pt x="54448" y="125234"/>
                      <a:pt x="56074" y="122402"/>
                    </a:cubicBezTo>
                    <a:cubicBezTo>
                      <a:pt x="57654" y="119569"/>
                      <a:pt x="66574" y="127324"/>
                      <a:pt x="71034" y="121705"/>
                    </a:cubicBezTo>
                    <a:cubicBezTo>
                      <a:pt x="75494" y="116087"/>
                      <a:pt x="67828" y="111815"/>
                      <a:pt x="61138" y="112186"/>
                    </a:cubicBezTo>
                    <a:cubicBezTo>
                      <a:pt x="54448" y="112511"/>
                      <a:pt x="60813" y="102296"/>
                      <a:pt x="68804" y="107589"/>
                    </a:cubicBezTo>
                    <a:cubicBezTo>
                      <a:pt x="76748" y="112883"/>
                      <a:pt x="80604" y="106196"/>
                      <a:pt x="84414" y="105453"/>
                    </a:cubicBezTo>
                    <a:cubicBezTo>
                      <a:pt x="88223" y="104757"/>
                      <a:pt x="89199" y="89573"/>
                      <a:pt x="77399" y="86044"/>
                    </a:cubicBezTo>
                    <a:cubicBezTo>
                      <a:pt x="65598" y="82515"/>
                      <a:pt x="67178" y="95563"/>
                      <a:pt x="59513" y="86740"/>
                    </a:cubicBezTo>
                    <a:cubicBezTo>
                      <a:pt x="51847" y="77917"/>
                      <a:pt x="66527" y="81447"/>
                      <a:pt x="66527" y="74017"/>
                    </a:cubicBezTo>
                    <a:cubicBezTo>
                      <a:pt x="66527" y="66587"/>
                      <a:pt x="54727" y="56000"/>
                      <a:pt x="48966" y="47178"/>
                    </a:cubicBezTo>
                    <a:cubicBezTo>
                      <a:pt x="43206" y="38355"/>
                      <a:pt x="56957" y="34130"/>
                      <a:pt x="60116" y="40491"/>
                    </a:cubicBezTo>
                    <a:cubicBezTo>
                      <a:pt x="63322" y="46853"/>
                      <a:pt x="71917" y="45785"/>
                      <a:pt x="77352" y="43277"/>
                    </a:cubicBezTo>
                    <a:cubicBezTo>
                      <a:pt x="82788" y="40816"/>
                      <a:pt x="71591" y="29486"/>
                      <a:pt x="81487" y="25261"/>
                    </a:cubicBezTo>
                    <a:cubicBezTo>
                      <a:pt x="91383" y="21035"/>
                      <a:pt x="91383" y="28418"/>
                      <a:pt x="94588" y="29857"/>
                    </a:cubicBezTo>
                    <a:cubicBezTo>
                      <a:pt x="97794" y="31251"/>
                      <a:pt x="100628" y="21035"/>
                      <a:pt x="110848" y="21035"/>
                    </a:cubicBezTo>
                    <a:cubicBezTo>
                      <a:pt x="116145" y="21035"/>
                      <a:pt x="120883" y="24935"/>
                      <a:pt x="125390" y="28697"/>
                    </a:cubicBezTo>
                    <a:cubicBezTo>
                      <a:pt x="128177" y="25307"/>
                      <a:pt x="130453" y="23357"/>
                      <a:pt x="130453" y="20524"/>
                    </a:cubicBezTo>
                    <a:cubicBezTo>
                      <a:pt x="130453" y="16809"/>
                      <a:pt x="136679" y="15231"/>
                      <a:pt x="136679" y="9380"/>
                    </a:cubicBezTo>
                    <a:cubicBezTo>
                      <a:pt x="136679" y="6594"/>
                      <a:pt x="135703" y="3065"/>
                      <a:pt x="134914" y="0"/>
                    </a:cubicBezTo>
                    <a:close/>
                    <a:moveTo>
                      <a:pt x="117027" y="178217"/>
                    </a:moveTo>
                    <a:cubicBezTo>
                      <a:pt x="111917" y="175059"/>
                      <a:pt x="88967" y="180352"/>
                      <a:pt x="82927" y="173991"/>
                    </a:cubicBezTo>
                    <a:cubicBezTo>
                      <a:pt x="76841" y="167629"/>
                      <a:pt x="64484" y="179006"/>
                      <a:pt x="69826" y="179981"/>
                    </a:cubicBezTo>
                    <a:cubicBezTo>
                      <a:pt x="77492" y="181374"/>
                      <a:pt x="88967" y="188804"/>
                      <a:pt x="101371" y="189175"/>
                    </a:cubicBezTo>
                    <a:cubicBezTo>
                      <a:pt x="113822" y="189547"/>
                      <a:pt x="130686" y="182814"/>
                      <a:pt x="130407" y="179285"/>
                    </a:cubicBezTo>
                    <a:cubicBezTo>
                      <a:pt x="130082" y="175755"/>
                      <a:pt x="122091" y="181421"/>
                      <a:pt x="117027" y="178217"/>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39" name="Freeform 75">
                <a:extLst>
                  <a:ext uri="{FF2B5EF4-FFF2-40B4-BE49-F238E27FC236}">
                    <a16:creationId xmlns:a16="http://schemas.microsoft.com/office/drawing/2014/main" id="{29F5357F-06A6-A84A-45BF-1439A2A9D07D}"/>
                  </a:ext>
                </a:extLst>
              </p:cNvPr>
              <p:cNvSpPr/>
              <p:nvPr/>
            </p:nvSpPr>
            <p:spPr>
              <a:xfrm>
                <a:off x="8442098" y="1959501"/>
                <a:ext cx="424363" cy="493185"/>
              </a:xfrm>
              <a:custGeom>
                <a:avLst/>
                <a:gdLst>
                  <a:gd name="connsiteX0" fmla="*/ 85481 w 90853"/>
                  <a:gd name="connsiteY0" fmla="*/ 40208 h 105588"/>
                  <a:gd name="connsiteX1" fmla="*/ 85110 w 90853"/>
                  <a:gd name="connsiteY1" fmla="*/ 36540 h 105588"/>
                  <a:gd name="connsiteX2" fmla="*/ 78002 w 90853"/>
                  <a:gd name="connsiteY2" fmla="*/ 29389 h 105588"/>
                  <a:gd name="connsiteX3" fmla="*/ 65458 w 90853"/>
                  <a:gd name="connsiteY3" fmla="*/ 33661 h 105588"/>
                  <a:gd name="connsiteX4" fmla="*/ 51939 w 90853"/>
                  <a:gd name="connsiteY4" fmla="*/ 30457 h 105588"/>
                  <a:gd name="connsiteX5" fmla="*/ 56770 w 90853"/>
                  <a:gd name="connsiteY5" fmla="*/ 16573 h 105588"/>
                  <a:gd name="connsiteX6" fmla="*/ 62624 w 90853"/>
                  <a:gd name="connsiteY6" fmla="*/ 2968 h 105588"/>
                  <a:gd name="connsiteX7" fmla="*/ 59930 w 90853"/>
                  <a:gd name="connsiteY7" fmla="*/ 2457 h 105588"/>
                  <a:gd name="connsiteX8" fmla="*/ 38234 w 90853"/>
                  <a:gd name="connsiteY8" fmla="*/ 7426 h 105588"/>
                  <a:gd name="connsiteX9" fmla="*/ 48455 w 90853"/>
                  <a:gd name="connsiteY9" fmla="*/ 18709 h 105588"/>
                  <a:gd name="connsiteX10" fmla="*/ 30893 w 90853"/>
                  <a:gd name="connsiteY10" fmla="*/ 28600 h 105588"/>
                  <a:gd name="connsiteX11" fmla="*/ 7943 w 90853"/>
                  <a:gd name="connsiteY11" fmla="*/ 28925 h 105588"/>
                  <a:gd name="connsiteX12" fmla="*/ 10498 w 90853"/>
                  <a:gd name="connsiteY12" fmla="*/ 46942 h 105588"/>
                  <a:gd name="connsiteX13" fmla="*/ 20394 w 90853"/>
                  <a:gd name="connsiteY13" fmla="*/ 63890 h 105588"/>
                  <a:gd name="connsiteX14" fmla="*/ 14680 w 90853"/>
                  <a:gd name="connsiteY14" fmla="*/ 84043 h 105588"/>
                  <a:gd name="connsiteX15" fmla="*/ 324 w 90853"/>
                  <a:gd name="connsiteY15" fmla="*/ 99599 h 105588"/>
                  <a:gd name="connsiteX16" fmla="*/ 696 w 90853"/>
                  <a:gd name="connsiteY16" fmla="*/ 104474 h 105588"/>
                  <a:gd name="connsiteX17" fmla="*/ 54773 w 90853"/>
                  <a:gd name="connsiteY17" fmla="*/ 105589 h 105588"/>
                  <a:gd name="connsiteX18" fmla="*/ 59000 w 90853"/>
                  <a:gd name="connsiteY18" fmla="*/ 101734 h 105588"/>
                  <a:gd name="connsiteX19" fmla="*/ 85481 w 90853"/>
                  <a:gd name="connsiteY19" fmla="*/ 95744 h 105588"/>
                  <a:gd name="connsiteX20" fmla="*/ 85481 w 90853"/>
                  <a:gd name="connsiteY20" fmla="*/ 40301 h 105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0853" h="105588">
                    <a:moveTo>
                      <a:pt x="85481" y="40208"/>
                    </a:moveTo>
                    <a:cubicBezTo>
                      <a:pt x="84831" y="38722"/>
                      <a:pt x="84831" y="37562"/>
                      <a:pt x="85110" y="36540"/>
                    </a:cubicBezTo>
                    <a:cubicBezTo>
                      <a:pt x="82415" y="34311"/>
                      <a:pt x="79906" y="31943"/>
                      <a:pt x="78002" y="29389"/>
                    </a:cubicBezTo>
                    <a:cubicBezTo>
                      <a:pt x="69825" y="18709"/>
                      <a:pt x="66434" y="27253"/>
                      <a:pt x="65458" y="33661"/>
                    </a:cubicBezTo>
                    <a:cubicBezTo>
                      <a:pt x="64483" y="40069"/>
                      <a:pt x="56770" y="31525"/>
                      <a:pt x="51939" y="30457"/>
                    </a:cubicBezTo>
                    <a:cubicBezTo>
                      <a:pt x="47107" y="29389"/>
                      <a:pt x="53379" y="19266"/>
                      <a:pt x="56770" y="16573"/>
                    </a:cubicBezTo>
                    <a:cubicBezTo>
                      <a:pt x="59047" y="14809"/>
                      <a:pt x="61277" y="9840"/>
                      <a:pt x="62624" y="2968"/>
                    </a:cubicBezTo>
                    <a:cubicBezTo>
                      <a:pt x="61695" y="2968"/>
                      <a:pt x="60812" y="2829"/>
                      <a:pt x="59930" y="2457"/>
                    </a:cubicBezTo>
                    <a:cubicBezTo>
                      <a:pt x="51010" y="-1397"/>
                      <a:pt x="38559" y="-1397"/>
                      <a:pt x="38234" y="7426"/>
                    </a:cubicBezTo>
                    <a:cubicBezTo>
                      <a:pt x="37909" y="16248"/>
                      <a:pt x="48129" y="13091"/>
                      <a:pt x="48455" y="18709"/>
                    </a:cubicBezTo>
                    <a:cubicBezTo>
                      <a:pt x="48780" y="24374"/>
                      <a:pt x="38234" y="22935"/>
                      <a:pt x="30893" y="28600"/>
                    </a:cubicBezTo>
                    <a:cubicBezTo>
                      <a:pt x="23553" y="34265"/>
                      <a:pt x="15609" y="24746"/>
                      <a:pt x="7943" y="28925"/>
                    </a:cubicBezTo>
                    <a:cubicBezTo>
                      <a:pt x="278" y="33150"/>
                      <a:pt x="16213" y="38119"/>
                      <a:pt x="10498" y="46942"/>
                    </a:cubicBezTo>
                    <a:cubicBezTo>
                      <a:pt x="4738" y="55764"/>
                      <a:pt x="10824" y="55393"/>
                      <a:pt x="20394" y="63890"/>
                    </a:cubicBezTo>
                    <a:cubicBezTo>
                      <a:pt x="29964" y="72388"/>
                      <a:pt x="14680" y="74477"/>
                      <a:pt x="14680" y="84043"/>
                    </a:cubicBezTo>
                    <a:cubicBezTo>
                      <a:pt x="14680" y="93608"/>
                      <a:pt x="2879" y="93237"/>
                      <a:pt x="324" y="99599"/>
                    </a:cubicBezTo>
                    <a:cubicBezTo>
                      <a:pt x="-233" y="100991"/>
                      <a:pt x="-47" y="102663"/>
                      <a:pt x="696" y="104474"/>
                    </a:cubicBezTo>
                    <a:cubicBezTo>
                      <a:pt x="18721" y="104660"/>
                      <a:pt x="36747" y="105496"/>
                      <a:pt x="54773" y="105589"/>
                    </a:cubicBezTo>
                    <a:cubicBezTo>
                      <a:pt x="56259" y="104381"/>
                      <a:pt x="57700" y="103128"/>
                      <a:pt x="59000" y="101734"/>
                    </a:cubicBezTo>
                    <a:cubicBezTo>
                      <a:pt x="69825" y="90451"/>
                      <a:pt x="75586" y="101363"/>
                      <a:pt x="85481" y="95744"/>
                    </a:cubicBezTo>
                    <a:cubicBezTo>
                      <a:pt x="95377" y="90079"/>
                      <a:pt x="89291" y="48752"/>
                      <a:pt x="85481" y="40301"/>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nvGrpSpPr>
              <p:cNvPr id="40" name="Graphic 8">
                <a:extLst>
                  <a:ext uri="{FF2B5EF4-FFF2-40B4-BE49-F238E27FC236}">
                    <a16:creationId xmlns:a16="http://schemas.microsoft.com/office/drawing/2014/main" id="{5580400E-C63A-36EB-36E7-E04539F43349}"/>
                  </a:ext>
                </a:extLst>
              </p:cNvPr>
              <p:cNvGrpSpPr/>
              <p:nvPr/>
            </p:nvGrpSpPr>
            <p:grpSpPr>
              <a:xfrm>
                <a:off x="8676730" y="1353108"/>
                <a:ext cx="998299" cy="1388930"/>
                <a:chOff x="4287738" y="2530272"/>
                <a:chExt cx="213729" cy="297362"/>
              </a:xfrm>
              <a:grpFill/>
            </p:grpSpPr>
            <p:grpSp>
              <p:nvGrpSpPr>
                <p:cNvPr id="69" name="Graphic 8">
                  <a:extLst>
                    <a:ext uri="{FF2B5EF4-FFF2-40B4-BE49-F238E27FC236}">
                      <a16:creationId xmlns:a16="http://schemas.microsoft.com/office/drawing/2014/main" id="{A7E3C750-064D-3F37-2791-2C9A84CA522F}"/>
                    </a:ext>
                  </a:extLst>
                </p:cNvPr>
                <p:cNvGrpSpPr/>
                <p:nvPr/>
              </p:nvGrpSpPr>
              <p:grpSpPr>
                <a:xfrm>
                  <a:off x="4287738" y="2530272"/>
                  <a:ext cx="213729" cy="297362"/>
                  <a:chOff x="4287738" y="2530272"/>
                  <a:chExt cx="213729" cy="297362"/>
                </a:xfrm>
                <a:grpFill/>
              </p:grpSpPr>
              <p:sp>
                <p:nvSpPr>
                  <p:cNvPr id="71" name="Freeform 131">
                    <a:extLst>
                      <a:ext uri="{FF2B5EF4-FFF2-40B4-BE49-F238E27FC236}">
                        <a16:creationId xmlns:a16="http://schemas.microsoft.com/office/drawing/2014/main" id="{D9F9292D-0602-BDD0-2CC0-6FD97F5F69F1}"/>
                      </a:ext>
                    </a:extLst>
                  </p:cNvPr>
                  <p:cNvSpPr/>
                  <p:nvPr/>
                </p:nvSpPr>
                <p:spPr>
                  <a:xfrm>
                    <a:off x="4308478" y="2551005"/>
                    <a:ext cx="15149" cy="17508"/>
                  </a:xfrm>
                  <a:custGeom>
                    <a:avLst/>
                    <a:gdLst>
                      <a:gd name="connsiteX0" fmla="*/ 8692 w 15149"/>
                      <a:gd name="connsiteY0" fmla="*/ 0 h 17508"/>
                      <a:gd name="connsiteX1" fmla="*/ 1444 w 15149"/>
                      <a:gd name="connsiteY1" fmla="*/ 17506 h 17508"/>
                      <a:gd name="connsiteX2" fmla="*/ 15150 w 15149"/>
                      <a:gd name="connsiteY2" fmla="*/ 5386 h 17508"/>
                      <a:gd name="connsiteX3" fmla="*/ 8692 w 15149"/>
                      <a:gd name="connsiteY3" fmla="*/ 0 h 17508"/>
                    </a:gdLst>
                    <a:ahLst/>
                    <a:cxnLst>
                      <a:cxn ang="0">
                        <a:pos x="connsiteX0" y="connsiteY0"/>
                      </a:cxn>
                      <a:cxn ang="0">
                        <a:pos x="connsiteX1" y="connsiteY1"/>
                      </a:cxn>
                      <a:cxn ang="0">
                        <a:pos x="connsiteX2" y="connsiteY2"/>
                      </a:cxn>
                      <a:cxn ang="0">
                        <a:pos x="connsiteX3" y="connsiteY3"/>
                      </a:cxn>
                    </a:cxnLst>
                    <a:rect l="l" t="t" r="r" b="b"/>
                    <a:pathLst>
                      <a:path w="15149" h="17508">
                        <a:moveTo>
                          <a:pt x="8692" y="0"/>
                        </a:moveTo>
                        <a:cubicBezTo>
                          <a:pt x="3071" y="6362"/>
                          <a:pt x="-2783" y="17692"/>
                          <a:pt x="1444" y="17506"/>
                        </a:cubicBezTo>
                        <a:cubicBezTo>
                          <a:pt x="6694" y="17274"/>
                          <a:pt x="12408" y="11144"/>
                          <a:pt x="15150" y="5386"/>
                        </a:cubicBezTo>
                        <a:cubicBezTo>
                          <a:pt x="12548" y="3993"/>
                          <a:pt x="10411" y="2182"/>
                          <a:pt x="8692" y="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72" name="Freeform 133">
                    <a:extLst>
                      <a:ext uri="{FF2B5EF4-FFF2-40B4-BE49-F238E27FC236}">
                        <a16:creationId xmlns:a16="http://schemas.microsoft.com/office/drawing/2014/main" id="{C15589CA-3010-C7B9-8BC4-B3ED19B84DA4}"/>
                      </a:ext>
                    </a:extLst>
                  </p:cNvPr>
                  <p:cNvSpPr/>
                  <p:nvPr/>
                </p:nvSpPr>
                <p:spPr>
                  <a:xfrm>
                    <a:off x="4287738" y="2655337"/>
                    <a:ext cx="53616" cy="41241"/>
                  </a:xfrm>
                  <a:custGeom>
                    <a:avLst/>
                    <a:gdLst>
                      <a:gd name="connsiteX0" fmla="*/ 12428 w 53616"/>
                      <a:gd name="connsiteY0" fmla="*/ 7669 h 41241"/>
                      <a:gd name="connsiteX1" fmla="*/ 6574 w 53616"/>
                      <a:gd name="connsiteY1" fmla="*/ 21274 h 41241"/>
                      <a:gd name="connsiteX2" fmla="*/ 1743 w 53616"/>
                      <a:gd name="connsiteY2" fmla="*/ 35158 h 41241"/>
                      <a:gd name="connsiteX3" fmla="*/ 15262 w 53616"/>
                      <a:gd name="connsiteY3" fmla="*/ 38362 h 41241"/>
                      <a:gd name="connsiteX4" fmla="*/ 27806 w 53616"/>
                      <a:gd name="connsiteY4" fmla="*/ 34090 h 41241"/>
                      <a:gd name="connsiteX5" fmla="*/ 34914 w 53616"/>
                      <a:gd name="connsiteY5" fmla="*/ 41241 h 41241"/>
                      <a:gd name="connsiteX6" fmla="*/ 51546 w 53616"/>
                      <a:gd name="connsiteY6" fmla="*/ 29726 h 41241"/>
                      <a:gd name="connsiteX7" fmla="*/ 39467 w 53616"/>
                      <a:gd name="connsiteY7" fmla="*/ 2886 h 41241"/>
                      <a:gd name="connsiteX8" fmla="*/ 12475 w 53616"/>
                      <a:gd name="connsiteY8" fmla="*/ 7623 h 41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616" h="41241">
                        <a:moveTo>
                          <a:pt x="12428" y="7669"/>
                        </a:moveTo>
                        <a:cubicBezTo>
                          <a:pt x="11034" y="14541"/>
                          <a:pt x="8804" y="19510"/>
                          <a:pt x="6574" y="21274"/>
                        </a:cubicBezTo>
                        <a:cubicBezTo>
                          <a:pt x="3183" y="23968"/>
                          <a:pt x="-3042" y="34090"/>
                          <a:pt x="1743" y="35158"/>
                        </a:cubicBezTo>
                        <a:cubicBezTo>
                          <a:pt x="6574" y="36226"/>
                          <a:pt x="14240" y="44770"/>
                          <a:pt x="15262" y="38362"/>
                        </a:cubicBezTo>
                        <a:cubicBezTo>
                          <a:pt x="16238" y="31954"/>
                          <a:pt x="19583" y="23410"/>
                          <a:pt x="27806" y="34090"/>
                        </a:cubicBezTo>
                        <a:cubicBezTo>
                          <a:pt x="29757" y="36644"/>
                          <a:pt x="32265" y="39059"/>
                          <a:pt x="34914" y="41241"/>
                        </a:cubicBezTo>
                        <a:cubicBezTo>
                          <a:pt x="36261" y="36412"/>
                          <a:pt x="46296" y="35576"/>
                          <a:pt x="51546" y="29726"/>
                        </a:cubicBezTo>
                        <a:cubicBezTo>
                          <a:pt x="57910" y="22667"/>
                          <a:pt x="48386" y="12405"/>
                          <a:pt x="39467" y="2886"/>
                        </a:cubicBezTo>
                        <a:cubicBezTo>
                          <a:pt x="31383" y="-5751"/>
                          <a:pt x="21023" y="7762"/>
                          <a:pt x="12475" y="7623"/>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73" name="Freeform 134">
                    <a:extLst>
                      <a:ext uri="{FF2B5EF4-FFF2-40B4-BE49-F238E27FC236}">
                        <a16:creationId xmlns:a16="http://schemas.microsoft.com/office/drawing/2014/main" id="{A6A5ECCD-F5A5-6EC6-95CB-BA6FAB3A54D8}"/>
                      </a:ext>
                    </a:extLst>
                  </p:cNvPr>
                  <p:cNvSpPr/>
                  <p:nvPr/>
                </p:nvSpPr>
                <p:spPr>
                  <a:xfrm>
                    <a:off x="4317114" y="2530272"/>
                    <a:ext cx="184353" cy="297362"/>
                  </a:xfrm>
                  <a:custGeom>
                    <a:avLst/>
                    <a:gdLst>
                      <a:gd name="connsiteX0" fmla="*/ 179940 w 184353"/>
                      <a:gd name="connsiteY0" fmla="*/ 213298 h 297362"/>
                      <a:gd name="connsiteX1" fmla="*/ 177246 w 184353"/>
                      <a:gd name="connsiteY1" fmla="*/ 212416 h 297362"/>
                      <a:gd name="connsiteX2" fmla="*/ 163215 w 184353"/>
                      <a:gd name="connsiteY2" fmla="*/ 201782 h 297362"/>
                      <a:gd name="connsiteX3" fmla="*/ 161775 w 184353"/>
                      <a:gd name="connsiteY3" fmla="*/ 203175 h 297362"/>
                      <a:gd name="connsiteX4" fmla="*/ 151229 w 184353"/>
                      <a:gd name="connsiteY4" fmla="*/ 201782 h 297362"/>
                      <a:gd name="connsiteX5" fmla="*/ 150904 w 184353"/>
                      <a:gd name="connsiteY5" fmla="*/ 188688 h 297362"/>
                      <a:gd name="connsiteX6" fmla="*/ 143889 w 184353"/>
                      <a:gd name="connsiteY6" fmla="*/ 175639 h 297362"/>
                      <a:gd name="connsiteX7" fmla="*/ 143935 w 184353"/>
                      <a:gd name="connsiteY7" fmla="*/ 174107 h 297362"/>
                      <a:gd name="connsiteX8" fmla="*/ 133157 w 184353"/>
                      <a:gd name="connsiteY8" fmla="*/ 161709 h 297362"/>
                      <a:gd name="connsiteX9" fmla="*/ 130463 w 184353"/>
                      <a:gd name="connsiteY9" fmla="*/ 155255 h 297362"/>
                      <a:gd name="connsiteX10" fmla="*/ 128651 w 184353"/>
                      <a:gd name="connsiteY10" fmla="*/ 154372 h 297362"/>
                      <a:gd name="connsiteX11" fmla="*/ 117826 w 184353"/>
                      <a:gd name="connsiteY11" fmla="*/ 140488 h 297362"/>
                      <a:gd name="connsiteX12" fmla="*/ 116943 w 184353"/>
                      <a:gd name="connsiteY12" fmla="*/ 134127 h 297362"/>
                      <a:gd name="connsiteX13" fmla="*/ 115410 w 184353"/>
                      <a:gd name="connsiteY13" fmla="*/ 128694 h 297362"/>
                      <a:gd name="connsiteX14" fmla="*/ 103564 w 184353"/>
                      <a:gd name="connsiteY14" fmla="*/ 109702 h 297362"/>
                      <a:gd name="connsiteX15" fmla="*/ 98871 w 184353"/>
                      <a:gd name="connsiteY15" fmla="*/ 105616 h 297362"/>
                      <a:gd name="connsiteX16" fmla="*/ 79405 w 184353"/>
                      <a:gd name="connsiteY16" fmla="*/ 102087 h 297362"/>
                      <a:gd name="connsiteX17" fmla="*/ 84237 w 184353"/>
                      <a:gd name="connsiteY17" fmla="*/ 88946 h 297362"/>
                      <a:gd name="connsiteX18" fmla="*/ 82843 w 184353"/>
                      <a:gd name="connsiteY18" fmla="*/ 81470 h 297362"/>
                      <a:gd name="connsiteX19" fmla="*/ 96966 w 184353"/>
                      <a:gd name="connsiteY19" fmla="*/ 60156 h 297362"/>
                      <a:gd name="connsiteX20" fmla="*/ 101473 w 184353"/>
                      <a:gd name="connsiteY20" fmla="*/ 54631 h 297362"/>
                      <a:gd name="connsiteX21" fmla="*/ 101752 w 184353"/>
                      <a:gd name="connsiteY21" fmla="*/ 54398 h 297362"/>
                      <a:gd name="connsiteX22" fmla="*/ 103610 w 184353"/>
                      <a:gd name="connsiteY22" fmla="*/ 44926 h 297362"/>
                      <a:gd name="connsiteX23" fmla="*/ 63749 w 184353"/>
                      <a:gd name="connsiteY23" fmla="*/ 42790 h 297362"/>
                      <a:gd name="connsiteX24" fmla="*/ 56409 w 184353"/>
                      <a:gd name="connsiteY24" fmla="*/ 35035 h 297362"/>
                      <a:gd name="connsiteX25" fmla="*/ 72669 w 184353"/>
                      <a:gd name="connsiteY25" fmla="*/ 15254 h 297362"/>
                      <a:gd name="connsiteX26" fmla="*/ 75875 w 184353"/>
                      <a:gd name="connsiteY26" fmla="*/ 1138 h 297362"/>
                      <a:gd name="connsiteX27" fmla="*/ 66304 w 184353"/>
                      <a:gd name="connsiteY27" fmla="*/ 10657 h 297362"/>
                      <a:gd name="connsiteX28" fmla="*/ 43029 w 184353"/>
                      <a:gd name="connsiteY28" fmla="*/ 11028 h 297362"/>
                      <a:gd name="connsiteX29" fmla="*/ 39684 w 184353"/>
                      <a:gd name="connsiteY29" fmla="*/ 11028 h 297362"/>
                      <a:gd name="connsiteX30" fmla="*/ 30160 w 184353"/>
                      <a:gd name="connsiteY30" fmla="*/ 25284 h 297362"/>
                      <a:gd name="connsiteX31" fmla="*/ 29649 w 184353"/>
                      <a:gd name="connsiteY31" fmla="*/ 31181 h 297362"/>
                      <a:gd name="connsiteX32" fmla="*/ 20079 w 184353"/>
                      <a:gd name="connsiteY32" fmla="*/ 47433 h 297362"/>
                      <a:gd name="connsiteX33" fmla="*/ 14690 w 184353"/>
                      <a:gd name="connsiteY33" fmla="*/ 54120 h 297362"/>
                      <a:gd name="connsiteX34" fmla="*/ 1635 w 184353"/>
                      <a:gd name="connsiteY34" fmla="*/ 48826 h 297362"/>
                      <a:gd name="connsiteX35" fmla="*/ 17245 w 184353"/>
                      <a:gd name="connsiteY35" fmla="*/ 62989 h 297362"/>
                      <a:gd name="connsiteX36" fmla="*/ 9300 w 184353"/>
                      <a:gd name="connsiteY36" fmla="*/ 80634 h 297362"/>
                      <a:gd name="connsiteX37" fmla="*/ 20776 w 184353"/>
                      <a:gd name="connsiteY37" fmla="*/ 93357 h 297362"/>
                      <a:gd name="connsiteX38" fmla="*/ 2889 w 184353"/>
                      <a:gd name="connsiteY38" fmla="*/ 108170 h 297362"/>
                      <a:gd name="connsiteX39" fmla="*/ 18174 w 184353"/>
                      <a:gd name="connsiteY39" fmla="*/ 102180 h 297362"/>
                      <a:gd name="connsiteX40" fmla="*/ 27094 w 184353"/>
                      <a:gd name="connsiteY40" fmla="*/ 116667 h 297362"/>
                      <a:gd name="connsiteX41" fmla="*/ 39544 w 184353"/>
                      <a:gd name="connsiteY41" fmla="*/ 97954 h 297362"/>
                      <a:gd name="connsiteX42" fmla="*/ 41171 w 184353"/>
                      <a:gd name="connsiteY42" fmla="*/ 114531 h 297362"/>
                      <a:gd name="connsiteX43" fmla="*/ 33505 w 184353"/>
                      <a:gd name="connsiteY43" fmla="*/ 138585 h 297362"/>
                      <a:gd name="connsiteX44" fmla="*/ 64446 w 184353"/>
                      <a:gd name="connsiteY44" fmla="*/ 135427 h 297362"/>
                      <a:gd name="connsiteX45" fmla="*/ 70207 w 184353"/>
                      <a:gd name="connsiteY45" fmla="*/ 142485 h 297362"/>
                      <a:gd name="connsiteX46" fmla="*/ 73737 w 184353"/>
                      <a:gd name="connsiteY46" fmla="*/ 157344 h 297362"/>
                      <a:gd name="connsiteX47" fmla="*/ 79452 w 184353"/>
                      <a:gd name="connsiteY47" fmla="*/ 166167 h 297362"/>
                      <a:gd name="connsiteX48" fmla="*/ 77547 w 184353"/>
                      <a:gd name="connsiteY48" fmla="*/ 187712 h 297362"/>
                      <a:gd name="connsiteX49" fmla="*/ 55526 w 184353"/>
                      <a:gd name="connsiteY49" fmla="*/ 188780 h 297362"/>
                      <a:gd name="connsiteX50" fmla="*/ 48836 w 184353"/>
                      <a:gd name="connsiteY50" fmla="*/ 192634 h 297362"/>
                      <a:gd name="connsiteX51" fmla="*/ 42471 w 184353"/>
                      <a:gd name="connsiteY51" fmla="*/ 207494 h 297362"/>
                      <a:gd name="connsiteX52" fmla="*/ 55201 w 184353"/>
                      <a:gd name="connsiteY52" fmla="*/ 216688 h 297362"/>
                      <a:gd name="connsiteX53" fmla="*/ 34481 w 184353"/>
                      <a:gd name="connsiteY53" fmla="*/ 232940 h 297362"/>
                      <a:gd name="connsiteX54" fmla="*/ 42750 w 184353"/>
                      <a:gd name="connsiteY54" fmla="*/ 242830 h 297362"/>
                      <a:gd name="connsiteX55" fmla="*/ 55526 w 184353"/>
                      <a:gd name="connsiteY55" fmla="*/ 245988 h 297362"/>
                      <a:gd name="connsiteX56" fmla="*/ 78151 w 184353"/>
                      <a:gd name="connsiteY56" fmla="*/ 249517 h 297362"/>
                      <a:gd name="connsiteX57" fmla="*/ 80056 w 184353"/>
                      <a:gd name="connsiteY57" fmla="*/ 255507 h 297362"/>
                      <a:gd name="connsiteX58" fmla="*/ 56130 w 184353"/>
                      <a:gd name="connsiteY58" fmla="*/ 259036 h 297362"/>
                      <a:gd name="connsiteX59" fmla="*/ 28720 w 184353"/>
                      <a:gd name="connsiteY59" fmla="*/ 296463 h 297362"/>
                      <a:gd name="connsiteX60" fmla="*/ 44655 w 184353"/>
                      <a:gd name="connsiteY60" fmla="*/ 286572 h 297362"/>
                      <a:gd name="connsiteX61" fmla="*/ 54597 w 184353"/>
                      <a:gd name="connsiteY61" fmla="*/ 286758 h 297362"/>
                      <a:gd name="connsiteX62" fmla="*/ 63331 w 184353"/>
                      <a:gd name="connsiteY62" fmla="*/ 277935 h 297362"/>
                      <a:gd name="connsiteX63" fmla="*/ 81450 w 184353"/>
                      <a:gd name="connsiteY63" fmla="*/ 275613 h 297362"/>
                      <a:gd name="connsiteX64" fmla="*/ 85073 w 184353"/>
                      <a:gd name="connsiteY64" fmla="*/ 277006 h 297362"/>
                      <a:gd name="connsiteX65" fmla="*/ 85770 w 184353"/>
                      <a:gd name="connsiteY65" fmla="*/ 277053 h 297362"/>
                      <a:gd name="connsiteX66" fmla="*/ 102681 w 184353"/>
                      <a:gd name="connsiteY66" fmla="*/ 271759 h 297362"/>
                      <a:gd name="connsiteX67" fmla="*/ 119916 w 184353"/>
                      <a:gd name="connsiteY67" fmla="*/ 276356 h 297362"/>
                      <a:gd name="connsiteX68" fmla="*/ 144168 w 184353"/>
                      <a:gd name="connsiteY68" fmla="*/ 271388 h 297362"/>
                      <a:gd name="connsiteX69" fmla="*/ 174133 w 184353"/>
                      <a:gd name="connsiteY69" fmla="*/ 257597 h 297362"/>
                      <a:gd name="connsiteX70" fmla="*/ 164888 w 184353"/>
                      <a:gd name="connsiteY70" fmla="*/ 252675 h 297362"/>
                      <a:gd name="connsiteX71" fmla="*/ 166467 w 184353"/>
                      <a:gd name="connsiteY71" fmla="*/ 238559 h 297362"/>
                      <a:gd name="connsiteX72" fmla="*/ 184354 w 184353"/>
                      <a:gd name="connsiteY72" fmla="*/ 215620 h 297362"/>
                      <a:gd name="connsiteX73" fmla="*/ 184354 w 184353"/>
                      <a:gd name="connsiteY73" fmla="*/ 215620 h 297362"/>
                      <a:gd name="connsiteX74" fmla="*/ 179847 w 184353"/>
                      <a:gd name="connsiteY74" fmla="*/ 213391 h 297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84353" h="297362">
                        <a:moveTo>
                          <a:pt x="179940" y="213298"/>
                        </a:moveTo>
                        <a:cubicBezTo>
                          <a:pt x="179058" y="212973"/>
                          <a:pt x="178175" y="212648"/>
                          <a:pt x="177246" y="212416"/>
                        </a:cubicBezTo>
                        <a:cubicBezTo>
                          <a:pt x="171253" y="210837"/>
                          <a:pt x="166514" y="206844"/>
                          <a:pt x="163215" y="201782"/>
                        </a:cubicBezTo>
                        <a:cubicBezTo>
                          <a:pt x="162565" y="202107"/>
                          <a:pt x="162007" y="202525"/>
                          <a:pt x="161775" y="203175"/>
                        </a:cubicBezTo>
                        <a:cubicBezTo>
                          <a:pt x="159545" y="208840"/>
                          <a:pt x="154760" y="208144"/>
                          <a:pt x="151229" y="201782"/>
                        </a:cubicBezTo>
                        <a:cubicBezTo>
                          <a:pt x="147745" y="195421"/>
                          <a:pt x="154435" y="189384"/>
                          <a:pt x="150904" y="188688"/>
                        </a:cubicBezTo>
                        <a:cubicBezTo>
                          <a:pt x="147373" y="187991"/>
                          <a:pt x="142913" y="179122"/>
                          <a:pt x="143889" y="175639"/>
                        </a:cubicBezTo>
                        <a:cubicBezTo>
                          <a:pt x="143982" y="175314"/>
                          <a:pt x="143982" y="174757"/>
                          <a:pt x="143935" y="174107"/>
                        </a:cubicBezTo>
                        <a:cubicBezTo>
                          <a:pt x="139754" y="170485"/>
                          <a:pt x="136316" y="166213"/>
                          <a:pt x="133157" y="161709"/>
                        </a:cubicBezTo>
                        <a:cubicBezTo>
                          <a:pt x="131810" y="159759"/>
                          <a:pt x="130973" y="157576"/>
                          <a:pt x="130463" y="155255"/>
                        </a:cubicBezTo>
                        <a:lnTo>
                          <a:pt x="128651" y="154372"/>
                        </a:lnTo>
                        <a:cubicBezTo>
                          <a:pt x="123215" y="151679"/>
                          <a:pt x="119638" y="146060"/>
                          <a:pt x="117826" y="140488"/>
                        </a:cubicBezTo>
                        <a:cubicBezTo>
                          <a:pt x="117129" y="138399"/>
                          <a:pt x="116897" y="136263"/>
                          <a:pt x="116943" y="134127"/>
                        </a:cubicBezTo>
                        <a:cubicBezTo>
                          <a:pt x="116339" y="132362"/>
                          <a:pt x="115828" y="130551"/>
                          <a:pt x="115410" y="128694"/>
                        </a:cubicBezTo>
                        <a:cubicBezTo>
                          <a:pt x="108720" y="124840"/>
                          <a:pt x="104260" y="117782"/>
                          <a:pt x="103564" y="109702"/>
                        </a:cubicBezTo>
                        <a:cubicBezTo>
                          <a:pt x="101984" y="108913"/>
                          <a:pt x="100358" y="107752"/>
                          <a:pt x="98871" y="105616"/>
                        </a:cubicBezTo>
                        <a:cubicBezTo>
                          <a:pt x="93436" y="97861"/>
                          <a:pt x="84190" y="101715"/>
                          <a:pt x="79405" y="102087"/>
                        </a:cubicBezTo>
                        <a:cubicBezTo>
                          <a:pt x="75224" y="102365"/>
                          <a:pt x="78337" y="94657"/>
                          <a:pt x="84237" y="88946"/>
                        </a:cubicBezTo>
                        <a:cubicBezTo>
                          <a:pt x="83447" y="86531"/>
                          <a:pt x="82936" y="83977"/>
                          <a:pt x="82843" y="81470"/>
                        </a:cubicBezTo>
                        <a:cubicBezTo>
                          <a:pt x="82425" y="72554"/>
                          <a:pt x="88697" y="63871"/>
                          <a:pt x="96966" y="60156"/>
                        </a:cubicBezTo>
                        <a:cubicBezTo>
                          <a:pt x="98314" y="58160"/>
                          <a:pt x="99754" y="56209"/>
                          <a:pt x="101473" y="54631"/>
                        </a:cubicBezTo>
                        <a:cubicBezTo>
                          <a:pt x="101566" y="54538"/>
                          <a:pt x="101659" y="54491"/>
                          <a:pt x="101752" y="54398"/>
                        </a:cubicBezTo>
                        <a:cubicBezTo>
                          <a:pt x="102913" y="50080"/>
                          <a:pt x="103610" y="46551"/>
                          <a:pt x="103610" y="44926"/>
                        </a:cubicBezTo>
                        <a:cubicBezTo>
                          <a:pt x="103610" y="38936"/>
                          <a:pt x="70114" y="39261"/>
                          <a:pt x="63749" y="42790"/>
                        </a:cubicBezTo>
                        <a:cubicBezTo>
                          <a:pt x="57384" y="46319"/>
                          <a:pt x="51020" y="37496"/>
                          <a:pt x="56409" y="35035"/>
                        </a:cubicBezTo>
                        <a:cubicBezTo>
                          <a:pt x="61844" y="32574"/>
                          <a:pt x="73319" y="20222"/>
                          <a:pt x="72669" y="15254"/>
                        </a:cubicBezTo>
                        <a:cubicBezTo>
                          <a:pt x="72018" y="10332"/>
                          <a:pt x="80660" y="5735"/>
                          <a:pt x="75875" y="1138"/>
                        </a:cubicBezTo>
                        <a:cubicBezTo>
                          <a:pt x="71090" y="-3459"/>
                          <a:pt x="70439" y="7128"/>
                          <a:pt x="66304" y="10657"/>
                        </a:cubicBezTo>
                        <a:cubicBezTo>
                          <a:pt x="62169" y="14186"/>
                          <a:pt x="52924" y="13118"/>
                          <a:pt x="43029" y="11028"/>
                        </a:cubicBezTo>
                        <a:cubicBezTo>
                          <a:pt x="41821" y="10750"/>
                          <a:pt x="40706" y="10796"/>
                          <a:pt x="39684" y="11028"/>
                        </a:cubicBezTo>
                        <a:cubicBezTo>
                          <a:pt x="38476" y="16786"/>
                          <a:pt x="35270" y="22033"/>
                          <a:pt x="30160" y="25284"/>
                        </a:cubicBezTo>
                        <a:cubicBezTo>
                          <a:pt x="29742" y="27513"/>
                          <a:pt x="29602" y="29602"/>
                          <a:pt x="29649" y="31181"/>
                        </a:cubicBezTo>
                        <a:cubicBezTo>
                          <a:pt x="29974" y="37868"/>
                          <a:pt x="18174" y="41768"/>
                          <a:pt x="20079" y="47433"/>
                        </a:cubicBezTo>
                        <a:cubicBezTo>
                          <a:pt x="21984" y="53098"/>
                          <a:pt x="17849" y="57324"/>
                          <a:pt x="14690" y="54120"/>
                        </a:cubicBezTo>
                        <a:cubicBezTo>
                          <a:pt x="11531" y="50962"/>
                          <a:pt x="8000" y="43161"/>
                          <a:pt x="1635" y="48826"/>
                        </a:cubicBezTo>
                        <a:cubicBezTo>
                          <a:pt x="-4730" y="54491"/>
                          <a:pt x="8975" y="61921"/>
                          <a:pt x="17245" y="62989"/>
                        </a:cubicBezTo>
                        <a:cubicBezTo>
                          <a:pt x="25561" y="64057"/>
                          <a:pt x="10880" y="70743"/>
                          <a:pt x="9300" y="80634"/>
                        </a:cubicBezTo>
                        <a:cubicBezTo>
                          <a:pt x="7721" y="90525"/>
                          <a:pt x="20125" y="86299"/>
                          <a:pt x="20776" y="93357"/>
                        </a:cubicBezTo>
                        <a:cubicBezTo>
                          <a:pt x="21426" y="100415"/>
                          <a:pt x="2889" y="101483"/>
                          <a:pt x="2889" y="108170"/>
                        </a:cubicBezTo>
                        <a:cubicBezTo>
                          <a:pt x="2889" y="114856"/>
                          <a:pt x="13435" y="105012"/>
                          <a:pt x="18174" y="102180"/>
                        </a:cubicBezTo>
                        <a:cubicBezTo>
                          <a:pt x="22959" y="99347"/>
                          <a:pt x="15619" y="118757"/>
                          <a:pt x="27094" y="116667"/>
                        </a:cubicBezTo>
                        <a:cubicBezTo>
                          <a:pt x="38569" y="114531"/>
                          <a:pt x="35363" y="97258"/>
                          <a:pt x="39544" y="97954"/>
                        </a:cubicBezTo>
                        <a:cubicBezTo>
                          <a:pt x="43679" y="98651"/>
                          <a:pt x="37640" y="107148"/>
                          <a:pt x="41171" y="114531"/>
                        </a:cubicBezTo>
                        <a:cubicBezTo>
                          <a:pt x="44655" y="121961"/>
                          <a:pt x="32855" y="133245"/>
                          <a:pt x="33505" y="138585"/>
                        </a:cubicBezTo>
                        <a:cubicBezTo>
                          <a:pt x="34155" y="143878"/>
                          <a:pt x="57106" y="143878"/>
                          <a:pt x="64446" y="135427"/>
                        </a:cubicBezTo>
                        <a:cubicBezTo>
                          <a:pt x="71786" y="126929"/>
                          <a:pt x="75271" y="136124"/>
                          <a:pt x="70207" y="142485"/>
                        </a:cubicBezTo>
                        <a:cubicBezTo>
                          <a:pt x="65096" y="148847"/>
                          <a:pt x="67326" y="154837"/>
                          <a:pt x="73737" y="157344"/>
                        </a:cubicBezTo>
                        <a:cubicBezTo>
                          <a:pt x="80102" y="159805"/>
                          <a:pt x="82332" y="160502"/>
                          <a:pt x="79452" y="166167"/>
                        </a:cubicBezTo>
                        <a:cubicBezTo>
                          <a:pt x="76572" y="171832"/>
                          <a:pt x="79127" y="182419"/>
                          <a:pt x="77547" y="187712"/>
                        </a:cubicBezTo>
                        <a:cubicBezTo>
                          <a:pt x="75968" y="193006"/>
                          <a:pt x="56176" y="192310"/>
                          <a:pt x="55526" y="188780"/>
                        </a:cubicBezTo>
                        <a:cubicBezTo>
                          <a:pt x="54875" y="185251"/>
                          <a:pt x="46606" y="187712"/>
                          <a:pt x="48836" y="192634"/>
                        </a:cubicBezTo>
                        <a:cubicBezTo>
                          <a:pt x="51066" y="197603"/>
                          <a:pt x="41821" y="202897"/>
                          <a:pt x="42471" y="207494"/>
                        </a:cubicBezTo>
                        <a:cubicBezTo>
                          <a:pt x="43122" y="212091"/>
                          <a:pt x="54922" y="211023"/>
                          <a:pt x="55201" y="216688"/>
                        </a:cubicBezTo>
                        <a:cubicBezTo>
                          <a:pt x="55526" y="222306"/>
                          <a:pt x="46606" y="229039"/>
                          <a:pt x="34481" y="232940"/>
                        </a:cubicBezTo>
                        <a:cubicBezTo>
                          <a:pt x="22355" y="236794"/>
                          <a:pt x="37036" y="247428"/>
                          <a:pt x="42750" y="242830"/>
                        </a:cubicBezTo>
                        <a:cubicBezTo>
                          <a:pt x="48465" y="238233"/>
                          <a:pt x="47210" y="245988"/>
                          <a:pt x="55526" y="245988"/>
                        </a:cubicBezTo>
                        <a:cubicBezTo>
                          <a:pt x="63842" y="245988"/>
                          <a:pt x="68906" y="253418"/>
                          <a:pt x="78151" y="249517"/>
                        </a:cubicBezTo>
                        <a:cubicBezTo>
                          <a:pt x="87396" y="245617"/>
                          <a:pt x="87071" y="249517"/>
                          <a:pt x="80056" y="255507"/>
                        </a:cubicBezTo>
                        <a:cubicBezTo>
                          <a:pt x="73041" y="261497"/>
                          <a:pt x="62541" y="255182"/>
                          <a:pt x="56130" y="259036"/>
                        </a:cubicBezTo>
                        <a:cubicBezTo>
                          <a:pt x="49765" y="262890"/>
                          <a:pt x="23795" y="289869"/>
                          <a:pt x="28720" y="296463"/>
                        </a:cubicBezTo>
                        <a:cubicBezTo>
                          <a:pt x="31600" y="300317"/>
                          <a:pt x="35410" y="290798"/>
                          <a:pt x="44655" y="286572"/>
                        </a:cubicBezTo>
                        <a:cubicBezTo>
                          <a:pt x="49580" y="284297"/>
                          <a:pt x="52320" y="285272"/>
                          <a:pt x="54597" y="286758"/>
                        </a:cubicBezTo>
                        <a:cubicBezTo>
                          <a:pt x="56687" y="283182"/>
                          <a:pt x="59847" y="280164"/>
                          <a:pt x="63331" y="277935"/>
                        </a:cubicBezTo>
                        <a:cubicBezTo>
                          <a:pt x="68348" y="274778"/>
                          <a:pt x="75828" y="274081"/>
                          <a:pt x="81450" y="275613"/>
                        </a:cubicBezTo>
                        <a:cubicBezTo>
                          <a:pt x="82611" y="275938"/>
                          <a:pt x="83865" y="276403"/>
                          <a:pt x="85073" y="277006"/>
                        </a:cubicBezTo>
                        <a:cubicBezTo>
                          <a:pt x="85306" y="277006"/>
                          <a:pt x="85538" y="277006"/>
                          <a:pt x="85770" y="277053"/>
                        </a:cubicBezTo>
                        <a:cubicBezTo>
                          <a:pt x="93436" y="278446"/>
                          <a:pt x="98871" y="275288"/>
                          <a:pt x="102681" y="271759"/>
                        </a:cubicBezTo>
                        <a:cubicBezTo>
                          <a:pt x="106490" y="268230"/>
                          <a:pt x="116711" y="278817"/>
                          <a:pt x="119916" y="276356"/>
                        </a:cubicBezTo>
                        <a:cubicBezTo>
                          <a:pt x="123076" y="273895"/>
                          <a:pt x="137152" y="271063"/>
                          <a:pt x="144168" y="271388"/>
                        </a:cubicBezTo>
                        <a:cubicBezTo>
                          <a:pt x="151183" y="271759"/>
                          <a:pt x="169348" y="262565"/>
                          <a:pt x="174133" y="257597"/>
                        </a:cubicBezTo>
                        <a:cubicBezTo>
                          <a:pt x="178918" y="252675"/>
                          <a:pt x="171253" y="251607"/>
                          <a:pt x="164888" y="252675"/>
                        </a:cubicBezTo>
                        <a:cubicBezTo>
                          <a:pt x="158523" y="253743"/>
                          <a:pt x="159777" y="245617"/>
                          <a:pt x="166467" y="238559"/>
                        </a:cubicBezTo>
                        <a:cubicBezTo>
                          <a:pt x="173157" y="231500"/>
                          <a:pt x="183703" y="226207"/>
                          <a:pt x="184354" y="215620"/>
                        </a:cubicBezTo>
                        <a:lnTo>
                          <a:pt x="184354" y="215620"/>
                        </a:lnTo>
                        <a:cubicBezTo>
                          <a:pt x="182867" y="214830"/>
                          <a:pt x="181380" y="214087"/>
                          <a:pt x="179847" y="213391"/>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sp>
              <p:nvSpPr>
                <p:cNvPr id="70" name="Freeform 130">
                  <a:extLst>
                    <a:ext uri="{FF2B5EF4-FFF2-40B4-BE49-F238E27FC236}">
                      <a16:creationId xmlns:a16="http://schemas.microsoft.com/office/drawing/2014/main" id="{5814EB1A-7430-43F0-6D5F-F6B1267281B0}"/>
                    </a:ext>
                  </a:extLst>
                </p:cNvPr>
                <p:cNvSpPr/>
                <p:nvPr/>
              </p:nvSpPr>
              <p:spPr>
                <a:xfrm>
                  <a:off x="4308478" y="2551005"/>
                  <a:ext cx="15149" cy="17508"/>
                </a:xfrm>
                <a:custGeom>
                  <a:avLst/>
                  <a:gdLst>
                    <a:gd name="connsiteX0" fmla="*/ 8692 w 15149"/>
                    <a:gd name="connsiteY0" fmla="*/ 0 h 17508"/>
                    <a:gd name="connsiteX1" fmla="*/ 1444 w 15149"/>
                    <a:gd name="connsiteY1" fmla="*/ 17506 h 17508"/>
                    <a:gd name="connsiteX2" fmla="*/ 15150 w 15149"/>
                    <a:gd name="connsiteY2" fmla="*/ 5386 h 17508"/>
                    <a:gd name="connsiteX3" fmla="*/ 8692 w 15149"/>
                    <a:gd name="connsiteY3" fmla="*/ 0 h 17508"/>
                  </a:gdLst>
                  <a:ahLst/>
                  <a:cxnLst>
                    <a:cxn ang="0">
                      <a:pos x="connsiteX0" y="connsiteY0"/>
                    </a:cxn>
                    <a:cxn ang="0">
                      <a:pos x="connsiteX1" y="connsiteY1"/>
                    </a:cxn>
                    <a:cxn ang="0">
                      <a:pos x="connsiteX2" y="connsiteY2"/>
                    </a:cxn>
                    <a:cxn ang="0">
                      <a:pos x="connsiteX3" y="connsiteY3"/>
                    </a:cxn>
                  </a:cxnLst>
                  <a:rect l="l" t="t" r="r" b="b"/>
                  <a:pathLst>
                    <a:path w="15149" h="17508">
                      <a:moveTo>
                        <a:pt x="8692" y="0"/>
                      </a:moveTo>
                      <a:cubicBezTo>
                        <a:pt x="3071" y="6362"/>
                        <a:pt x="-2783" y="17692"/>
                        <a:pt x="1444" y="17506"/>
                      </a:cubicBezTo>
                      <a:cubicBezTo>
                        <a:pt x="6694" y="17274"/>
                        <a:pt x="12408" y="11144"/>
                        <a:pt x="15150" y="5386"/>
                      </a:cubicBezTo>
                      <a:cubicBezTo>
                        <a:pt x="12548" y="3993"/>
                        <a:pt x="10411" y="2182"/>
                        <a:pt x="8692" y="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sp>
            <p:nvSpPr>
              <p:cNvPr id="41" name="Freeform 77">
                <a:extLst>
                  <a:ext uri="{FF2B5EF4-FFF2-40B4-BE49-F238E27FC236}">
                    <a16:creationId xmlns:a16="http://schemas.microsoft.com/office/drawing/2014/main" id="{5B2E4D3F-4324-BC47-BD8A-FB12F096177E}"/>
                  </a:ext>
                </a:extLst>
              </p:cNvPr>
              <p:cNvSpPr/>
              <p:nvPr/>
            </p:nvSpPr>
            <p:spPr>
              <a:xfrm>
                <a:off x="10628165" y="1814647"/>
                <a:ext cx="146281" cy="224161"/>
              </a:xfrm>
              <a:custGeom>
                <a:avLst/>
                <a:gdLst>
                  <a:gd name="connsiteX0" fmla="*/ 30749 w 31318"/>
                  <a:gd name="connsiteY0" fmla="*/ 2358 h 47991"/>
                  <a:gd name="connsiteX1" fmla="*/ 23408 w 31318"/>
                  <a:gd name="connsiteY1" fmla="*/ 7976 h 47991"/>
                  <a:gd name="connsiteX2" fmla="*/ 16068 w 31318"/>
                  <a:gd name="connsiteY2" fmla="*/ 2358 h 47991"/>
                  <a:gd name="connsiteX3" fmla="*/ 2038 w 31318"/>
                  <a:gd name="connsiteY3" fmla="*/ 9044 h 47991"/>
                  <a:gd name="connsiteX4" fmla="*/ 10307 w 31318"/>
                  <a:gd name="connsiteY4" fmla="*/ 30961 h 47991"/>
                  <a:gd name="connsiteX5" fmla="*/ 4268 w 31318"/>
                  <a:gd name="connsiteY5" fmla="*/ 37323 h 47991"/>
                  <a:gd name="connsiteX6" fmla="*/ 9982 w 31318"/>
                  <a:gd name="connsiteY6" fmla="*/ 47910 h 47991"/>
                  <a:gd name="connsiteX7" fmla="*/ 25592 w 31318"/>
                  <a:gd name="connsiteY7" fmla="*/ 28129 h 47991"/>
                  <a:gd name="connsiteX8" fmla="*/ 30702 w 31318"/>
                  <a:gd name="connsiteY8" fmla="*/ 2358 h 4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18" h="47991">
                    <a:moveTo>
                      <a:pt x="30749" y="2358"/>
                    </a:moveTo>
                    <a:cubicBezTo>
                      <a:pt x="28194" y="593"/>
                      <a:pt x="26289" y="7280"/>
                      <a:pt x="23408" y="7976"/>
                    </a:cubicBezTo>
                    <a:cubicBezTo>
                      <a:pt x="20528" y="8673"/>
                      <a:pt x="17369" y="-5443"/>
                      <a:pt x="16068" y="2358"/>
                    </a:cubicBezTo>
                    <a:cubicBezTo>
                      <a:pt x="14767" y="10112"/>
                      <a:pt x="8403" y="-846"/>
                      <a:pt x="2038" y="9044"/>
                    </a:cubicBezTo>
                    <a:cubicBezTo>
                      <a:pt x="-4327" y="18935"/>
                      <a:pt x="5848" y="27757"/>
                      <a:pt x="10307" y="30961"/>
                    </a:cubicBezTo>
                    <a:cubicBezTo>
                      <a:pt x="14767" y="34119"/>
                      <a:pt x="9982" y="38716"/>
                      <a:pt x="4268" y="37323"/>
                    </a:cubicBezTo>
                    <a:cubicBezTo>
                      <a:pt x="-1493" y="35930"/>
                      <a:pt x="2038" y="46471"/>
                      <a:pt x="9982" y="47910"/>
                    </a:cubicBezTo>
                    <a:cubicBezTo>
                      <a:pt x="17973" y="49303"/>
                      <a:pt x="26568" y="32354"/>
                      <a:pt x="25592" y="28129"/>
                    </a:cubicBezTo>
                    <a:cubicBezTo>
                      <a:pt x="24616" y="23903"/>
                      <a:pt x="33722" y="4447"/>
                      <a:pt x="30702" y="2358"/>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43" name="Freeform 78">
                <a:extLst>
                  <a:ext uri="{FF2B5EF4-FFF2-40B4-BE49-F238E27FC236}">
                    <a16:creationId xmlns:a16="http://schemas.microsoft.com/office/drawing/2014/main" id="{B8FB6E84-C922-4650-B60D-D21C2BF084DE}"/>
                  </a:ext>
                </a:extLst>
              </p:cNvPr>
              <p:cNvSpPr/>
              <p:nvPr/>
            </p:nvSpPr>
            <p:spPr>
              <a:xfrm>
                <a:off x="10330413" y="1545253"/>
                <a:ext cx="265029" cy="467977"/>
              </a:xfrm>
              <a:custGeom>
                <a:avLst/>
                <a:gdLst>
                  <a:gd name="connsiteX0" fmla="*/ 46365 w 56741"/>
                  <a:gd name="connsiteY0" fmla="*/ 38442 h 100191"/>
                  <a:gd name="connsiteX1" fmla="*/ 45715 w 56741"/>
                  <a:gd name="connsiteY1" fmla="*/ 21865 h 100191"/>
                  <a:gd name="connsiteX2" fmla="*/ 47945 w 56741"/>
                  <a:gd name="connsiteY2" fmla="*/ 1341 h 100191"/>
                  <a:gd name="connsiteX3" fmla="*/ 32335 w 56741"/>
                  <a:gd name="connsiteY3" fmla="*/ 10860 h 100191"/>
                  <a:gd name="connsiteX4" fmla="*/ 19559 w 56741"/>
                  <a:gd name="connsiteY4" fmla="*/ 18289 h 100191"/>
                  <a:gd name="connsiteX5" fmla="*/ 20535 w 56741"/>
                  <a:gd name="connsiteY5" fmla="*/ 28876 h 100191"/>
                  <a:gd name="connsiteX6" fmla="*/ 8084 w 56741"/>
                  <a:gd name="connsiteY6" fmla="*/ 21818 h 100191"/>
                  <a:gd name="connsiteX7" fmla="*/ 0 w 56741"/>
                  <a:gd name="connsiteY7" fmla="*/ 32173 h 100191"/>
                  <a:gd name="connsiteX8" fmla="*/ 2927 w 56741"/>
                  <a:gd name="connsiteY8" fmla="*/ 42621 h 100191"/>
                  <a:gd name="connsiteX9" fmla="*/ 5064 w 56741"/>
                  <a:gd name="connsiteY9" fmla="*/ 75404 h 100191"/>
                  <a:gd name="connsiteX10" fmla="*/ 5715 w 56741"/>
                  <a:gd name="connsiteY10" fmla="*/ 83437 h 100191"/>
                  <a:gd name="connsiteX11" fmla="*/ 5528 w 56741"/>
                  <a:gd name="connsiteY11" fmla="*/ 87152 h 100191"/>
                  <a:gd name="connsiteX12" fmla="*/ 8827 w 56741"/>
                  <a:gd name="connsiteY12" fmla="*/ 97739 h 100191"/>
                  <a:gd name="connsiteX13" fmla="*/ 28525 w 56741"/>
                  <a:gd name="connsiteY13" fmla="*/ 99875 h 100191"/>
                  <a:gd name="connsiteX14" fmla="*/ 36516 w 56741"/>
                  <a:gd name="connsiteY14" fmla="*/ 99689 h 100191"/>
                  <a:gd name="connsiteX15" fmla="*/ 27875 w 56741"/>
                  <a:gd name="connsiteY15" fmla="*/ 86827 h 100191"/>
                  <a:gd name="connsiteX16" fmla="*/ 39025 w 56741"/>
                  <a:gd name="connsiteY16" fmla="*/ 89288 h 100191"/>
                  <a:gd name="connsiteX17" fmla="*/ 54309 w 56741"/>
                  <a:gd name="connsiteY17" fmla="*/ 88963 h 100191"/>
                  <a:gd name="connsiteX18" fmla="*/ 46644 w 56741"/>
                  <a:gd name="connsiteY18" fmla="*/ 74150 h 100191"/>
                  <a:gd name="connsiteX19" fmla="*/ 36748 w 56741"/>
                  <a:gd name="connsiteY19" fmla="*/ 72757 h 100191"/>
                  <a:gd name="connsiteX20" fmla="*/ 42834 w 56741"/>
                  <a:gd name="connsiteY20" fmla="*/ 57945 h 100191"/>
                  <a:gd name="connsiteX21" fmla="*/ 56539 w 56741"/>
                  <a:gd name="connsiteY21" fmla="*/ 49818 h 100191"/>
                  <a:gd name="connsiteX22" fmla="*/ 46319 w 56741"/>
                  <a:gd name="connsiteY22" fmla="*/ 38535 h 100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741" h="100191">
                    <a:moveTo>
                      <a:pt x="46365" y="38442"/>
                    </a:moveTo>
                    <a:cubicBezTo>
                      <a:pt x="43160" y="36677"/>
                      <a:pt x="41905" y="25394"/>
                      <a:pt x="45715" y="21865"/>
                    </a:cubicBezTo>
                    <a:cubicBezTo>
                      <a:pt x="49524" y="18336"/>
                      <a:pt x="51150" y="4916"/>
                      <a:pt x="47945" y="1341"/>
                    </a:cubicBezTo>
                    <a:cubicBezTo>
                      <a:pt x="44785" y="-2188"/>
                      <a:pt x="33264" y="1341"/>
                      <a:pt x="32335" y="10860"/>
                    </a:cubicBezTo>
                    <a:cubicBezTo>
                      <a:pt x="31359" y="20379"/>
                      <a:pt x="22160" y="16153"/>
                      <a:pt x="19559" y="18289"/>
                    </a:cubicBezTo>
                    <a:cubicBezTo>
                      <a:pt x="17004" y="20425"/>
                      <a:pt x="24669" y="24651"/>
                      <a:pt x="20535" y="28876"/>
                    </a:cubicBezTo>
                    <a:cubicBezTo>
                      <a:pt x="16400" y="33102"/>
                      <a:pt x="14774" y="22515"/>
                      <a:pt x="8084" y="21818"/>
                    </a:cubicBezTo>
                    <a:cubicBezTo>
                      <a:pt x="3531" y="21308"/>
                      <a:pt x="1765" y="26740"/>
                      <a:pt x="0" y="32173"/>
                    </a:cubicBezTo>
                    <a:cubicBezTo>
                      <a:pt x="1208" y="35563"/>
                      <a:pt x="2276" y="39046"/>
                      <a:pt x="2927" y="42621"/>
                    </a:cubicBezTo>
                    <a:cubicBezTo>
                      <a:pt x="4878" y="53440"/>
                      <a:pt x="2462" y="64910"/>
                      <a:pt x="5064" y="75404"/>
                    </a:cubicBezTo>
                    <a:cubicBezTo>
                      <a:pt x="5761" y="78236"/>
                      <a:pt x="5947" y="80930"/>
                      <a:pt x="5715" y="83437"/>
                    </a:cubicBezTo>
                    <a:cubicBezTo>
                      <a:pt x="5947" y="84644"/>
                      <a:pt x="5947" y="85852"/>
                      <a:pt x="5528" y="87152"/>
                    </a:cubicBezTo>
                    <a:cubicBezTo>
                      <a:pt x="4507" y="90449"/>
                      <a:pt x="6597" y="94117"/>
                      <a:pt x="8827" y="97739"/>
                    </a:cubicBezTo>
                    <a:cubicBezTo>
                      <a:pt x="17329" y="97925"/>
                      <a:pt x="25087" y="98621"/>
                      <a:pt x="28525" y="99875"/>
                    </a:cubicBezTo>
                    <a:cubicBezTo>
                      <a:pt x="29919" y="100386"/>
                      <a:pt x="32753" y="100247"/>
                      <a:pt x="36516" y="99689"/>
                    </a:cubicBezTo>
                    <a:cubicBezTo>
                      <a:pt x="33728" y="94628"/>
                      <a:pt x="27410" y="90542"/>
                      <a:pt x="27875" y="86827"/>
                    </a:cubicBezTo>
                    <a:cubicBezTo>
                      <a:pt x="28525" y="81905"/>
                      <a:pt x="34565" y="85016"/>
                      <a:pt x="39025" y="89288"/>
                    </a:cubicBezTo>
                    <a:cubicBezTo>
                      <a:pt x="43485" y="93514"/>
                      <a:pt x="53380" y="94257"/>
                      <a:pt x="54309" y="88963"/>
                    </a:cubicBezTo>
                    <a:cubicBezTo>
                      <a:pt x="54913" y="85713"/>
                      <a:pt x="52683" y="70621"/>
                      <a:pt x="46644" y="74150"/>
                    </a:cubicBezTo>
                    <a:cubicBezTo>
                      <a:pt x="40558" y="77679"/>
                      <a:pt x="38978" y="76240"/>
                      <a:pt x="36748" y="72757"/>
                    </a:cubicBezTo>
                    <a:cubicBezTo>
                      <a:pt x="34518" y="69228"/>
                      <a:pt x="41208" y="63563"/>
                      <a:pt x="42834" y="57945"/>
                    </a:cubicBezTo>
                    <a:cubicBezTo>
                      <a:pt x="44414" y="52279"/>
                      <a:pt x="54913" y="54415"/>
                      <a:pt x="56539" y="49818"/>
                    </a:cubicBezTo>
                    <a:cubicBezTo>
                      <a:pt x="58165" y="45268"/>
                      <a:pt x="49524" y="40299"/>
                      <a:pt x="46319" y="38535"/>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44" name="Freeform 79">
                <a:extLst>
                  <a:ext uri="{FF2B5EF4-FFF2-40B4-BE49-F238E27FC236}">
                    <a16:creationId xmlns:a16="http://schemas.microsoft.com/office/drawing/2014/main" id="{D349156E-A704-C7C7-721B-6466886EA1CD}"/>
                  </a:ext>
                </a:extLst>
              </p:cNvPr>
              <p:cNvSpPr/>
              <p:nvPr/>
            </p:nvSpPr>
            <p:spPr>
              <a:xfrm>
                <a:off x="11297986" y="1522004"/>
                <a:ext cx="88176" cy="146492"/>
              </a:xfrm>
              <a:custGeom>
                <a:avLst/>
                <a:gdLst>
                  <a:gd name="connsiteX0" fmla="*/ 15522 w 18878"/>
                  <a:gd name="connsiteY0" fmla="*/ 2 h 31363"/>
                  <a:gd name="connsiteX1" fmla="*/ 841 w 18878"/>
                  <a:gd name="connsiteY1" fmla="*/ 31113 h 31363"/>
                  <a:gd name="connsiteX2" fmla="*/ 15522 w 18878"/>
                  <a:gd name="connsiteY2" fmla="*/ 2 h 31363"/>
                </a:gdLst>
                <a:ahLst/>
                <a:cxnLst>
                  <a:cxn ang="0">
                    <a:pos x="connsiteX0" y="connsiteY0"/>
                  </a:cxn>
                  <a:cxn ang="0">
                    <a:pos x="connsiteX1" y="connsiteY1"/>
                  </a:cxn>
                  <a:cxn ang="0">
                    <a:pos x="connsiteX2" y="connsiteY2"/>
                  </a:cxn>
                </a:cxnLst>
                <a:rect l="l" t="t" r="r" b="b"/>
                <a:pathLst>
                  <a:path w="18878" h="31363">
                    <a:moveTo>
                      <a:pt x="15522" y="2"/>
                    </a:moveTo>
                    <a:cubicBezTo>
                      <a:pt x="3396" y="374"/>
                      <a:pt x="-2272" y="26749"/>
                      <a:pt x="841" y="31113"/>
                    </a:cubicBezTo>
                    <a:cubicBezTo>
                      <a:pt x="3396" y="34643"/>
                      <a:pt x="27601" y="-323"/>
                      <a:pt x="15522" y="2"/>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46" name="Freeform 80">
                <a:extLst>
                  <a:ext uri="{FF2B5EF4-FFF2-40B4-BE49-F238E27FC236}">
                    <a16:creationId xmlns:a16="http://schemas.microsoft.com/office/drawing/2014/main" id="{5649566D-35A9-6CFB-ADD3-36C9587B8E31}"/>
                  </a:ext>
                </a:extLst>
              </p:cNvPr>
              <p:cNvSpPr/>
              <p:nvPr/>
            </p:nvSpPr>
            <p:spPr>
              <a:xfrm>
                <a:off x="10631494" y="-486208"/>
                <a:ext cx="1256098" cy="2407489"/>
              </a:xfrm>
              <a:custGeom>
                <a:avLst/>
                <a:gdLst>
                  <a:gd name="connsiteX0" fmla="*/ 266042 w 268922"/>
                  <a:gd name="connsiteY0" fmla="*/ 119253 h 515427"/>
                  <a:gd name="connsiteX1" fmla="*/ 261908 w 268922"/>
                  <a:gd name="connsiteY1" fmla="*/ 106808 h 515427"/>
                  <a:gd name="connsiteX2" fmla="*/ 262930 w 268922"/>
                  <a:gd name="connsiteY2" fmla="*/ 86377 h 515427"/>
                  <a:gd name="connsiteX3" fmla="*/ 257819 w 268922"/>
                  <a:gd name="connsiteY3" fmla="*/ 64831 h 515427"/>
                  <a:gd name="connsiteX4" fmla="*/ 256797 w 268922"/>
                  <a:gd name="connsiteY4" fmla="*/ 42124 h 515427"/>
                  <a:gd name="connsiteX5" fmla="*/ 226042 w 268922"/>
                  <a:gd name="connsiteY5" fmla="*/ 21693 h 515427"/>
                  <a:gd name="connsiteX6" fmla="*/ 200444 w 268922"/>
                  <a:gd name="connsiteY6" fmla="*/ 1262 h 515427"/>
                  <a:gd name="connsiteX7" fmla="*/ 188132 w 268922"/>
                  <a:gd name="connsiteY7" fmla="*/ 19418 h 515427"/>
                  <a:gd name="connsiteX8" fmla="*/ 173777 w 268922"/>
                  <a:gd name="connsiteY8" fmla="*/ 23968 h 515427"/>
                  <a:gd name="connsiteX9" fmla="*/ 151245 w 268922"/>
                  <a:gd name="connsiteY9" fmla="*/ 19418 h 515427"/>
                  <a:gd name="connsiteX10" fmla="*/ 146135 w 268922"/>
                  <a:gd name="connsiteY10" fmla="*/ 36413 h 515427"/>
                  <a:gd name="connsiteX11" fmla="*/ 129735 w 268922"/>
                  <a:gd name="connsiteY11" fmla="*/ 43192 h 515427"/>
                  <a:gd name="connsiteX12" fmla="*/ 113335 w 268922"/>
                  <a:gd name="connsiteY12" fmla="*/ 56798 h 515427"/>
                  <a:gd name="connsiteX13" fmla="*/ 107203 w 268922"/>
                  <a:gd name="connsiteY13" fmla="*/ 73839 h 515427"/>
                  <a:gd name="connsiteX14" fmla="*/ 102093 w 268922"/>
                  <a:gd name="connsiteY14" fmla="*/ 86330 h 515427"/>
                  <a:gd name="connsiteX15" fmla="*/ 90803 w 268922"/>
                  <a:gd name="connsiteY15" fmla="*/ 104486 h 515427"/>
                  <a:gd name="connsiteX16" fmla="*/ 86715 w 268922"/>
                  <a:gd name="connsiteY16" fmla="*/ 118092 h 515427"/>
                  <a:gd name="connsiteX17" fmla="*/ 70315 w 268922"/>
                  <a:gd name="connsiteY17" fmla="*/ 122596 h 515427"/>
                  <a:gd name="connsiteX18" fmla="*/ 69293 w 268922"/>
                  <a:gd name="connsiteY18" fmla="*/ 144188 h 515427"/>
                  <a:gd name="connsiteX19" fmla="*/ 54938 w 268922"/>
                  <a:gd name="connsiteY19" fmla="*/ 174788 h 515427"/>
                  <a:gd name="connsiteX20" fmla="*/ 60048 w 268922"/>
                  <a:gd name="connsiteY20" fmla="*/ 187279 h 515427"/>
                  <a:gd name="connsiteX21" fmla="*/ 60048 w 268922"/>
                  <a:gd name="connsiteY21" fmla="*/ 200885 h 515427"/>
                  <a:gd name="connsiteX22" fmla="*/ 45693 w 268922"/>
                  <a:gd name="connsiteY22" fmla="*/ 202046 h 515427"/>
                  <a:gd name="connsiteX23" fmla="*/ 24183 w 268922"/>
                  <a:gd name="connsiteY23" fmla="*/ 217926 h 515427"/>
                  <a:gd name="connsiteX24" fmla="*/ 22139 w 268922"/>
                  <a:gd name="connsiteY24" fmla="*/ 241747 h 515427"/>
                  <a:gd name="connsiteX25" fmla="*/ 22139 w 268922"/>
                  <a:gd name="connsiteY25" fmla="*/ 265568 h 515427"/>
                  <a:gd name="connsiteX26" fmla="*/ 21117 w 268922"/>
                  <a:gd name="connsiteY26" fmla="*/ 288275 h 515427"/>
                  <a:gd name="connsiteX27" fmla="*/ 35472 w 268922"/>
                  <a:gd name="connsiteY27" fmla="*/ 305270 h 515427"/>
                  <a:gd name="connsiteX28" fmla="*/ 27249 w 268922"/>
                  <a:gd name="connsiteY28" fmla="*/ 317761 h 515427"/>
                  <a:gd name="connsiteX29" fmla="*/ 28271 w 268922"/>
                  <a:gd name="connsiteY29" fmla="*/ 329091 h 515427"/>
                  <a:gd name="connsiteX30" fmla="*/ 29293 w 268922"/>
                  <a:gd name="connsiteY30" fmla="*/ 351798 h 515427"/>
                  <a:gd name="connsiteX31" fmla="*/ 14938 w 268922"/>
                  <a:gd name="connsiteY31" fmla="*/ 357463 h 515427"/>
                  <a:gd name="connsiteX32" fmla="*/ 11871 w 268922"/>
                  <a:gd name="connsiteY32" fmla="*/ 376780 h 515427"/>
                  <a:gd name="connsiteX33" fmla="*/ 6761 w 268922"/>
                  <a:gd name="connsiteY33" fmla="*/ 392660 h 515427"/>
                  <a:gd name="connsiteX34" fmla="*/ 25 w 268922"/>
                  <a:gd name="connsiteY34" fmla="*/ 391592 h 515427"/>
                  <a:gd name="connsiteX35" fmla="*/ 25 w 268922"/>
                  <a:gd name="connsiteY35" fmla="*/ 393821 h 515427"/>
                  <a:gd name="connsiteX36" fmla="*/ 9595 w 268922"/>
                  <a:gd name="connsiteY36" fmla="*/ 417828 h 515427"/>
                  <a:gd name="connsiteX37" fmla="*/ 17261 w 268922"/>
                  <a:gd name="connsiteY37" fmla="*/ 442578 h 515427"/>
                  <a:gd name="connsiteX38" fmla="*/ 28085 w 268922"/>
                  <a:gd name="connsiteY38" fmla="*/ 464123 h 515427"/>
                  <a:gd name="connsiteX39" fmla="*/ 32545 w 268922"/>
                  <a:gd name="connsiteY39" fmla="*/ 482140 h 515427"/>
                  <a:gd name="connsiteX40" fmla="*/ 38585 w 268922"/>
                  <a:gd name="connsiteY40" fmla="*/ 493099 h 515427"/>
                  <a:gd name="connsiteX41" fmla="*/ 38910 w 268922"/>
                  <a:gd name="connsiteY41" fmla="*/ 513251 h 515427"/>
                  <a:gd name="connsiteX42" fmla="*/ 55821 w 268922"/>
                  <a:gd name="connsiteY42" fmla="*/ 512926 h 515427"/>
                  <a:gd name="connsiteX43" fmla="*/ 63765 w 268922"/>
                  <a:gd name="connsiteY43" fmla="*/ 498810 h 515427"/>
                  <a:gd name="connsiteX44" fmla="*/ 70455 w 268922"/>
                  <a:gd name="connsiteY44" fmla="*/ 491055 h 515427"/>
                  <a:gd name="connsiteX45" fmla="*/ 88295 w 268922"/>
                  <a:gd name="connsiteY45" fmla="*/ 489244 h 515427"/>
                  <a:gd name="connsiteX46" fmla="*/ 100745 w 268922"/>
                  <a:gd name="connsiteY46" fmla="*/ 478286 h 515427"/>
                  <a:gd name="connsiteX47" fmla="*/ 108411 w 268922"/>
                  <a:gd name="connsiteY47" fmla="*/ 481815 h 515427"/>
                  <a:gd name="connsiteX48" fmla="*/ 120536 w 268922"/>
                  <a:gd name="connsiteY48" fmla="*/ 459248 h 515427"/>
                  <a:gd name="connsiteX49" fmla="*/ 112871 w 268922"/>
                  <a:gd name="connsiteY49" fmla="*/ 460641 h 515427"/>
                  <a:gd name="connsiteX50" fmla="*/ 112546 w 268922"/>
                  <a:gd name="connsiteY50" fmla="*/ 444064 h 515427"/>
                  <a:gd name="connsiteX51" fmla="*/ 116030 w 268922"/>
                  <a:gd name="connsiteY51" fmla="*/ 410166 h 515427"/>
                  <a:gd name="connsiteX52" fmla="*/ 128155 w 268922"/>
                  <a:gd name="connsiteY52" fmla="*/ 395679 h 515427"/>
                  <a:gd name="connsiteX53" fmla="*/ 147621 w 268922"/>
                  <a:gd name="connsiteY53" fmla="*/ 375572 h 515427"/>
                  <a:gd name="connsiteX54" fmla="*/ 160351 w 268922"/>
                  <a:gd name="connsiteY54" fmla="*/ 356163 h 515427"/>
                  <a:gd name="connsiteX55" fmla="*/ 139956 w 268922"/>
                  <a:gd name="connsiteY55" fmla="*/ 331088 h 515427"/>
                  <a:gd name="connsiteX56" fmla="*/ 124671 w 268922"/>
                  <a:gd name="connsiteY56" fmla="*/ 326491 h 515427"/>
                  <a:gd name="connsiteX57" fmla="*/ 122116 w 268922"/>
                  <a:gd name="connsiteY57" fmla="*/ 299651 h 515427"/>
                  <a:gd name="connsiteX58" fmla="*/ 129503 w 268922"/>
                  <a:gd name="connsiteY58" fmla="*/ 279685 h 515427"/>
                  <a:gd name="connsiteX59" fmla="*/ 130385 w 268922"/>
                  <a:gd name="connsiteY59" fmla="*/ 258092 h 515427"/>
                  <a:gd name="connsiteX60" fmla="*/ 148969 w 268922"/>
                  <a:gd name="connsiteY60" fmla="*/ 236361 h 515427"/>
                  <a:gd name="connsiteX61" fmla="*/ 157656 w 268922"/>
                  <a:gd name="connsiteY61" fmla="*/ 230789 h 515427"/>
                  <a:gd name="connsiteX62" fmla="*/ 161001 w 268922"/>
                  <a:gd name="connsiteY62" fmla="*/ 228281 h 515427"/>
                  <a:gd name="connsiteX63" fmla="*/ 167134 w 268922"/>
                  <a:gd name="connsiteY63" fmla="*/ 224799 h 515427"/>
                  <a:gd name="connsiteX64" fmla="*/ 174009 w 268922"/>
                  <a:gd name="connsiteY64" fmla="*/ 208500 h 515427"/>
                  <a:gd name="connsiteX65" fmla="*/ 177122 w 268922"/>
                  <a:gd name="connsiteY65" fmla="*/ 205389 h 515427"/>
                  <a:gd name="connsiteX66" fmla="*/ 190455 w 268922"/>
                  <a:gd name="connsiteY66" fmla="*/ 198981 h 515427"/>
                  <a:gd name="connsiteX67" fmla="*/ 194358 w 268922"/>
                  <a:gd name="connsiteY67" fmla="*/ 193780 h 515427"/>
                  <a:gd name="connsiteX68" fmla="*/ 203185 w 268922"/>
                  <a:gd name="connsiteY68" fmla="*/ 188440 h 515427"/>
                  <a:gd name="connsiteX69" fmla="*/ 209410 w 268922"/>
                  <a:gd name="connsiteY69" fmla="*/ 172049 h 515427"/>
                  <a:gd name="connsiteX70" fmla="*/ 212337 w 268922"/>
                  <a:gd name="connsiteY70" fmla="*/ 164666 h 515427"/>
                  <a:gd name="connsiteX71" fmla="*/ 220607 w 268922"/>
                  <a:gd name="connsiteY71" fmla="*/ 145256 h 515427"/>
                  <a:gd name="connsiteX72" fmla="*/ 234637 w 268922"/>
                  <a:gd name="connsiteY72" fmla="*/ 132904 h 515427"/>
                  <a:gd name="connsiteX73" fmla="*/ 257262 w 268922"/>
                  <a:gd name="connsiteY73" fmla="*/ 130443 h 515427"/>
                  <a:gd name="connsiteX74" fmla="*/ 268923 w 268922"/>
                  <a:gd name="connsiteY74" fmla="*/ 131001 h 515427"/>
                  <a:gd name="connsiteX75" fmla="*/ 265903 w 268922"/>
                  <a:gd name="connsiteY75" fmla="*/ 119206 h 51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68922" h="515427">
                    <a:moveTo>
                      <a:pt x="266042" y="119253"/>
                    </a:moveTo>
                    <a:cubicBezTo>
                      <a:pt x="262976" y="115863"/>
                      <a:pt x="256844" y="106808"/>
                      <a:pt x="261908" y="106808"/>
                    </a:cubicBezTo>
                    <a:cubicBezTo>
                      <a:pt x="266972" y="106808"/>
                      <a:pt x="269062" y="89813"/>
                      <a:pt x="262930" y="86377"/>
                    </a:cubicBezTo>
                    <a:cubicBezTo>
                      <a:pt x="256797" y="82987"/>
                      <a:pt x="262930" y="68221"/>
                      <a:pt x="257819" y="64831"/>
                    </a:cubicBezTo>
                    <a:cubicBezTo>
                      <a:pt x="252709" y="61441"/>
                      <a:pt x="255775" y="50065"/>
                      <a:pt x="256797" y="42124"/>
                    </a:cubicBezTo>
                    <a:cubicBezTo>
                      <a:pt x="257819" y="34184"/>
                      <a:pt x="237331" y="27358"/>
                      <a:pt x="226042" y="21693"/>
                    </a:cubicBezTo>
                    <a:cubicBezTo>
                      <a:pt x="214800" y="16028"/>
                      <a:pt x="209642" y="6927"/>
                      <a:pt x="200444" y="1262"/>
                    </a:cubicBezTo>
                    <a:cubicBezTo>
                      <a:pt x="191245" y="-4403"/>
                      <a:pt x="188132" y="10317"/>
                      <a:pt x="188132" y="19418"/>
                    </a:cubicBezTo>
                    <a:cubicBezTo>
                      <a:pt x="188132" y="28519"/>
                      <a:pt x="179956" y="29634"/>
                      <a:pt x="173777" y="23968"/>
                    </a:cubicBezTo>
                    <a:cubicBezTo>
                      <a:pt x="167645" y="18303"/>
                      <a:pt x="160444" y="23968"/>
                      <a:pt x="151245" y="19418"/>
                    </a:cubicBezTo>
                    <a:cubicBezTo>
                      <a:pt x="142046" y="14867"/>
                      <a:pt x="146135" y="29634"/>
                      <a:pt x="146135" y="36413"/>
                    </a:cubicBezTo>
                    <a:cubicBezTo>
                      <a:pt x="146135" y="43192"/>
                      <a:pt x="135867" y="43192"/>
                      <a:pt x="129735" y="43192"/>
                    </a:cubicBezTo>
                    <a:cubicBezTo>
                      <a:pt x="123603" y="43192"/>
                      <a:pt x="113335" y="48857"/>
                      <a:pt x="113335" y="56798"/>
                    </a:cubicBezTo>
                    <a:cubicBezTo>
                      <a:pt x="113335" y="64738"/>
                      <a:pt x="104137" y="69289"/>
                      <a:pt x="107203" y="73839"/>
                    </a:cubicBezTo>
                    <a:cubicBezTo>
                      <a:pt x="110269" y="78344"/>
                      <a:pt x="106181" y="82894"/>
                      <a:pt x="102093" y="86330"/>
                    </a:cubicBezTo>
                    <a:cubicBezTo>
                      <a:pt x="98004" y="89720"/>
                      <a:pt x="93916" y="101050"/>
                      <a:pt x="90803" y="104486"/>
                    </a:cubicBezTo>
                    <a:cubicBezTo>
                      <a:pt x="87737" y="107876"/>
                      <a:pt x="92848" y="113541"/>
                      <a:pt x="86715" y="118092"/>
                    </a:cubicBezTo>
                    <a:cubicBezTo>
                      <a:pt x="80583" y="122596"/>
                      <a:pt x="73382" y="119206"/>
                      <a:pt x="70315" y="122596"/>
                    </a:cubicBezTo>
                    <a:cubicBezTo>
                      <a:pt x="67249" y="125986"/>
                      <a:pt x="70315" y="133972"/>
                      <a:pt x="69293" y="144188"/>
                    </a:cubicBezTo>
                    <a:cubicBezTo>
                      <a:pt x="68271" y="154357"/>
                      <a:pt x="61070" y="165734"/>
                      <a:pt x="54938" y="174788"/>
                    </a:cubicBezTo>
                    <a:cubicBezTo>
                      <a:pt x="48805" y="183890"/>
                      <a:pt x="56982" y="186165"/>
                      <a:pt x="60048" y="187279"/>
                    </a:cubicBezTo>
                    <a:cubicBezTo>
                      <a:pt x="63114" y="188440"/>
                      <a:pt x="63114" y="194105"/>
                      <a:pt x="60048" y="200885"/>
                    </a:cubicBezTo>
                    <a:cubicBezTo>
                      <a:pt x="56982" y="207711"/>
                      <a:pt x="49781" y="203160"/>
                      <a:pt x="45693" y="202046"/>
                    </a:cubicBezTo>
                    <a:cubicBezTo>
                      <a:pt x="41604" y="200885"/>
                      <a:pt x="30315" y="206550"/>
                      <a:pt x="24183" y="217926"/>
                    </a:cubicBezTo>
                    <a:cubicBezTo>
                      <a:pt x="18050" y="229256"/>
                      <a:pt x="20094" y="236082"/>
                      <a:pt x="22139" y="241747"/>
                    </a:cubicBezTo>
                    <a:cubicBezTo>
                      <a:pt x="24183" y="247412"/>
                      <a:pt x="17028" y="254238"/>
                      <a:pt x="22139" y="265568"/>
                    </a:cubicBezTo>
                    <a:cubicBezTo>
                      <a:pt x="27249" y="276898"/>
                      <a:pt x="20094" y="279174"/>
                      <a:pt x="21117" y="288275"/>
                    </a:cubicBezTo>
                    <a:cubicBezTo>
                      <a:pt x="22139" y="297330"/>
                      <a:pt x="34450" y="296215"/>
                      <a:pt x="35472" y="305270"/>
                    </a:cubicBezTo>
                    <a:cubicBezTo>
                      <a:pt x="36494" y="314325"/>
                      <a:pt x="31384" y="317761"/>
                      <a:pt x="27249" y="317761"/>
                    </a:cubicBezTo>
                    <a:cubicBezTo>
                      <a:pt x="23114" y="317761"/>
                      <a:pt x="24183" y="326816"/>
                      <a:pt x="28271" y="329091"/>
                    </a:cubicBezTo>
                    <a:cubicBezTo>
                      <a:pt x="32359" y="331366"/>
                      <a:pt x="31337" y="347247"/>
                      <a:pt x="29293" y="351798"/>
                    </a:cubicBezTo>
                    <a:cubicBezTo>
                      <a:pt x="27249" y="356348"/>
                      <a:pt x="13915" y="351798"/>
                      <a:pt x="14938" y="357463"/>
                    </a:cubicBezTo>
                    <a:cubicBezTo>
                      <a:pt x="15960" y="363128"/>
                      <a:pt x="11871" y="372229"/>
                      <a:pt x="11871" y="376780"/>
                    </a:cubicBezTo>
                    <a:cubicBezTo>
                      <a:pt x="11871" y="381330"/>
                      <a:pt x="10849" y="396050"/>
                      <a:pt x="6761" y="392660"/>
                    </a:cubicBezTo>
                    <a:cubicBezTo>
                      <a:pt x="5135" y="391314"/>
                      <a:pt x="2580" y="391221"/>
                      <a:pt x="25" y="391592"/>
                    </a:cubicBezTo>
                    <a:cubicBezTo>
                      <a:pt x="25" y="392289"/>
                      <a:pt x="25" y="392985"/>
                      <a:pt x="25" y="393821"/>
                    </a:cubicBezTo>
                    <a:cubicBezTo>
                      <a:pt x="-301" y="402644"/>
                      <a:pt x="2580" y="411466"/>
                      <a:pt x="9595" y="417828"/>
                    </a:cubicBezTo>
                    <a:cubicBezTo>
                      <a:pt x="16610" y="424189"/>
                      <a:pt x="11175" y="433709"/>
                      <a:pt x="17261" y="442578"/>
                    </a:cubicBezTo>
                    <a:cubicBezTo>
                      <a:pt x="23300" y="451400"/>
                      <a:pt x="21395" y="457762"/>
                      <a:pt x="28085" y="464123"/>
                    </a:cubicBezTo>
                    <a:cubicBezTo>
                      <a:pt x="34775" y="470485"/>
                      <a:pt x="35425" y="474014"/>
                      <a:pt x="32545" y="482140"/>
                    </a:cubicBezTo>
                    <a:cubicBezTo>
                      <a:pt x="29665" y="490266"/>
                      <a:pt x="38306" y="488130"/>
                      <a:pt x="38585" y="493099"/>
                    </a:cubicBezTo>
                    <a:cubicBezTo>
                      <a:pt x="38910" y="498067"/>
                      <a:pt x="36680" y="508283"/>
                      <a:pt x="38910" y="513251"/>
                    </a:cubicBezTo>
                    <a:cubicBezTo>
                      <a:pt x="41140" y="518173"/>
                      <a:pt x="45600" y="513251"/>
                      <a:pt x="55821" y="512926"/>
                    </a:cubicBezTo>
                    <a:cubicBezTo>
                      <a:pt x="65995" y="512555"/>
                      <a:pt x="63486" y="505497"/>
                      <a:pt x="63765" y="498810"/>
                    </a:cubicBezTo>
                    <a:cubicBezTo>
                      <a:pt x="64090" y="492123"/>
                      <a:pt x="69200" y="495281"/>
                      <a:pt x="70455" y="491055"/>
                    </a:cubicBezTo>
                    <a:cubicBezTo>
                      <a:pt x="71709" y="486830"/>
                      <a:pt x="81001" y="485762"/>
                      <a:pt x="88295" y="489244"/>
                    </a:cubicBezTo>
                    <a:cubicBezTo>
                      <a:pt x="95635" y="492774"/>
                      <a:pt x="99445" y="486783"/>
                      <a:pt x="100745" y="478286"/>
                    </a:cubicBezTo>
                    <a:cubicBezTo>
                      <a:pt x="102000" y="469835"/>
                      <a:pt x="106135" y="480050"/>
                      <a:pt x="108411" y="481815"/>
                    </a:cubicBezTo>
                    <a:cubicBezTo>
                      <a:pt x="110641" y="483579"/>
                      <a:pt x="117331" y="468767"/>
                      <a:pt x="120536" y="459248"/>
                    </a:cubicBezTo>
                    <a:cubicBezTo>
                      <a:pt x="123742" y="449729"/>
                      <a:pt x="120211" y="451493"/>
                      <a:pt x="112871" y="460641"/>
                    </a:cubicBezTo>
                    <a:cubicBezTo>
                      <a:pt x="105531" y="469835"/>
                      <a:pt x="109665" y="451493"/>
                      <a:pt x="112546" y="444064"/>
                    </a:cubicBezTo>
                    <a:cubicBezTo>
                      <a:pt x="115426" y="436634"/>
                      <a:pt x="115101" y="415088"/>
                      <a:pt x="116030" y="410166"/>
                    </a:cubicBezTo>
                    <a:cubicBezTo>
                      <a:pt x="117005" y="405244"/>
                      <a:pt x="118910" y="397814"/>
                      <a:pt x="128155" y="395679"/>
                    </a:cubicBezTo>
                    <a:cubicBezTo>
                      <a:pt x="137401" y="393542"/>
                      <a:pt x="149526" y="380866"/>
                      <a:pt x="147621" y="375572"/>
                    </a:cubicBezTo>
                    <a:cubicBezTo>
                      <a:pt x="145716" y="370279"/>
                      <a:pt x="160351" y="361456"/>
                      <a:pt x="160351" y="356163"/>
                    </a:cubicBezTo>
                    <a:cubicBezTo>
                      <a:pt x="160351" y="350869"/>
                      <a:pt x="145020" y="334617"/>
                      <a:pt x="139956" y="331088"/>
                    </a:cubicBezTo>
                    <a:cubicBezTo>
                      <a:pt x="134845" y="327559"/>
                      <a:pt x="123695" y="330391"/>
                      <a:pt x="124671" y="326491"/>
                    </a:cubicBezTo>
                    <a:cubicBezTo>
                      <a:pt x="125600" y="322590"/>
                      <a:pt x="123370" y="307406"/>
                      <a:pt x="122116" y="299651"/>
                    </a:cubicBezTo>
                    <a:cubicBezTo>
                      <a:pt x="121047" y="293011"/>
                      <a:pt x="127505" y="286185"/>
                      <a:pt x="129503" y="279685"/>
                    </a:cubicBezTo>
                    <a:cubicBezTo>
                      <a:pt x="126344" y="272812"/>
                      <a:pt x="126297" y="264408"/>
                      <a:pt x="130385" y="258092"/>
                    </a:cubicBezTo>
                    <a:cubicBezTo>
                      <a:pt x="135682" y="250013"/>
                      <a:pt x="142557" y="243512"/>
                      <a:pt x="148969" y="236361"/>
                    </a:cubicBezTo>
                    <a:cubicBezTo>
                      <a:pt x="151431" y="233621"/>
                      <a:pt x="154404" y="231810"/>
                      <a:pt x="157656" y="230789"/>
                    </a:cubicBezTo>
                    <a:cubicBezTo>
                      <a:pt x="158585" y="229814"/>
                      <a:pt x="159654" y="228885"/>
                      <a:pt x="161001" y="228281"/>
                    </a:cubicBezTo>
                    <a:cubicBezTo>
                      <a:pt x="163649" y="227120"/>
                      <a:pt x="165461" y="225960"/>
                      <a:pt x="167134" y="224799"/>
                    </a:cubicBezTo>
                    <a:cubicBezTo>
                      <a:pt x="167134" y="218901"/>
                      <a:pt x="169782" y="212679"/>
                      <a:pt x="174009" y="208500"/>
                    </a:cubicBezTo>
                    <a:lnTo>
                      <a:pt x="177122" y="205389"/>
                    </a:lnTo>
                    <a:cubicBezTo>
                      <a:pt x="180839" y="201721"/>
                      <a:pt x="185485" y="199770"/>
                      <a:pt x="190455" y="198981"/>
                    </a:cubicBezTo>
                    <a:cubicBezTo>
                      <a:pt x="191571" y="197031"/>
                      <a:pt x="192871" y="195220"/>
                      <a:pt x="194358" y="193780"/>
                    </a:cubicBezTo>
                    <a:cubicBezTo>
                      <a:pt x="196774" y="191412"/>
                      <a:pt x="199886" y="189601"/>
                      <a:pt x="203185" y="188440"/>
                    </a:cubicBezTo>
                    <a:cubicBezTo>
                      <a:pt x="203185" y="182404"/>
                      <a:pt x="205275" y="176414"/>
                      <a:pt x="209410" y="172049"/>
                    </a:cubicBezTo>
                    <a:cubicBezTo>
                      <a:pt x="208853" y="169588"/>
                      <a:pt x="209410" y="167127"/>
                      <a:pt x="212337" y="164666"/>
                    </a:cubicBezTo>
                    <a:cubicBezTo>
                      <a:pt x="221582" y="156911"/>
                      <a:pt x="213917" y="148042"/>
                      <a:pt x="220607" y="145256"/>
                    </a:cubicBezTo>
                    <a:cubicBezTo>
                      <a:pt x="227297" y="142423"/>
                      <a:pt x="229852" y="138569"/>
                      <a:pt x="234637" y="132904"/>
                    </a:cubicBezTo>
                    <a:cubicBezTo>
                      <a:pt x="239422" y="127239"/>
                      <a:pt x="245787" y="132533"/>
                      <a:pt x="257262" y="130443"/>
                    </a:cubicBezTo>
                    <a:cubicBezTo>
                      <a:pt x="261443" y="129654"/>
                      <a:pt x="265299" y="130072"/>
                      <a:pt x="268923" y="131001"/>
                    </a:cubicBezTo>
                    <a:cubicBezTo>
                      <a:pt x="268412" y="125382"/>
                      <a:pt x="267297" y="120785"/>
                      <a:pt x="265903" y="119206"/>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48" name="Freeform 81">
                <a:extLst>
                  <a:ext uri="{FF2B5EF4-FFF2-40B4-BE49-F238E27FC236}">
                    <a16:creationId xmlns:a16="http://schemas.microsoft.com/office/drawing/2014/main" id="{644991FD-002B-9E9F-27DC-A36A5D0E1221}"/>
                  </a:ext>
                </a:extLst>
              </p:cNvPr>
              <p:cNvSpPr/>
              <p:nvPr/>
            </p:nvSpPr>
            <p:spPr>
              <a:xfrm>
                <a:off x="11675480" y="1226490"/>
                <a:ext cx="607706" cy="333694"/>
              </a:xfrm>
              <a:custGeom>
                <a:avLst/>
                <a:gdLst>
                  <a:gd name="connsiteX0" fmla="*/ 123833 w 130106"/>
                  <a:gd name="connsiteY0" fmla="*/ 18228 h 71442"/>
                  <a:gd name="connsiteX1" fmla="*/ 128246 w 130106"/>
                  <a:gd name="connsiteY1" fmla="*/ 2533 h 71442"/>
                  <a:gd name="connsiteX2" fmla="*/ 123554 w 130106"/>
                  <a:gd name="connsiteY2" fmla="*/ 4994 h 71442"/>
                  <a:gd name="connsiteX3" fmla="*/ 82718 w 130106"/>
                  <a:gd name="connsiteY3" fmla="*/ 397 h 71442"/>
                  <a:gd name="connsiteX4" fmla="*/ 42531 w 130106"/>
                  <a:gd name="connsiteY4" fmla="*/ 9220 h 71442"/>
                  <a:gd name="connsiteX5" fmla="*/ 29477 w 130106"/>
                  <a:gd name="connsiteY5" fmla="*/ 23011 h 71442"/>
                  <a:gd name="connsiteX6" fmla="*/ 33937 w 130106"/>
                  <a:gd name="connsiteY6" fmla="*/ 38195 h 71442"/>
                  <a:gd name="connsiteX7" fmla="*/ 46713 w 130106"/>
                  <a:gd name="connsiteY7" fmla="*/ 46321 h 71442"/>
                  <a:gd name="connsiteX8" fmla="*/ 51172 w 130106"/>
                  <a:gd name="connsiteY8" fmla="*/ 55840 h 71442"/>
                  <a:gd name="connsiteX9" fmla="*/ 50894 w 130106"/>
                  <a:gd name="connsiteY9" fmla="*/ 56212 h 71442"/>
                  <a:gd name="connsiteX10" fmla="*/ 74123 w 130106"/>
                  <a:gd name="connsiteY10" fmla="*/ 55840 h 71442"/>
                  <a:gd name="connsiteX11" fmla="*/ 95819 w 130106"/>
                  <a:gd name="connsiteY11" fmla="*/ 69957 h 71442"/>
                  <a:gd name="connsiteX12" fmla="*/ 116399 w 130106"/>
                  <a:gd name="connsiteY12" fmla="*/ 71442 h 71442"/>
                  <a:gd name="connsiteX13" fmla="*/ 117189 w 130106"/>
                  <a:gd name="connsiteY13" fmla="*/ 64849 h 71442"/>
                  <a:gd name="connsiteX14" fmla="*/ 122950 w 130106"/>
                  <a:gd name="connsiteY14" fmla="*/ 56908 h 71442"/>
                  <a:gd name="connsiteX15" fmla="*/ 118165 w 130106"/>
                  <a:gd name="connsiteY15" fmla="*/ 44185 h 71442"/>
                  <a:gd name="connsiteX16" fmla="*/ 116725 w 130106"/>
                  <a:gd name="connsiteY16" fmla="*/ 30394 h 71442"/>
                  <a:gd name="connsiteX17" fmla="*/ 123879 w 130106"/>
                  <a:gd name="connsiteY17" fmla="*/ 18228 h 71442"/>
                  <a:gd name="connsiteX18" fmla="*/ 10940 w 130106"/>
                  <a:gd name="connsiteY18" fmla="*/ 35363 h 71442"/>
                  <a:gd name="connsiteX19" fmla="*/ 2345 w 130106"/>
                  <a:gd name="connsiteY19" fmla="*/ 56212 h 71442"/>
                  <a:gd name="connsiteX20" fmla="*/ 24692 w 130106"/>
                  <a:gd name="connsiteY20" fmla="*/ 39960 h 71442"/>
                  <a:gd name="connsiteX21" fmla="*/ 10987 w 130106"/>
                  <a:gd name="connsiteY21" fmla="*/ 35363 h 71442"/>
                  <a:gd name="connsiteX22" fmla="*/ 20510 w 130106"/>
                  <a:gd name="connsiteY22" fmla="*/ 25101 h 71442"/>
                  <a:gd name="connsiteX23" fmla="*/ 6805 w 130106"/>
                  <a:gd name="connsiteY23" fmla="*/ 26865 h 71442"/>
                  <a:gd name="connsiteX24" fmla="*/ 20510 w 130106"/>
                  <a:gd name="connsiteY24" fmla="*/ 25101 h 7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0106" h="71442">
                    <a:moveTo>
                      <a:pt x="123833" y="18228"/>
                    </a:moveTo>
                    <a:cubicBezTo>
                      <a:pt x="126481" y="11913"/>
                      <a:pt x="133403" y="10845"/>
                      <a:pt x="128246" y="2533"/>
                    </a:cubicBezTo>
                    <a:cubicBezTo>
                      <a:pt x="127270" y="3416"/>
                      <a:pt x="125877" y="4251"/>
                      <a:pt x="123554" y="4994"/>
                    </a:cubicBezTo>
                    <a:cubicBezTo>
                      <a:pt x="114309" y="7827"/>
                      <a:pt x="94192" y="-2064"/>
                      <a:pt x="82718" y="397"/>
                    </a:cubicBezTo>
                    <a:cubicBezTo>
                      <a:pt x="71242" y="2858"/>
                      <a:pt x="47967" y="2858"/>
                      <a:pt x="42531" y="9220"/>
                    </a:cubicBezTo>
                    <a:cubicBezTo>
                      <a:pt x="37096" y="15582"/>
                      <a:pt x="23391" y="17346"/>
                      <a:pt x="29477" y="23011"/>
                    </a:cubicBezTo>
                    <a:cubicBezTo>
                      <a:pt x="35563" y="28676"/>
                      <a:pt x="29477" y="31509"/>
                      <a:pt x="33937" y="38195"/>
                    </a:cubicBezTo>
                    <a:cubicBezTo>
                      <a:pt x="38397" y="44882"/>
                      <a:pt x="40627" y="47714"/>
                      <a:pt x="46713" y="46321"/>
                    </a:cubicBezTo>
                    <a:cubicBezTo>
                      <a:pt x="52799" y="44928"/>
                      <a:pt x="57537" y="48411"/>
                      <a:pt x="51172" y="55840"/>
                    </a:cubicBezTo>
                    <a:cubicBezTo>
                      <a:pt x="51080" y="55980"/>
                      <a:pt x="51033" y="56119"/>
                      <a:pt x="50894" y="56212"/>
                    </a:cubicBezTo>
                    <a:cubicBezTo>
                      <a:pt x="61115" y="55144"/>
                      <a:pt x="72450" y="54447"/>
                      <a:pt x="74123" y="55840"/>
                    </a:cubicBezTo>
                    <a:cubicBezTo>
                      <a:pt x="76678" y="57976"/>
                      <a:pt x="91963" y="71396"/>
                      <a:pt x="95819" y="69957"/>
                    </a:cubicBezTo>
                    <a:cubicBezTo>
                      <a:pt x="98188" y="69074"/>
                      <a:pt x="108641" y="70328"/>
                      <a:pt x="116399" y="71442"/>
                    </a:cubicBezTo>
                    <a:cubicBezTo>
                      <a:pt x="115517" y="68796"/>
                      <a:pt x="115563" y="66335"/>
                      <a:pt x="117189" y="64849"/>
                    </a:cubicBezTo>
                    <a:cubicBezTo>
                      <a:pt x="120070" y="62202"/>
                      <a:pt x="126295" y="62202"/>
                      <a:pt x="122950" y="56908"/>
                    </a:cubicBezTo>
                    <a:cubicBezTo>
                      <a:pt x="119605" y="51615"/>
                      <a:pt x="118629" y="50547"/>
                      <a:pt x="118165" y="44185"/>
                    </a:cubicBezTo>
                    <a:cubicBezTo>
                      <a:pt x="117700" y="37824"/>
                      <a:pt x="116260" y="34666"/>
                      <a:pt x="116725" y="30394"/>
                    </a:cubicBezTo>
                    <a:cubicBezTo>
                      <a:pt x="117189" y="26169"/>
                      <a:pt x="121045" y="25101"/>
                      <a:pt x="123879" y="18228"/>
                    </a:cubicBezTo>
                    <a:close/>
                    <a:moveTo>
                      <a:pt x="10940" y="35363"/>
                    </a:moveTo>
                    <a:cubicBezTo>
                      <a:pt x="-535" y="38892"/>
                      <a:pt x="-2208" y="56490"/>
                      <a:pt x="2345" y="56212"/>
                    </a:cubicBezTo>
                    <a:cubicBezTo>
                      <a:pt x="8060" y="55840"/>
                      <a:pt x="21161" y="43814"/>
                      <a:pt x="24692" y="39960"/>
                    </a:cubicBezTo>
                    <a:cubicBezTo>
                      <a:pt x="28176" y="36106"/>
                      <a:pt x="22462" y="31834"/>
                      <a:pt x="10987" y="35363"/>
                    </a:cubicBezTo>
                    <a:close/>
                    <a:moveTo>
                      <a:pt x="20510" y="25101"/>
                    </a:moveTo>
                    <a:cubicBezTo>
                      <a:pt x="23066" y="19807"/>
                      <a:pt x="2113" y="22129"/>
                      <a:pt x="6805" y="26865"/>
                    </a:cubicBezTo>
                    <a:cubicBezTo>
                      <a:pt x="10336" y="30394"/>
                      <a:pt x="17955" y="30394"/>
                      <a:pt x="20510" y="25101"/>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49" name="Freeform 48">
                <a:extLst>
                  <a:ext uri="{FF2B5EF4-FFF2-40B4-BE49-F238E27FC236}">
                    <a16:creationId xmlns:a16="http://schemas.microsoft.com/office/drawing/2014/main" id="{A571B4FF-3153-274F-D1FB-C89B484DB56C}"/>
                  </a:ext>
                </a:extLst>
              </p:cNvPr>
              <p:cNvSpPr/>
              <p:nvPr/>
            </p:nvSpPr>
            <p:spPr>
              <a:xfrm>
                <a:off x="10004288" y="-912675"/>
                <a:ext cx="2588204" cy="2396397"/>
              </a:xfrm>
              <a:custGeom>
                <a:avLst/>
                <a:gdLst>
                  <a:gd name="connsiteX0" fmla="*/ 537745 w 554117"/>
                  <a:gd name="connsiteY0" fmla="*/ 59643 h 513052"/>
                  <a:gd name="connsiteX1" fmla="*/ 528175 w 554117"/>
                  <a:gd name="connsiteY1" fmla="*/ 58575 h 513052"/>
                  <a:gd name="connsiteX2" fmla="*/ 514145 w 554117"/>
                  <a:gd name="connsiteY2" fmla="*/ 46549 h 513052"/>
                  <a:gd name="connsiteX3" fmla="*/ 525016 w 554117"/>
                  <a:gd name="connsiteY3" fmla="*/ 47617 h 513052"/>
                  <a:gd name="connsiteX4" fmla="*/ 539371 w 554117"/>
                  <a:gd name="connsiteY4" fmla="*/ 42694 h 513052"/>
                  <a:gd name="connsiteX5" fmla="*/ 554052 w 554117"/>
                  <a:gd name="connsiteY5" fmla="*/ 36333 h 513052"/>
                  <a:gd name="connsiteX6" fmla="*/ 542902 w 554117"/>
                  <a:gd name="connsiteY6" fmla="*/ 24306 h 513052"/>
                  <a:gd name="connsiteX7" fmla="*/ 526642 w 554117"/>
                  <a:gd name="connsiteY7" fmla="*/ 18316 h 513052"/>
                  <a:gd name="connsiteX8" fmla="*/ 515167 w 554117"/>
                  <a:gd name="connsiteY8" fmla="*/ 12326 h 513052"/>
                  <a:gd name="connsiteX9" fmla="*/ 510800 w 554117"/>
                  <a:gd name="connsiteY9" fmla="*/ 11119 h 513052"/>
                  <a:gd name="connsiteX10" fmla="*/ 503738 w 554117"/>
                  <a:gd name="connsiteY10" fmla="*/ 14416 h 513052"/>
                  <a:gd name="connsiteX11" fmla="*/ 498256 w 554117"/>
                  <a:gd name="connsiteY11" fmla="*/ 25003 h 513052"/>
                  <a:gd name="connsiteX12" fmla="*/ 493146 w 554117"/>
                  <a:gd name="connsiteY12" fmla="*/ 27139 h 513052"/>
                  <a:gd name="connsiteX13" fmla="*/ 493750 w 554117"/>
                  <a:gd name="connsiteY13" fmla="*/ 14741 h 513052"/>
                  <a:gd name="connsiteX14" fmla="*/ 491752 w 554117"/>
                  <a:gd name="connsiteY14" fmla="*/ 14091 h 513052"/>
                  <a:gd name="connsiteX15" fmla="*/ 483994 w 554117"/>
                  <a:gd name="connsiteY15" fmla="*/ 11583 h 513052"/>
                  <a:gd name="connsiteX16" fmla="*/ 482879 w 554117"/>
                  <a:gd name="connsiteY16" fmla="*/ 11305 h 513052"/>
                  <a:gd name="connsiteX17" fmla="*/ 480834 w 554117"/>
                  <a:gd name="connsiteY17" fmla="*/ 11165 h 513052"/>
                  <a:gd name="connsiteX18" fmla="*/ 472611 w 554117"/>
                  <a:gd name="connsiteY18" fmla="*/ 11258 h 513052"/>
                  <a:gd name="connsiteX19" fmla="*/ 473448 w 554117"/>
                  <a:gd name="connsiteY19" fmla="*/ 13673 h 513052"/>
                  <a:gd name="connsiteX20" fmla="*/ 460672 w 554117"/>
                  <a:gd name="connsiteY20" fmla="*/ 32386 h 513052"/>
                  <a:gd name="connsiteX21" fmla="*/ 460997 w 554117"/>
                  <a:gd name="connsiteY21" fmla="*/ 12280 h 513052"/>
                  <a:gd name="connsiteX22" fmla="*/ 460997 w 554117"/>
                  <a:gd name="connsiteY22" fmla="*/ 12094 h 513052"/>
                  <a:gd name="connsiteX23" fmla="*/ 455422 w 554117"/>
                  <a:gd name="connsiteY23" fmla="*/ 11072 h 513052"/>
                  <a:gd name="connsiteX24" fmla="*/ 447292 w 554117"/>
                  <a:gd name="connsiteY24" fmla="*/ 20406 h 513052"/>
                  <a:gd name="connsiteX25" fmla="*/ 426572 w 554117"/>
                  <a:gd name="connsiteY25" fmla="*/ 43019 h 513052"/>
                  <a:gd name="connsiteX26" fmla="*/ 430381 w 554117"/>
                  <a:gd name="connsiteY26" fmla="*/ 27835 h 513052"/>
                  <a:gd name="connsiteX27" fmla="*/ 444411 w 554117"/>
                  <a:gd name="connsiteY27" fmla="*/ 9447 h 513052"/>
                  <a:gd name="connsiteX28" fmla="*/ 448035 w 554117"/>
                  <a:gd name="connsiteY28" fmla="*/ 7172 h 513052"/>
                  <a:gd name="connsiteX29" fmla="*/ 442274 w 554117"/>
                  <a:gd name="connsiteY29" fmla="*/ 439 h 513052"/>
                  <a:gd name="connsiteX30" fmla="*/ 441856 w 554117"/>
                  <a:gd name="connsiteY30" fmla="*/ 300 h 513052"/>
                  <a:gd name="connsiteX31" fmla="*/ 430056 w 554117"/>
                  <a:gd name="connsiteY31" fmla="*/ 10887 h 513052"/>
                  <a:gd name="connsiteX32" fmla="*/ 420393 w 554117"/>
                  <a:gd name="connsiteY32" fmla="*/ 9494 h 513052"/>
                  <a:gd name="connsiteX33" fmla="*/ 411752 w 554117"/>
                  <a:gd name="connsiteY33" fmla="*/ 12465 h 513052"/>
                  <a:gd name="connsiteX34" fmla="*/ 410962 w 554117"/>
                  <a:gd name="connsiteY34" fmla="*/ 17945 h 513052"/>
                  <a:gd name="connsiteX35" fmla="*/ 406177 w 554117"/>
                  <a:gd name="connsiteY35" fmla="*/ 21474 h 513052"/>
                  <a:gd name="connsiteX36" fmla="*/ 391217 w 554117"/>
                  <a:gd name="connsiteY36" fmla="*/ 27139 h 513052"/>
                  <a:gd name="connsiteX37" fmla="*/ 386107 w 554117"/>
                  <a:gd name="connsiteY37" fmla="*/ 36333 h 513052"/>
                  <a:gd name="connsiteX38" fmla="*/ 383877 w 554117"/>
                  <a:gd name="connsiteY38" fmla="*/ 50124 h 513052"/>
                  <a:gd name="connsiteX39" fmla="*/ 375886 w 554117"/>
                  <a:gd name="connsiteY39" fmla="*/ 34568 h 513052"/>
                  <a:gd name="connsiteX40" fmla="*/ 380346 w 554117"/>
                  <a:gd name="connsiteY40" fmla="*/ 25374 h 513052"/>
                  <a:gd name="connsiteX41" fmla="*/ 391078 w 554117"/>
                  <a:gd name="connsiteY41" fmla="*/ 16087 h 513052"/>
                  <a:gd name="connsiteX42" fmla="*/ 376118 w 554117"/>
                  <a:gd name="connsiteY42" fmla="*/ 21056 h 513052"/>
                  <a:gd name="connsiteX43" fmla="*/ 362274 w 554117"/>
                  <a:gd name="connsiteY43" fmla="*/ 20499 h 513052"/>
                  <a:gd name="connsiteX44" fmla="*/ 367895 w 554117"/>
                  <a:gd name="connsiteY44" fmla="*/ 34893 h 513052"/>
                  <a:gd name="connsiteX45" fmla="*/ 361809 w 554117"/>
                  <a:gd name="connsiteY45" fmla="*/ 39862 h 513052"/>
                  <a:gd name="connsiteX46" fmla="*/ 345549 w 554117"/>
                  <a:gd name="connsiteY46" fmla="*/ 40187 h 513052"/>
                  <a:gd name="connsiteX47" fmla="*/ 357675 w 554117"/>
                  <a:gd name="connsiteY47" fmla="*/ 52214 h 513052"/>
                  <a:gd name="connsiteX48" fmla="*/ 347454 w 554117"/>
                  <a:gd name="connsiteY48" fmla="*/ 50774 h 513052"/>
                  <a:gd name="connsiteX49" fmla="*/ 335979 w 554117"/>
                  <a:gd name="connsiteY49" fmla="*/ 43019 h 513052"/>
                  <a:gd name="connsiteX50" fmla="*/ 328964 w 554117"/>
                  <a:gd name="connsiteY50" fmla="*/ 47617 h 513052"/>
                  <a:gd name="connsiteX51" fmla="*/ 334074 w 554117"/>
                  <a:gd name="connsiteY51" fmla="*/ 63172 h 513052"/>
                  <a:gd name="connsiteX52" fmla="*/ 326734 w 554117"/>
                  <a:gd name="connsiteY52" fmla="*/ 58250 h 513052"/>
                  <a:gd name="connsiteX53" fmla="*/ 314608 w 554117"/>
                  <a:gd name="connsiteY53" fmla="*/ 57182 h 513052"/>
                  <a:gd name="connsiteX54" fmla="*/ 313029 w 554117"/>
                  <a:gd name="connsiteY54" fmla="*/ 43391 h 513052"/>
                  <a:gd name="connsiteX55" fmla="*/ 298023 w 554117"/>
                  <a:gd name="connsiteY55" fmla="*/ 44830 h 513052"/>
                  <a:gd name="connsiteX56" fmla="*/ 291983 w 554117"/>
                  <a:gd name="connsiteY56" fmla="*/ 51517 h 513052"/>
                  <a:gd name="connsiteX57" fmla="*/ 290032 w 554117"/>
                  <a:gd name="connsiteY57" fmla="*/ 62476 h 513052"/>
                  <a:gd name="connsiteX58" fmla="*/ 283017 w 554117"/>
                  <a:gd name="connsiteY58" fmla="*/ 68141 h 513052"/>
                  <a:gd name="connsiteX59" fmla="*/ 275351 w 554117"/>
                  <a:gd name="connsiteY59" fmla="*/ 69209 h 513052"/>
                  <a:gd name="connsiteX60" fmla="*/ 260671 w 554117"/>
                  <a:gd name="connsiteY60" fmla="*/ 71345 h 513052"/>
                  <a:gd name="connsiteX61" fmla="*/ 249521 w 554117"/>
                  <a:gd name="connsiteY61" fmla="*/ 87597 h 513052"/>
                  <a:gd name="connsiteX62" fmla="*/ 263226 w 554117"/>
                  <a:gd name="connsiteY62" fmla="*/ 86529 h 513052"/>
                  <a:gd name="connsiteX63" fmla="*/ 266106 w 554117"/>
                  <a:gd name="connsiteY63" fmla="*/ 94980 h 513052"/>
                  <a:gd name="connsiteX64" fmla="*/ 264201 w 554117"/>
                  <a:gd name="connsiteY64" fmla="*/ 101342 h 513052"/>
                  <a:gd name="connsiteX65" fmla="*/ 253051 w 554117"/>
                  <a:gd name="connsiteY65" fmla="*/ 102735 h 513052"/>
                  <a:gd name="connsiteX66" fmla="*/ 243481 w 554117"/>
                  <a:gd name="connsiteY66" fmla="*/ 96373 h 513052"/>
                  <a:gd name="connsiteX67" fmla="*/ 231681 w 554117"/>
                  <a:gd name="connsiteY67" fmla="*/ 102735 h 513052"/>
                  <a:gd name="connsiteX68" fmla="*/ 236791 w 554117"/>
                  <a:gd name="connsiteY68" fmla="*/ 82953 h 513052"/>
                  <a:gd name="connsiteX69" fmla="*/ 224062 w 554117"/>
                  <a:gd name="connsiteY69" fmla="*/ 94237 h 513052"/>
                  <a:gd name="connsiteX70" fmla="*/ 210357 w 554117"/>
                  <a:gd name="connsiteY70" fmla="*/ 105892 h 513052"/>
                  <a:gd name="connsiteX71" fmla="*/ 201112 w 554117"/>
                  <a:gd name="connsiteY71" fmla="*/ 118615 h 513052"/>
                  <a:gd name="connsiteX72" fmla="*/ 174631 w 554117"/>
                  <a:gd name="connsiteY72" fmla="*/ 134867 h 513052"/>
                  <a:gd name="connsiteX73" fmla="*/ 181971 w 554117"/>
                  <a:gd name="connsiteY73" fmla="*/ 135564 h 513052"/>
                  <a:gd name="connsiteX74" fmla="*/ 197906 w 554117"/>
                  <a:gd name="connsiteY74" fmla="*/ 126741 h 513052"/>
                  <a:gd name="connsiteX75" fmla="*/ 218951 w 554117"/>
                  <a:gd name="connsiteY75" fmla="*/ 118244 h 513052"/>
                  <a:gd name="connsiteX76" fmla="*/ 231681 w 554117"/>
                  <a:gd name="connsiteY76" fmla="*/ 116154 h 513052"/>
                  <a:gd name="connsiteX77" fmla="*/ 245061 w 554117"/>
                  <a:gd name="connsiteY77" fmla="*/ 115086 h 513052"/>
                  <a:gd name="connsiteX78" fmla="*/ 243156 w 554117"/>
                  <a:gd name="connsiteY78" fmla="*/ 127809 h 513052"/>
                  <a:gd name="connsiteX79" fmla="*/ 237116 w 554117"/>
                  <a:gd name="connsiteY79" fmla="*/ 131663 h 513052"/>
                  <a:gd name="connsiteX80" fmla="*/ 228475 w 554117"/>
                  <a:gd name="connsiteY80" fmla="*/ 127066 h 513052"/>
                  <a:gd name="connsiteX81" fmla="*/ 218301 w 554117"/>
                  <a:gd name="connsiteY81" fmla="*/ 136957 h 513052"/>
                  <a:gd name="connsiteX82" fmla="*/ 209706 w 554117"/>
                  <a:gd name="connsiteY82" fmla="*/ 154277 h 513052"/>
                  <a:gd name="connsiteX83" fmla="*/ 201762 w 554117"/>
                  <a:gd name="connsiteY83" fmla="*/ 161707 h 513052"/>
                  <a:gd name="connsiteX84" fmla="*/ 181971 w 554117"/>
                  <a:gd name="connsiteY84" fmla="*/ 191704 h 513052"/>
                  <a:gd name="connsiteX85" fmla="*/ 178440 w 554117"/>
                  <a:gd name="connsiteY85" fmla="*/ 209395 h 513052"/>
                  <a:gd name="connsiteX86" fmla="*/ 161529 w 554117"/>
                  <a:gd name="connsiteY86" fmla="*/ 212553 h 513052"/>
                  <a:gd name="connsiteX87" fmla="*/ 158649 w 554117"/>
                  <a:gd name="connsiteY87" fmla="*/ 234470 h 513052"/>
                  <a:gd name="connsiteX88" fmla="*/ 158649 w 554117"/>
                  <a:gd name="connsiteY88" fmla="*/ 250722 h 513052"/>
                  <a:gd name="connsiteX89" fmla="*/ 145269 w 554117"/>
                  <a:gd name="connsiteY89" fmla="*/ 252812 h 513052"/>
                  <a:gd name="connsiteX90" fmla="*/ 130263 w 554117"/>
                  <a:gd name="connsiteY90" fmla="*/ 258105 h 513052"/>
                  <a:gd name="connsiteX91" fmla="*/ 142389 w 554117"/>
                  <a:gd name="connsiteY91" fmla="*/ 272918 h 513052"/>
                  <a:gd name="connsiteX92" fmla="*/ 135699 w 554117"/>
                  <a:gd name="connsiteY92" fmla="*/ 276075 h 513052"/>
                  <a:gd name="connsiteX93" fmla="*/ 127662 w 554117"/>
                  <a:gd name="connsiteY93" fmla="*/ 277468 h 513052"/>
                  <a:gd name="connsiteX94" fmla="*/ 126686 w 554117"/>
                  <a:gd name="connsiteY94" fmla="*/ 284434 h 513052"/>
                  <a:gd name="connsiteX95" fmla="*/ 78230 w 554117"/>
                  <a:gd name="connsiteY95" fmla="*/ 330776 h 513052"/>
                  <a:gd name="connsiteX96" fmla="*/ 61924 w 554117"/>
                  <a:gd name="connsiteY96" fmla="*/ 332261 h 513052"/>
                  <a:gd name="connsiteX97" fmla="*/ 54909 w 554117"/>
                  <a:gd name="connsiteY97" fmla="*/ 333794 h 513052"/>
                  <a:gd name="connsiteX98" fmla="*/ 49009 w 554117"/>
                  <a:gd name="connsiteY98" fmla="*/ 340805 h 513052"/>
                  <a:gd name="connsiteX99" fmla="*/ 49334 w 554117"/>
                  <a:gd name="connsiteY99" fmla="*/ 342616 h 513052"/>
                  <a:gd name="connsiteX100" fmla="*/ 57232 w 554117"/>
                  <a:gd name="connsiteY100" fmla="*/ 347028 h 513052"/>
                  <a:gd name="connsiteX101" fmla="*/ 49520 w 554117"/>
                  <a:gd name="connsiteY101" fmla="*/ 349303 h 513052"/>
                  <a:gd name="connsiteX102" fmla="*/ 43016 w 554117"/>
                  <a:gd name="connsiteY102" fmla="*/ 361933 h 513052"/>
                  <a:gd name="connsiteX103" fmla="*/ 15373 w 554117"/>
                  <a:gd name="connsiteY103" fmla="*/ 376978 h 513052"/>
                  <a:gd name="connsiteX104" fmla="*/ 18486 w 554117"/>
                  <a:gd name="connsiteY104" fmla="*/ 395784 h 513052"/>
                  <a:gd name="connsiteX105" fmla="*/ 9055 w 554117"/>
                  <a:gd name="connsiteY105" fmla="*/ 419884 h 513052"/>
                  <a:gd name="connsiteX106" fmla="*/ 1900 w 554117"/>
                  <a:gd name="connsiteY106" fmla="*/ 426849 h 513052"/>
                  <a:gd name="connsiteX107" fmla="*/ 1436 w 554117"/>
                  <a:gd name="connsiteY107" fmla="*/ 435347 h 513052"/>
                  <a:gd name="connsiteX108" fmla="*/ 12585 w 554117"/>
                  <a:gd name="connsiteY108" fmla="*/ 439201 h 513052"/>
                  <a:gd name="connsiteX109" fmla="*/ 27870 w 554117"/>
                  <a:gd name="connsiteY109" fmla="*/ 432839 h 513052"/>
                  <a:gd name="connsiteX110" fmla="*/ 31680 w 554117"/>
                  <a:gd name="connsiteY110" fmla="*/ 440269 h 513052"/>
                  <a:gd name="connsiteX111" fmla="*/ 20530 w 554117"/>
                  <a:gd name="connsiteY111" fmla="*/ 450159 h 513052"/>
                  <a:gd name="connsiteX112" fmla="*/ 11935 w 554117"/>
                  <a:gd name="connsiteY112" fmla="*/ 447698 h 513052"/>
                  <a:gd name="connsiteX113" fmla="*/ 4595 w 554117"/>
                  <a:gd name="connsiteY113" fmla="*/ 454756 h 513052"/>
                  <a:gd name="connsiteX114" fmla="*/ 3015 w 554117"/>
                  <a:gd name="connsiteY114" fmla="*/ 468872 h 513052"/>
                  <a:gd name="connsiteX115" fmla="*/ 15141 w 554117"/>
                  <a:gd name="connsiteY115" fmla="*/ 467108 h 513052"/>
                  <a:gd name="connsiteX116" fmla="*/ 26616 w 554117"/>
                  <a:gd name="connsiteY116" fmla="*/ 468547 h 513052"/>
                  <a:gd name="connsiteX117" fmla="*/ 21227 w 554117"/>
                  <a:gd name="connsiteY117" fmla="*/ 478067 h 513052"/>
                  <a:gd name="connsiteX118" fmla="*/ 13840 w 554117"/>
                  <a:gd name="connsiteY118" fmla="*/ 483685 h 513052"/>
                  <a:gd name="connsiteX119" fmla="*/ 19275 w 554117"/>
                  <a:gd name="connsiteY119" fmla="*/ 489257 h 513052"/>
                  <a:gd name="connsiteX120" fmla="*/ 19415 w 554117"/>
                  <a:gd name="connsiteY120" fmla="*/ 489257 h 513052"/>
                  <a:gd name="connsiteX121" fmla="*/ 20019 w 554117"/>
                  <a:gd name="connsiteY121" fmla="*/ 489629 h 513052"/>
                  <a:gd name="connsiteX122" fmla="*/ 25361 w 554117"/>
                  <a:gd name="connsiteY122" fmla="*/ 492693 h 513052"/>
                  <a:gd name="connsiteX123" fmla="*/ 40693 w 554117"/>
                  <a:gd name="connsiteY123" fmla="*/ 503745 h 513052"/>
                  <a:gd name="connsiteX124" fmla="*/ 45245 w 554117"/>
                  <a:gd name="connsiteY124" fmla="*/ 510478 h 513052"/>
                  <a:gd name="connsiteX125" fmla="*/ 60112 w 554117"/>
                  <a:gd name="connsiteY125" fmla="*/ 512707 h 513052"/>
                  <a:gd name="connsiteX126" fmla="*/ 100298 w 554117"/>
                  <a:gd name="connsiteY126" fmla="*/ 479877 h 513052"/>
                  <a:gd name="connsiteX127" fmla="*/ 115304 w 554117"/>
                  <a:gd name="connsiteY127" fmla="*/ 476348 h 513052"/>
                  <a:gd name="connsiteX128" fmla="*/ 120739 w 554117"/>
                  <a:gd name="connsiteY128" fmla="*/ 459075 h 513052"/>
                  <a:gd name="connsiteX129" fmla="*/ 129334 w 554117"/>
                  <a:gd name="connsiteY129" fmla="*/ 472123 h 513052"/>
                  <a:gd name="connsiteX130" fmla="*/ 134445 w 554117"/>
                  <a:gd name="connsiteY130" fmla="*/ 482942 h 513052"/>
                  <a:gd name="connsiteX131" fmla="*/ 141181 w 554117"/>
                  <a:gd name="connsiteY131" fmla="*/ 484010 h 513052"/>
                  <a:gd name="connsiteX132" fmla="*/ 146291 w 554117"/>
                  <a:gd name="connsiteY132" fmla="*/ 468129 h 513052"/>
                  <a:gd name="connsiteX133" fmla="*/ 149357 w 554117"/>
                  <a:gd name="connsiteY133" fmla="*/ 448813 h 513052"/>
                  <a:gd name="connsiteX134" fmla="*/ 163713 w 554117"/>
                  <a:gd name="connsiteY134" fmla="*/ 443148 h 513052"/>
                  <a:gd name="connsiteX135" fmla="*/ 162691 w 554117"/>
                  <a:gd name="connsiteY135" fmla="*/ 420441 h 513052"/>
                  <a:gd name="connsiteX136" fmla="*/ 161669 w 554117"/>
                  <a:gd name="connsiteY136" fmla="*/ 409111 h 513052"/>
                  <a:gd name="connsiteX137" fmla="*/ 169892 w 554117"/>
                  <a:gd name="connsiteY137" fmla="*/ 396620 h 513052"/>
                  <a:gd name="connsiteX138" fmla="*/ 155536 w 554117"/>
                  <a:gd name="connsiteY138" fmla="*/ 379625 h 513052"/>
                  <a:gd name="connsiteX139" fmla="*/ 156559 w 554117"/>
                  <a:gd name="connsiteY139" fmla="*/ 356918 h 513052"/>
                  <a:gd name="connsiteX140" fmla="*/ 156559 w 554117"/>
                  <a:gd name="connsiteY140" fmla="*/ 333097 h 513052"/>
                  <a:gd name="connsiteX141" fmla="*/ 158603 w 554117"/>
                  <a:gd name="connsiteY141" fmla="*/ 309276 h 513052"/>
                  <a:gd name="connsiteX142" fmla="*/ 180112 w 554117"/>
                  <a:gd name="connsiteY142" fmla="*/ 293396 h 513052"/>
                  <a:gd name="connsiteX143" fmla="*/ 194468 w 554117"/>
                  <a:gd name="connsiteY143" fmla="*/ 292235 h 513052"/>
                  <a:gd name="connsiteX144" fmla="*/ 194468 w 554117"/>
                  <a:gd name="connsiteY144" fmla="*/ 278629 h 513052"/>
                  <a:gd name="connsiteX145" fmla="*/ 189358 w 554117"/>
                  <a:gd name="connsiteY145" fmla="*/ 266138 h 513052"/>
                  <a:gd name="connsiteX146" fmla="*/ 203713 w 554117"/>
                  <a:gd name="connsiteY146" fmla="*/ 235538 h 513052"/>
                  <a:gd name="connsiteX147" fmla="*/ 204735 w 554117"/>
                  <a:gd name="connsiteY147" fmla="*/ 213946 h 513052"/>
                  <a:gd name="connsiteX148" fmla="*/ 221135 w 554117"/>
                  <a:gd name="connsiteY148" fmla="*/ 209442 h 513052"/>
                  <a:gd name="connsiteX149" fmla="*/ 225223 w 554117"/>
                  <a:gd name="connsiteY149" fmla="*/ 195836 h 513052"/>
                  <a:gd name="connsiteX150" fmla="*/ 236512 w 554117"/>
                  <a:gd name="connsiteY150" fmla="*/ 177680 h 513052"/>
                  <a:gd name="connsiteX151" fmla="*/ 241623 w 554117"/>
                  <a:gd name="connsiteY151" fmla="*/ 165189 h 513052"/>
                  <a:gd name="connsiteX152" fmla="*/ 247755 w 554117"/>
                  <a:gd name="connsiteY152" fmla="*/ 148148 h 513052"/>
                  <a:gd name="connsiteX153" fmla="*/ 264155 w 554117"/>
                  <a:gd name="connsiteY153" fmla="*/ 134542 h 513052"/>
                  <a:gd name="connsiteX154" fmla="*/ 280555 w 554117"/>
                  <a:gd name="connsiteY154" fmla="*/ 127763 h 513052"/>
                  <a:gd name="connsiteX155" fmla="*/ 285665 w 554117"/>
                  <a:gd name="connsiteY155" fmla="*/ 110768 h 513052"/>
                  <a:gd name="connsiteX156" fmla="*/ 308197 w 554117"/>
                  <a:gd name="connsiteY156" fmla="*/ 115318 h 513052"/>
                  <a:gd name="connsiteX157" fmla="*/ 322552 w 554117"/>
                  <a:gd name="connsiteY157" fmla="*/ 110768 h 513052"/>
                  <a:gd name="connsiteX158" fmla="*/ 334864 w 554117"/>
                  <a:gd name="connsiteY158" fmla="*/ 92612 h 513052"/>
                  <a:gd name="connsiteX159" fmla="*/ 336954 w 554117"/>
                  <a:gd name="connsiteY159" fmla="*/ 94051 h 513052"/>
                  <a:gd name="connsiteX160" fmla="*/ 351263 w 554117"/>
                  <a:gd name="connsiteY160" fmla="*/ 82396 h 513052"/>
                  <a:gd name="connsiteX161" fmla="*/ 374818 w 554117"/>
                  <a:gd name="connsiteY161" fmla="*/ 101667 h 513052"/>
                  <a:gd name="connsiteX162" fmla="*/ 398372 w 554117"/>
                  <a:gd name="connsiteY162" fmla="*/ 102781 h 513052"/>
                  <a:gd name="connsiteX163" fmla="*/ 414771 w 554117"/>
                  <a:gd name="connsiteY163" fmla="*/ 103895 h 513052"/>
                  <a:gd name="connsiteX164" fmla="*/ 427083 w 554117"/>
                  <a:gd name="connsiteY164" fmla="*/ 107285 h 513052"/>
                  <a:gd name="connsiteX165" fmla="*/ 436281 w 554117"/>
                  <a:gd name="connsiteY165" fmla="*/ 93680 h 513052"/>
                  <a:gd name="connsiteX166" fmla="*/ 440370 w 554117"/>
                  <a:gd name="connsiteY166" fmla="*/ 73248 h 513052"/>
                  <a:gd name="connsiteX167" fmla="*/ 453656 w 554117"/>
                  <a:gd name="connsiteY167" fmla="*/ 57368 h 513052"/>
                  <a:gd name="connsiteX168" fmla="*/ 475166 w 554117"/>
                  <a:gd name="connsiteY168" fmla="*/ 51703 h 513052"/>
                  <a:gd name="connsiteX169" fmla="*/ 492588 w 554117"/>
                  <a:gd name="connsiteY169" fmla="*/ 51703 h 513052"/>
                  <a:gd name="connsiteX170" fmla="*/ 515120 w 554117"/>
                  <a:gd name="connsiteY170" fmla="*/ 68744 h 513052"/>
                  <a:gd name="connsiteX171" fmla="*/ 515120 w 554117"/>
                  <a:gd name="connsiteY171" fmla="*/ 82071 h 513052"/>
                  <a:gd name="connsiteX172" fmla="*/ 525016 w 554117"/>
                  <a:gd name="connsiteY172" fmla="*/ 76638 h 513052"/>
                  <a:gd name="connsiteX173" fmla="*/ 542856 w 554117"/>
                  <a:gd name="connsiteY173" fmla="*/ 67444 h 513052"/>
                  <a:gd name="connsiteX174" fmla="*/ 553820 w 554117"/>
                  <a:gd name="connsiteY174" fmla="*/ 58900 h 513052"/>
                  <a:gd name="connsiteX175" fmla="*/ 537745 w 554117"/>
                  <a:gd name="connsiteY175" fmla="*/ 59690 h 513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554117" h="513052">
                    <a:moveTo>
                      <a:pt x="537745" y="59643"/>
                    </a:moveTo>
                    <a:cubicBezTo>
                      <a:pt x="536444" y="64937"/>
                      <a:pt x="527850" y="63869"/>
                      <a:pt x="528175" y="58575"/>
                    </a:cubicBezTo>
                    <a:cubicBezTo>
                      <a:pt x="528500" y="53282"/>
                      <a:pt x="514795" y="49056"/>
                      <a:pt x="514145" y="46549"/>
                    </a:cubicBezTo>
                    <a:cubicBezTo>
                      <a:pt x="513494" y="44087"/>
                      <a:pt x="519905" y="44413"/>
                      <a:pt x="525016" y="47617"/>
                    </a:cubicBezTo>
                    <a:cubicBezTo>
                      <a:pt x="530126" y="50820"/>
                      <a:pt x="533611" y="48685"/>
                      <a:pt x="539371" y="42694"/>
                    </a:cubicBezTo>
                    <a:cubicBezTo>
                      <a:pt x="545132" y="36704"/>
                      <a:pt x="553076" y="41626"/>
                      <a:pt x="554052" y="36333"/>
                    </a:cubicBezTo>
                    <a:cubicBezTo>
                      <a:pt x="555028" y="31039"/>
                      <a:pt x="544807" y="27510"/>
                      <a:pt x="542902" y="24306"/>
                    </a:cubicBezTo>
                    <a:cubicBezTo>
                      <a:pt x="540997" y="21102"/>
                      <a:pt x="533657" y="16877"/>
                      <a:pt x="526642" y="18316"/>
                    </a:cubicBezTo>
                    <a:cubicBezTo>
                      <a:pt x="519627" y="19709"/>
                      <a:pt x="519301" y="16552"/>
                      <a:pt x="515167" y="12326"/>
                    </a:cubicBezTo>
                    <a:cubicBezTo>
                      <a:pt x="514145" y="11258"/>
                      <a:pt x="512565" y="10933"/>
                      <a:pt x="510800" y="11119"/>
                    </a:cubicBezTo>
                    <a:cubicBezTo>
                      <a:pt x="508616" y="12558"/>
                      <a:pt x="506247" y="13719"/>
                      <a:pt x="503738" y="14416"/>
                    </a:cubicBezTo>
                    <a:cubicBezTo>
                      <a:pt x="500672" y="16970"/>
                      <a:pt x="498256" y="20731"/>
                      <a:pt x="498256" y="25003"/>
                    </a:cubicBezTo>
                    <a:cubicBezTo>
                      <a:pt x="498256" y="34893"/>
                      <a:pt x="490265" y="32432"/>
                      <a:pt x="493146" y="27139"/>
                    </a:cubicBezTo>
                    <a:cubicBezTo>
                      <a:pt x="495608" y="22588"/>
                      <a:pt x="491055" y="17295"/>
                      <a:pt x="493750" y="14741"/>
                    </a:cubicBezTo>
                    <a:cubicBezTo>
                      <a:pt x="493099" y="14555"/>
                      <a:pt x="492402" y="14369"/>
                      <a:pt x="491752" y="14091"/>
                    </a:cubicBezTo>
                    <a:cubicBezTo>
                      <a:pt x="489197" y="13069"/>
                      <a:pt x="486688" y="12280"/>
                      <a:pt x="483994" y="11583"/>
                    </a:cubicBezTo>
                    <a:cubicBezTo>
                      <a:pt x="483204" y="11444"/>
                      <a:pt x="482832" y="11351"/>
                      <a:pt x="482879" y="11305"/>
                    </a:cubicBezTo>
                    <a:cubicBezTo>
                      <a:pt x="482182" y="11258"/>
                      <a:pt x="481485" y="11165"/>
                      <a:pt x="480834" y="11165"/>
                    </a:cubicBezTo>
                    <a:cubicBezTo>
                      <a:pt x="478093" y="11026"/>
                      <a:pt x="475352" y="11165"/>
                      <a:pt x="472611" y="11258"/>
                    </a:cubicBezTo>
                    <a:cubicBezTo>
                      <a:pt x="472658" y="12233"/>
                      <a:pt x="472937" y="13069"/>
                      <a:pt x="473448" y="13673"/>
                    </a:cubicBezTo>
                    <a:cubicBezTo>
                      <a:pt x="476328" y="17202"/>
                      <a:pt x="465457" y="32386"/>
                      <a:pt x="460672" y="32386"/>
                    </a:cubicBezTo>
                    <a:cubicBezTo>
                      <a:pt x="455887" y="32386"/>
                      <a:pt x="461322" y="19338"/>
                      <a:pt x="460997" y="12280"/>
                    </a:cubicBezTo>
                    <a:cubicBezTo>
                      <a:pt x="460997" y="12187"/>
                      <a:pt x="460997" y="12187"/>
                      <a:pt x="460997" y="12094"/>
                    </a:cubicBezTo>
                    <a:cubicBezTo>
                      <a:pt x="459046" y="11908"/>
                      <a:pt x="457187" y="11630"/>
                      <a:pt x="455422" y="11072"/>
                    </a:cubicBezTo>
                    <a:cubicBezTo>
                      <a:pt x="453331" y="13023"/>
                      <a:pt x="450637" y="16180"/>
                      <a:pt x="447292" y="20406"/>
                    </a:cubicBezTo>
                    <a:cubicBezTo>
                      <a:pt x="438372" y="31689"/>
                      <a:pt x="431682" y="41952"/>
                      <a:pt x="426572" y="43019"/>
                    </a:cubicBezTo>
                    <a:cubicBezTo>
                      <a:pt x="421461" y="44087"/>
                      <a:pt x="422112" y="32757"/>
                      <a:pt x="430381" y="27835"/>
                    </a:cubicBezTo>
                    <a:cubicBezTo>
                      <a:pt x="438651" y="22867"/>
                      <a:pt x="438976" y="9447"/>
                      <a:pt x="444411" y="9447"/>
                    </a:cubicBezTo>
                    <a:cubicBezTo>
                      <a:pt x="446409" y="9447"/>
                      <a:pt x="447617" y="8472"/>
                      <a:pt x="448035" y="7172"/>
                    </a:cubicBezTo>
                    <a:cubicBezTo>
                      <a:pt x="445759" y="5361"/>
                      <a:pt x="443807" y="3132"/>
                      <a:pt x="442274" y="439"/>
                    </a:cubicBezTo>
                    <a:cubicBezTo>
                      <a:pt x="442135" y="439"/>
                      <a:pt x="441996" y="300"/>
                      <a:pt x="441856" y="300"/>
                    </a:cubicBezTo>
                    <a:cubicBezTo>
                      <a:pt x="433866" y="-1836"/>
                      <a:pt x="432611" y="8054"/>
                      <a:pt x="430056" y="10887"/>
                    </a:cubicBezTo>
                    <a:cubicBezTo>
                      <a:pt x="428662" y="12419"/>
                      <a:pt x="424156" y="10794"/>
                      <a:pt x="420393" y="9494"/>
                    </a:cubicBezTo>
                    <a:cubicBezTo>
                      <a:pt x="417745" y="11072"/>
                      <a:pt x="414771" y="12140"/>
                      <a:pt x="411752" y="12465"/>
                    </a:cubicBezTo>
                    <a:cubicBezTo>
                      <a:pt x="410358" y="13719"/>
                      <a:pt x="409382" y="15298"/>
                      <a:pt x="410962" y="17945"/>
                    </a:cubicBezTo>
                    <a:cubicBezTo>
                      <a:pt x="414167" y="23238"/>
                      <a:pt x="409382" y="27835"/>
                      <a:pt x="406177" y="21474"/>
                    </a:cubicBezTo>
                    <a:cubicBezTo>
                      <a:pt x="402971" y="15112"/>
                      <a:pt x="395027" y="20034"/>
                      <a:pt x="391217" y="27139"/>
                    </a:cubicBezTo>
                    <a:cubicBezTo>
                      <a:pt x="387361" y="34197"/>
                      <a:pt x="382297" y="33825"/>
                      <a:pt x="386107" y="36333"/>
                    </a:cubicBezTo>
                    <a:cubicBezTo>
                      <a:pt x="389916" y="38794"/>
                      <a:pt x="389638" y="48359"/>
                      <a:pt x="383877" y="50124"/>
                    </a:cubicBezTo>
                    <a:cubicBezTo>
                      <a:pt x="378116" y="51889"/>
                      <a:pt x="380346" y="32804"/>
                      <a:pt x="375886" y="34568"/>
                    </a:cubicBezTo>
                    <a:cubicBezTo>
                      <a:pt x="371426" y="36333"/>
                      <a:pt x="374307" y="25374"/>
                      <a:pt x="380346" y="25374"/>
                    </a:cubicBezTo>
                    <a:cubicBezTo>
                      <a:pt x="384852" y="25374"/>
                      <a:pt x="389359" y="19895"/>
                      <a:pt x="391078" y="16087"/>
                    </a:cubicBezTo>
                    <a:cubicBezTo>
                      <a:pt x="386107" y="17852"/>
                      <a:pt x="381229" y="19709"/>
                      <a:pt x="376118" y="21056"/>
                    </a:cubicBezTo>
                    <a:cubicBezTo>
                      <a:pt x="371426" y="22310"/>
                      <a:pt x="366641" y="21985"/>
                      <a:pt x="362274" y="20499"/>
                    </a:cubicBezTo>
                    <a:cubicBezTo>
                      <a:pt x="359347" y="23563"/>
                      <a:pt x="361159" y="30621"/>
                      <a:pt x="367895" y="34893"/>
                    </a:cubicBezTo>
                    <a:cubicBezTo>
                      <a:pt x="376815" y="40558"/>
                      <a:pt x="366316" y="44087"/>
                      <a:pt x="361809" y="39862"/>
                    </a:cubicBezTo>
                    <a:cubicBezTo>
                      <a:pt x="357349" y="35636"/>
                      <a:pt x="350334" y="37726"/>
                      <a:pt x="345549" y="40187"/>
                    </a:cubicBezTo>
                    <a:cubicBezTo>
                      <a:pt x="340764" y="42648"/>
                      <a:pt x="357024" y="49010"/>
                      <a:pt x="357675" y="52214"/>
                    </a:cubicBezTo>
                    <a:cubicBezTo>
                      <a:pt x="358325" y="55371"/>
                      <a:pt x="349359" y="48313"/>
                      <a:pt x="347454" y="50774"/>
                    </a:cubicBezTo>
                    <a:cubicBezTo>
                      <a:pt x="345549" y="53282"/>
                      <a:pt x="336629" y="49010"/>
                      <a:pt x="335979" y="43019"/>
                    </a:cubicBezTo>
                    <a:cubicBezTo>
                      <a:pt x="335328" y="37029"/>
                      <a:pt x="320973" y="45481"/>
                      <a:pt x="328964" y="47617"/>
                    </a:cubicBezTo>
                    <a:cubicBezTo>
                      <a:pt x="336954" y="49753"/>
                      <a:pt x="334074" y="55418"/>
                      <a:pt x="334074" y="63172"/>
                    </a:cubicBezTo>
                    <a:cubicBezTo>
                      <a:pt x="334074" y="70927"/>
                      <a:pt x="324829" y="64937"/>
                      <a:pt x="326734" y="58250"/>
                    </a:cubicBezTo>
                    <a:cubicBezTo>
                      <a:pt x="328638" y="51563"/>
                      <a:pt x="320973" y="52957"/>
                      <a:pt x="314608" y="57182"/>
                    </a:cubicBezTo>
                    <a:cubicBezTo>
                      <a:pt x="308243" y="61408"/>
                      <a:pt x="315584" y="49428"/>
                      <a:pt x="313029" y="43391"/>
                    </a:cubicBezTo>
                    <a:cubicBezTo>
                      <a:pt x="310474" y="37401"/>
                      <a:pt x="304713" y="43391"/>
                      <a:pt x="298023" y="44830"/>
                    </a:cubicBezTo>
                    <a:cubicBezTo>
                      <a:pt x="291333" y="46223"/>
                      <a:pt x="287848" y="46595"/>
                      <a:pt x="291983" y="51517"/>
                    </a:cubicBezTo>
                    <a:cubicBezTo>
                      <a:pt x="296118" y="56439"/>
                      <a:pt x="295514" y="63497"/>
                      <a:pt x="290032" y="62476"/>
                    </a:cubicBezTo>
                    <a:cubicBezTo>
                      <a:pt x="284596" y="61408"/>
                      <a:pt x="282413" y="62476"/>
                      <a:pt x="283017" y="68141"/>
                    </a:cubicBezTo>
                    <a:cubicBezTo>
                      <a:pt x="283667" y="73759"/>
                      <a:pt x="276002" y="74131"/>
                      <a:pt x="275351" y="69209"/>
                    </a:cubicBezTo>
                    <a:cubicBezTo>
                      <a:pt x="274701" y="64287"/>
                      <a:pt x="263876" y="65680"/>
                      <a:pt x="260671" y="71345"/>
                    </a:cubicBezTo>
                    <a:cubicBezTo>
                      <a:pt x="257465" y="76963"/>
                      <a:pt x="248545" y="81235"/>
                      <a:pt x="249521" y="87597"/>
                    </a:cubicBezTo>
                    <a:cubicBezTo>
                      <a:pt x="250450" y="93958"/>
                      <a:pt x="257511" y="84393"/>
                      <a:pt x="263226" y="86529"/>
                    </a:cubicBezTo>
                    <a:cubicBezTo>
                      <a:pt x="268986" y="88665"/>
                      <a:pt x="262900" y="91822"/>
                      <a:pt x="266106" y="94980"/>
                    </a:cubicBezTo>
                    <a:cubicBezTo>
                      <a:pt x="269265" y="98184"/>
                      <a:pt x="268661" y="105939"/>
                      <a:pt x="264201" y="101342"/>
                    </a:cubicBezTo>
                    <a:cubicBezTo>
                      <a:pt x="259741" y="96744"/>
                      <a:pt x="253981" y="95305"/>
                      <a:pt x="253051" y="102735"/>
                    </a:cubicBezTo>
                    <a:cubicBezTo>
                      <a:pt x="252076" y="110164"/>
                      <a:pt x="247337" y="101667"/>
                      <a:pt x="243481" y="96373"/>
                    </a:cubicBezTo>
                    <a:cubicBezTo>
                      <a:pt x="239672" y="91079"/>
                      <a:pt x="235816" y="106264"/>
                      <a:pt x="231681" y="102735"/>
                    </a:cubicBezTo>
                    <a:cubicBezTo>
                      <a:pt x="227546" y="99205"/>
                      <a:pt x="239950" y="88247"/>
                      <a:pt x="236791" y="82953"/>
                    </a:cubicBezTo>
                    <a:cubicBezTo>
                      <a:pt x="233586" y="77660"/>
                      <a:pt x="231356" y="86111"/>
                      <a:pt x="224062" y="94237"/>
                    </a:cubicBezTo>
                    <a:cubicBezTo>
                      <a:pt x="216721" y="102363"/>
                      <a:pt x="206872" y="101992"/>
                      <a:pt x="210357" y="105892"/>
                    </a:cubicBezTo>
                    <a:cubicBezTo>
                      <a:pt x="213841" y="109793"/>
                      <a:pt x="203016" y="111882"/>
                      <a:pt x="201112" y="118615"/>
                    </a:cubicBezTo>
                    <a:cubicBezTo>
                      <a:pt x="199207" y="125348"/>
                      <a:pt x="184201" y="127809"/>
                      <a:pt x="174631" y="134867"/>
                    </a:cubicBezTo>
                    <a:cubicBezTo>
                      <a:pt x="165060" y="141925"/>
                      <a:pt x="176535" y="142297"/>
                      <a:pt x="181971" y="135564"/>
                    </a:cubicBezTo>
                    <a:cubicBezTo>
                      <a:pt x="187406" y="128831"/>
                      <a:pt x="189311" y="132731"/>
                      <a:pt x="197906" y="126741"/>
                    </a:cubicBezTo>
                    <a:cubicBezTo>
                      <a:pt x="206547" y="120751"/>
                      <a:pt x="215746" y="115783"/>
                      <a:pt x="218951" y="118244"/>
                    </a:cubicBezTo>
                    <a:cubicBezTo>
                      <a:pt x="222111" y="120705"/>
                      <a:pt x="227546" y="122516"/>
                      <a:pt x="231681" y="116154"/>
                    </a:cubicBezTo>
                    <a:cubicBezTo>
                      <a:pt x="235816" y="109793"/>
                      <a:pt x="240926" y="111186"/>
                      <a:pt x="245061" y="115086"/>
                    </a:cubicBezTo>
                    <a:cubicBezTo>
                      <a:pt x="249196" y="118987"/>
                      <a:pt x="238046" y="122144"/>
                      <a:pt x="243156" y="127809"/>
                    </a:cubicBezTo>
                    <a:cubicBezTo>
                      <a:pt x="248266" y="133474"/>
                      <a:pt x="237116" y="136632"/>
                      <a:pt x="237116" y="131663"/>
                    </a:cubicBezTo>
                    <a:cubicBezTo>
                      <a:pt x="237116" y="126695"/>
                      <a:pt x="230752" y="122469"/>
                      <a:pt x="228475" y="127066"/>
                    </a:cubicBezTo>
                    <a:cubicBezTo>
                      <a:pt x="226245" y="131663"/>
                      <a:pt x="222436" y="136585"/>
                      <a:pt x="218301" y="136957"/>
                    </a:cubicBezTo>
                    <a:cubicBezTo>
                      <a:pt x="214166" y="137328"/>
                      <a:pt x="209706" y="145780"/>
                      <a:pt x="209706" y="154277"/>
                    </a:cubicBezTo>
                    <a:cubicBezTo>
                      <a:pt x="209706" y="162775"/>
                      <a:pt x="202366" y="154277"/>
                      <a:pt x="201762" y="161707"/>
                    </a:cubicBezTo>
                    <a:cubicBezTo>
                      <a:pt x="201112" y="169136"/>
                      <a:pt x="190891" y="182184"/>
                      <a:pt x="181971" y="191704"/>
                    </a:cubicBezTo>
                    <a:cubicBezTo>
                      <a:pt x="173051" y="201223"/>
                      <a:pt x="181320" y="203359"/>
                      <a:pt x="178440" y="209395"/>
                    </a:cubicBezTo>
                    <a:cubicBezTo>
                      <a:pt x="175560" y="215385"/>
                      <a:pt x="165060" y="210092"/>
                      <a:pt x="161529" y="212553"/>
                    </a:cubicBezTo>
                    <a:cubicBezTo>
                      <a:pt x="157999" y="215060"/>
                      <a:pt x="163434" y="229873"/>
                      <a:pt x="158649" y="234470"/>
                    </a:cubicBezTo>
                    <a:cubicBezTo>
                      <a:pt x="153864" y="239067"/>
                      <a:pt x="158649" y="245428"/>
                      <a:pt x="158649" y="250722"/>
                    </a:cubicBezTo>
                    <a:cubicBezTo>
                      <a:pt x="158649" y="256016"/>
                      <a:pt x="146198" y="247518"/>
                      <a:pt x="145269" y="252812"/>
                    </a:cubicBezTo>
                    <a:cubicBezTo>
                      <a:pt x="144294" y="258105"/>
                      <a:pt x="133469" y="256712"/>
                      <a:pt x="130263" y="258105"/>
                    </a:cubicBezTo>
                    <a:cubicBezTo>
                      <a:pt x="127058" y="259498"/>
                      <a:pt x="136628" y="267996"/>
                      <a:pt x="142389" y="272918"/>
                    </a:cubicBezTo>
                    <a:cubicBezTo>
                      <a:pt x="148103" y="277886"/>
                      <a:pt x="136953" y="281740"/>
                      <a:pt x="135699" y="276075"/>
                    </a:cubicBezTo>
                    <a:cubicBezTo>
                      <a:pt x="134956" y="272825"/>
                      <a:pt x="131982" y="274497"/>
                      <a:pt x="127662" y="277468"/>
                    </a:cubicBezTo>
                    <a:cubicBezTo>
                      <a:pt x="127801" y="279883"/>
                      <a:pt x="127522" y="282298"/>
                      <a:pt x="126686" y="284434"/>
                    </a:cubicBezTo>
                    <a:cubicBezTo>
                      <a:pt x="117441" y="307697"/>
                      <a:pt x="101041" y="320699"/>
                      <a:pt x="78230" y="330776"/>
                    </a:cubicBezTo>
                    <a:cubicBezTo>
                      <a:pt x="72470" y="333329"/>
                      <a:pt x="66895" y="333562"/>
                      <a:pt x="61924" y="332261"/>
                    </a:cubicBezTo>
                    <a:cubicBezTo>
                      <a:pt x="59787" y="333051"/>
                      <a:pt x="57324" y="333422"/>
                      <a:pt x="54909" y="333794"/>
                    </a:cubicBezTo>
                    <a:cubicBezTo>
                      <a:pt x="53469" y="336394"/>
                      <a:pt x="51564" y="338809"/>
                      <a:pt x="49009" y="340805"/>
                    </a:cubicBezTo>
                    <a:cubicBezTo>
                      <a:pt x="49148" y="341409"/>
                      <a:pt x="49241" y="342013"/>
                      <a:pt x="49334" y="342616"/>
                    </a:cubicBezTo>
                    <a:cubicBezTo>
                      <a:pt x="52400" y="343824"/>
                      <a:pt x="56256" y="344892"/>
                      <a:pt x="57232" y="347028"/>
                    </a:cubicBezTo>
                    <a:cubicBezTo>
                      <a:pt x="58347" y="349442"/>
                      <a:pt x="54398" y="349814"/>
                      <a:pt x="49520" y="349303"/>
                    </a:cubicBezTo>
                    <a:cubicBezTo>
                      <a:pt x="48962" y="353993"/>
                      <a:pt x="46871" y="358451"/>
                      <a:pt x="43016" y="361933"/>
                    </a:cubicBezTo>
                    <a:cubicBezTo>
                      <a:pt x="34467" y="369548"/>
                      <a:pt x="25408" y="374610"/>
                      <a:pt x="15373" y="376978"/>
                    </a:cubicBezTo>
                    <a:cubicBezTo>
                      <a:pt x="18950" y="381807"/>
                      <a:pt x="20576" y="388215"/>
                      <a:pt x="18486" y="395784"/>
                    </a:cubicBezTo>
                    <a:cubicBezTo>
                      <a:pt x="16116" y="404328"/>
                      <a:pt x="14305" y="412501"/>
                      <a:pt x="9055" y="419884"/>
                    </a:cubicBezTo>
                    <a:cubicBezTo>
                      <a:pt x="6964" y="422809"/>
                      <a:pt x="4548" y="425084"/>
                      <a:pt x="1900" y="426849"/>
                    </a:cubicBezTo>
                    <a:cubicBezTo>
                      <a:pt x="321" y="428846"/>
                      <a:pt x="-1212" y="431121"/>
                      <a:pt x="1436" y="435347"/>
                    </a:cubicBezTo>
                    <a:cubicBezTo>
                      <a:pt x="6546" y="443473"/>
                      <a:pt x="10356" y="433211"/>
                      <a:pt x="12585" y="439201"/>
                    </a:cubicBezTo>
                    <a:cubicBezTo>
                      <a:pt x="14816" y="445237"/>
                      <a:pt x="20855" y="439897"/>
                      <a:pt x="27870" y="432839"/>
                    </a:cubicBezTo>
                    <a:cubicBezTo>
                      <a:pt x="34885" y="425781"/>
                      <a:pt x="37441" y="440594"/>
                      <a:pt x="31680" y="440269"/>
                    </a:cubicBezTo>
                    <a:cubicBezTo>
                      <a:pt x="25919" y="439944"/>
                      <a:pt x="19229" y="443798"/>
                      <a:pt x="20530" y="450159"/>
                    </a:cubicBezTo>
                    <a:cubicBezTo>
                      <a:pt x="21784" y="456521"/>
                      <a:pt x="11610" y="455453"/>
                      <a:pt x="11935" y="447698"/>
                    </a:cubicBezTo>
                    <a:cubicBezTo>
                      <a:pt x="12261" y="439944"/>
                      <a:pt x="135" y="449091"/>
                      <a:pt x="4595" y="454756"/>
                    </a:cubicBezTo>
                    <a:cubicBezTo>
                      <a:pt x="9055" y="460375"/>
                      <a:pt x="3015" y="463579"/>
                      <a:pt x="3015" y="468872"/>
                    </a:cubicBezTo>
                    <a:cubicBezTo>
                      <a:pt x="3015" y="474166"/>
                      <a:pt x="11610" y="473098"/>
                      <a:pt x="15141" y="467108"/>
                    </a:cubicBezTo>
                    <a:cubicBezTo>
                      <a:pt x="18671" y="461118"/>
                      <a:pt x="24386" y="462511"/>
                      <a:pt x="26616" y="468547"/>
                    </a:cubicBezTo>
                    <a:cubicBezTo>
                      <a:pt x="28846" y="474537"/>
                      <a:pt x="21227" y="469940"/>
                      <a:pt x="21227" y="478067"/>
                    </a:cubicBezTo>
                    <a:cubicBezTo>
                      <a:pt x="21227" y="485171"/>
                      <a:pt x="17556" y="480667"/>
                      <a:pt x="13840" y="483685"/>
                    </a:cubicBezTo>
                    <a:cubicBezTo>
                      <a:pt x="15838" y="485264"/>
                      <a:pt x="17603" y="487168"/>
                      <a:pt x="19275" y="489257"/>
                    </a:cubicBezTo>
                    <a:lnTo>
                      <a:pt x="19415" y="489257"/>
                    </a:lnTo>
                    <a:cubicBezTo>
                      <a:pt x="17185" y="486285"/>
                      <a:pt x="18904" y="488421"/>
                      <a:pt x="20019" y="489629"/>
                    </a:cubicBezTo>
                    <a:cubicBezTo>
                      <a:pt x="21831" y="490604"/>
                      <a:pt x="23550" y="491718"/>
                      <a:pt x="25361" y="492693"/>
                    </a:cubicBezTo>
                    <a:cubicBezTo>
                      <a:pt x="30890" y="495712"/>
                      <a:pt x="36279" y="499241"/>
                      <a:pt x="40693" y="503745"/>
                    </a:cubicBezTo>
                    <a:cubicBezTo>
                      <a:pt x="42690" y="505788"/>
                      <a:pt x="44177" y="508063"/>
                      <a:pt x="45245" y="510478"/>
                    </a:cubicBezTo>
                    <a:cubicBezTo>
                      <a:pt x="49148" y="512335"/>
                      <a:pt x="53794" y="513728"/>
                      <a:pt x="60112" y="512707"/>
                    </a:cubicBezTo>
                    <a:cubicBezTo>
                      <a:pt x="72888" y="510571"/>
                      <a:pt x="97092" y="484474"/>
                      <a:pt x="100298" y="479877"/>
                    </a:cubicBezTo>
                    <a:cubicBezTo>
                      <a:pt x="103504" y="475280"/>
                      <a:pt x="110519" y="480574"/>
                      <a:pt x="115304" y="476348"/>
                    </a:cubicBezTo>
                    <a:cubicBezTo>
                      <a:pt x="120089" y="472123"/>
                      <a:pt x="117209" y="461164"/>
                      <a:pt x="120739" y="459075"/>
                    </a:cubicBezTo>
                    <a:cubicBezTo>
                      <a:pt x="124270" y="456939"/>
                      <a:pt x="126128" y="470730"/>
                      <a:pt x="129334" y="472123"/>
                    </a:cubicBezTo>
                    <a:cubicBezTo>
                      <a:pt x="132214" y="473377"/>
                      <a:pt x="134305" y="475884"/>
                      <a:pt x="134445" y="482942"/>
                    </a:cubicBezTo>
                    <a:cubicBezTo>
                      <a:pt x="137000" y="482571"/>
                      <a:pt x="139555" y="482664"/>
                      <a:pt x="141181" y="484010"/>
                    </a:cubicBezTo>
                    <a:cubicBezTo>
                      <a:pt x="145269" y="487400"/>
                      <a:pt x="146291" y="472680"/>
                      <a:pt x="146291" y="468129"/>
                    </a:cubicBezTo>
                    <a:cubicBezTo>
                      <a:pt x="146291" y="463579"/>
                      <a:pt x="150380" y="454524"/>
                      <a:pt x="149357" y="448813"/>
                    </a:cubicBezTo>
                    <a:cubicBezTo>
                      <a:pt x="148335" y="443148"/>
                      <a:pt x="161669" y="447698"/>
                      <a:pt x="163713" y="443148"/>
                    </a:cubicBezTo>
                    <a:cubicBezTo>
                      <a:pt x="165757" y="438597"/>
                      <a:pt x="166779" y="422716"/>
                      <a:pt x="162691" y="420441"/>
                    </a:cubicBezTo>
                    <a:cubicBezTo>
                      <a:pt x="158603" y="418166"/>
                      <a:pt x="157534" y="409111"/>
                      <a:pt x="161669" y="409111"/>
                    </a:cubicBezTo>
                    <a:cubicBezTo>
                      <a:pt x="165804" y="409111"/>
                      <a:pt x="170867" y="405721"/>
                      <a:pt x="169892" y="396620"/>
                    </a:cubicBezTo>
                    <a:cubicBezTo>
                      <a:pt x="168870" y="387565"/>
                      <a:pt x="156559" y="388680"/>
                      <a:pt x="155536" y="379625"/>
                    </a:cubicBezTo>
                    <a:cubicBezTo>
                      <a:pt x="154514" y="370570"/>
                      <a:pt x="161669" y="368295"/>
                      <a:pt x="156559" y="356918"/>
                    </a:cubicBezTo>
                    <a:cubicBezTo>
                      <a:pt x="151448" y="345588"/>
                      <a:pt x="158603" y="338762"/>
                      <a:pt x="156559" y="333097"/>
                    </a:cubicBezTo>
                    <a:cubicBezTo>
                      <a:pt x="154514" y="327432"/>
                      <a:pt x="152470" y="320606"/>
                      <a:pt x="158603" y="309276"/>
                    </a:cubicBezTo>
                    <a:cubicBezTo>
                      <a:pt x="164735" y="297946"/>
                      <a:pt x="176024" y="292235"/>
                      <a:pt x="180112" y="293396"/>
                    </a:cubicBezTo>
                    <a:cubicBezTo>
                      <a:pt x="184201" y="294510"/>
                      <a:pt x="191402" y="299061"/>
                      <a:pt x="194468" y="292235"/>
                    </a:cubicBezTo>
                    <a:cubicBezTo>
                      <a:pt x="197534" y="285455"/>
                      <a:pt x="197534" y="279744"/>
                      <a:pt x="194468" y="278629"/>
                    </a:cubicBezTo>
                    <a:cubicBezTo>
                      <a:pt x="191402" y="277515"/>
                      <a:pt x="183179" y="275240"/>
                      <a:pt x="189358" y="266138"/>
                    </a:cubicBezTo>
                    <a:cubicBezTo>
                      <a:pt x="195490" y="257084"/>
                      <a:pt x="202691" y="245707"/>
                      <a:pt x="203713" y="235538"/>
                    </a:cubicBezTo>
                    <a:cubicBezTo>
                      <a:pt x="204735" y="225322"/>
                      <a:pt x="201669" y="217382"/>
                      <a:pt x="204735" y="213946"/>
                    </a:cubicBezTo>
                    <a:cubicBezTo>
                      <a:pt x="207801" y="210556"/>
                      <a:pt x="215002" y="213946"/>
                      <a:pt x="221135" y="209442"/>
                    </a:cubicBezTo>
                    <a:cubicBezTo>
                      <a:pt x="227267" y="204891"/>
                      <a:pt x="222157" y="199226"/>
                      <a:pt x="225223" y="195836"/>
                    </a:cubicBezTo>
                    <a:cubicBezTo>
                      <a:pt x="228290" y="192446"/>
                      <a:pt x="232378" y="181070"/>
                      <a:pt x="236512" y="177680"/>
                    </a:cubicBezTo>
                    <a:cubicBezTo>
                      <a:pt x="240601" y="174291"/>
                      <a:pt x="244689" y="169740"/>
                      <a:pt x="241623" y="165189"/>
                    </a:cubicBezTo>
                    <a:cubicBezTo>
                      <a:pt x="238557" y="160639"/>
                      <a:pt x="247755" y="156088"/>
                      <a:pt x="247755" y="148148"/>
                    </a:cubicBezTo>
                    <a:cubicBezTo>
                      <a:pt x="247755" y="140207"/>
                      <a:pt x="257976" y="134542"/>
                      <a:pt x="264155" y="134542"/>
                    </a:cubicBezTo>
                    <a:cubicBezTo>
                      <a:pt x="270334" y="134542"/>
                      <a:pt x="280555" y="134542"/>
                      <a:pt x="280555" y="127763"/>
                    </a:cubicBezTo>
                    <a:cubicBezTo>
                      <a:pt x="280555" y="120983"/>
                      <a:pt x="276466" y="106171"/>
                      <a:pt x="285665" y="110768"/>
                    </a:cubicBezTo>
                    <a:cubicBezTo>
                      <a:pt x="294863" y="115318"/>
                      <a:pt x="302064" y="109607"/>
                      <a:pt x="308197" y="115318"/>
                    </a:cubicBezTo>
                    <a:cubicBezTo>
                      <a:pt x="314329" y="120983"/>
                      <a:pt x="322552" y="119869"/>
                      <a:pt x="322552" y="110768"/>
                    </a:cubicBezTo>
                    <a:cubicBezTo>
                      <a:pt x="322552" y="101667"/>
                      <a:pt x="325619" y="86947"/>
                      <a:pt x="334864" y="92612"/>
                    </a:cubicBezTo>
                    <a:cubicBezTo>
                      <a:pt x="335607" y="93030"/>
                      <a:pt x="336258" y="93541"/>
                      <a:pt x="336954" y="94051"/>
                    </a:cubicBezTo>
                    <a:cubicBezTo>
                      <a:pt x="340021" y="86482"/>
                      <a:pt x="345828" y="81653"/>
                      <a:pt x="351263" y="82396"/>
                    </a:cubicBezTo>
                    <a:cubicBezTo>
                      <a:pt x="359487" y="83557"/>
                      <a:pt x="364597" y="99438"/>
                      <a:pt x="374818" y="101667"/>
                    </a:cubicBezTo>
                    <a:cubicBezTo>
                      <a:pt x="385085" y="103942"/>
                      <a:pt x="395305" y="108492"/>
                      <a:pt x="398372" y="102781"/>
                    </a:cubicBezTo>
                    <a:cubicBezTo>
                      <a:pt x="401438" y="97116"/>
                      <a:pt x="408639" y="106171"/>
                      <a:pt x="414771" y="103895"/>
                    </a:cubicBezTo>
                    <a:cubicBezTo>
                      <a:pt x="420904" y="101620"/>
                      <a:pt x="420904" y="116386"/>
                      <a:pt x="427083" y="107285"/>
                    </a:cubicBezTo>
                    <a:cubicBezTo>
                      <a:pt x="433215" y="98230"/>
                      <a:pt x="426060" y="92519"/>
                      <a:pt x="436281" y="93680"/>
                    </a:cubicBezTo>
                    <a:cubicBezTo>
                      <a:pt x="446549" y="94794"/>
                      <a:pt x="440370" y="81189"/>
                      <a:pt x="440370" y="73248"/>
                    </a:cubicBezTo>
                    <a:cubicBezTo>
                      <a:pt x="440370" y="65308"/>
                      <a:pt x="453656" y="64147"/>
                      <a:pt x="453656" y="57368"/>
                    </a:cubicBezTo>
                    <a:cubicBezTo>
                      <a:pt x="453656" y="50588"/>
                      <a:pt x="472100" y="56207"/>
                      <a:pt x="475166" y="51703"/>
                    </a:cubicBezTo>
                    <a:cubicBezTo>
                      <a:pt x="478233" y="47152"/>
                      <a:pt x="488500" y="43762"/>
                      <a:pt x="492588" y="51703"/>
                    </a:cubicBezTo>
                    <a:cubicBezTo>
                      <a:pt x="496676" y="59643"/>
                      <a:pt x="514098" y="61918"/>
                      <a:pt x="515120" y="68744"/>
                    </a:cubicBezTo>
                    <a:cubicBezTo>
                      <a:pt x="515631" y="72041"/>
                      <a:pt x="515120" y="77242"/>
                      <a:pt x="515120" y="82071"/>
                    </a:cubicBezTo>
                    <a:cubicBezTo>
                      <a:pt x="517954" y="78960"/>
                      <a:pt x="521578" y="76638"/>
                      <a:pt x="525016" y="76638"/>
                    </a:cubicBezTo>
                    <a:cubicBezTo>
                      <a:pt x="531381" y="76638"/>
                      <a:pt x="537095" y="66051"/>
                      <a:pt x="542856" y="67444"/>
                    </a:cubicBezTo>
                    <a:cubicBezTo>
                      <a:pt x="547641" y="68605"/>
                      <a:pt x="552379" y="67723"/>
                      <a:pt x="553820" y="58900"/>
                    </a:cubicBezTo>
                    <a:cubicBezTo>
                      <a:pt x="548663" y="55325"/>
                      <a:pt x="538907" y="54860"/>
                      <a:pt x="537745" y="5969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52" name="Freeform 51">
                <a:extLst>
                  <a:ext uri="{FF2B5EF4-FFF2-40B4-BE49-F238E27FC236}">
                    <a16:creationId xmlns:a16="http://schemas.microsoft.com/office/drawing/2014/main" id="{1AA8BC09-633F-1E8D-78E9-83B6ADFC6EE7}"/>
                  </a:ext>
                </a:extLst>
              </p:cNvPr>
              <p:cNvSpPr/>
              <p:nvPr/>
            </p:nvSpPr>
            <p:spPr>
              <a:xfrm>
                <a:off x="10314984" y="3987169"/>
                <a:ext cx="169612" cy="294458"/>
              </a:xfrm>
              <a:custGeom>
                <a:avLst/>
                <a:gdLst>
                  <a:gd name="connsiteX0" fmla="*/ 16172 w 36313"/>
                  <a:gd name="connsiteY0" fmla="*/ 3023 h 63041"/>
                  <a:gd name="connsiteX1" fmla="*/ 563 w 36313"/>
                  <a:gd name="connsiteY1" fmla="*/ 7249 h 63041"/>
                  <a:gd name="connsiteX2" fmla="*/ 8507 w 36313"/>
                  <a:gd name="connsiteY2" fmla="*/ 37989 h 63041"/>
                  <a:gd name="connsiteX3" fmla="*/ 17427 w 36313"/>
                  <a:gd name="connsiteY3" fmla="*/ 60974 h 63041"/>
                  <a:gd name="connsiteX4" fmla="*/ 32433 w 36313"/>
                  <a:gd name="connsiteY4" fmla="*/ 50712 h 63041"/>
                  <a:gd name="connsiteX5" fmla="*/ 35964 w 36313"/>
                  <a:gd name="connsiteY5" fmla="*/ 11892 h 63041"/>
                  <a:gd name="connsiteX6" fmla="*/ 16172 w 36313"/>
                  <a:gd name="connsiteY6" fmla="*/ 3070 h 63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313" h="63041">
                    <a:moveTo>
                      <a:pt x="16172" y="3023"/>
                    </a:moveTo>
                    <a:cubicBezTo>
                      <a:pt x="9157" y="9756"/>
                      <a:pt x="3397" y="1862"/>
                      <a:pt x="563" y="7249"/>
                    </a:cubicBezTo>
                    <a:cubicBezTo>
                      <a:pt x="-2968" y="13982"/>
                      <a:pt x="11387" y="24197"/>
                      <a:pt x="8507" y="37989"/>
                    </a:cubicBezTo>
                    <a:cubicBezTo>
                      <a:pt x="5626" y="51780"/>
                      <a:pt x="10086" y="69053"/>
                      <a:pt x="17427" y="60974"/>
                    </a:cubicBezTo>
                    <a:cubicBezTo>
                      <a:pt x="24767" y="52848"/>
                      <a:pt x="28298" y="56748"/>
                      <a:pt x="32433" y="50712"/>
                    </a:cubicBezTo>
                    <a:cubicBezTo>
                      <a:pt x="36568" y="44722"/>
                      <a:pt x="33083" y="22479"/>
                      <a:pt x="35964" y="11892"/>
                    </a:cubicBezTo>
                    <a:cubicBezTo>
                      <a:pt x="38844" y="1305"/>
                      <a:pt x="23188" y="-3663"/>
                      <a:pt x="16172" y="307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53" name="Freeform 52">
                <a:extLst>
                  <a:ext uri="{FF2B5EF4-FFF2-40B4-BE49-F238E27FC236}">
                    <a16:creationId xmlns:a16="http://schemas.microsoft.com/office/drawing/2014/main" id="{3A907516-F6C5-5A70-7B53-69BFFE4F5833}"/>
                  </a:ext>
                </a:extLst>
              </p:cNvPr>
              <p:cNvSpPr/>
              <p:nvPr/>
            </p:nvSpPr>
            <p:spPr>
              <a:xfrm>
                <a:off x="10170142" y="3162357"/>
                <a:ext cx="1148951" cy="1231284"/>
              </a:xfrm>
              <a:custGeom>
                <a:avLst/>
                <a:gdLst>
                  <a:gd name="connsiteX0" fmla="*/ 203420 w 245983"/>
                  <a:gd name="connsiteY0" fmla="*/ 168326 h 263609"/>
                  <a:gd name="connsiteX1" fmla="*/ 187485 w 245983"/>
                  <a:gd name="connsiteY1" fmla="*/ 154163 h 263609"/>
                  <a:gd name="connsiteX2" fmla="*/ 153989 w 245983"/>
                  <a:gd name="connsiteY2" fmla="*/ 116040 h 263609"/>
                  <a:gd name="connsiteX3" fmla="*/ 123698 w 245983"/>
                  <a:gd name="connsiteY3" fmla="*/ 81771 h 263609"/>
                  <a:gd name="connsiteX4" fmla="*/ 124023 w 245983"/>
                  <a:gd name="connsiteY4" fmla="*/ 57765 h 263609"/>
                  <a:gd name="connsiteX5" fmla="*/ 133547 w 245983"/>
                  <a:gd name="connsiteY5" fmla="*/ 44159 h 263609"/>
                  <a:gd name="connsiteX6" fmla="*/ 134662 w 245983"/>
                  <a:gd name="connsiteY6" fmla="*/ 12491 h 263609"/>
                  <a:gd name="connsiteX7" fmla="*/ 123698 w 245983"/>
                  <a:gd name="connsiteY7" fmla="*/ 10076 h 263609"/>
                  <a:gd name="connsiteX8" fmla="*/ 119377 w 245983"/>
                  <a:gd name="connsiteY8" fmla="*/ 0 h 263609"/>
                  <a:gd name="connsiteX9" fmla="*/ 102142 w 245983"/>
                  <a:gd name="connsiteY9" fmla="*/ 2647 h 263609"/>
                  <a:gd name="connsiteX10" fmla="*/ 88762 w 245983"/>
                  <a:gd name="connsiteY10" fmla="*/ 7429 h 263609"/>
                  <a:gd name="connsiteX11" fmla="*/ 86067 w 245983"/>
                  <a:gd name="connsiteY11" fmla="*/ 5804 h 263609"/>
                  <a:gd name="connsiteX12" fmla="*/ 81886 w 245983"/>
                  <a:gd name="connsiteY12" fmla="*/ 10076 h 263609"/>
                  <a:gd name="connsiteX13" fmla="*/ 78681 w 245983"/>
                  <a:gd name="connsiteY13" fmla="*/ 15741 h 263609"/>
                  <a:gd name="connsiteX14" fmla="*/ 72316 w 245983"/>
                  <a:gd name="connsiteY14" fmla="*/ 18527 h 263609"/>
                  <a:gd name="connsiteX15" fmla="*/ 62095 w 245983"/>
                  <a:gd name="connsiteY15" fmla="*/ 21360 h 263609"/>
                  <a:gd name="connsiteX16" fmla="*/ 54429 w 245983"/>
                  <a:gd name="connsiteY16" fmla="*/ 26282 h 263609"/>
                  <a:gd name="connsiteX17" fmla="*/ 48669 w 245983"/>
                  <a:gd name="connsiteY17" fmla="*/ 34780 h 263609"/>
                  <a:gd name="connsiteX18" fmla="*/ 36543 w 245983"/>
                  <a:gd name="connsiteY18" fmla="*/ 18527 h 263609"/>
                  <a:gd name="connsiteX19" fmla="*/ 25718 w 245983"/>
                  <a:gd name="connsiteY19" fmla="*/ 35476 h 263609"/>
                  <a:gd name="connsiteX20" fmla="*/ 7321 w 245983"/>
                  <a:gd name="connsiteY20" fmla="*/ 36916 h 263609"/>
                  <a:gd name="connsiteX21" fmla="*/ 9783 w 245983"/>
                  <a:gd name="connsiteY21" fmla="*/ 48199 h 263609"/>
                  <a:gd name="connsiteX22" fmla="*/ 5463 w 245983"/>
                  <a:gd name="connsiteY22" fmla="*/ 57718 h 263609"/>
                  <a:gd name="connsiteX23" fmla="*/ 1142 w 245983"/>
                  <a:gd name="connsiteY23" fmla="*/ 63523 h 263609"/>
                  <a:gd name="connsiteX24" fmla="*/ 7368 w 245983"/>
                  <a:gd name="connsiteY24" fmla="*/ 75689 h 263609"/>
                  <a:gd name="connsiteX25" fmla="*/ 12153 w 245983"/>
                  <a:gd name="connsiteY25" fmla="*/ 87344 h 263609"/>
                  <a:gd name="connsiteX26" fmla="*/ 22188 w 245983"/>
                  <a:gd name="connsiteY26" fmla="*/ 91058 h 263609"/>
                  <a:gd name="connsiteX27" fmla="*/ 19772 w 245983"/>
                  <a:gd name="connsiteY27" fmla="*/ 99138 h 263609"/>
                  <a:gd name="connsiteX28" fmla="*/ 30178 w 245983"/>
                  <a:gd name="connsiteY28" fmla="*/ 95795 h 263609"/>
                  <a:gd name="connsiteX29" fmla="*/ 45138 w 245983"/>
                  <a:gd name="connsiteY29" fmla="*/ 81679 h 263609"/>
                  <a:gd name="connsiteX30" fmla="*/ 75428 w 245983"/>
                  <a:gd name="connsiteY30" fmla="*/ 95795 h 263609"/>
                  <a:gd name="connsiteX31" fmla="*/ 82118 w 245983"/>
                  <a:gd name="connsiteY31" fmla="*/ 109957 h 263609"/>
                  <a:gd name="connsiteX32" fmla="*/ 102513 w 245983"/>
                  <a:gd name="connsiteY32" fmla="*/ 138933 h 263609"/>
                  <a:gd name="connsiteX33" fmla="*/ 131828 w 245983"/>
                  <a:gd name="connsiteY33" fmla="*/ 166840 h 263609"/>
                  <a:gd name="connsiteX34" fmla="*/ 152548 w 245983"/>
                  <a:gd name="connsiteY34" fmla="*/ 176731 h 263609"/>
                  <a:gd name="connsiteX35" fmla="*/ 171364 w 245983"/>
                  <a:gd name="connsiteY35" fmla="*/ 190522 h 263609"/>
                  <a:gd name="connsiteX36" fmla="*/ 186649 w 245983"/>
                  <a:gd name="connsiteY36" fmla="*/ 204638 h 263609"/>
                  <a:gd name="connsiteX37" fmla="*/ 193664 w 245983"/>
                  <a:gd name="connsiteY37" fmla="*/ 218754 h 263609"/>
                  <a:gd name="connsiteX38" fmla="*/ 194639 w 245983"/>
                  <a:gd name="connsiteY38" fmla="*/ 244525 h 263609"/>
                  <a:gd name="connsiteX39" fmla="*/ 195615 w 245983"/>
                  <a:gd name="connsiteY39" fmla="*/ 263610 h 263609"/>
                  <a:gd name="connsiteX40" fmla="*/ 206440 w 245983"/>
                  <a:gd name="connsiteY40" fmla="*/ 243829 h 263609"/>
                  <a:gd name="connsiteX41" fmla="*/ 218844 w 245983"/>
                  <a:gd name="connsiteY41" fmla="*/ 229713 h 263609"/>
                  <a:gd name="connsiteX42" fmla="*/ 208995 w 245983"/>
                  <a:gd name="connsiteY42" fmla="*/ 210999 h 263609"/>
                  <a:gd name="connsiteX43" fmla="*/ 229715 w 245983"/>
                  <a:gd name="connsiteY43" fmla="*/ 200737 h 263609"/>
                  <a:gd name="connsiteX44" fmla="*/ 245975 w 245983"/>
                  <a:gd name="connsiteY44" fmla="*/ 201805 h 263609"/>
                  <a:gd name="connsiteX45" fmla="*/ 203234 w 245983"/>
                  <a:gd name="connsiteY45" fmla="*/ 168279 h 263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45983" h="263609">
                    <a:moveTo>
                      <a:pt x="203420" y="168326"/>
                    </a:moveTo>
                    <a:cubicBezTo>
                      <a:pt x="195150" y="162707"/>
                      <a:pt x="200539" y="153467"/>
                      <a:pt x="187485" y="154163"/>
                    </a:cubicBezTo>
                    <a:cubicBezTo>
                      <a:pt x="174430" y="154860"/>
                      <a:pt x="158774" y="136890"/>
                      <a:pt x="153989" y="116040"/>
                    </a:cubicBezTo>
                    <a:cubicBezTo>
                      <a:pt x="149204" y="95238"/>
                      <a:pt x="128808" y="94170"/>
                      <a:pt x="123698" y="81771"/>
                    </a:cubicBezTo>
                    <a:cubicBezTo>
                      <a:pt x="118588" y="69420"/>
                      <a:pt x="128483" y="67980"/>
                      <a:pt x="124023" y="57765"/>
                    </a:cubicBezTo>
                    <a:cubicBezTo>
                      <a:pt x="121515" y="52053"/>
                      <a:pt x="127043" y="47038"/>
                      <a:pt x="133547" y="44159"/>
                    </a:cubicBezTo>
                    <a:cubicBezTo>
                      <a:pt x="133036" y="32829"/>
                      <a:pt x="133872" y="20478"/>
                      <a:pt x="134662" y="12491"/>
                    </a:cubicBezTo>
                    <a:cubicBezTo>
                      <a:pt x="129598" y="11887"/>
                      <a:pt x="125231" y="11098"/>
                      <a:pt x="123698" y="10076"/>
                    </a:cubicBezTo>
                    <a:cubicBezTo>
                      <a:pt x="121282" y="8497"/>
                      <a:pt x="120818" y="0"/>
                      <a:pt x="119377" y="0"/>
                    </a:cubicBezTo>
                    <a:cubicBezTo>
                      <a:pt x="117937" y="0"/>
                      <a:pt x="104557" y="0"/>
                      <a:pt x="102142" y="2647"/>
                    </a:cubicBezTo>
                    <a:cubicBezTo>
                      <a:pt x="99772" y="5293"/>
                      <a:pt x="92571" y="10076"/>
                      <a:pt x="88762" y="7429"/>
                    </a:cubicBezTo>
                    <a:cubicBezTo>
                      <a:pt x="87926" y="6872"/>
                      <a:pt x="87043" y="6315"/>
                      <a:pt x="86067" y="5804"/>
                    </a:cubicBezTo>
                    <a:lnTo>
                      <a:pt x="81886" y="10076"/>
                    </a:lnTo>
                    <a:cubicBezTo>
                      <a:pt x="81886" y="10076"/>
                      <a:pt x="81236" y="15741"/>
                      <a:pt x="78681" y="15741"/>
                    </a:cubicBezTo>
                    <a:cubicBezTo>
                      <a:pt x="76125" y="15741"/>
                      <a:pt x="72316" y="13605"/>
                      <a:pt x="72316" y="18527"/>
                    </a:cubicBezTo>
                    <a:cubicBezTo>
                      <a:pt x="72316" y="23449"/>
                      <a:pt x="65301" y="22056"/>
                      <a:pt x="62095" y="21360"/>
                    </a:cubicBezTo>
                    <a:cubicBezTo>
                      <a:pt x="58936" y="20663"/>
                      <a:pt x="54429" y="22056"/>
                      <a:pt x="54429" y="26282"/>
                    </a:cubicBezTo>
                    <a:cubicBezTo>
                      <a:pt x="54429" y="30508"/>
                      <a:pt x="53779" y="39702"/>
                      <a:pt x="48669" y="34780"/>
                    </a:cubicBezTo>
                    <a:cubicBezTo>
                      <a:pt x="43558" y="29811"/>
                      <a:pt x="38448" y="17088"/>
                      <a:pt x="36543" y="18527"/>
                    </a:cubicBezTo>
                    <a:cubicBezTo>
                      <a:pt x="34638" y="19967"/>
                      <a:pt x="30178" y="35476"/>
                      <a:pt x="25718" y="35476"/>
                    </a:cubicBezTo>
                    <a:cubicBezTo>
                      <a:pt x="22931" y="35476"/>
                      <a:pt x="13872" y="36312"/>
                      <a:pt x="7321" y="36916"/>
                    </a:cubicBezTo>
                    <a:cubicBezTo>
                      <a:pt x="5602" y="42998"/>
                      <a:pt x="7461" y="46620"/>
                      <a:pt x="9783" y="48199"/>
                    </a:cubicBezTo>
                    <a:cubicBezTo>
                      <a:pt x="12199" y="49778"/>
                      <a:pt x="8343" y="56140"/>
                      <a:pt x="5463" y="57718"/>
                    </a:cubicBezTo>
                    <a:cubicBezTo>
                      <a:pt x="2583" y="59297"/>
                      <a:pt x="-2203" y="57718"/>
                      <a:pt x="1142" y="63523"/>
                    </a:cubicBezTo>
                    <a:cubicBezTo>
                      <a:pt x="4487" y="69327"/>
                      <a:pt x="10713" y="69884"/>
                      <a:pt x="7368" y="75689"/>
                    </a:cubicBezTo>
                    <a:cubicBezTo>
                      <a:pt x="4023" y="81493"/>
                      <a:pt x="7368" y="86833"/>
                      <a:pt x="12153" y="87344"/>
                    </a:cubicBezTo>
                    <a:cubicBezTo>
                      <a:pt x="16938" y="87854"/>
                      <a:pt x="23628" y="86833"/>
                      <a:pt x="22188" y="91058"/>
                    </a:cubicBezTo>
                    <a:cubicBezTo>
                      <a:pt x="21351" y="93519"/>
                      <a:pt x="20050" y="96352"/>
                      <a:pt x="19772" y="99138"/>
                    </a:cubicBezTo>
                    <a:cubicBezTo>
                      <a:pt x="23535" y="97931"/>
                      <a:pt x="26880" y="97745"/>
                      <a:pt x="30178" y="95795"/>
                    </a:cubicBezTo>
                    <a:cubicBezTo>
                      <a:pt x="36868" y="91941"/>
                      <a:pt x="33988" y="85208"/>
                      <a:pt x="45138" y="81679"/>
                    </a:cubicBezTo>
                    <a:cubicBezTo>
                      <a:pt x="56288" y="78150"/>
                      <a:pt x="70968" y="88365"/>
                      <a:pt x="75428" y="95795"/>
                    </a:cubicBezTo>
                    <a:cubicBezTo>
                      <a:pt x="79888" y="103224"/>
                      <a:pt x="81189" y="103921"/>
                      <a:pt x="82118" y="109957"/>
                    </a:cubicBezTo>
                    <a:cubicBezTo>
                      <a:pt x="83094" y="115948"/>
                      <a:pt x="87229" y="127974"/>
                      <a:pt x="102513" y="138933"/>
                    </a:cubicBezTo>
                    <a:cubicBezTo>
                      <a:pt x="117798" y="149891"/>
                      <a:pt x="123884" y="162243"/>
                      <a:pt x="131828" y="166840"/>
                    </a:cubicBezTo>
                    <a:cubicBezTo>
                      <a:pt x="139819" y="171437"/>
                      <a:pt x="147763" y="170369"/>
                      <a:pt x="152548" y="176731"/>
                    </a:cubicBezTo>
                    <a:cubicBezTo>
                      <a:pt x="157334" y="183092"/>
                      <a:pt x="163698" y="186621"/>
                      <a:pt x="171364" y="190522"/>
                    </a:cubicBezTo>
                    <a:cubicBezTo>
                      <a:pt x="179029" y="194422"/>
                      <a:pt x="179308" y="203570"/>
                      <a:pt x="186649" y="204638"/>
                    </a:cubicBezTo>
                    <a:cubicBezTo>
                      <a:pt x="193989" y="205706"/>
                      <a:pt x="189204" y="212764"/>
                      <a:pt x="193664" y="218754"/>
                    </a:cubicBezTo>
                    <a:cubicBezTo>
                      <a:pt x="198123" y="224744"/>
                      <a:pt x="199424" y="237467"/>
                      <a:pt x="194639" y="244525"/>
                    </a:cubicBezTo>
                    <a:cubicBezTo>
                      <a:pt x="189854" y="251583"/>
                      <a:pt x="192409" y="263610"/>
                      <a:pt x="195615" y="263610"/>
                    </a:cubicBezTo>
                    <a:cubicBezTo>
                      <a:pt x="198820" y="263610"/>
                      <a:pt x="205510" y="250887"/>
                      <a:pt x="206440" y="243829"/>
                    </a:cubicBezTo>
                    <a:cubicBezTo>
                      <a:pt x="207369" y="236771"/>
                      <a:pt x="213780" y="237142"/>
                      <a:pt x="218844" y="229713"/>
                    </a:cubicBezTo>
                    <a:cubicBezTo>
                      <a:pt x="223954" y="222283"/>
                      <a:pt x="211178" y="220519"/>
                      <a:pt x="208995" y="210999"/>
                    </a:cubicBezTo>
                    <a:cubicBezTo>
                      <a:pt x="206765" y="201480"/>
                      <a:pt x="218565" y="192983"/>
                      <a:pt x="229715" y="200737"/>
                    </a:cubicBezTo>
                    <a:cubicBezTo>
                      <a:pt x="240865" y="208492"/>
                      <a:pt x="245325" y="213832"/>
                      <a:pt x="245975" y="201805"/>
                    </a:cubicBezTo>
                    <a:cubicBezTo>
                      <a:pt x="246626" y="189825"/>
                      <a:pt x="211550" y="173898"/>
                      <a:pt x="203234" y="168279"/>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54" name="Freeform 53">
                <a:extLst>
                  <a:ext uri="{FF2B5EF4-FFF2-40B4-BE49-F238E27FC236}">
                    <a16:creationId xmlns:a16="http://schemas.microsoft.com/office/drawing/2014/main" id="{45977CED-1571-5301-6E5D-E54241E82274}"/>
                  </a:ext>
                </a:extLst>
              </p:cNvPr>
              <p:cNvSpPr/>
              <p:nvPr/>
            </p:nvSpPr>
            <p:spPr>
              <a:xfrm>
                <a:off x="10759631" y="4369059"/>
                <a:ext cx="288236" cy="193151"/>
              </a:xfrm>
              <a:custGeom>
                <a:avLst/>
                <a:gdLst>
                  <a:gd name="connsiteX0" fmla="*/ 44367 w 61710"/>
                  <a:gd name="connsiteY0" fmla="*/ 1455 h 41353"/>
                  <a:gd name="connsiteX1" fmla="*/ 18211 w 61710"/>
                  <a:gd name="connsiteY1" fmla="*/ 1455 h 41353"/>
                  <a:gd name="connsiteX2" fmla="*/ 0 w 61710"/>
                  <a:gd name="connsiteY2" fmla="*/ 8699 h 41353"/>
                  <a:gd name="connsiteX3" fmla="*/ 1115 w 61710"/>
                  <a:gd name="connsiteY3" fmla="*/ 9303 h 41353"/>
                  <a:gd name="connsiteX4" fmla="*/ 10825 w 61710"/>
                  <a:gd name="connsiteY4" fmla="*/ 20215 h 41353"/>
                  <a:gd name="connsiteX5" fmla="*/ 22346 w 61710"/>
                  <a:gd name="connsiteY5" fmla="*/ 24394 h 41353"/>
                  <a:gd name="connsiteX6" fmla="*/ 46922 w 61710"/>
                  <a:gd name="connsiteY6" fmla="*/ 41343 h 41353"/>
                  <a:gd name="connsiteX7" fmla="*/ 52683 w 61710"/>
                  <a:gd name="connsiteY7" fmla="*/ 25090 h 41353"/>
                  <a:gd name="connsiteX8" fmla="*/ 61603 w 61710"/>
                  <a:gd name="connsiteY8" fmla="*/ 2848 h 41353"/>
                  <a:gd name="connsiteX9" fmla="*/ 44367 w 61710"/>
                  <a:gd name="connsiteY9" fmla="*/ 1455 h 4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710" h="41353">
                    <a:moveTo>
                      <a:pt x="44367" y="1455"/>
                    </a:moveTo>
                    <a:cubicBezTo>
                      <a:pt x="31266" y="4613"/>
                      <a:pt x="25877" y="5681"/>
                      <a:pt x="18211" y="1455"/>
                    </a:cubicBezTo>
                    <a:cubicBezTo>
                      <a:pt x="11521" y="-2213"/>
                      <a:pt x="1301" y="3405"/>
                      <a:pt x="0" y="8699"/>
                    </a:cubicBezTo>
                    <a:cubicBezTo>
                      <a:pt x="372" y="8931"/>
                      <a:pt x="743" y="9117"/>
                      <a:pt x="1115" y="9303"/>
                    </a:cubicBezTo>
                    <a:cubicBezTo>
                      <a:pt x="6039" y="12228"/>
                      <a:pt x="9152" y="16036"/>
                      <a:pt x="10825" y="20215"/>
                    </a:cubicBezTo>
                    <a:cubicBezTo>
                      <a:pt x="13844" y="21608"/>
                      <a:pt x="17561" y="23047"/>
                      <a:pt x="22346" y="24394"/>
                    </a:cubicBezTo>
                    <a:cubicBezTo>
                      <a:pt x="38281" y="28991"/>
                      <a:pt x="40232" y="40971"/>
                      <a:pt x="46922" y="41343"/>
                    </a:cubicBezTo>
                    <a:cubicBezTo>
                      <a:pt x="53612" y="41668"/>
                      <a:pt x="54263" y="34610"/>
                      <a:pt x="52683" y="25090"/>
                    </a:cubicBezTo>
                    <a:cubicBezTo>
                      <a:pt x="51104" y="15571"/>
                      <a:pt x="60627" y="4613"/>
                      <a:pt x="61603" y="2848"/>
                    </a:cubicBezTo>
                    <a:cubicBezTo>
                      <a:pt x="62532" y="1084"/>
                      <a:pt x="57468" y="-1749"/>
                      <a:pt x="44367" y="1455"/>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55" name="Freeform 54">
                <a:extLst>
                  <a:ext uri="{FF2B5EF4-FFF2-40B4-BE49-F238E27FC236}">
                    <a16:creationId xmlns:a16="http://schemas.microsoft.com/office/drawing/2014/main" id="{1E4812EF-8CBC-B766-D21C-DB6230BA9852}"/>
                  </a:ext>
                </a:extLst>
              </p:cNvPr>
              <p:cNvSpPr/>
              <p:nvPr/>
            </p:nvSpPr>
            <p:spPr>
              <a:xfrm>
                <a:off x="11054902" y="3413268"/>
                <a:ext cx="358208" cy="377149"/>
              </a:xfrm>
              <a:custGeom>
                <a:avLst/>
                <a:gdLst>
                  <a:gd name="connsiteX0" fmla="*/ 57199 w 76690"/>
                  <a:gd name="connsiteY0" fmla="*/ 73408 h 80745"/>
                  <a:gd name="connsiteX1" fmla="*/ 73506 w 76690"/>
                  <a:gd name="connsiteY1" fmla="*/ 46801 h 80745"/>
                  <a:gd name="connsiteX2" fmla="*/ 76200 w 76690"/>
                  <a:gd name="connsiteY2" fmla="*/ 14901 h 80745"/>
                  <a:gd name="connsiteX3" fmla="*/ 56734 w 76690"/>
                  <a:gd name="connsiteY3" fmla="*/ 3988 h 80745"/>
                  <a:gd name="connsiteX4" fmla="*/ 23424 w 76690"/>
                  <a:gd name="connsiteY4" fmla="*/ 320 h 80745"/>
                  <a:gd name="connsiteX5" fmla="*/ 9626 w 76690"/>
                  <a:gd name="connsiteY5" fmla="*/ 3478 h 80745"/>
                  <a:gd name="connsiteX6" fmla="*/ 102 w 76690"/>
                  <a:gd name="connsiteY6" fmla="*/ 9793 h 80745"/>
                  <a:gd name="connsiteX7" fmla="*/ 10091 w 76690"/>
                  <a:gd name="connsiteY7" fmla="*/ 26138 h 80745"/>
                  <a:gd name="connsiteX8" fmla="*/ 27698 w 76690"/>
                  <a:gd name="connsiteY8" fmla="*/ 49866 h 80745"/>
                  <a:gd name="connsiteX9" fmla="*/ 45213 w 76690"/>
                  <a:gd name="connsiteY9" fmla="*/ 71690 h 80745"/>
                  <a:gd name="connsiteX10" fmla="*/ 56270 w 76690"/>
                  <a:gd name="connsiteY10" fmla="*/ 80745 h 80745"/>
                  <a:gd name="connsiteX11" fmla="*/ 57153 w 76690"/>
                  <a:gd name="connsiteY11" fmla="*/ 73362 h 80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690" h="80745">
                    <a:moveTo>
                      <a:pt x="57199" y="73408"/>
                    </a:moveTo>
                    <a:cubicBezTo>
                      <a:pt x="56363" y="68672"/>
                      <a:pt x="70068" y="46801"/>
                      <a:pt x="73506" y="46801"/>
                    </a:cubicBezTo>
                    <a:cubicBezTo>
                      <a:pt x="76339" y="46801"/>
                      <a:pt x="77408" y="25813"/>
                      <a:pt x="76200" y="14901"/>
                    </a:cubicBezTo>
                    <a:cubicBezTo>
                      <a:pt x="65561" y="6775"/>
                      <a:pt x="56734" y="3988"/>
                      <a:pt x="56734" y="3988"/>
                    </a:cubicBezTo>
                    <a:cubicBezTo>
                      <a:pt x="56734" y="3988"/>
                      <a:pt x="28163" y="2410"/>
                      <a:pt x="23424" y="320"/>
                    </a:cubicBezTo>
                    <a:cubicBezTo>
                      <a:pt x="18685" y="-1769"/>
                      <a:pt x="13900" y="7193"/>
                      <a:pt x="9626" y="3478"/>
                    </a:cubicBezTo>
                    <a:cubicBezTo>
                      <a:pt x="5352" y="-191"/>
                      <a:pt x="-874" y="4499"/>
                      <a:pt x="102" y="9793"/>
                    </a:cubicBezTo>
                    <a:cubicBezTo>
                      <a:pt x="1031" y="15040"/>
                      <a:pt x="10091" y="18244"/>
                      <a:pt x="10091" y="26138"/>
                    </a:cubicBezTo>
                    <a:cubicBezTo>
                      <a:pt x="10091" y="34032"/>
                      <a:pt x="28209" y="45640"/>
                      <a:pt x="27698" y="49866"/>
                    </a:cubicBezTo>
                    <a:cubicBezTo>
                      <a:pt x="27373" y="52838"/>
                      <a:pt x="38569" y="60871"/>
                      <a:pt x="45213" y="71690"/>
                    </a:cubicBezTo>
                    <a:cubicBezTo>
                      <a:pt x="48744" y="74151"/>
                      <a:pt x="52553" y="77402"/>
                      <a:pt x="56270" y="80745"/>
                    </a:cubicBezTo>
                    <a:cubicBezTo>
                      <a:pt x="57013" y="77262"/>
                      <a:pt x="57385" y="74569"/>
                      <a:pt x="57153" y="73362"/>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56" name="Freeform 55">
                <a:extLst>
                  <a:ext uri="{FF2B5EF4-FFF2-40B4-BE49-F238E27FC236}">
                    <a16:creationId xmlns:a16="http://schemas.microsoft.com/office/drawing/2014/main" id="{468A2105-1ADD-7F4E-48E4-829611B49803}"/>
                  </a:ext>
                </a:extLst>
              </p:cNvPr>
              <p:cNvSpPr/>
              <p:nvPr/>
            </p:nvSpPr>
            <p:spPr>
              <a:xfrm>
                <a:off x="10872229" y="3228241"/>
                <a:ext cx="538587" cy="520535"/>
              </a:xfrm>
              <a:custGeom>
                <a:avLst/>
                <a:gdLst>
                  <a:gd name="connsiteX0" fmla="*/ 66806 w 115308"/>
                  <a:gd name="connsiteY0" fmla="*/ 89526 h 111443"/>
                  <a:gd name="connsiteX1" fmla="*/ 49199 w 115308"/>
                  <a:gd name="connsiteY1" fmla="*/ 65798 h 111443"/>
                  <a:gd name="connsiteX2" fmla="*/ 39210 w 115308"/>
                  <a:gd name="connsiteY2" fmla="*/ 49453 h 111443"/>
                  <a:gd name="connsiteX3" fmla="*/ 48734 w 115308"/>
                  <a:gd name="connsiteY3" fmla="*/ 43138 h 111443"/>
                  <a:gd name="connsiteX4" fmla="*/ 62532 w 115308"/>
                  <a:gd name="connsiteY4" fmla="*/ 39980 h 111443"/>
                  <a:gd name="connsiteX5" fmla="*/ 95843 w 115308"/>
                  <a:gd name="connsiteY5" fmla="*/ 43649 h 111443"/>
                  <a:gd name="connsiteX6" fmla="*/ 115308 w 115308"/>
                  <a:gd name="connsiteY6" fmla="*/ 54561 h 111443"/>
                  <a:gd name="connsiteX7" fmla="*/ 114286 w 115308"/>
                  <a:gd name="connsiteY7" fmla="*/ 49453 h 111443"/>
                  <a:gd name="connsiteX8" fmla="*/ 107457 w 115308"/>
                  <a:gd name="connsiteY8" fmla="*/ 32365 h 111443"/>
                  <a:gd name="connsiteX9" fmla="*/ 101836 w 115308"/>
                  <a:gd name="connsiteY9" fmla="*/ 17924 h 111443"/>
                  <a:gd name="connsiteX10" fmla="*/ 94402 w 115308"/>
                  <a:gd name="connsiteY10" fmla="*/ 20338 h 111443"/>
                  <a:gd name="connsiteX11" fmla="*/ 72335 w 115308"/>
                  <a:gd name="connsiteY11" fmla="*/ 14813 h 111443"/>
                  <a:gd name="connsiteX12" fmla="*/ 54402 w 115308"/>
                  <a:gd name="connsiteY12" fmla="*/ 0 h 111443"/>
                  <a:gd name="connsiteX13" fmla="*/ 41487 w 115308"/>
                  <a:gd name="connsiteY13" fmla="*/ 9566 h 111443"/>
                  <a:gd name="connsiteX14" fmla="*/ 36237 w 115308"/>
                  <a:gd name="connsiteY14" fmla="*/ 21221 h 111443"/>
                  <a:gd name="connsiteX15" fmla="*/ 28572 w 115308"/>
                  <a:gd name="connsiteY15" fmla="*/ 31808 h 111443"/>
                  <a:gd name="connsiteX16" fmla="*/ 15192 w 115308"/>
                  <a:gd name="connsiteY16" fmla="*/ 31297 h 111443"/>
                  <a:gd name="connsiteX17" fmla="*/ 0 w 115308"/>
                  <a:gd name="connsiteY17" fmla="*/ 34547 h 111443"/>
                  <a:gd name="connsiteX18" fmla="*/ 3903 w 115308"/>
                  <a:gd name="connsiteY18" fmla="*/ 44717 h 111443"/>
                  <a:gd name="connsiteX19" fmla="*/ 20488 w 115308"/>
                  <a:gd name="connsiteY19" fmla="*/ 52471 h 111443"/>
                  <a:gd name="connsiteX20" fmla="*/ 39582 w 115308"/>
                  <a:gd name="connsiteY20" fmla="*/ 86044 h 111443"/>
                  <a:gd name="connsiteX21" fmla="*/ 56818 w 115308"/>
                  <a:gd name="connsiteY21" fmla="*/ 96306 h 111443"/>
                  <a:gd name="connsiteX22" fmla="*/ 75308 w 115308"/>
                  <a:gd name="connsiteY22" fmla="*/ 107264 h 111443"/>
                  <a:gd name="connsiteX23" fmla="*/ 84368 w 115308"/>
                  <a:gd name="connsiteY23" fmla="*/ 111443 h 111443"/>
                  <a:gd name="connsiteX24" fmla="*/ 66853 w 115308"/>
                  <a:gd name="connsiteY24" fmla="*/ 89619 h 111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5308" h="111443">
                    <a:moveTo>
                      <a:pt x="66806" y="89526"/>
                    </a:moveTo>
                    <a:cubicBezTo>
                      <a:pt x="67271" y="85301"/>
                      <a:pt x="49199" y="73692"/>
                      <a:pt x="49199" y="65798"/>
                    </a:cubicBezTo>
                    <a:cubicBezTo>
                      <a:pt x="49199" y="57904"/>
                      <a:pt x="40140" y="54700"/>
                      <a:pt x="39210" y="49453"/>
                    </a:cubicBezTo>
                    <a:cubicBezTo>
                      <a:pt x="38235" y="44159"/>
                      <a:pt x="44460" y="39423"/>
                      <a:pt x="48734" y="43138"/>
                    </a:cubicBezTo>
                    <a:cubicBezTo>
                      <a:pt x="53009" y="46806"/>
                      <a:pt x="57794" y="37844"/>
                      <a:pt x="62532" y="39980"/>
                    </a:cubicBezTo>
                    <a:cubicBezTo>
                      <a:pt x="67317" y="42116"/>
                      <a:pt x="95843" y="43649"/>
                      <a:pt x="95843" y="43649"/>
                    </a:cubicBezTo>
                    <a:cubicBezTo>
                      <a:pt x="95843" y="43649"/>
                      <a:pt x="104670" y="46435"/>
                      <a:pt x="115308" y="54561"/>
                    </a:cubicBezTo>
                    <a:cubicBezTo>
                      <a:pt x="115076" y="52378"/>
                      <a:pt x="114751" y="50521"/>
                      <a:pt x="114286" y="49453"/>
                    </a:cubicBezTo>
                    <a:cubicBezTo>
                      <a:pt x="111731" y="42813"/>
                      <a:pt x="114286" y="35197"/>
                      <a:pt x="107457" y="32365"/>
                    </a:cubicBezTo>
                    <a:cubicBezTo>
                      <a:pt x="103926" y="30879"/>
                      <a:pt x="102440" y="24146"/>
                      <a:pt x="101836" y="17924"/>
                    </a:cubicBezTo>
                    <a:cubicBezTo>
                      <a:pt x="98630" y="18992"/>
                      <a:pt x="95889" y="19921"/>
                      <a:pt x="94402" y="20338"/>
                    </a:cubicBezTo>
                    <a:cubicBezTo>
                      <a:pt x="88688" y="21917"/>
                      <a:pt x="76609" y="21128"/>
                      <a:pt x="72335" y="14813"/>
                    </a:cubicBezTo>
                    <a:cubicBezTo>
                      <a:pt x="69129" y="10123"/>
                      <a:pt x="59234" y="3204"/>
                      <a:pt x="54402" y="0"/>
                    </a:cubicBezTo>
                    <a:cubicBezTo>
                      <a:pt x="52405" y="1904"/>
                      <a:pt x="44832" y="9148"/>
                      <a:pt x="41487" y="9566"/>
                    </a:cubicBezTo>
                    <a:cubicBezTo>
                      <a:pt x="37631" y="10076"/>
                      <a:pt x="40047" y="21221"/>
                      <a:pt x="36237" y="21221"/>
                    </a:cubicBezTo>
                    <a:cubicBezTo>
                      <a:pt x="32427" y="21221"/>
                      <a:pt x="29547" y="28650"/>
                      <a:pt x="28572" y="31808"/>
                    </a:cubicBezTo>
                    <a:cubicBezTo>
                      <a:pt x="27596" y="34965"/>
                      <a:pt x="19001" y="29672"/>
                      <a:pt x="15192" y="31297"/>
                    </a:cubicBezTo>
                    <a:cubicBezTo>
                      <a:pt x="12451" y="32458"/>
                      <a:pt x="4414" y="33851"/>
                      <a:pt x="0" y="34547"/>
                    </a:cubicBezTo>
                    <a:cubicBezTo>
                      <a:pt x="650" y="39377"/>
                      <a:pt x="418" y="44717"/>
                      <a:pt x="3903" y="44717"/>
                    </a:cubicBezTo>
                    <a:cubicBezTo>
                      <a:pt x="9663" y="44717"/>
                      <a:pt x="20163" y="44020"/>
                      <a:pt x="20488" y="52471"/>
                    </a:cubicBezTo>
                    <a:cubicBezTo>
                      <a:pt x="20813" y="60922"/>
                      <a:pt x="34518" y="79682"/>
                      <a:pt x="39582" y="86044"/>
                    </a:cubicBezTo>
                    <a:cubicBezTo>
                      <a:pt x="44692" y="92405"/>
                      <a:pt x="56168" y="91012"/>
                      <a:pt x="56818" y="96306"/>
                    </a:cubicBezTo>
                    <a:cubicBezTo>
                      <a:pt x="57468" y="101599"/>
                      <a:pt x="65738" y="106521"/>
                      <a:pt x="75308" y="107264"/>
                    </a:cubicBezTo>
                    <a:cubicBezTo>
                      <a:pt x="77910" y="107450"/>
                      <a:pt x="81023" y="109122"/>
                      <a:pt x="84368" y="111443"/>
                    </a:cubicBezTo>
                    <a:cubicBezTo>
                      <a:pt x="77678" y="100624"/>
                      <a:pt x="66528" y="92544"/>
                      <a:pt x="66853" y="89619"/>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57" name="Freeform 56">
                <a:extLst>
                  <a:ext uri="{FF2B5EF4-FFF2-40B4-BE49-F238E27FC236}">
                    <a16:creationId xmlns:a16="http://schemas.microsoft.com/office/drawing/2014/main" id="{EC8AD569-73C0-827C-9216-AFA337A1121A}"/>
                  </a:ext>
                </a:extLst>
              </p:cNvPr>
              <p:cNvSpPr/>
              <p:nvPr/>
            </p:nvSpPr>
            <p:spPr>
              <a:xfrm>
                <a:off x="11394324" y="3772631"/>
                <a:ext cx="183146" cy="408836"/>
              </a:xfrm>
              <a:custGeom>
                <a:avLst/>
                <a:gdLst>
                  <a:gd name="connsiteX0" fmla="*/ 25831 w 39210"/>
                  <a:gd name="connsiteY0" fmla="*/ 74667 h 87529"/>
                  <a:gd name="connsiteX1" fmla="*/ 31080 w 39210"/>
                  <a:gd name="connsiteY1" fmla="*/ 65659 h 87529"/>
                  <a:gd name="connsiteX2" fmla="*/ 38746 w 39210"/>
                  <a:gd name="connsiteY2" fmla="*/ 51914 h 87529"/>
                  <a:gd name="connsiteX3" fmla="*/ 39210 w 39210"/>
                  <a:gd name="connsiteY3" fmla="*/ 51264 h 87529"/>
                  <a:gd name="connsiteX4" fmla="*/ 26713 w 39210"/>
                  <a:gd name="connsiteY4" fmla="*/ 36451 h 87529"/>
                  <a:gd name="connsiteX5" fmla="*/ 29036 w 39210"/>
                  <a:gd name="connsiteY5" fmla="*/ 11655 h 87529"/>
                  <a:gd name="connsiteX6" fmla="*/ 10360 w 39210"/>
                  <a:gd name="connsiteY6" fmla="*/ 0 h 87529"/>
                  <a:gd name="connsiteX7" fmla="*/ 0 w 39210"/>
                  <a:gd name="connsiteY7" fmla="*/ 17088 h 87529"/>
                  <a:gd name="connsiteX8" fmla="*/ 5854 w 39210"/>
                  <a:gd name="connsiteY8" fmla="*/ 31947 h 87529"/>
                  <a:gd name="connsiteX9" fmla="*/ 5203 w 39210"/>
                  <a:gd name="connsiteY9" fmla="*/ 67237 h 87529"/>
                  <a:gd name="connsiteX10" fmla="*/ 19559 w 39210"/>
                  <a:gd name="connsiteY10" fmla="*/ 87529 h 87529"/>
                  <a:gd name="connsiteX11" fmla="*/ 25738 w 39210"/>
                  <a:gd name="connsiteY11" fmla="*/ 74621 h 8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210" h="87529">
                    <a:moveTo>
                      <a:pt x="25831" y="74667"/>
                    </a:moveTo>
                    <a:cubicBezTo>
                      <a:pt x="30616" y="73645"/>
                      <a:pt x="27735" y="69374"/>
                      <a:pt x="31080" y="65659"/>
                    </a:cubicBezTo>
                    <a:cubicBezTo>
                      <a:pt x="34425" y="61944"/>
                      <a:pt x="38235" y="54561"/>
                      <a:pt x="38746" y="51914"/>
                    </a:cubicBezTo>
                    <a:cubicBezTo>
                      <a:pt x="38792" y="51635"/>
                      <a:pt x="38978" y="51403"/>
                      <a:pt x="39210" y="51264"/>
                    </a:cubicBezTo>
                    <a:cubicBezTo>
                      <a:pt x="32706" y="45878"/>
                      <a:pt x="28153" y="41977"/>
                      <a:pt x="26713" y="36451"/>
                    </a:cubicBezTo>
                    <a:cubicBezTo>
                      <a:pt x="25273" y="30786"/>
                      <a:pt x="26760" y="19735"/>
                      <a:pt x="29036" y="11655"/>
                    </a:cubicBezTo>
                    <a:cubicBezTo>
                      <a:pt x="25320" y="8730"/>
                      <a:pt x="13937" y="0"/>
                      <a:pt x="10360" y="0"/>
                    </a:cubicBezTo>
                    <a:cubicBezTo>
                      <a:pt x="6783" y="0"/>
                      <a:pt x="1347" y="8730"/>
                      <a:pt x="0" y="17088"/>
                    </a:cubicBezTo>
                    <a:cubicBezTo>
                      <a:pt x="8362" y="22010"/>
                      <a:pt x="11661" y="25539"/>
                      <a:pt x="5854" y="31947"/>
                    </a:cubicBezTo>
                    <a:cubicBezTo>
                      <a:pt x="-186" y="38634"/>
                      <a:pt x="-1487" y="61247"/>
                      <a:pt x="5203" y="67237"/>
                    </a:cubicBezTo>
                    <a:cubicBezTo>
                      <a:pt x="11568" y="72949"/>
                      <a:pt x="13426" y="84325"/>
                      <a:pt x="19559" y="87529"/>
                    </a:cubicBezTo>
                    <a:cubicBezTo>
                      <a:pt x="21278" y="81818"/>
                      <a:pt x="22625" y="75363"/>
                      <a:pt x="25738" y="74621"/>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58" name="Freeform 57">
                <a:extLst>
                  <a:ext uri="{FF2B5EF4-FFF2-40B4-BE49-F238E27FC236}">
                    <a16:creationId xmlns:a16="http://schemas.microsoft.com/office/drawing/2014/main" id="{8BEEFCE8-4896-1EFF-18BB-23394527487E}"/>
                  </a:ext>
                </a:extLst>
              </p:cNvPr>
              <p:cNvSpPr/>
              <p:nvPr/>
            </p:nvSpPr>
            <p:spPr>
              <a:xfrm>
                <a:off x="10735274" y="2577783"/>
                <a:ext cx="621295" cy="358955"/>
              </a:xfrm>
              <a:custGeom>
                <a:avLst/>
                <a:gdLst>
                  <a:gd name="connsiteX0" fmla="*/ 125861 w 133015"/>
                  <a:gd name="connsiteY0" fmla="*/ 34872 h 76849"/>
                  <a:gd name="connsiteX1" fmla="*/ 111598 w 133015"/>
                  <a:gd name="connsiteY1" fmla="*/ 30925 h 76849"/>
                  <a:gd name="connsiteX2" fmla="*/ 105930 w 133015"/>
                  <a:gd name="connsiteY2" fmla="*/ 22242 h 76849"/>
                  <a:gd name="connsiteX3" fmla="*/ 93852 w 133015"/>
                  <a:gd name="connsiteY3" fmla="*/ 24610 h 76849"/>
                  <a:gd name="connsiteX4" fmla="*/ 82423 w 133015"/>
                  <a:gd name="connsiteY4" fmla="*/ 19085 h 76849"/>
                  <a:gd name="connsiteX5" fmla="*/ 68207 w 133015"/>
                  <a:gd name="connsiteY5" fmla="*/ 8033 h 76849"/>
                  <a:gd name="connsiteX6" fmla="*/ 55710 w 133015"/>
                  <a:gd name="connsiteY6" fmla="*/ 0 h 76849"/>
                  <a:gd name="connsiteX7" fmla="*/ 54595 w 133015"/>
                  <a:gd name="connsiteY7" fmla="*/ 2554 h 76849"/>
                  <a:gd name="connsiteX8" fmla="*/ 43120 w 133015"/>
                  <a:gd name="connsiteY8" fmla="*/ 3111 h 76849"/>
                  <a:gd name="connsiteX9" fmla="*/ 25419 w 133015"/>
                  <a:gd name="connsiteY9" fmla="*/ 12119 h 76849"/>
                  <a:gd name="connsiteX10" fmla="*/ 2933 w 133015"/>
                  <a:gd name="connsiteY10" fmla="*/ 21638 h 76849"/>
                  <a:gd name="connsiteX11" fmla="*/ 4374 w 133015"/>
                  <a:gd name="connsiteY11" fmla="*/ 34362 h 76849"/>
                  <a:gd name="connsiteX12" fmla="*/ 11528 w 133015"/>
                  <a:gd name="connsiteY12" fmla="*/ 54514 h 76849"/>
                  <a:gd name="connsiteX13" fmla="*/ 34014 w 133015"/>
                  <a:gd name="connsiteY13" fmla="*/ 73042 h 76849"/>
                  <a:gd name="connsiteX14" fmla="*/ 33735 w 133015"/>
                  <a:gd name="connsiteY14" fmla="*/ 74853 h 76849"/>
                  <a:gd name="connsiteX15" fmla="*/ 52504 w 133015"/>
                  <a:gd name="connsiteY15" fmla="*/ 73599 h 76849"/>
                  <a:gd name="connsiteX16" fmla="*/ 56081 w 133015"/>
                  <a:gd name="connsiteY16" fmla="*/ 62548 h 76849"/>
                  <a:gd name="connsiteX17" fmla="*/ 76012 w 133015"/>
                  <a:gd name="connsiteY17" fmla="*/ 69652 h 76849"/>
                  <a:gd name="connsiteX18" fmla="*/ 92411 w 133015"/>
                  <a:gd name="connsiteY18" fmla="*/ 72020 h 76849"/>
                  <a:gd name="connsiteX19" fmla="*/ 93945 w 133015"/>
                  <a:gd name="connsiteY19" fmla="*/ 76849 h 76849"/>
                  <a:gd name="connsiteX20" fmla="*/ 99937 w 133015"/>
                  <a:gd name="connsiteY20" fmla="*/ 69141 h 76849"/>
                  <a:gd name="connsiteX21" fmla="*/ 120518 w 133015"/>
                  <a:gd name="connsiteY21" fmla="*/ 57765 h 76849"/>
                  <a:gd name="connsiteX22" fmla="*/ 133015 w 133015"/>
                  <a:gd name="connsiteY22" fmla="*/ 46388 h 76849"/>
                  <a:gd name="connsiteX23" fmla="*/ 125861 w 133015"/>
                  <a:gd name="connsiteY23" fmla="*/ 35012 h 7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3015" h="76849">
                    <a:moveTo>
                      <a:pt x="125861" y="34872"/>
                    </a:moveTo>
                    <a:cubicBezTo>
                      <a:pt x="122284" y="32504"/>
                      <a:pt x="112295" y="34083"/>
                      <a:pt x="111598" y="30925"/>
                    </a:cubicBezTo>
                    <a:cubicBezTo>
                      <a:pt x="110901" y="27768"/>
                      <a:pt x="110205" y="22242"/>
                      <a:pt x="105930" y="22242"/>
                    </a:cubicBezTo>
                    <a:cubicBezTo>
                      <a:pt x="101656" y="22242"/>
                      <a:pt x="95942" y="19085"/>
                      <a:pt x="93852" y="24610"/>
                    </a:cubicBezTo>
                    <a:cubicBezTo>
                      <a:pt x="91714" y="30136"/>
                      <a:pt x="83166" y="23032"/>
                      <a:pt x="82423" y="19085"/>
                    </a:cubicBezTo>
                    <a:cubicBezTo>
                      <a:pt x="81726" y="15138"/>
                      <a:pt x="78149" y="11980"/>
                      <a:pt x="68207" y="8033"/>
                    </a:cubicBezTo>
                    <a:cubicBezTo>
                      <a:pt x="64258" y="6454"/>
                      <a:pt x="59751" y="3297"/>
                      <a:pt x="55710" y="0"/>
                    </a:cubicBezTo>
                    <a:cubicBezTo>
                      <a:pt x="55384" y="929"/>
                      <a:pt x="55013" y="1857"/>
                      <a:pt x="54595" y="2554"/>
                    </a:cubicBezTo>
                    <a:cubicBezTo>
                      <a:pt x="52690" y="5758"/>
                      <a:pt x="46000" y="-93"/>
                      <a:pt x="43120" y="3111"/>
                    </a:cubicBezTo>
                    <a:cubicBezTo>
                      <a:pt x="40239" y="6269"/>
                      <a:pt x="30669" y="6826"/>
                      <a:pt x="25419" y="12119"/>
                    </a:cubicBezTo>
                    <a:cubicBezTo>
                      <a:pt x="20169" y="17413"/>
                      <a:pt x="9159" y="20060"/>
                      <a:pt x="2933" y="21638"/>
                    </a:cubicBezTo>
                    <a:cubicBezTo>
                      <a:pt x="-3292" y="23217"/>
                      <a:pt x="1958" y="29579"/>
                      <a:pt x="4374" y="34362"/>
                    </a:cubicBezTo>
                    <a:cubicBezTo>
                      <a:pt x="6790" y="39098"/>
                      <a:pt x="6790" y="50799"/>
                      <a:pt x="11528" y="54514"/>
                    </a:cubicBezTo>
                    <a:cubicBezTo>
                      <a:pt x="16313" y="58229"/>
                      <a:pt x="32109" y="69327"/>
                      <a:pt x="34014" y="73042"/>
                    </a:cubicBezTo>
                    <a:cubicBezTo>
                      <a:pt x="34339" y="73692"/>
                      <a:pt x="34153" y="74249"/>
                      <a:pt x="33735" y="74853"/>
                    </a:cubicBezTo>
                    <a:cubicBezTo>
                      <a:pt x="40378" y="76849"/>
                      <a:pt x="50738" y="76896"/>
                      <a:pt x="52504" y="73599"/>
                    </a:cubicBezTo>
                    <a:cubicBezTo>
                      <a:pt x="54641" y="69652"/>
                      <a:pt x="56081" y="62548"/>
                      <a:pt x="56081" y="62548"/>
                    </a:cubicBezTo>
                    <a:cubicBezTo>
                      <a:pt x="56081" y="62548"/>
                      <a:pt x="70297" y="62548"/>
                      <a:pt x="76012" y="69652"/>
                    </a:cubicBezTo>
                    <a:cubicBezTo>
                      <a:pt x="81726" y="76757"/>
                      <a:pt x="92411" y="72020"/>
                      <a:pt x="92411" y="72020"/>
                    </a:cubicBezTo>
                    <a:cubicBezTo>
                      <a:pt x="92411" y="72020"/>
                      <a:pt x="93015" y="74017"/>
                      <a:pt x="93945" y="76849"/>
                    </a:cubicBezTo>
                    <a:cubicBezTo>
                      <a:pt x="95477" y="72949"/>
                      <a:pt x="97475" y="69513"/>
                      <a:pt x="99937" y="69141"/>
                    </a:cubicBezTo>
                    <a:cubicBezTo>
                      <a:pt x="105930" y="68212"/>
                      <a:pt x="114525" y="67237"/>
                      <a:pt x="120518" y="57765"/>
                    </a:cubicBezTo>
                    <a:cubicBezTo>
                      <a:pt x="123631" y="52889"/>
                      <a:pt x="128741" y="48989"/>
                      <a:pt x="133015" y="46388"/>
                    </a:cubicBezTo>
                    <a:cubicBezTo>
                      <a:pt x="130135" y="42488"/>
                      <a:pt x="128648" y="36823"/>
                      <a:pt x="125861" y="35012"/>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59" name="Freeform 93">
                <a:extLst>
                  <a:ext uri="{FF2B5EF4-FFF2-40B4-BE49-F238E27FC236}">
                    <a16:creationId xmlns:a16="http://schemas.microsoft.com/office/drawing/2014/main" id="{D3DF3FAA-2717-E269-B7BC-0B518D1F075C}"/>
                  </a:ext>
                </a:extLst>
              </p:cNvPr>
              <p:cNvSpPr/>
              <p:nvPr/>
            </p:nvSpPr>
            <p:spPr>
              <a:xfrm>
                <a:off x="11174073" y="2794027"/>
                <a:ext cx="564410" cy="251095"/>
              </a:xfrm>
              <a:custGeom>
                <a:avLst/>
                <a:gdLst>
                  <a:gd name="connsiteX0" fmla="*/ 89617 w 120836"/>
                  <a:gd name="connsiteY0" fmla="*/ 5154 h 53758"/>
                  <a:gd name="connsiteX1" fmla="*/ 73264 w 120836"/>
                  <a:gd name="connsiteY1" fmla="*/ 3575 h 53758"/>
                  <a:gd name="connsiteX2" fmla="*/ 54727 w 120836"/>
                  <a:gd name="connsiteY2" fmla="*/ 1207 h 53758"/>
                  <a:gd name="connsiteX3" fmla="*/ 41905 w 120836"/>
                  <a:gd name="connsiteY3" fmla="*/ 2786 h 53758"/>
                  <a:gd name="connsiteX4" fmla="*/ 39071 w 120836"/>
                  <a:gd name="connsiteY4" fmla="*/ 0 h 53758"/>
                  <a:gd name="connsiteX5" fmla="*/ 26574 w 120836"/>
                  <a:gd name="connsiteY5" fmla="*/ 11376 h 53758"/>
                  <a:gd name="connsiteX6" fmla="*/ 5993 w 120836"/>
                  <a:gd name="connsiteY6" fmla="*/ 22753 h 53758"/>
                  <a:gd name="connsiteX7" fmla="*/ 0 w 120836"/>
                  <a:gd name="connsiteY7" fmla="*/ 30461 h 53758"/>
                  <a:gd name="connsiteX8" fmla="*/ 9849 w 120836"/>
                  <a:gd name="connsiteY8" fmla="*/ 49314 h 53758"/>
                  <a:gd name="connsiteX9" fmla="*/ 39071 w 120836"/>
                  <a:gd name="connsiteY9" fmla="*/ 49314 h 53758"/>
                  <a:gd name="connsiteX10" fmla="*/ 61882 w 120836"/>
                  <a:gd name="connsiteY10" fmla="*/ 41420 h 53758"/>
                  <a:gd name="connsiteX11" fmla="*/ 81859 w 120836"/>
                  <a:gd name="connsiteY11" fmla="*/ 27211 h 53758"/>
                  <a:gd name="connsiteX12" fmla="*/ 101789 w 120836"/>
                  <a:gd name="connsiteY12" fmla="*/ 34315 h 53758"/>
                  <a:gd name="connsiteX13" fmla="*/ 115355 w 120836"/>
                  <a:gd name="connsiteY13" fmla="*/ 39702 h 53758"/>
                  <a:gd name="connsiteX14" fmla="*/ 110848 w 120836"/>
                  <a:gd name="connsiteY14" fmla="*/ 31483 h 53758"/>
                  <a:gd name="connsiteX15" fmla="*/ 120419 w 120836"/>
                  <a:gd name="connsiteY15" fmla="*/ 14023 h 53758"/>
                  <a:gd name="connsiteX16" fmla="*/ 120837 w 120836"/>
                  <a:gd name="connsiteY16" fmla="*/ 13280 h 53758"/>
                  <a:gd name="connsiteX17" fmla="*/ 108200 w 120836"/>
                  <a:gd name="connsiteY17" fmla="*/ 9890 h 53758"/>
                  <a:gd name="connsiteX18" fmla="*/ 89710 w 120836"/>
                  <a:gd name="connsiteY18" fmla="*/ 5154 h 5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836" h="53758">
                    <a:moveTo>
                      <a:pt x="89617" y="5154"/>
                    </a:moveTo>
                    <a:cubicBezTo>
                      <a:pt x="82509" y="5897"/>
                      <a:pt x="78932" y="1207"/>
                      <a:pt x="73264" y="3575"/>
                    </a:cubicBezTo>
                    <a:cubicBezTo>
                      <a:pt x="67550" y="5944"/>
                      <a:pt x="58305" y="3575"/>
                      <a:pt x="54727" y="1207"/>
                    </a:cubicBezTo>
                    <a:cubicBezTo>
                      <a:pt x="51150" y="-1161"/>
                      <a:pt x="46876" y="5944"/>
                      <a:pt x="41905" y="2786"/>
                    </a:cubicBezTo>
                    <a:cubicBezTo>
                      <a:pt x="40790" y="2089"/>
                      <a:pt x="39861" y="1114"/>
                      <a:pt x="39071" y="0"/>
                    </a:cubicBezTo>
                    <a:cubicBezTo>
                      <a:pt x="34797" y="2600"/>
                      <a:pt x="29686" y="6501"/>
                      <a:pt x="26574" y="11376"/>
                    </a:cubicBezTo>
                    <a:cubicBezTo>
                      <a:pt x="20581" y="20849"/>
                      <a:pt x="12032" y="21824"/>
                      <a:pt x="5993" y="22753"/>
                    </a:cubicBezTo>
                    <a:cubicBezTo>
                      <a:pt x="3531" y="23171"/>
                      <a:pt x="1533" y="26607"/>
                      <a:pt x="0" y="30461"/>
                    </a:cubicBezTo>
                    <a:cubicBezTo>
                      <a:pt x="1951" y="36033"/>
                      <a:pt x="5575" y="45088"/>
                      <a:pt x="9849" y="49314"/>
                    </a:cubicBezTo>
                    <a:cubicBezTo>
                      <a:pt x="16260" y="55629"/>
                      <a:pt x="39071" y="54839"/>
                      <a:pt x="39071" y="49314"/>
                    </a:cubicBezTo>
                    <a:cubicBezTo>
                      <a:pt x="39071" y="43788"/>
                      <a:pt x="57608" y="41420"/>
                      <a:pt x="61882" y="41420"/>
                    </a:cubicBezTo>
                    <a:cubicBezTo>
                      <a:pt x="66156" y="41420"/>
                      <a:pt x="79722" y="26421"/>
                      <a:pt x="81859" y="27211"/>
                    </a:cubicBezTo>
                    <a:cubicBezTo>
                      <a:pt x="83996" y="28000"/>
                      <a:pt x="98258" y="30368"/>
                      <a:pt x="101789" y="34315"/>
                    </a:cubicBezTo>
                    <a:cubicBezTo>
                      <a:pt x="103554" y="36266"/>
                      <a:pt x="109362" y="38216"/>
                      <a:pt x="115355" y="39702"/>
                    </a:cubicBezTo>
                    <a:cubicBezTo>
                      <a:pt x="112846" y="37241"/>
                      <a:pt x="110848" y="34083"/>
                      <a:pt x="110848" y="31483"/>
                    </a:cubicBezTo>
                    <a:cubicBezTo>
                      <a:pt x="110848" y="27257"/>
                      <a:pt x="118049" y="16113"/>
                      <a:pt x="120419" y="14023"/>
                    </a:cubicBezTo>
                    <a:cubicBezTo>
                      <a:pt x="120604" y="13837"/>
                      <a:pt x="120697" y="13559"/>
                      <a:pt x="120837" y="13280"/>
                    </a:cubicBezTo>
                    <a:cubicBezTo>
                      <a:pt x="115355" y="12352"/>
                      <a:pt x="109315" y="11144"/>
                      <a:pt x="108200" y="9890"/>
                    </a:cubicBezTo>
                    <a:cubicBezTo>
                      <a:pt x="106063" y="7522"/>
                      <a:pt x="96818" y="4365"/>
                      <a:pt x="89710" y="5154"/>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0" name="Freeform 94">
                <a:extLst>
                  <a:ext uri="{FF2B5EF4-FFF2-40B4-BE49-F238E27FC236}">
                    <a16:creationId xmlns:a16="http://schemas.microsoft.com/office/drawing/2014/main" id="{0C8611CF-A04A-9022-4E41-FE6332B6F1E1}"/>
                  </a:ext>
                </a:extLst>
              </p:cNvPr>
              <p:cNvSpPr/>
              <p:nvPr/>
            </p:nvSpPr>
            <p:spPr>
              <a:xfrm>
                <a:off x="12152741" y="2945054"/>
                <a:ext cx="311605" cy="428503"/>
              </a:xfrm>
              <a:custGeom>
                <a:avLst/>
                <a:gdLst>
                  <a:gd name="connsiteX0" fmla="*/ 48270 w 66713"/>
                  <a:gd name="connsiteY0" fmla="*/ 23341 h 91739"/>
                  <a:gd name="connsiteX1" fmla="*/ 32938 w 66713"/>
                  <a:gd name="connsiteY1" fmla="*/ 10618 h 91739"/>
                  <a:gd name="connsiteX2" fmla="*/ 15703 w 66713"/>
                  <a:gd name="connsiteY2" fmla="*/ 31 h 91739"/>
                  <a:gd name="connsiteX3" fmla="*/ 0 w 66713"/>
                  <a:gd name="connsiteY3" fmla="*/ 4442 h 91739"/>
                  <a:gd name="connsiteX4" fmla="*/ 14216 w 66713"/>
                  <a:gd name="connsiteY4" fmla="*/ 31374 h 91739"/>
                  <a:gd name="connsiteX5" fmla="*/ 27875 w 66713"/>
                  <a:gd name="connsiteY5" fmla="*/ 64854 h 91739"/>
                  <a:gd name="connsiteX6" fmla="*/ 31591 w 66713"/>
                  <a:gd name="connsiteY6" fmla="*/ 91740 h 91739"/>
                  <a:gd name="connsiteX7" fmla="*/ 43763 w 66713"/>
                  <a:gd name="connsiteY7" fmla="*/ 70658 h 91739"/>
                  <a:gd name="connsiteX8" fmla="*/ 52033 w 66713"/>
                  <a:gd name="connsiteY8" fmla="*/ 60071 h 91739"/>
                  <a:gd name="connsiteX9" fmla="*/ 66713 w 66713"/>
                  <a:gd name="connsiteY9" fmla="*/ 62904 h 91739"/>
                  <a:gd name="connsiteX10" fmla="*/ 61603 w 66713"/>
                  <a:gd name="connsiteY10" fmla="*/ 47348 h 91739"/>
                  <a:gd name="connsiteX11" fmla="*/ 48223 w 66713"/>
                  <a:gd name="connsiteY11" fmla="*/ 23341 h 91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713" h="91739">
                    <a:moveTo>
                      <a:pt x="48270" y="23341"/>
                    </a:moveTo>
                    <a:cubicBezTo>
                      <a:pt x="45714" y="14147"/>
                      <a:pt x="37445" y="10618"/>
                      <a:pt x="32938" y="10618"/>
                    </a:cubicBezTo>
                    <a:cubicBezTo>
                      <a:pt x="28432" y="10618"/>
                      <a:pt x="20813" y="-666"/>
                      <a:pt x="15703" y="31"/>
                    </a:cubicBezTo>
                    <a:cubicBezTo>
                      <a:pt x="12915" y="403"/>
                      <a:pt x="6039" y="2260"/>
                      <a:pt x="0" y="4442"/>
                    </a:cubicBezTo>
                    <a:cubicBezTo>
                      <a:pt x="5528" y="16005"/>
                      <a:pt x="11475" y="27845"/>
                      <a:pt x="14216" y="31374"/>
                    </a:cubicBezTo>
                    <a:cubicBezTo>
                      <a:pt x="20070" y="38943"/>
                      <a:pt x="32706" y="59421"/>
                      <a:pt x="27875" y="64854"/>
                    </a:cubicBezTo>
                    <a:cubicBezTo>
                      <a:pt x="24065" y="69080"/>
                      <a:pt x="25645" y="86400"/>
                      <a:pt x="31591" y="91740"/>
                    </a:cubicBezTo>
                    <a:cubicBezTo>
                      <a:pt x="34379" y="87746"/>
                      <a:pt x="43763" y="74605"/>
                      <a:pt x="43763" y="70658"/>
                    </a:cubicBezTo>
                    <a:cubicBezTo>
                      <a:pt x="43763" y="66433"/>
                      <a:pt x="44414" y="57935"/>
                      <a:pt x="52033" y="60071"/>
                    </a:cubicBezTo>
                    <a:cubicBezTo>
                      <a:pt x="59698" y="62207"/>
                      <a:pt x="66713" y="65736"/>
                      <a:pt x="66713" y="62904"/>
                    </a:cubicBezTo>
                    <a:cubicBezTo>
                      <a:pt x="66713" y="60071"/>
                      <a:pt x="64809" y="50924"/>
                      <a:pt x="61603" y="47348"/>
                    </a:cubicBezTo>
                    <a:cubicBezTo>
                      <a:pt x="58398" y="43819"/>
                      <a:pt x="50778" y="32535"/>
                      <a:pt x="48223" y="23341"/>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1" name="Freeform 105">
                <a:extLst>
                  <a:ext uri="{FF2B5EF4-FFF2-40B4-BE49-F238E27FC236}">
                    <a16:creationId xmlns:a16="http://schemas.microsoft.com/office/drawing/2014/main" id="{E6DC0DBC-1FCD-9787-D7D8-16ECD906EBE7}"/>
                  </a:ext>
                </a:extLst>
              </p:cNvPr>
              <p:cNvSpPr/>
              <p:nvPr/>
            </p:nvSpPr>
            <p:spPr>
              <a:xfrm>
                <a:off x="11697789" y="3558996"/>
                <a:ext cx="628323" cy="382593"/>
              </a:xfrm>
              <a:custGeom>
                <a:avLst/>
                <a:gdLst>
                  <a:gd name="connsiteX0" fmla="*/ 104230 w 134520"/>
                  <a:gd name="connsiteY0" fmla="*/ 650 h 81910"/>
                  <a:gd name="connsiteX1" fmla="*/ 78679 w 134520"/>
                  <a:gd name="connsiteY1" fmla="*/ 5619 h 81910"/>
                  <a:gd name="connsiteX2" fmla="*/ 63394 w 134520"/>
                  <a:gd name="connsiteY2" fmla="*/ 12677 h 81910"/>
                  <a:gd name="connsiteX3" fmla="*/ 40444 w 134520"/>
                  <a:gd name="connsiteY3" fmla="*/ 11980 h 81910"/>
                  <a:gd name="connsiteX4" fmla="*/ 17494 w 134520"/>
                  <a:gd name="connsiteY4" fmla="*/ 9148 h 81910"/>
                  <a:gd name="connsiteX5" fmla="*/ 5182 w 134520"/>
                  <a:gd name="connsiteY5" fmla="*/ 0 h 81910"/>
                  <a:gd name="connsiteX6" fmla="*/ 3417 w 134520"/>
                  <a:gd name="connsiteY6" fmla="*/ 2275 h 81910"/>
                  <a:gd name="connsiteX7" fmla="*/ 3417 w 134520"/>
                  <a:gd name="connsiteY7" fmla="*/ 18713 h 81910"/>
                  <a:gd name="connsiteX8" fmla="*/ 10107 w 134520"/>
                  <a:gd name="connsiteY8" fmla="*/ 34083 h 81910"/>
                  <a:gd name="connsiteX9" fmla="*/ 2906 w 134520"/>
                  <a:gd name="connsiteY9" fmla="*/ 43602 h 81910"/>
                  <a:gd name="connsiteX10" fmla="*/ 2906 w 134520"/>
                  <a:gd name="connsiteY10" fmla="*/ 55257 h 81910"/>
                  <a:gd name="connsiteX11" fmla="*/ 14845 w 134520"/>
                  <a:gd name="connsiteY11" fmla="*/ 70627 h 81910"/>
                  <a:gd name="connsiteX12" fmla="*/ 19073 w 134520"/>
                  <a:gd name="connsiteY12" fmla="*/ 77314 h 81910"/>
                  <a:gd name="connsiteX13" fmla="*/ 48016 w 134520"/>
                  <a:gd name="connsiteY13" fmla="*/ 77685 h 81910"/>
                  <a:gd name="connsiteX14" fmla="*/ 71013 w 134520"/>
                  <a:gd name="connsiteY14" fmla="*/ 81911 h 81910"/>
                  <a:gd name="connsiteX15" fmla="*/ 79283 w 134520"/>
                  <a:gd name="connsiteY15" fmla="*/ 76292 h 81910"/>
                  <a:gd name="connsiteX16" fmla="*/ 89643 w 134520"/>
                  <a:gd name="connsiteY16" fmla="*/ 70813 h 81910"/>
                  <a:gd name="connsiteX17" fmla="*/ 89457 w 134520"/>
                  <a:gd name="connsiteY17" fmla="*/ 64312 h 81910"/>
                  <a:gd name="connsiteX18" fmla="*/ 111478 w 134520"/>
                  <a:gd name="connsiteY18" fmla="*/ 64312 h 81910"/>
                  <a:gd name="connsiteX19" fmla="*/ 120212 w 134520"/>
                  <a:gd name="connsiteY19" fmla="*/ 62501 h 81910"/>
                  <a:gd name="connsiteX20" fmla="*/ 117239 w 134520"/>
                  <a:gd name="connsiteY20" fmla="*/ 56883 h 81910"/>
                  <a:gd name="connsiteX21" fmla="*/ 112779 w 134520"/>
                  <a:gd name="connsiteY21" fmla="*/ 38866 h 81910"/>
                  <a:gd name="connsiteX22" fmla="*/ 130015 w 134520"/>
                  <a:gd name="connsiteY22" fmla="*/ 18388 h 81910"/>
                  <a:gd name="connsiteX23" fmla="*/ 134521 w 134520"/>
                  <a:gd name="connsiteY23" fmla="*/ 13280 h 81910"/>
                  <a:gd name="connsiteX24" fmla="*/ 121420 w 134520"/>
                  <a:gd name="connsiteY24" fmla="*/ 6408 h 81910"/>
                  <a:gd name="connsiteX25" fmla="*/ 104184 w 134520"/>
                  <a:gd name="connsiteY25" fmla="*/ 743 h 81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4520" h="81910">
                    <a:moveTo>
                      <a:pt x="104230" y="650"/>
                    </a:moveTo>
                    <a:cubicBezTo>
                      <a:pt x="99120" y="-46"/>
                      <a:pt x="83185" y="650"/>
                      <a:pt x="78679" y="5619"/>
                    </a:cubicBezTo>
                    <a:cubicBezTo>
                      <a:pt x="74219" y="10541"/>
                      <a:pt x="68504" y="13373"/>
                      <a:pt x="63394" y="12677"/>
                    </a:cubicBezTo>
                    <a:cubicBezTo>
                      <a:pt x="58284" y="11980"/>
                      <a:pt x="43603" y="11284"/>
                      <a:pt x="40444" y="11980"/>
                    </a:cubicBezTo>
                    <a:cubicBezTo>
                      <a:pt x="37285" y="12677"/>
                      <a:pt x="20049" y="8451"/>
                      <a:pt x="17494" y="9148"/>
                    </a:cubicBezTo>
                    <a:cubicBezTo>
                      <a:pt x="15217" y="9751"/>
                      <a:pt x="10990" y="1068"/>
                      <a:pt x="5182" y="0"/>
                    </a:cubicBezTo>
                    <a:cubicBezTo>
                      <a:pt x="4903" y="789"/>
                      <a:pt x="4392" y="1579"/>
                      <a:pt x="3417" y="2275"/>
                    </a:cubicBezTo>
                    <a:cubicBezTo>
                      <a:pt x="-904" y="5479"/>
                      <a:pt x="-1368" y="13930"/>
                      <a:pt x="3417" y="18713"/>
                    </a:cubicBezTo>
                    <a:cubicBezTo>
                      <a:pt x="8202" y="23496"/>
                      <a:pt x="14428" y="34083"/>
                      <a:pt x="10107" y="34083"/>
                    </a:cubicBezTo>
                    <a:cubicBezTo>
                      <a:pt x="5786" y="34083"/>
                      <a:pt x="2441" y="40445"/>
                      <a:pt x="2906" y="43602"/>
                    </a:cubicBezTo>
                    <a:cubicBezTo>
                      <a:pt x="3371" y="46806"/>
                      <a:pt x="1466" y="53679"/>
                      <a:pt x="2906" y="55257"/>
                    </a:cubicBezTo>
                    <a:cubicBezTo>
                      <a:pt x="4346" y="56836"/>
                      <a:pt x="14381" y="67470"/>
                      <a:pt x="14845" y="70627"/>
                    </a:cubicBezTo>
                    <a:cubicBezTo>
                      <a:pt x="15264" y="73413"/>
                      <a:pt x="19399" y="74853"/>
                      <a:pt x="19073" y="77314"/>
                    </a:cubicBezTo>
                    <a:cubicBezTo>
                      <a:pt x="27110" y="76664"/>
                      <a:pt x="44160" y="75549"/>
                      <a:pt x="48016" y="77685"/>
                    </a:cubicBezTo>
                    <a:cubicBezTo>
                      <a:pt x="53127" y="80518"/>
                      <a:pt x="71013" y="81911"/>
                      <a:pt x="71013" y="81911"/>
                    </a:cubicBezTo>
                    <a:cubicBezTo>
                      <a:pt x="76077" y="81911"/>
                      <a:pt x="80583" y="79821"/>
                      <a:pt x="79283" y="76292"/>
                    </a:cubicBezTo>
                    <a:cubicBezTo>
                      <a:pt x="78214" y="73320"/>
                      <a:pt x="84858" y="71324"/>
                      <a:pt x="89643" y="70813"/>
                    </a:cubicBezTo>
                    <a:cubicBezTo>
                      <a:pt x="88807" y="67562"/>
                      <a:pt x="88249" y="64869"/>
                      <a:pt x="89457" y="64312"/>
                    </a:cubicBezTo>
                    <a:cubicBezTo>
                      <a:pt x="91826" y="63244"/>
                      <a:pt x="105717" y="61154"/>
                      <a:pt x="111478" y="64312"/>
                    </a:cubicBezTo>
                    <a:cubicBezTo>
                      <a:pt x="114405" y="65937"/>
                      <a:pt x="117657" y="64405"/>
                      <a:pt x="120212" y="62501"/>
                    </a:cubicBezTo>
                    <a:cubicBezTo>
                      <a:pt x="119469" y="59529"/>
                      <a:pt x="118725" y="57208"/>
                      <a:pt x="117239" y="56883"/>
                    </a:cubicBezTo>
                    <a:cubicBezTo>
                      <a:pt x="113708" y="56186"/>
                      <a:pt x="108319" y="39934"/>
                      <a:pt x="112779" y="38866"/>
                    </a:cubicBezTo>
                    <a:cubicBezTo>
                      <a:pt x="117239" y="37798"/>
                      <a:pt x="123000" y="20849"/>
                      <a:pt x="130015" y="18388"/>
                    </a:cubicBezTo>
                    <a:cubicBezTo>
                      <a:pt x="132802" y="17413"/>
                      <a:pt x="134010" y="15556"/>
                      <a:pt x="134521" y="13280"/>
                    </a:cubicBezTo>
                    <a:cubicBezTo>
                      <a:pt x="128435" y="11005"/>
                      <a:pt x="122442" y="8265"/>
                      <a:pt x="121420" y="6408"/>
                    </a:cubicBezTo>
                    <a:cubicBezTo>
                      <a:pt x="119515" y="2879"/>
                      <a:pt x="109294" y="1439"/>
                      <a:pt x="104184" y="743"/>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2" name="Freeform 106">
                <a:extLst>
                  <a:ext uri="{FF2B5EF4-FFF2-40B4-BE49-F238E27FC236}">
                    <a16:creationId xmlns:a16="http://schemas.microsoft.com/office/drawing/2014/main" id="{E00011A1-6CA1-052E-4740-349B86F428C2}"/>
                  </a:ext>
                </a:extLst>
              </p:cNvPr>
              <p:cNvSpPr/>
              <p:nvPr/>
            </p:nvSpPr>
            <p:spPr>
              <a:xfrm>
                <a:off x="11516998" y="3796704"/>
                <a:ext cx="270606" cy="215370"/>
              </a:xfrm>
              <a:custGeom>
                <a:avLst/>
                <a:gdLst>
                  <a:gd name="connsiteX0" fmla="*/ 12946 w 57935"/>
                  <a:gd name="connsiteY0" fmla="*/ 46063 h 46109"/>
                  <a:gd name="connsiteX1" fmla="*/ 12946 w 57935"/>
                  <a:gd name="connsiteY1" fmla="*/ 46063 h 46109"/>
                  <a:gd name="connsiteX2" fmla="*/ 13783 w 57935"/>
                  <a:gd name="connsiteY2" fmla="*/ 45645 h 46109"/>
                  <a:gd name="connsiteX3" fmla="*/ 13969 w 57935"/>
                  <a:gd name="connsiteY3" fmla="*/ 45552 h 46109"/>
                  <a:gd name="connsiteX4" fmla="*/ 15176 w 57935"/>
                  <a:gd name="connsiteY4" fmla="*/ 45367 h 46109"/>
                  <a:gd name="connsiteX5" fmla="*/ 15362 w 57935"/>
                  <a:gd name="connsiteY5" fmla="*/ 45367 h 46109"/>
                  <a:gd name="connsiteX6" fmla="*/ 22285 w 57935"/>
                  <a:gd name="connsiteY6" fmla="*/ 45227 h 46109"/>
                  <a:gd name="connsiteX7" fmla="*/ 22795 w 57935"/>
                  <a:gd name="connsiteY7" fmla="*/ 45227 h 46109"/>
                  <a:gd name="connsiteX8" fmla="*/ 24514 w 57935"/>
                  <a:gd name="connsiteY8" fmla="*/ 45088 h 46109"/>
                  <a:gd name="connsiteX9" fmla="*/ 25165 w 57935"/>
                  <a:gd name="connsiteY9" fmla="*/ 45042 h 46109"/>
                  <a:gd name="connsiteX10" fmla="*/ 27348 w 57935"/>
                  <a:gd name="connsiteY10" fmla="*/ 44624 h 46109"/>
                  <a:gd name="connsiteX11" fmla="*/ 37383 w 57935"/>
                  <a:gd name="connsiteY11" fmla="*/ 37751 h 46109"/>
                  <a:gd name="connsiteX12" fmla="*/ 57500 w 57935"/>
                  <a:gd name="connsiteY12" fmla="*/ 27536 h 46109"/>
                  <a:gd name="connsiteX13" fmla="*/ 57918 w 57935"/>
                  <a:gd name="connsiteY13" fmla="*/ 26468 h 46109"/>
                  <a:gd name="connsiteX14" fmla="*/ 53690 w 57935"/>
                  <a:gd name="connsiteY14" fmla="*/ 19781 h 46109"/>
                  <a:gd name="connsiteX15" fmla="*/ 41750 w 57935"/>
                  <a:gd name="connsiteY15" fmla="*/ 4411 h 46109"/>
                  <a:gd name="connsiteX16" fmla="*/ 41286 w 57935"/>
                  <a:gd name="connsiteY16" fmla="*/ 2786 h 46109"/>
                  <a:gd name="connsiteX17" fmla="*/ 41286 w 57935"/>
                  <a:gd name="connsiteY17" fmla="*/ 2600 h 46109"/>
                  <a:gd name="connsiteX18" fmla="*/ 41379 w 57935"/>
                  <a:gd name="connsiteY18" fmla="*/ 0 h 46109"/>
                  <a:gd name="connsiteX19" fmla="*/ 4212 w 57935"/>
                  <a:gd name="connsiteY19" fmla="*/ 7522 h 46109"/>
                  <a:gd name="connsiteX20" fmla="*/ 2912 w 57935"/>
                  <a:gd name="connsiteY20" fmla="*/ 6501 h 46109"/>
                  <a:gd name="connsiteX21" fmla="*/ 589 w 57935"/>
                  <a:gd name="connsiteY21" fmla="*/ 31297 h 46109"/>
                  <a:gd name="connsiteX22" fmla="*/ 13086 w 57935"/>
                  <a:gd name="connsiteY22" fmla="*/ 46110 h 46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7935" h="46109">
                    <a:moveTo>
                      <a:pt x="12946" y="46063"/>
                    </a:moveTo>
                    <a:lnTo>
                      <a:pt x="12946" y="46063"/>
                    </a:lnTo>
                    <a:cubicBezTo>
                      <a:pt x="12946" y="46063"/>
                      <a:pt x="13411" y="45738"/>
                      <a:pt x="13783" y="45645"/>
                    </a:cubicBezTo>
                    <a:cubicBezTo>
                      <a:pt x="13829" y="45645"/>
                      <a:pt x="13876" y="45599"/>
                      <a:pt x="13969" y="45552"/>
                    </a:cubicBezTo>
                    <a:cubicBezTo>
                      <a:pt x="14294" y="45460"/>
                      <a:pt x="14712" y="45413"/>
                      <a:pt x="15176" y="45367"/>
                    </a:cubicBezTo>
                    <a:cubicBezTo>
                      <a:pt x="15223" y="45367"/>
                      <a:pt x="15316" y="45367"/>
                      <a:pt x="15362" y="45367"/>
                    </a:cubicBezTo>
                    <a:cubicBezTo>
                      <a:pt x="17220" y="45181"/>
                      <a:pt x="19729" y="45367"/>
                      <a:pt x="22285" y="45227"/>
                    </a:cubicBezTo>
                    <a:cubicBezTo>
                      <a:pt x="22424" y="45227"/>
                      <a:pt x="22610" y="45227"/>
                      <a:pt x="22795" y="45227"/>
                    </a:cubicBezTo>
                    <a:cubicBezTo>
                      <a:pt x="23353" y="45227"/>
                      <a:pt x="23910" y="45135"/>
                      <a:pt x="24514" y="45088"/>
                    </a:cubicBezTo>
                    <a:cubicBezTo>
                      <a:pt x="24747" y="45088"/>
                      <a:pt x="24933" y="45088"/>
                      <a:pt x="25165" y="45042"/>
                    </a:cubicBezTo>
                    <a:cubicBezTo>
                      <a:pt x="25908" y="44949"/>
                      <a:pt x="26652" y="44809"/>
                      <a:pt x="27348" y="44624"/>
                    </a:cubicBezTo>
                    <a:cubicBezTo>
                      <a:pt x="33063" y="43045"/>
                      <a:pt x="34503" y="36173"/>
                      <a:pt x="37383" y="37751"/>
                    </a:cubicBezTo>
                    <a:cubicBezTo>
                      <a:pt x="40264" y="39330"/>
                      <a:pt x="55548" y="30693"/>
                      <a:pt x="57500" y="27536"/>
                    </a:cubicBezTo>
                    <a:cubicBezTo>
                      <a:pt x="57732" y="27164"/>
                      <a:pt x="57871" y="26793"/>
                      <a:pt x="57918" y="26468"/>
                    </a:cubicBezTo>
                    <a:cubicBezTo>
                      <a:pt x="58243" y="24007"/>
                      <a:pt x="54108" y="22567"/>
                      <a:pt x="53690" y="19781"/>
                    </a:cubicBezTo>
                    <a:cubicBezTo>
                      <a:pt x="53225" y="16624"/>
                      <a:pt x="43191" y="5990"/>
                      <a:pt x="41750" y="4411"/>
                    </a:cubicBezTo>
                    <a:cubicBezTo>
                      <a:pt x="41472" y="4086"/>
                      <a:pt x="41332" y="3483"/>
                      <a:pt x="41286" y="2786"/>
                    </a:cubicBezTo>
                    <a:cubicBezTo>
                      <a:pt x="41286" y="2693"/>
                      <a:pt x="41286" y="2647"/>
                      <a:pt x="41286" y="2600"/>
                    </a:cubicBezTo>
                    <a:cubicBezTo>
                      <a:pt x="41286" y="1857"/>
                      <a:pt x="41286" y="975"/>
                      <a:pt x="41379" y="0"/>
                    </a:cubicBezTo>
                    <a:cubicBezTo>
                      <a:pt x="26419" y="2415"/>
                      <a:pt x="4212" y="7522"/>
                      <a:pt x="4212" y="7522"/>
                    </a:cubicBezTo>
                    <a:cubicBezTo>
                      <a:pt x="4212" y="7522"/>
                      <a:pt x="3655" y="7105"/>
                      <a:pt x="2912" y="6501"/>
                    </a:cubicBezTo>
                    <a:cubicBezTo>
                      <a:pt x="635" y="14581"/>
                      <a:pt x="-898" y="25632"/>
                      <a:pt x="589" y="31297"/>
                    </a:cubicBezTo>
                    <a:cubicBezTo>
                      <a:pt x="2029" y="36823"/>
                      <a:pt x="6582" y="40723"/>
                      <a:pt x="13086" y="4611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3" name="Freeform 111">
                <a:extLst>
                  <a:ext uri="{FF2B5EF4-FFF2-40B4-BE49-F238E27FC236}">
                    <a16:creationId xmlns:a16="http://schemas.microsoft.com/office/drawing/2014/main" id="{B3480458-D60F-7D45-53F8-49BCA0EE06D2}"/>
                  </a:ext>
                </a:extLst>
              </p:cNvPr>
              <p:cNvSpPr/>
              <p:nvPr/>
            </p:nvSpPr>
            <p:spPr>
              <a:xfrm>
                <a:off x="11691614" y="2374203"/>
                <a:ext cx="1794031" cy="1143083"/>
              </a:xfrm>
              <a:custGeom>
                <a:avLst/>
                <a:gdLst>
                  <a:gd name="connsiteX0" fmla="*/ 341976 w 384090"/>
                  <a:gd name="connsiteY0" fmla="*/ 153125 h 244726"/>
                  <a:gd name="connsiteX1" fmla="*/ 358701 w 384090"/>
                  <a:gd name="connsiteY1" fmla="*/ 140402 h 244726"/>
                  <a:gd name="connsiteX2" fmla="*/ 376402 w 384090"/>
                  <a:gd name="connsiteY2" fmla="*/ 140913 h 244726"/>
                  <a:gd name="connsiteX3" fmla="*/ 380211 w 384090"/>
                  <a:gd name="connsiteY3" fmla="*/ 126611 h 244726"/>
                  <a:gd name="connsiteX4" fmla="*/ 375426 w 384090"/>
                  <a:gd name="connsiteY4" fmla="*/ 117602 h 244726"/>
                  <a:gd name="connsiteX5" fmla="*/ 383092 w 384090"/>
                  <a:gd name="connsiteY5" fmla="*/ 111798 h 244726"/>
                  <a:gd name="connsiteX6" fmla="*/ 377842 w 384090"/>
                  <a:gd name="connsiteY6" fmla="*/ 104926 h 244726"/>
                  <a:gd name="connsiteX7" fmla="*/ 384067 w 384090"/>
                  <a:gd name="connsiteY7" fmla="*/ 94849 h 244726"/>
                  <a:gd name="connsiteX8" fmla="*/ 371663 w 384090"/>
                  <a:gd name="connsiteY8" fmla="*/ 86398 h 244726"/>
                  <a:gd name="connsiteX9" fmla="*/ 353451 w 384090"/>
                  <a:gd name="connsiteY9" fmla="*/ 81105 h 244726"/>
                  <a:gd name="connsiteX10" fmla="*/ 335751 w 384090"/>
                  <a:gd name="connsiteY10" fmla="*/ 77947 h 244726"/>
                  <a:gd name="connsiteX11" fmla="*/ 326181 w 384090"/>
                  <a:gd name="connsiteY11" fmla="*/ 65224 h 244726"/>
                  <a:gd name="connsiteX12" fmla="*/ 314241 w 384090"/>
                  <a:gd name="connsiteY12" fmla="*/ 66292 h 244726"/>
                  <a:gd name="connsiteX13" fmla="*/ 303231 w 384090"/>
                  <a:gd name="connsiteY13" fmla="*/ 67360 h 244726"/>
                  <a:gd name="connsiteX14" fmla="*/ 292731 w 384090"/>
                  <a:gd name="connsiteY14" fmla="*/ 62066 h 244726"/>
                  <a:gd name="connsiteX15" fmla="*/ 284601 w 384090"/>
                  <a:gd name="connsiteY15" fmla="*/ 57284 h 244726"/>
                  <a:gd name="connsiteX16" fmla="*/ 275031 w 384090"/>
                  <a:gd name="connsiteY16" fmla="*/ 38756 h 244726"/>
                  <a:gd name="connsiteX17" fmla="*/ 259235 w 384090"/>
                  <a:gd name="connsiteY17" fmla="*/ 34531 h 244726"/>
                  <a:gd name="connsiteX18" fmla="*/ 254450 w 384090"/>
                  <a:gd name="connsiteY18" fmla="*/ 21297 h 244726"/>
                  <a:gd name="connsiteX19" fmla="*/ 251569 w 384090"/>
                  <a:gd name="connsiteY19" fmla="*/ 3280 h 244726"/>
                  <a:gd name="connsiteX20" fmla="*/ 233869 w 384090"/>
                  <a:gd name="connsiteY20" fmla="*/ 1190 h 244726"/>
                  <a:gd name="connsiteX21" fmla="*/ 219513 w 384090"/>
                  <a:gd name="connsiteY21" fmla="*/ 1701 h 244726"/>
                  <a:gd name="connsiteX22" fmla="*/ 209478 w 384090"/>
                  <a:gd name="connsiteY22" fmla="*/ 7505 h 244726"/>
                  <a:gd name="connsiteX23" fmla="*/ 203578 w 384090"/>
                  <a:gd name="connsiteY23" fmla="*/ 4766 h 244726"/>
                  <a:gd name="connsiteX24" fmla="*/ 189734 w 384090"/>
                  <a:gd name="connsiteY24" fmla="*/ 7877 h 244726"/>
                  <a:gd name="connsiteX25" fmla="*/ 176958 w 384090"/>
                  <a:gd name="connsiteY25" fmla="*/ 23386 h 244726"/>
                  <a:gd name="connsiteX26" fmla="*/ 173149 w 384090"/>
                  <a:gd name="connsiteY26" fmla="*/ 31187 h 244726"/>
                  <a:gd name="connsiteX27" fmla="*/ 153404 w 384090"/>
                  <a:gd name="connsiteY27" fmla="*/ 29748 h 244726"/>
                  <a:gd name="connsiteX28" fmla="*/ 139374 w 384090"/>
                  <a:gd name="connsiteY28" fmla="*/ 24826 h 244726"/>
                  <a:gd name="connsiteX29" fmla="*/ 125343 w 384090"/>
                  <a:gd name="connsiteY29" fmla="*/ 23386 h 244726"/>
                  <a:gd name="connsiteX30" fmla="*/ 110663 w 384090"/>
                  <a:gd name="connsiteY30" fmla="*/ 21297 h 244726"/>
                  <a:gd name="connsiteX31" fmla="*/ 90872 w 384090"/>
                  <a:gd name="connsiteY31" fmla="*/ 17768 h 244726"/>
                  <a:gd name="connsiteX32" fmla="*/ 53891 w 384090"/>
                  <a:gd name="connsiteY32" fmla="*/ 12845 h 244726"/>
                  <a:gd name="connsiteX33" fmla="*/ 39861 w 384090"/>
                  <a:gd name="connsiteY33" fmla="*/ 22040 h 244726"/>
                  <a:gd name="connsiteX34" fmla="*/ 28339 w 384090"/>
                  <a:gd name="connsiteY34" fmla="*/ 24872 h 244726"/>
                  <a:gd name="connsiteX35" fmla="*/ 30151 w 384090"/>
                  <a:gd name="connsiteY35" fmla="*/ 32952 h 244726"/>
                  <a:gd name="connsiteX36" fmla="*/ 38746 w 384090"/>
                  <a:gd name="connsiteY36" fmla="*/ 56262 h 244726"/>
                  <a:gd name="connsiteX37" fmla="*/ 29175 w 384090"/>
                  <a:gd name="connsiteY37" fmla="*/ 64713 h 244726"/>
                  <a:gd name="connsiteX38" fmla="*/ 9106 w 384090"/>
                  <a:gd name="connsiteY38" fmla="*/ 87513 h 244726"/>
                  <a:gd name="connsiteX39" fmla="*/ 9570 w 384090"/>
                  <a:gd name="connsiteY39" fmla="*/ 103951 h 244726"/>
                  <a:gd name="connsiteX40" fmla="*/ 0 w 384090"/>
                  <a:gd name="connsiteY40" fmla="*/ 121410 h 244726"/>
                  <a:gd name="connsiteX41" fmla="*/ 9570 w 384090"/>
                  <a:gd name="connsiteY41" fmla="*/ 133065 h 244726"/>
                  <a:gd name="connsiteX42" fmla="*/ 13101 w 384090"/>
                  <a:gd name="connsiteY42" fmla="*/ 135805 h 244726"/>
                  <a:gd name="connsiteX43" fmla="*/ 21417 w 384090"/>
                  <a:gd name="connsiteY43" fmla="*/ 135015 h 244726"/>
                  <a:gd name="connsiteX44" fmla="*/ 43067 w 384090"/>
                  <a:gd name="connsiteY44" fmla="*/ 139241 h 244726"/>
                  <a:gd name="connsiteX45" fmla="*/ 55842 w 384090"/>
                  <a:gd name="connsiteY45" fmla="*/ 143466 h 244726"/>
                  <a:gd name="connsiteX46" fmla="*/ 65413 w 384090"/>
                  <a:gd name="connsiteY46" fmla="*/ 140634 h 244726"/>
                  <a:gd name="connsiteX47" fmla="*/ 76237 w 384090"/>
                  <a:gd name="connsiteY47" fmla="*/ 139241 h 244726"/>
                  <a:gd name="connsiteX48" fmla="*/ 88363 w 384090"/>
                  <a:gd name="connsiteY48" fmla="*/ 132183 h 244726"/>
                  <a:gd name="connsiteX49" fmla="*/ 114519 w 384090"/>
                  <a:gd name="connsiteY49" fmla="*/ 122292 h 244726"/>
                  <a:gd name="connsiteX50" fmla="*/ 131754 w 384090"/>
                  <a:gd name="connsiteY50" fmla="*/ 132879 h 244726"/>
                  <a:gd name="connsiteX51" fmla="*/ 147085 w 384090"/>
                  <a:gd name="connsiteY51" fmla="*/ 145602 h 244726"/>
                  <a:gd name="connsiteX52" fmla="*/ 160465 w 384090"/>
                  <a:gd name="connsiteY52" fmla="*/ 169609 h 244726"/>
                  <a:gd name="connsiteX53" fmla="*/ 165576 w 384090"/>
                  <a:gd name="connsiteY53" fmla="*/ 185165 h 244726"/>
                  <a:gd name="connsiteX54" fmla="*/ 150895 w 384090"/>
                  <a:gd name="connsiteY54" fmla="*/ 182332 h 244726"/>
                  <a:gd name="connsiteX55" fmla="*/ 142626 w 384090"/>
                  <a:gd name="connsiteY55" fmla="*/ 192919 h 244726"/>
                  <a:gd name="connsiteX56" fmla="*/ 129896 w 384090"/>
                  <a:gd name="connsiteY56" fmla="*/ 214837 h 244726"/>
                  <a:gd name="connsiteX57" fmla="*/ 138212 w 384090"/>
                  <a:gd name="connsiteY57" fmla="*/ 220455 h 244726"/>
                  <a:gd name="connsiteX58" fmla="*/ 150338 w 384090"/>
                  <a:gd name="connsiteY58" fmla="*/ 214837 h 244726"/>
                  <a:gd name="connsiteX59" fmla="*/ 157910 w 384090"/>
                  <a:gd name="connsiteY59" fmla="*/ 220780 h 244726"/>
                  <a:gd name="connsiteX60" fmla="*/ 168178 w 384090"/>
                  <a:gd name="connsiteY60" fmla="*/ 202856 h 244726"/>
                  <a:gd name="connsiteX61" fmla="*/ 186668 w 384090"/>
                  <a:gd name="connsiteY61" fmla="*/ 178850 h 244726"/>
                  <a:gd name="connsiteX62" fmla="*/ 210594 w 384090"/>
                  <a:gd name="connsiteY62" fmla="*/ 174949 h 244726"/>
                  <a:gd name="connsiteX63" fmla="*/ 212823 w 384090"/>
                  <a:gd name="connsiteY63" fmla="*/ 190505 h 244726"/>
                  <a:gd name="connsiteX64" fmla="*/ 247899 w 384090"/>
                  <a:gd name="connsiteY64" fmla="*/ 196170 h 244726"/>
                  <a:gd name="connsiteX65" fmla="*/ 219188 w 384090"/>
                  <a:gd name="connsiteY65" fmla="*/ 213861 h 244726"/>
                  <a:gd name="connsiteX66" fmla="*/ 240884 w 384090"/>
                  <a:gd name="connsiteY66" fmla="*/ 224774 h 244726"/>
                  <a:gd name="connsiteX67" fmla="*/ 241860 w 384090"/>
                  <a:gd name="connsiteY67" fmla="*/ 243162 h 244726"/>
                  <a:gd name="connsiteX68" fmla="*/ 259421 w 384090"/>
                  <a:gd name="connsiteY68" fmla="*/ 238565 h 244726"/>
                  <a:gd name="connsiteX69" fmla="*/ 280141 w 384090"/>
                  <a:gd name="connsiteY69" fmla="*/ 228674 h 244726"/>
                  <a:gd name="connsiteX70" fmla="*/ 308852 w 384090"/>
                  <a:gd name="connsiteY70" fmla="*/ 224077 h 244726"/>
                  <a:gd name="connsiteX71" fmla="*/ 287156 w 384090"/>
                  <a:gd name="connsiteY71" fmla="*/ 217716 h 244726"/>
                  <a:gd name="connsiteX72" fmla="*/ 269641 w 384090"/>
                  <a:gd name="connsiteY72" fmla="*/ 198259 h 244726"/>
                  <a:gd name="connsiteX73" fmla="*/ 296726 w 384090"/>
                  <a:gd name="connsiteY73" fmla="*/ 179221 h 244726"/>
                  <a:gd name="connsiteX74" fmla="*/ 324137 w 384090"/>
                  <a:gd name="connsiteY74" fmla="*/ 170027 h 244726"/>
                  <a:gd name="connsiteX75" fmla="*/ 341651 w 384090"/>
                  <a:gd name="connsiteY75" fmla="*/ 164548 h 244726"/>
                  <a:gd name="connsiteX76" fmla="*/ 342116 w 384090"/>
                  <a:gd name="connsiteY76" fmla="*/ 153218 h 244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84090" h="244726">
                    <a:moveTo>
                      <a:pt x="341976" y="153125"/>
                    </a:moveTo>
                    <a:cubicBezTo>
                      <a:pt x="345321" y="152614"/>
                      <a:pt x="355356" y="140402"/>
                      <a:pt x="358701" y="140402"/>
                    </a:cubicBezTo>
                    <a:cubicBezTo>
                      <a:pt x="362046" y="140402"/>
                      <a:pt x="376402" y="143559"/>
                      <a:pt x="376402" y="140913"/>
                    </a:cubicBezTo>
                    <a:cubicBezTo>
                      <a:pt x="376402" y="138266"/>
                      <a:pt x="381187" y="129257"/>
                      <a:pt x="380211" y="126611"/>
                    </a:cubicBezTo>
                    <a:cubicBezTo>
                      <a:pt x="379236" y="123964"/>
                      <a:pt x="374450" y="120249"/>
                      <a:pt x="375426" y="117602"/>
                    </a:cubicBezTo>
                    <a:cubicBezTo>
                      <a:pt x="376355" y="114956"/>
                      <a:pt x="383092" y="114956"/>
                      <a:pt x="383092" y="111798"/>
                    </a:cubicBezTo>
                    <a:cubicBezTo>
                      <a:pt x="383092" y="108640"/>
                      <a:pt x="377842" y="107015"/>
                      <a:pt x="377842" y="104926"/>
                    </a:cubicBezTo>
                    <a:cubicBezTo>
                      <a:pt x="377842" y="102836"/>
                      <a:pt x="384532" y="99121"/>
                      <a:pt x="384067" y="94849"/>
                    </a:cubicBezTo>
                    <a:cubicBezTo>
                      <a:pt x="383603" y="90624"/>
                      <a:pt x="377842" y="90066"/>
                      <a:pt x="371663" y="86398"/>
                    </a:cubicBezTo>
                    <a:cubicBezTo>
                      <a:pt x="365437" y="82683"/>
                      <a:pt x="359212" y="84262"/>
                      <a:pt x="353451" y="81105"/>
                    </a:cubicBezTo>
                    <a:cubicBezTo>
                      <a:pt x="347737" y="77947"/>
                      <a:pt x="335751" y="80037"/>
                      <a:pt x="335751" y="77947"/>
                    </a:cubicBezTo>
                    <a:cubicBezTo>
                      <a:pt x="335751" y="75857"/>
                      <a:pt x="328085" y="68939"/>
                      <a:pt x="326181" y="65224"/>
                    </a:cubicBezTo>
                    <a:cubicBezTo>
                      <a:pt x="324276" y="61509"/>
                      <a:pt x="318051" y="63645"/>
                      <a:pt x="314241" y="66292"/>
                    </a:cubicBezTo>
                    <a:cubicBezTo>
                      <a:pt x="310385" y="68939"/>
                      <a:pt x="307040" y="70007"/>
                      <a:pt x="303231" y="67360"/>
                    </a:cubicBezTo>
                    <a:cubicBezTo>
                      <a:pt x="299421" y="64713"/>
                      <a:pt x="296076" y="60488"/>
                      <a:pt x="292731" y="62066"/>
                    </a:cubicBezTo>
                    <a:cubicBezTo>
                      <a:pt x="289386" y="63645"/>
                      <a:pt x="283161" y="62623"/>
                      <a:pt x="284601" y="57284"/>
                    </a:cubicBezTo>
                    <a:cubicBezTo>
                      <a:pt x="286041" y="51990"/>
                      <a:pt x="278375" y="40335"/>
                      <a:pt x="275031" y="38756"/>
                    </a:cubicBezTo>
                    <a:cubicBezTo>
                      <a:pt x="271685" y="37177"/>
                      <a:pt x="261651" y="39778"/>
                      <a:pt x="259235" y="34531"/>
                    </a:cubicBezTo>
                    <a:cubicBezTo>
                      <a:pt x="256819" y="29237"/>
                      <a:pt x="252545" y="25011"/>
                      <a:pt x="254450" y="21297"/>
                    </a:cubicBezTo>
                    <a:cubicBezTo>
                      <a:pt x="256354" y="17582"/>
                      <a:pt x="253985" y="7505"/>
                      <a:pt x="251569" y="3280"/>
                    </a:cubicBezTo>
                    <a:cubicBezTo>
                      <a:pt x="249154" y="-946"/>
                      <a:pt x="237214" y="-435"/>
                      <a:pt x="233869" y="1190"/>
                    </a:cubicBezTo>
                    <a:cubicBezTo>
                      <a:pt x="230524" y="2769"/>
                      <a:pt x="222858" y="-388"/>
                      <a:pt x="219513" y="1701"/>
                    </a:cubicBezTo>
                    <a:cubicBezTo>
                      <a:pt x="216168" y="3837"/>
                      <a:pt x="214264" y="7505"/>
                      <a:pt x="209478" y="7505"/>
                    </a:cubicBezTo>
                    <a:cubicBezTo>
                      <a:pt x="206830" y="7505"/>
                      <a:pt x="205019" y="7134"/>
                      <a:pt x="203578" y="4766"/>
                    </a:cubicBezTo>
                    <a:cubicBezTo>
                      <a:pt x="198422" y="7366"/>
                      <a:pt x="189734" y="7877"/>
                      <a:pt x="189734" y="7877"/>
                    </a:cubicBezTo>
                    <a:cubicBezTo>
                      <a:pt x="189734" y="7877"/>
                      <a:pt x="176958" y="19161"/>
                      <a:pt x="176958" y="23386"/>
                    </a:cubicBezTo>
                    <a:cubicBezTo>
                      <a:pt x="176958" y="27612"/>
                      <a:pt x="176354" y="34716"/>
                      <a:pt x="173149" y="31187"/>
                    </a:cubicBezTo>
                    <a:cubicBezTo>
                      <a:pt x="169943" y="27658"/>
                      <a:pt x="156563" y="27658"/>
                      <a:pt x="153404" y="29748"/>
                    </a:cubicBezTo>
                    <a:cubicBezTo>
                      <a:pt x="150198" y="31884"/>
                      <a:pt x="145088" y="21297"/>
                      <a:pt x="139374" y="24826"/>
                    </a:cubicBezTo>
                    <a:cubicBezTo>
                      <a:pt x="133659" y="28355"/>
                      <a:pt x="125994" y="19857"/>
                      <a:pt x="125343" y="23386"/>
                    </a:cubicBezTo>
                    <a:cubicBezTo>
                      <a:pt x="124693" y="26915"/>
                      <a:pt x="116423" y="24129"/>
                      <a:pt x="110663" y="21297"/>
                    </a:cubicBezTo>
                    <a:cubicBezTo>
                      <a:pt x="104948" y="18464"/>
                      <a:pt x="94728" y="22690"/>
                      <a:pt x="90872" y="17768"/>
                    </a:cubicBezTo>
                    <a:cubicBezTo>
                      <a:pt x="87062" y="12845"/>
                      <a:pt x="62161" y="12845"/>
                      <a:pt x="53891" y="12845"/>
                    </a:cubicBezTo>
                    <a:cubicBezTo>
                      <a:pt x="45622" y="12845"/>
                      <a:pt x="43671" y="17768"/>
                      <a:pt x="39861" y="22040"/>
                    </a:cubicBezTo>
                    <a:cubicBezTo>
                      <a:pt x="36423" y="25894"/>
                      <a:pt x="32381" y="25104"/>
                      <a:pt x="28339" y="24872"/>
                    </a:cubicBezTo>
                    <a:cubicBezTo>
                      <a:pt x="28711" y="28448"/>
                      <a:pt x="29315" y="31605"/>
                      <a:pt x="30151" y="32952"/>
                    </a:cubicBezTo>
                    <a:cubicBezTo>
                      <a:pt x="32056" y="36109"/>
                      <a:pt x="41162" y="51479"/>
                      <a:pt x="38746" y="56262"/>
                    </a:cubicBezTo>
                    <a:cubicBezTo>
                      <a:pt x="36377" y="61045"/>
                      <a:pt x="32056" y="61045"/>
                      <a:pt x="29175" y="64713"/>
                    </a:cubicBezTo>
                    <a:cubicBezTo>
                      <a:pt x="26295" y="68428"/>
                      <a:pt x="9570" y="84866"/>
                      <a:pt x="9106" y="87513"/>
                    </a:cubicBezTo>
                    <a:cubicBezTo>
                      <a:pt x="8641" y="90159"/>
                      <a:pt x="11986" y="101814"/>
                      <a:pt x="9570" y="103951"/>
                    </a:cubicBezTo>
                    <a:cubicBezTo>
                      <a:pt x="7201" y="106086"/>
                      <a:pt x="0" y="117184"/>
                      <a:pt x="0" y="121410"/>
                    </a:cubicBezTo>
                    <a:cubicBezTo>
                      <a:pt x="0" y="125635"/>
                      <a:pt x="5250" y="131486"/>
                      <a:pt x="9570" y="133065"/>
                    </a:cubicBezTo>
                    <a:cubicBezTo>
                      <a:pt x="11382" y="133762"/>
                      <a:pt x="12544" y="134690"/>
                      <a:pt x="13101" y="135805"/>
                    </a:cubicBezTo>
                    <a:cubicBezTo>
                      <a:pt x="16446" y="135294"/>
                      <a:pt x="19512" y="135015"/>
                      <a:pt x="21417" y="135015"/>
                    </a:cubicBezTo>
                    <a:cubicBezTo>
                      <a:pt x="24623" y="135015"/>
                      <a:pt x="38653" y="139241"/>
                      <a:pt x="43067" y="139241"/>
                    </a:cubicBezTo>
                    <a:cubicBezTo>
                      <a:pt x="47480" y="139241"/>
                      <a:pt x="53938" y="141377"/>
                      <a:pt x="55842" y="143466"/>
                    </a:cubicBezTo>
                    <a:cubicBezTo>
                      <a:pt x="57794" y="145556"/>
                      <a:pt x="62207" y="144163"/>
                      <a:pt x="65413" y="140634"/>
                    </a:cubicBezTo>
                    <a:cubicBezTo>
                      <a:pt x="68618" y="137105"/>
                      <a:pt x="72428" y="139241"/>
                      <a:pt x="76237" y="139241"/>
                    </a:cubicBezTo>
                    <a:cubicBezTo>
                      <a:pt x="80047" y="139241"/>
                      <a:pt x="86458" y="135712"/>
                      <a:pt x="88363" y="132183"/>
                    </a:cubicBezTo>
                    <a:cubicBezTo>
                      <a:pt x="90268" y="128654"/>
                      <a:pt x="109408" y="122989"/>
                      <a:pt x="114519" y="122292"/>
                    </a:cubicBezTo>
                    <a:cubicBezTo>
                      <a:pt x="119629" y="121596"/>
                      <a:pt x="127248" y="132879"/>
                      <a:pt x="131754" y="132879"/>
                    </a:cubicBezTo>
                    <a:cubicBezTo>
                      <a:pt x="136261" y="132879"/>
                      <a:pt x="144484" y="136408"/>
                      <a:pt x="147085" y="145602"/>
                    </a:cubicBezTo>
                    <a:cubicBezTo>
                      <a:pt x="149641" y="154796"/>
                      <a:pt x="157306" y="166080"/>
                      <a:pt x="160465" y="169609"/>
                    </a:cubicBezTo>
                    <a:cubicBezTo>
                      <a:pt x="163671" y="173138"/>
                      <a:pt x="165576" y="182332"/>
                      <a:pt x="165576" y="185165"/>
                    </a:cubicBezTo>
                    <a:cubicBezTo>
                      <a:pt x="165576" y="187997"/>
                      <a:pt x="158561" y="184468"/>
                      <a:pt x="150895" y="182332"/>
                    </a:cubicBezTo>
                    <a:cubicBezTo>
                      <a:pt x="143276" y="180196"/>
                      <a:pt x="142626" y="188694"/>
                      <a:pt x="142626" y="192919"/>
                    </a:cubicBezTo>
                    <a:cubicBezTo>
                      <a:pt x="142626" y="197145"/>
                      <a:pt x="131801" y="212004"/>
                      <a:pt x="129896" y="214837"/>
                    </a:cubicBezTo>
                    <a:cubicBezTo>
                      <a:pt x="127991" y="217669"/>
                      <a:pt x="133752" y="219759"/>
                      <a:pt x="138212" y="220455"/>
                    </a:cubicBezTo>
                    <a:cubicBezTo>
                      <a:pt x="140117" y="220734"/>
                      <a:pt x="147782" y="214837"/>
                      <a:pt x="150338" y="214837"/>
                    </a:cubicBezTo>
                    <a:cubicBezTo>
                      <a:pt x="151360" y="214837"/>
                      <a:pt x="154565" y="217530"/>
                      <a:pt x="157910" y="220780"/>
                    </a:cubicBezTo>
                    <a:cubicBezTo>
                      <a:pt x="157167" y="209729"/>
                      <a:pt x="159257" y="210332"/>
                      <a:pt x="168178" y="202856"/>
                    </a:cubicBezTo>
                    <a:cubicBezTo>
                      <a:pt x="177423" y="195102"/>
                      <a:pt x="178398" y="180614"/>
                      <a:pt x="186668" y="178850"/>
                    </a:cubicBezTo>
                    <a:cubicBezTo>
                      <a:pt x="194984" y="177085"/>
                      <a:pt x="198468" y="172860"/>
                      <a:pt x="210594" y="174949"/>
                    </a:cubicBezTo>
                    <a:cubicBezTo>
                      <a:pt x="222719" y="177085"/>
                      <a:pt x="204554" y="185536"/>
                      <a:pt x="212823" y="190505"/>
                    </a:cubicBezTo>
                    <a:cubicBezTo>
                      <a:pt x="221139" y="195473"/>
                      <a:pt x="246645" y="189112"/>
                      <a:pt x="247899" y="196170"/>
                    </a:cubicBezTo>
                    <a:cubicBezTo>
                      <a:pt x="249154" y="203228"/>
                      <a:pt x="218538" y="210332"/>
                      <a:pt x="219188" y="213861"/>
                    </a:cubicBezTo>
                    <a:cubicBezTo>
                      <a:pt x="219839" y="217391"/>
                      <a:pt x="235448" y="220919"/>
                      <a:pt x="240884" y="224774"/>
                    </a:cubicBezTo>
                    <a:cubicBezTo>
                      <a:pt x="246320" y="228674"/>
                      <a:pt x="239304" y="239633"/>
                      <a:pt x="241860" y="243162"/>
                    </a:cubicBezTo>
                    <a:cubicBezTo>
                      <a:pt x="244415" y="246691"/>
                      <a:pt x="252684" y="243858"/>
                      <a:pt x="259421" y="238565"/>
                    </a:cubicBezTo>
                    <a:cubicBezTo>
                      <a:pt x="266110" y="233271"/>
                      <a:pt x="271546" y="235036"/>
                      <a:pt x="280141" y="228674"/>
                    </a:cubicBezTo>
                    <a:cubicBezTo>
                      <a:pt x="288736" y="222313"/>
                      <a:pt x="306622" y="227931"/>
                      <a:pt x="308852" y="224077"/>
                    </a:cubicBezTo>
                    <a:cubicBezTo>
                      <a:pt x="311082" y="220177"/>
                      <a:pt x="303742" y="216322"/>
                      <a:pt x="287156" y="217716"/>
                    </a:cubicBezTo>
                    <a:cubicBezTo>
                      <a:pt x="270571" y="219109"/>
                      <a:pt x="269641" y="201835"/>
                      <a:pt x="269641" y="198259"/>
                    </a:cubicBezTo>
                    <a:cubicBezTo>
                      <a:pt x="269641" y="194684"/>
                      <a:pt x="286877" y="180243"/>
                      <a:pt x="296726" y="179221"/>
                    </a:cubicBezTo>
                    <a:cubicBezTo>
                      <a:pt x="306622" y="178153"/>
                      <a:pt x="314566" y="174996"/>
                      <a:pt x="324137" y="170027"/>
                    </a:cubicBezTo>
                    <a:cubicBezTo>
                      <a:pt x="327992" y="168030"/>
                      <a:pt x="334775" y="166034"/>
                      <a:pt x="341651" y="164548"/>
                    </a:cubicBezTo>
                    <a:cubicBezTo>
                      <a:pt x="340629" y="159533"/>
                      <a:pt x="339282" y="153682"/>
                      <a:pt x="342116" y="153218"/>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4" name="Freeform 123">
                <a:extLst>
                  <a:ext uri="{FF2B5EF4-FFF2-40B4-BE49-F238E27FC236}">
                    <a16:creationId xmlns:a16="http://schemas.microsoft.com/office/drawing/2014/main" id="{494BFD54-C5B1-6976-6E07-E0A722458B9E}"/>
                  </a:ext>
                </a:extLst>
              </p:cNvPr>
              <p:cNvSpPr/>
              <p:nvPr/>
            </p:nvSpPr>
            <p:spPr>
              <a:xfrm>
                <a:off x="11791867" y="1779624"/>
                <a:ext cx="942818" cy="744280"/>
              </a:xfrm>
              <a:custGeom>
                <a:avLst/>
                <a:gdLst>
                  <a:gd name="connsiteX0" fmla="*/ 189966 w 201851"/>
                  <a:gd name="connsiteY0" fmla="*/ 79125 h 159345"/>
                  <a:gd name="connsiteX1" fmla="*/ 177516 w 201851"/>
                  <a:gd name="connsiteY1" fmla="*/ 65891 h 159345"/>
                  <a:gd name="connsiteX2" fmla="*/ 167481 w 201851"/>
                  <a:gd name="connsiteY2" fmla="*/ 51078 h 159345"/>
                  <a:gd name="connsiteX3" fmla="*/ 165065 w 201851"/>
                  <a:gd name="connsiteY3" fmla="*/ 34130 h 159345"/>
                  <a:gd name="connsiteX4" fmla="*/ 163160 w 201851"/>
                  <a:gd name="connsiteY4" fmla="*/ 17692 h 159345"/>
                  <a:gd name="connsiteX5" fmla="*/ 143090 w 201851"/>
                  <a:gd name="connsiteY5" fmla="*/ 11330 h 159345"/>
                  <a:gd name="connsiteX6" fmla="*/ 131615 w 201851"/>
                  <a:gd name="connsiteY6" fmla="*/ 11330 h 159345"/>
                  <a:gd name="connsiteX7" fmla="*/ 120605 w 201851"/>
                  <a:gd name="connsiteY7" fmla="*/ 5479 h 159345"/>
                  <a:gd name="connsiteX8" fmla="*/ 109129 w 201851"/>
                  <a:gd name="connsiteY8" fmla="*/ 1765 h 159345"/>
                  <a:gd name="connsiteX9" fmla="*/ 108061 w 201851"/>
                  <a:gd name="connsiteY9" fmla="*/ 0 h 159345"/>
                  <a:gd name="connsiteX10" fmla="*/ 101371 w 201851"/>
                  <a:gd name="connsiteY10" fmla="*/ 2972 h 159345"/>
                  <a:gd name="connsiteX11" fmla="*/ 93055 w 201851"/>
                  <a:gd name="connsiteY11" fmla="*/ 11469 h 159345"/>
                  <a:gd name="connsiteX12" fmla="*/ 78374 w 201851"/>
                  <a:gd name="connsiteY12" fmla="*/ 13605 h 159345"/>
                  <a:gd name="connsiteX13" fmla="*/ 72614 w 201851"/>
                  <a:gd name="connsiteY13" fmla="*/ 26329 h 159345"/>
                  <a:gd name="connsiteX14" fmla="*/ 70059 w 201851"/>
                  <a:gd name="connsiteY14" fmla="*/ 35523 h 159345"/>
                  <a:gd name="connsiteX15" fmla="*/ 63043 w 201851"/>
                  <a:gd name="connsiteY15" fmla="*/ 41884 h 159345"/>
                  <a:gd name="connsiteX16" fmla="*/ 52172 w 201851"/>
                  <a:gd name="connsiteY16" fmla="*/ 53168 h 159345"/>
                  <a:gd name="connsiteX17" fmla="*/ 48966 w 201851"/>
                  <a:gd name="connsiteY17" fmla="*/ 64498 h 159345"/>
                  <a:gd name="connsiteX18" fmla="*/ 34936 w 201851"/>
                  <a:gd name="connsiteY18" fmla="*/ 69420 h 159345"/>
                  <a:gd name="connsiteX19" fmla="*/ 24112 w 201851"/>
                  <a:gd name="connsiteY19" fmla="*/ 75085 h 159345"/>
                  <a:gd name="connsiteX20" fmla="*/ 8316 w 201851"/>
                  <a:gd name="connsiteY20" fmla="*/ 73831 h 159345"/>
                  <a:gd name="connsiteX21" fmla="*/ 8177 w 201851"/>
                  <a:gd name="connsiteY21" fmla="*/ 75967 h 159345"/>
                  <a:gd name="connsiteX22" fmla="*/ 11521 w 201851"/>
                  <a:gd name="connsiteY22" fmla="*/ 93984 h 159345"/>
                  <a:gd name="connsiteX23" fmla="*/ 12451 w 201851"/>
                  <a:gd name="connsiteY23" fmla="*/ 114647 h 159345"/>
                  <a:gd name="connsiteX24" fmla="*/ 0 w 201851"/>
                  <a:gd name="connsiteY24" fmla="*/ 126813 h 159345"/>
                  <a:gd name="connsiteX25" fmla="*/ 7154 w 201851"/>
                  <a:gd name="connsiteY25" fmla="*/ 138979 h 159345"/>
                  <a:gd name="connsiteX26" fmla="*/ 6783 w 201851"/>
                  <a:gd name="connsiteY26" fmla="*/ 152074 h 159345"/>
                  <a:gd name="connsiteX27" fmla="*/ 18304 w 201851"/>
                  <a:gd name="connsiteY27" fmla="*/ 149241 h 159345"/>
                  <a:gd name="connsiteX28" fmla="*/ 32335 w 201851"/>
                  <a:gd name="connsiteY28" fmla="*/ 140047 h 159345"/>
                  <a:gd name="connsiteX29" fmla="*/ 69315 w 201851"/>
                  <a:gd name="connsiteY29" fmla="*/ 144969 h 159345"/>
                  <a:gd name="connsiteX30" fmla="*/ 89106 w 201851"/>
                  <a:gd name="connsiteY30" fmla="*/ 148498 h 159345"/>
                  <a:gd name="connsiteX31" fmla="*/ 103787 w 201851"/>
                  <a:gd name="connsiteY31" fmla="*/ 150588 h 159345"/>
                  <a:gd name="connsiteX32" fmla="*/ 117817 w 201851"/>
                  <a:gd name="connsiteY32" fmla="*/ 152027 h 159345"/>
                  <a:gd name="connsiteX33" fmla="*/ 131847 w 201851"/>
                  <a:gd name="connsiteY33" fmla="*/ 156949 h 159345"/>
                  <a:gd name="connsiteX34" fmla="*/ 151592 w 201851"/>
                  <a:gd name="connsiteY34" fmla="*/ 158389 h 159345"/>
                  <a:gd name="connsiteX35" fmla="*/ 155402 w 201851"/>
                  <a:gd name="connsiteY35" fmla="*/ 150588 h 159345"/>
                  <a:gd name="connsiteX36" fmla="*/ 168178 w 201851"/>
                  <a:gd name="connsiteY36" fmla="*/ 135079 h 159345"/>
                  <a:gd name="connsiteX37" fmla="*/ 182022 w 201851"/>
                  <a:gd name="connsiteY37" fmla="*/ 131968 h 159345"/>
                  <a:gd name="connsiteX38" fmla="*/ 178816 w 201851"/>
                  <a:gd name="connsiteY38" fmla="*/ 121984 h 159345"/>
                  <a:gd name="connsiteX39" fmla="*/ 175471 w 201851"/>
                  <a:gd name="connsiteY39" fmla="*/ 99742 h 159345"/>
                  <a:gd name="connsiteX40" fmla="*/ 190756 w 201851"/>
                  <a:gd name="connsiteY40" fmla="*/ 102389 h 159345"/>
                  <a:gd name="connsiteX41" fmla="*/ 201766 w 201851"/>
                  <a:gd name="connsiteY41" fmla="*/ 91291 h 159345"/>
                  <a:gd name="connsiteX42" fmla="*/ 189827 w 201851"/>
                  <a:gd name="connsiteY42" fmla="*/ 79125 h 15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1851" h="159345">
                    <a:moveTo>
                      <a:pt x="189966" y="79125"/>
                    </a:moveTo>
                    <a:cubicBezTo>
                      <a:pt x="186110" y="78057"/>
                      <a:pt x="183741" y="68538"/>
                      <a:pt x="177516" y="65891"/>
                    </a:cubicBezTo>
                    <a:cubicBezTo>
                      <a:pt x="171290" y="63244"/>
                      <a:pt x="172730" y="54747"/>
                      <a:pt x="167481" y="51078"/>
                    </a:cubicBezTo>
                    <a:cubicBezTo>
                      <a:pt x="162231" y="47363"/>
                      <a:pt x="165576" y="39934"/>
                      <a:pt x="165065" y="34130"/>
                    </a:cubicBezTo>
                    <a:cubicBezTo>
                      <a:pt x="164600" y="28325"/>
                      <a:pt x="166040" y="19317"/>
                      <a:pt x="163160" y="17692"/>
                    </a:cubicBezTo>
                    <a:cubicBezTo>
                      <a:pt x="160280" y="16113"/>
                      <a:pt x="148340" y="8683"/>
                      <a:pt x="143090" y="11330"/>
                    </a:cubicBezTo>
                    <a:cubicBezTo>
                      <a:pt x="137840" y="13977"/>
                      <a:pt x="133985" y="16066"/>
                      <a:pt x="131615" y="11330"/>
                    </a:cubicBezTo>
                    <a:cubicBezTo>
                      <a:pt x="129246" y="6547"/>
                      <a:pt x="125901" y="3901"/>
                      <a:pt x="120605" y="5479"/>
                    </a:cubicBezTo>
                    <a:cubicBezTo>
                      <a:pt x="115355" y="7058"/>
                      <a:pt x="111963" y="4411"/>
                      <a:pt x="109129" y="1765"/>
                    </a:cubicBezTo>
                    <a:cubicBezTo>
                      <a:pt x="108712" y="1347"/>
                      <a:pt x="108340" y="743"/>
                      <a:pt x="108061" y="0"/>
                    </a:cubicBezTo>
                    <a:cubicBezTo>
                      <a:pt x="105924" y="511"/>
                      <a:pt x="103137" y="1393"/>
                      <a:pt x="101371" y="2972"/>
                    </a:cubicBezTo>
                    <a:cubicBezTo>
                      <a:pt x="98165" y="5804"/>
                      <a:pt x="97562" y="11469"/>
                      <a:pt x="93055" y="11469"/>
                    </a:cubicBezTo>
                    <a:cubicBezTo>
                      <a:pt x="88549" y="11469"/>
                      <a:pt x="83485" y="9380"/>
                      <a:pt x="78374" y="13605"/>
                    </a:cubicBezTo>
                    <a:cubicBezTo>
                      <a:pt x="73264" y="17831"/>
                      <a:pt x="72010" y="22799"/>
                      <a:pt x="72614" y="26329"/>
                    </a:cubicBezTo>
                    <a:cubicBezTo>
                      <a:pt x="73264" y="29857"/>
                      <a:pt x="73914" y="35523"/>
                      <a:pt x="70059" y="35523"/>
                    </a:cubicBezTo>
                    <a:cubicBezTo>
                      <a:pt x="66202" y="35523"/>
                      <a:pt x="66899" y="40491"/>
                      <a:pt x="63043" y="41884"/>
                    </a:cubicBezTo>
                    <a:cubicBezTo>
                      <a:pt x="59234" y="43277"/>
                      <a:pt x="52823" y="49639"/>
                      <a:pt x="52172" y="53168"/>
                    </a:cubicBezTo>
                    <a:cubicBezTo>
                      <a:pt x="51522" y="56697"/>
                      <a:pt x="51522" y="64498"/>
                      <a:pt x="48966" y="64498"/>
                    </a:cubicBezTo>
                    <a:cubicBezTo>
                      <a:pt x="46411" y="64498"/>
                      <a:pt x="37492" y="65891"/>
                      <a:pt x="34936" y="69420"/>
                    </a:cubicBezTo>
                    <a:cubicBezTo>
                      <a:pt x="32381" y="72949"/>
                      <a:pt x="29222" y="76478"/>
                      <a:pt x="24112" y="75085"/>
                    </a:cubicBezTo>
                    <a:cubicBezTo>
                      <a:pt x="21510" y="74342"/>
                      <a:pt x="14495" y="74017"/>
                      <a:pt x="8316" y="73831"/>
                    </a:cubicBezTo>
                    <a:cubicBezTo>
                      <a:pt x="8409" y="74528"/>
                      <a:pt x="8409" y="75224"/>
                      <a:pt x="8177" y="75967"/>
                    </a:cubicBezTo>
                    <a:cubicBezTo>
                      <a:pt x="5807" y="83397"/>
                      <a:pt x="7712" y="90269"/>
                      <a:pt x="11521" y="93984"/>
                    </a:cubicBezTo>
                    <a:cubicBezTo>
                      <a:pt x="15331" y="97699"/>
                      <a:pt x="16771" y="112511"/>
                      <a:pt x="12451" y="114647"/>
                    </a:cubicBezTo>
                    <a:cubicBezTo>
                      <a:pt x="8130" y="116737"/>
                      <a:pt x="0" y="123099"/>
                      <a:pt x="0" y="126813"/>
                    </a:cubicBezTo>
                    <a:cubicBezTo>
                      <a:pt x="0" y="130528"/>
                      <a:pt x="8595" y="133686"/>
                      <a:pt x="7154" y="138979"/>
                    </a:cubicBezTo>
                    <a:cubicBezTo>
                      <a:pt x="6365" y="142044"/>
                      <a:pt x="6318" y="147384"/>
                      <a:pt x="6783" y="152074"/>
                    </a:cubicBezTo>
                    <a:cubicBezTo>
                      <a:pt x="10825" y="152260"/>
                      <a:pt x="14867" y="153049"/>
                      <a:pt x="18304" y="149241"/>
                    </a:cubicBezTo>
                    <a:cubicBezTo>
                      <a:pt x="22160" y="145016"/>
                      <a:pt x="24065" y="140047"/>
                      <a:pt x="32335" y="140047"/>
                    </a:cubicBezTo>
                    <a:cubicBezTo>
                      <a:pt x="40604" y="140047"/>
                      <a:pt x="65505" y="140047"/>
                      <a:pt x="69315" y="144969"/>
                    </a:cubicBezTo>
                    <a:cubicBezTo>
                      <a:pt x="73125" y="149938"/>
                      <a:pt x="83345" y="145666"/>
                      <a:pt x="89106" y="148498"/>
                    </a:cubicBezTo>
                    <a:cubicBezTo>
                      <a:pt x="94867" y="151331"/>
                      <a:pt x="103137" y="154163"/>
                      <a:pt x="103787" y="150588"/>
                    </a:cubicBezTo>
                    <a:cubicBezTo>
                      <a:pt x="104437" y="147059"/>
                      <a:pt x="112103" y="155556"/>
                      <a:pt x="117817" y="152027"/>
                    </a:cubicBezTo>
                    <a:cubicBezTo>
                      <a:pt x="123578" y="148498"/>
                      <a:pt x="128642" y="159085"/>
                      <a:pt x="131847" y="156949"/>
                    </a:cubicBezTo>
                    <a:cubicBezTo>
                      <a:pt x="135053" y="154813"/>
                      <a:pt x="148433" y="154860"/>
                      <a:pt x="151592" y="158389"/>
                    </a:cubicBezTo>
                    <a:cubicBezTo>
                      <a:pt x="154798" y="161918"/>
                      <a:pt x="155402" y="154860"/>
                      <a:pt x="155402" y="150588"/>
                    </a:cubicBezTo>
                    <a:cubicBezTo>
                      <a:pt x="155402" y="146316"/>
                      <a:pt x="168178" y="135079"/>
                      <a:pt x="168178" y="135079"/>
                    </a:cubicBezTo>
                    <a:cubicBezTo>
                      <a:pt x="168178" y="135079"/>
                      <a:pt x="176865" y="134568"/>
                      <a:pt x="182022" y="131968"/>
                    </a:cubicBezTo>
                    <a:cubicBezTo>
                      <a:pt x="180860" y="130157"/>
                      <a:pt x="179885" y="127138"/>
                      <a:pt x="178816" y="121984"/>
                    </a:cubicBezTo>
                    <a:cubicBezTo>
                      <a:pt x="176447" y="110329"/>
                      <a:pt x="172591" y="103457"/>
                      <a:pt x="175471" y="99742"/>
                    </a:cubicBezTo>
                    <a:cubicBezTo>
                      <a:pt x="178352" y="96027"/>
                      <a:pt x="186482" y="104525"/>
                      <a:pt x="190756" y="102389"/>
                    </a:cubicBezTo>
                    <a:cubicBezTo>
                      <a:pt x="195077" y="100299"/>
                      <a:pt x="202742" y="96027"/>
                      <a:pt x="201766" y="91291"/>
                    </a:cubicBezTo>
                    <a:cubicBezTo>
                      <a:pt x="200791" y="86508"/>
                      <a:pt x="193636" y="80146"/>
                      <a:pt x="189827" y="79125"/>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5" name="Freeform 124">
                <a:extLst>
                  <a:ext uri="{FF2B5EF4-FFF2-40B4-BE49-F238E27FC236}">
                    <a16:creationId xmlns:a16="http://schemas.microsoft.com/office/drawing/2014/main" id="{D2A63230-109F-C1A6-ED77-2ECE97E0679D}"/>
                  </a:ext>
                </a:extLst>
              </p:cNvPr>
              <p:cNvSpPr/>
              <p:nvPr/>
            </p:nvSpPr>
            <p:spPr>
              <a:xfrm>
                <a:off x="10789384" y="3183193"/>
                <a:ext cx="338899" cy="205976"/>
              </a:xfrm>
              <a:custGeom>
                <a:avLst/>
                <a:gdLst>
                  <a:gd name="connsiteX0" fmla="*/ 175 w 72556"/>
                  <a:gd name="connsiteY0" fmla="*/ 38944 h 44098"/>
                  <a:gd name="connsiteX1" fmla="*/ 13927 w 72556"/>
                  <a:gd name="connsiteY1" fmla="*/ 36994 h 44098"/>
                  <a:gd name="connsiteX2" fmla="*/ 17690 w 72556"/>
                  <a:gd name="connsiteY2" fmla="*/ 44098 h 44098"/>
                  <a:gd name="connsiteX3" fmla="*/ 32882 w 72556"/>
                  <a:gd name="connsiteY3" fmla="*/ 40848 h 44098"/>
                  <a:gd name="connsiteX4" fmla="*/ 46261 w 72556"/>
                  <a:gd name="connsiteY4" fmla="*/ 41359 h 44098"/>
                  <a:gd name="connsiteX5" fmla="*/ 53927 w 72556"/>
                  <a:gd name="connsiteY5" fmla="*/ 30772 h 44098"/>
                  <a:gd name="connsiteX6" fmla="*/ 59177 w 72556"/>
                  <a:gd name="connsiteY6" fmla="*/ 19117 h 44098"/>
                  <a:gd name="connsiteX7" fmla="*/ 72556 w 72556"/>
                  <a:gd name="connsiteY7" fmla="*/ 9040 h 44098"/>
                  <a:gd name="connsiteX8" fmla="*/ 67307 w 72556"/>
                  <a:gd name="connsiteY8" fmla="*/ 32 h 44098"/>
                  <a:gd name="connsiteX9" fmla="*/ 52487 w 72556"/>
                  <a:gd name="connsiteY9" fmla="*/ 5325 h 44098"/>
                  <a:gd name="connsiteX10" fmla="*/ 33857 w 72556"/>
                  <a:gd name="connsiteY10" fmla="*/ 12755 h 44098"/>
                  <a:gd name="connsiteX11" fmla="*/ 9931 w 72556"/>
                  <a:gd name="connsiteY11" fmla="*/ 7972 h 44098"/>
                  <a:gd name="connsiteX12" fmla="*/ 1290 w 72556"/>
                  <a:gd name="connsiteY12" fmla="*/ 7229 h 44098"/>
                  <a:gd name="connsiteX13" fmla="*/ 175 w 72556"/>
                  <a:gd name="connsiteY13" fmla="*/ 38898 h 4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556" h="44098">
                    <a:moveTo>
                      <a:pt x="175" y="38944"/>
                    </a:moveTo>
                    <a:cubicBezTo>
                      <a:pt x="5332" y="36669"/>
                      <a:pt x="11093" y="35740"/>
                      <a:pt x="13927" y="36994"/>
                    </a:cubicBezTo>
                    <a:cubicBezTo>
                      <a:pt x="16436" y="38108"/>
                      <a:pt x="17225" y="40987"/>
                      <a:pt x="17690" y="44098"/>
                    </a:cubicBezTo>
                    <a:cubicBezTo>
                      <a:pt x="22103" y="43402"/>
                      <a:pt x="30140" y="42009"/>
                      <a:pt x="32882" y="40848"/>
                    </a:cubicBezTo>
                    <a:cubicBezTo>
                      <a:pt x="36738" y="39269"/>
                      <a:pt x="45332" y="44563"/>
                      <a:pt x="46261" y="41359"/>
                    </a:cubicBezTo>
                    <a:cubicBezTo>
                      <a:pt x="47191" y="38201"/>
                      <a:pt x="50071" y="30772"/>
                      <a:pt x="53927" y="30772"/>
                    </a:cubicBezTo>
                    <a:cubicBezTo>
                      <a:pt x="57783" y="30772"/>
                      <a:pt x="55367" y="19627"/>
                      <a:pt x="59177" y="19117"/>
                    </a:cubicBezTo>
                    <a:cubicBezTo>
                      <a:pt x="62986" y="18606"/>
                      <a:pt x="72556" y="9040"/>
                      <a:pt x="72556" y="9040"/>
                    </a:cubicBezTo>
                    <a:cubicBezTo>
                      <a:pt x="72556" y="9040"/>
                      <a:pt x="68747" y="589"/>
                      <a:pt x="67307" y="32"/>
                    </a:cubicBezTo>
                    <a:cubicBezTo>
                      <a:pt x="65866" y="-479"/>
                      <a:pt x="61081" y="5325"/>
                      <a:pt x="52487" y="5325"/>
                    </a:cubicBezTo>
                    <a:cubicBezTo>
                      <a:pt x="43892" y="5325"/>
                      <a:pt x="37667" y="12755"/>
                      <a:pt x="33857" y="12755"/>
                    </a:cubicBezTo>
                    <a:cubicBezTo>
                      <a:pt x="30048" y="12755"/>
                      <a:pt x="18061" y="8529"/>
                      <a:pt x="9931" y="7972"/>
                    </a:cubicBezTo>
                    <a:cubicBezTo>
                      <a:pt x="7051" y="7786"/>
                      <a:pt x="4078" y="7554"/>
                      <a:pt x="1290" y="7229"/>
                    </a:cubicBezTo>
                    <a:cubicBezTo>
                      <a:pt x="500" y="15216"/>
                      <a:pt x="-382" y="27568"/>
                      <a:pt x="175" y="38898"/>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6" name="Freeform 126">
                <a:extLst>
                  <a:ext uri="{FF2B5EF4-FFF2-40B4-BE49-F238E27FC236}">
                    <a16:creationId xmlns:a16="http://schemas.microsoft.com/office/drawing/2014/main" id="{AE120AA4-DCB4-CBC2-89BF-CA3DAFE658E1}"/>
                  </a:ext>
                </a:extLst>
              </p:cNvPr>
              <p:cNvSpPr/>
              <p:nvPr/>
            </p:nvSpPr>
            <p:spPr>
              <a:xfrm>
                <a:off x="11434900" y="1922226"/>
                <a:ext cx="316600" cy="150173"/>
              </a:xfrm>
              <a:custGeom>
                <a:avLst/>
                <a:gdLst>
                  <a:gd name="connsiteX0" fmla="*/ 55889 w 67782"/>
                  <a:gd name="connsiteY0" fmla="*/ 7268 h 32151"/>
                  <a:gd name="connsiteX1" fmla="*/ 42974 w 67782"/>
                  <a:gd name="connsiteY1" fmla="*/ 1974 h 32151"/>
                  <a:gd name="connsiteX2" fmla="*/ 29872 w 67782"/>
                  <a:gd name="connsiteY2" fmla="*/ 674 h 32151"/>
                  <a:gd name="connsiteX3" fmla="*/ 33217 w 67782"/>
                  <a:gd name="connsiteY3" fmla="*/ 4296 h 32151"/>
                  <a:gd name="connsiteX4" fmla="*/ 26202 w 67782"/>
                  <a:gd name="connsiteY4" fmla="*/ 17344 h 32151"/>
                  <a:gd name="connsiteX5" fmla="*/ 15982 w 67782"/>
                  <a:gd name="connsiteY5" fmla="*/ 17344 h 32151"/>
                  <a:gd name="connsiteX6" fmla="*/ 1301 w 67782"/>
                  <a:gd name="connsiteY6" fmla="*/ 18412 h 32151"/>
                  <a:gd name="connsiteX7" fmla="*/ 0 w 67782"/>
                  <a:gd name="connsiteY7" fmla="*/ 24077 h 32151"/>
                  <a:gd name="connsiteX8" fmla="*/ 10918 w 67782"/>
                  <a:gd name="connsiteY8" fmla="*/ 28489 h 32151"/>
                  <a:gd name="connsiteX9" fmla="*/ 66992 w 67782"/>
                  <a:gd name="connsiteY9" fmla="*/ 31089 h 32151"/>
                  <a:gd name="connsiteX10" fmla="*/ 67782 w 67782"/>
                  <a:gd name="connsiteY10" fmla="*/ 15208 h 32151"/>
                  <a:gd name="connsiteX11" fmla="*/ 55842 w 67782"/>
                  <a:gd name="connsiteY11" fmla="*/ 7268 h 32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782" h="32151">
                    <a:moveTo>
                      <a:pt x="55889" y="7268"/>
                    </a:moveTo>
                    <a:cubicBezTo>
                      <a:pt x="53009" y="8847"/>
                      <a:pt x="45343" y="5689"/>
                      <a:pt x="42974" y="1974"/>
                    </a:cubicBezTo>
                    <a:cubicBezTo>
                      <a:pt x="41069" y="-997"/>
                      <a:pt x="35122" y="117"/>
                      <a:pt x="29872" y="674"/>
                    </a:cubicBezTo>
                    <a:cubicBezTo>
                      <a:pt x="31034" y="1464"/>
                      <a:pt x="32335" y="2485"/>
                      <a:pt x="33217" y="4296"/>
                    </a:cubicBezTo>
                    <a:cubicBezTo>
                      <a:pt x="36098" y="9961"/>
                      <a:pt x="21742" y="10658"/>
                      <a:pt x="26202" y="17344"/>
                    </a:cubicBezTo>
                    <a:cubicBezTo>
                      <a:pt x="30662" y="24077"/>
                      <a:pt x="15982" y="24402"/>
                      <a:pt x="15982" y="17344"/>
                    </a:cubicBezTo>
                    <a:cubicBezTo>
                      <a:pt x="15982" y="10286"/>
                      <a:pt x="650" y="13815"/>
                      <a:pt x="1301" y="18412"/>
                    </a:cubicBezTo>
                    <a:cubicBezTo>
                      <a:pt x="1533" y="20084"/>
                      <a:pt x="1069" y="22081"/>
                      <a:pt x="0" y="24077"/>
                    </a:cubicBezTo>
                    <a:cubicBezTo>
                      <a:pt x="4181" y="25703"/>
                      <a:pt x="9013" y="27653"/>
                      <a:pt x="10918" y="28489"/>
                    </a:cubicBezTo>
                    <a:cubicBezTo>
                      <a:pt x="13798" y="29742"/>
                      <a:pt x="52033" y="34154"/>
                      <a:pt x="66992" y="31089"/>
                    </a:cubicBezTo>
                    <a:cubicBezTo>
                      <a:pt x="66202" y="27978"/>
                      <a:pt x="67782" y="18737"/>
                      <a:pt x="67782" y="15208"/>
                    </a:cubicBezTo>
                    <a:cubicBezTo>
                      <a:pt x="67782" y="10983"/>
                      <a:pt x="58676" y="5689"/>
                      <a:pt x="55842" y="7268"/>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7" name="Freeform 127">
                <a:extLst>
                  <a:ext uri="{FF2B5EF4-FFF2-40B4-BE49-F238E27FC236}">
                    <a16:creationId xmlns:a16="http://schemas.microsoft.com/office/drawing/2014/main" id="{E17D5BBD-9CF2-7201-E26A-B2C35597E8A9}"/>
                  </a:ext>
                </a:extLst>
              </p:cNvPr>
              <p:cNvSpPr/>
              <p:nvPr/>
            </p:nvSpPr>
            <p:spPr>
              <a:xfrm>
                <a:off x="11317951" y="3673079"/>
                <a:ext cx="121951" cy="179146"/>
              </a:xfrm>
              <a:custGeom>
                <a:avLst/>
                <a:gdLst>
                  <a:gd name="connsiteX0" fmla="*/ 9152 w 26109"/>
                  <a:gd name="connsiteY0" fmla="*/ 46 h 38354"/>
                  <a:gd name="connsiteX1" fmla="*/ 883 w 26109"/>
                  <a:gd name="connsiteY1" fmla="*/ 17784 h 38354"/>
                  <a:gd name="connsiteX2" fmla="*/ 0 w 26109"/>
                  <a:gd name="connsiteY2" fmla="*/ 25168 h 38354"/>
                  <a:gd name="connsiteX3" fmla="*/ 15238 w 26109"/>
                  <a:gd name="connsiteY3" fmla="*/ 37705 h 38354"/>
                  <a:gd name="connsiteX4" fmla="*/ 16400 w 26109"/>
                  <a:gd name="connsiteY4" fmla="*/ 38355 h 38354"/>
                  <a:gd name="connsiteX5" fmla="*/ 26110 w 26109"/>
                  <a:gd name="connsiteY5" fmla="*/ 21453 h 38354"/>
                  <a:gd name="connsiteX6" fmla="*/ 9199 w 26109"/>
                  <a:gd name="connsiteY6" fmla="*/ 0 h 38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09" h="38354">
                    <a:moveTo>
                      <a:pt x="9152" y="46"/>
                    </a:moveTo>
                    <a:cubicBezTo>
                      <a:pt x="4739" y="6640"/>
                      <a:pt x="418" y="15045"/>
                      <a:pt x="883" y="17784"/>
                    </a:cubicBezTo>
                    <a:cubicBezTo>
                      <a:pt x="1115" y="18992"/>
                      <a:pt x="743" y="21685"/>
                      <a:pt x="0" y="25168"/>
                    </a:cubicBezTo>
                    <a:cubicBezTo>
                      <a:pt x="5668" y="30229"/>
                      <a:pt x="11197" y="35383"/>
                      <a:pt x="15238" y="37705"/>
                    </a:cubicBezTo>
                    <a:cubicBezTo>
                      <a:pt x="15657" y="37937"/>
                      <a:pt x="15982" y="38169"/>
                      <a:pt x="16400" y="38355"/>
                    </a:cubicBezTo>
                    <a:cubicBezTo>
                      <a:pt x="17654" y="30508"/>
                      <a:pt x="22532" y="22381"/>
                      <a:pt x="26110" y="21453"/>
                    </a:cubicBezTo>
                    <a:cubicBezTo>
                      <a:pt x="21139" y="14720"/>
                      <a:pt x="13891" y="5201"/>
                      <a:pt x="9199" y="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8" name="Freeform 128">
                <a:extLst>
                  <a:ext uri="{FF2B5EF4-FFF2-40B4-BE49-F238E27FC236}">
                    <a16:creationId xmlns:a16="http://schemas.microsoft.com/office/drawing/2014/main" id="{97AC7BA3-0726-A21D-CFB3-E2C7DCE6C74F}"/>
                  </a:ext>
                </a:extLst>
              </p:cNvPr>
              <p:cNvSpPr/>
              <p:nvPr/>
            </p:nvSpPr>
            <p:spPr>
              <a:xfrm>
                <a:off x="11347895" y="3274654"/>
                <a:ext cx="403899" cy="556324"/>
              </a:xfrm>
              <a:custGeom>
                <a:avLst/>
                <a:gdLst>
                  <a:gd name="connsiteX0" fmla="*/ 78374 w 86472"/>
                  <a:gd name="connsiteY0" fmla="*/ 79543 h 119105"/>
                  <a:gd name="connsiteX1" fmla="*/ 78374 w 86472"/>
                  <a:gd name="connsiteY1" fmla="*/ 63105 h 119105"/>
                  <a:gd name="connsiteX2" fmla="*/ 78839 w 86472"/>
                  <a:gd name="connsiteY2" fmla="*/ 50382 h 119105"/>
                  <a:gd name="connsiteX3" fmla="*/ 54913 w 86472"/>
                  <a:gd name="connsiteY3" fmla="*/ 42441 h 119105"/>
                  <a:gd name="connsiteX4" fmla="*/ 52033 w 86472"/>
                  <a:gd name="connsiteY4" fmla="*/ 27582 h 119105"/>
                  <a:gd name="connsiteX5" fmla="*/ 44878 w 86472"/>
                  <a:gd name="connsiteY5" fmla="*/ 19131 h 119105"/>
                  <a:gd name="connsiteX6" fmla="*/ 37213 w 86472"/>
                  <a:gd name="connsiteY6" fmla="*/ 5340 h 119105"/>
                  <a:gd name="connsiteX7" fmla="*/ 37817 w 86472"/>
                  <a:gd name="connsiteY7" fmla="*/ 4272 h 119105"/>
                  <a:gd name="connsiteX8" fmla="*/ 31731 w 86472"/>
                  <a:gd name="connsiteY8" fmla="*/ 3158 h 119105"/>
                  <a:gd name="connsiteX9" fmla="*/ 22486 w 86472"/>
                  <a:gd name="connsiteY9" fmla="*/ 0 h 119105"/>
                  <a:gd name="connsiteX10" fmla="*/ 0 w 86472"/>
                  <a:gd name="connsiteY10" fmla="*/ 7847 h 119105"/>
                  <a:gd name="connsiteX11" fmla="*/ 5622 w 86472"/>
                  <a:gd name="connsiteY11" fmla="*/ 22289 h 119105"/>
                  <a:gd name="connsiteX12" fmla="*/ 12451 w 86472"/>
                  <a:gd name="connsiteY12" fmla="*/ 39377 h 119105"/>
                  <a:gd name="connsiteX13" fmla="*/ 10732 w 86472"/>
                  <a:gd name="connsiteY13" fmla="*/ 76385 h 119105"/>
                  <a:gd name="connsiteX14" fmla="*/ 2695 w 86472"/>
                  <a:gd name="connsiteY14" fmla="*/ 85254 h 119105"/>
                  <a:gd name="connsiteX15" fmla="*/ 19605 w 86472"/>
                  <a:gd name="connsiteY15" fmla="*/ 106707 h 119105"/>
                  <a:gd name="connsiteX16" fmla="*/ 20256 w 86472"/>
                  <a:gd name="connsiteY16" fmla="*/ 106475 h 119105"/>
                  <a:gd name="connsiteX17" fmla="*/ 40233 w 86472"/>
                  <a:gd name="connsiteY17" fmla="*/ 119105 h 119105"/>
                  <a:gd name="connsiteX18" fmla="*/ 77399 w 86472"/>
                  <a:gd name="connsiteY18" fmla="*/ 111583 h 119105"/>
                  <a:gd name="connsiteX19" fmla="*/ 77817 w 86472"/>
                  <a:gd name="connsiteY19" fmla="*/ 104339 h 119105"/>
                  <a:gd name="connsiteX20" fmla="*/ 85018 w 86472"/>
                  <a:gd name="connsiteY20" fmla="*/ 94820 h 119105"/>
                  <a:gd name="connsiteX21" fmla="*/ 78328 w 86472"/>
                  <a:gd name="connsiteY21" fmla="*/ 79450 h 119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2" h="119105">
                    <a:moveTo>
                      <a:pt x="78374" y="79543"/>
                    </a:moveTo>
                    <a:cubicBezTo>
                      <a:pt x="73589" y="74760"/>
                      <a:pt x="74054" y="66309"/>
                      <a:pt x="78374" y="63105"/>
                    </a:cubicBezTo>
                    <a:cubicBezTo>
                      <a:pt x="82695" y="59947"/>
                      <a:pt x="78839" y="55675"/>
                      <a:pt x="78839" y="50382"/>
                    </a:cubicBezTo>
                    <a:cubicBezTo>
                      <a:pt x="78839" y="45088"/>
                      <a:pt x="58305" y="43509"/>
                      <a:pt x="54913" y="42441"/>
                    </a:cubicBezTo>
                    <a:cubicBezTo>
                      <a:pt x="51568" y="41373"/>
                      <a:pt x="57329" y="27582"/>
                      <a:pt x="52033" y="27582"/>
                    </a:cubicBezTo>
                    <a:cubicBezTo>
                      <a:pt x="46737" y="27582"/>
                      <a:pt x="44878" y="23357"/>
                      <a:pt x="44878" y="19131"/>
                    </a:cubicBezTo>
                    <a:cubicBezTo>
                      <a:pt x="44878" y="14906"/>
                      <a:pt x="36748" y="7987"/>
                      <a:pt x="37213" y="5340"/>
                    </a:cubicBezTo>
                    <a:cubicBezTo>
                      <a:pt x="37306" y="4969"/>
                      <a:pt x="37538" y="4643"/>
                      <a:pt x="37817" y="4272"/>
                    </a:cubicBezTo>
                    <a:cubicBezTo>
                      <a:pt x="34843" y="3761"/>
                      <a:pt x="32567" y="3343"/>
                      <a:pt x="31731" y="3158"/>
                    </a:cubicBezTo>
                    <a:cubicBezTo>
                      <a:pt x="28200" y="2368"/>
                      <a:pt x="22486" y="0"/>
                      <a:pt x="22486" y="0"/>
                    </a:cubicBezTo>
                    <a:cubicBezTo>
                      <a:pt x="22486" y="0"/>
                      <a:pt x="9199" y="4736"/>
                      <a:pt x="0" y="7847"/>
                    </a:cubicBezTo>
                    <a:cubicBezTo>
                      <a:pt x="604" y="14070"/>
                      <a:pt x="2091" y="20849"/>
                      <a:pt x="5622" y="22289"/>
                    </a:cubicBezTo>
                    <a:cubicBezTo>
                      <a:pt x="12451" y="25121"/>
                      <a:pt x="9896" y="32690"/>
                      <a:pt x="12451" y="39377"/>
                    </a:cubicBezTo>
                    <a:cubicBezTo>
                      <a:pt x="15006" y="46017"/>
                      <a:pt x="14170" y="76385"/>
                      <a:pt x="10732" y="76385"/>
                    </a:cubicBezTo>
                    <a:cubicBezTo>
                      <a:pt x="9292" y="76385"/>
                      <a:pt x="5947" y="80332"/>
                      <a:pt x="2695" y="85254"/>
                    </a:cubicBezTo>
                    <a:cubicBezTo>
                      <a:pt x="7387" y="90455"/>
                      <a:pt x="14681" y="99974"/>
                      <a:pt x="19605" y="106707"/>
                    </a:cubicBezTo>
                    <a:cubicBezTo>
                      <a:pt x="19838" y="106661"/>
                      <a:pt x="20070" y="106475"/>
                      <a:pt x="20256" y="106475"/>
                    </a:cubicBezTo>
                    <a:cubicBezTo>
                      <a:pt x="24530" y="106475"/>
                      <a:pt x="40233" y="119105"/>
                      <a:pt x="40233" y="119105"/>
                    </a:cubicBezTo>
                    <a:cubicBezTo>
                      <a:pt x="40233" y="119105"/>
                      <a:pt x="62439" y="113997"/>
                      <a:pt x="77399" y="111583"/>
                    </a:cubicBezTo>
                    <a:cubicBezTo>
                      <a:pt x="77631" y="109075"/>
                      <a:pt x="78096" y="106150"/>
                      <a:pt x="77817" y="104339"/>
                    </a:cubicBezTo>
                    <a:cubicBezTo>
                      <a:pt x="77352" y="101181"/>
                      <a:pt x="80697" y="94820"/>
                      <a:pt x="85018" y="94820"/>
                    </a:cubicBezTo>
                    <a:cubicBezTo>
                      <a:pt x="89339" y="94820"/>
                      <a:pt x="83113" y="84233"/>
                      <a:pt x="78328" y="7945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grpSp>
      <p:sp>
        <p:nvSpPr>
          <p:cNvPr id="75" name="TextBox 74">
            <a:extLst>
              <a:ext uri="{FF2B5EF4-FFF2-40B4-BE49-F238E27FC236}">
                <a16:creationId xmlns:a16="http://schemas.microsoft.com/office/drawing/2014/main" id="{F94FED38-CDB0-297C-09A4-435F053255E1}"/>
              </a:ext>
            </a:extLst>
          </p:cNvPr>
          <p:cNvSpPr txBox="1"/>
          <p:nvPr/>
        </p:nvSpPr>
        <p:spPr>
          <a:xfrm>
            <a:off x="8197694" y="4135950"/>
            <a:ext cx="3115808"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2832DC"/>
                </a:solidFill>
                <a:effectLst/>
                <a:uLnTx/>
                <a:uFillTx/>
                <a:latin typeface="Helvetica" panose="020B0604020202020204" pitchFamily="34" charset="0"/>
                <a:ea typeface="+mn-ea"/>
                <a:cs typeface="Helvetica" panose="020B0604020202020204" pitchFamily="34" charset="0"/>
              </a:rPr>
              <a:t>Europe €2BN</a:t>
            </a:r>
          </a:p>
        </p:txBody>
      </p:sp>
    </p:spTree>
    <p:extLst>
      <p:ext uri="{BB962C8B-B14F-4D97-AF65-F5344CB8AC3E}">
        <p14:creationId xmlns:p14="http://schemas.microsoft.com/office/powerpoint/2010/main" val="19111009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15FD0063-E183-B1BF-2E1A-0CDE644FED0E}"/>
              </a:ext>
            </a:extLst>
          </p:cNvPr>
          <p:cNvGraphicFramePr>
            <a:graphicFrameLocks noChangeAspect="1"/>
          </p:cNvGraphicFramePr>
          <p:nvPr>
            <p:custDataLst>
              <p:tags r:id="rId1"/>
            </p:custDataLst>
            <p:extLst>
              <p:ext uri="{D42A27DB-BD31-4B8C-83A1-F6EECF244321}">
                <p14:modId xmlns:p14="http://schemas.microsoft.com/office/powerpoint/2010/main" val="1880113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8" name="think-cell data - do not delete" hidden="1">
                        <a:extLst>
                          <a:ext uri="{FF2B5EF4-FFF2-40B4-BE49-F238E27FC236}">
                            <a16:creationId xmlns:a16="http://schemas.microsoft.com/office/drawing/2014/main" id="{15FD0063-E183-B1BF-2E1A-0CDE644FED0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1" name="Group 10">
            <a:extLst>
              <a:ext uri="{FF2B5EF4-FFF2-40B4-BE49-F238E27FC236}">
                <a16:creationId xmlns:a16="http://schemas.microsoft.com/office/drawing/2014/main" id="{BFE852D1-2AF3-0C4F-89DD-BF41E98C3FA9}"/>
              </a:ext>
            </a:extLst>
          </p:cNvPr>
          <p:cNvGrpSpPr/>
          <p:nvPr/>
        </p:nvGrpSpPr>
        <p:grpSpPr>
          <a:xfrm>
            <a:off x="1527387" y="1156853"/>
            <a:ext cx="9509807" cy="4620909"/>
            <a:chOff x="741776" y="1251857"/>
            <a:chExt cx="12157795" cy="4071257"/>
          </a:xfrm>
          <a:solidFill>
            <a:schemeClr val="accent4">
              <a:lumMod val="20000"/>
              <a:lumOff val="80000"/>
            </a:schemeClr>
          </a:solidFill>
        </p:grpSpPr>
        <p:sp>
          <p:nvSpPr>
            <p:cNvPr id="5" name="Rectangle 4">
              <a:extLst>
                <a:ext uri="{FF2B5EF4-FFF2-40B4-BE49-F238E27FC236}">
                  <a16:creationId xmlns:a16="http://schemas.microsoft.com/office/drawing/2014/main" id="{2185325A-CC8C-042C-2DAE-54E10E81EB90}"/>
                </a:ext>
              </a:extLst>
            </p:cNvPr>
            <p:cNvSpPr/>
            <p:nvPr/>
          </p:nvSpPr>
          <p:spPr>
            <a:xfrm>
              <a:off x="741776" y="1251857"/>
              <a:ext cx="1914338" cy="407125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6" name="Rectangle 5">
              <a:extLst>
                <a:ext uri="{FF2B5EF4-FFF2-40B4-BE49-F238E27FC236}">
                  <a16:creationId xmlns:a16="http://schemas.microsoft.com/office/drawing/2014/main" id="{0FC33968-3014-D8BB-5CFA-AF2BE4C1A018}"/>
                </a:ext>
              </a:extLst>
            </p:cNvPr>
            <p:cNvSpPr/>
            <p:nvPr/>
          </p:nvSpPr>
          <p:spPr>
            <a:xfrm>
              <a:off x="2790467" y="1251857"/>
              <a:ext cx="1914338" cy="407125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7" name="Rectangle 6">
              <a:extLst>
                <a:ext uri="{FF2B5EF4-FFF2-40B4-BE49-F238E27FC236}">
                  <a16:creationId xmlns:a16="http://schemas.microsoft.com/office/drawing/2014/main" id="{517B9631-0697-F1CE-A623-C14A1E0E3985}"/>
                </a:ext>
              </a:extLst>
            </p:cNvPr>
            <p:cNvSpPr/>
            <p:nvPr/>
          </p:nvSpPr>
          <p:spPr>
            <a:xfrm>
              <a:off x="4839158" y="1251857"/>
              <a:ext cx="1914338" cy="407125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8" name="Rectangle 7">
              <a:extLst>
                <a:ext uri="{FF2B5EF4-FFF2-40B4-BE49-F238E27FC236}">
                  <a16:creationId xmlns:a16="http://schemas.microsoft.com/office/drawing/2014/main" id="{A514DAEF-6B47-A729-423B-E157F1EE90B6}"/>
                </a:ext>
              </a:extLst>
            </p:cNvPr>
            <p:cNvSpPr/>
            <p:nvPr/>
          </p:nvSpPr>
          <p:spPr>
            <a:xfrm>
              <a:off x="6887849" y="1251857"/>
              <a:ext cx="1914338" cy="407125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9" name="Rectangle 8">
              <a:extLst>
                <a:ext uri="{FF2B5EF4-FFF2-40B4-BE49-F238E27FC236}">
                  <a16:creationId xmlns:a16="http://schemas.microsoft.com/office/drawing/2014/main" id="{6DCE2DD6-A67D-3DA9-4963-EF9CC755DF44}"/>
                </a:ext>
              </a:extLst>
            </p:cNvPr>
            <p:cNvSpPr/>
            <p:nvPr/>
          </p:nvSpPr>
          <p:spPr>
            <a:xfrm>
              <a:off x="8936540" y="1251857"/>
              <a:ext cx="1914338" cy="407125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0" name="Rectangle 9">
              <a:extLst>
                <a:ext uri="{FF2B5EF4-FFF2-40B4-BE49-F238E27FC236}">
                  <a16:creationId xmlns:a16="http://schemas.microsoft.com/office/drawing/2014/main" id="{798F32B0-C85F-92F2-5D41-DEDE0F366C15}"/>
                </a:ext>
              </a:extLst>
            </p:cNvPr>
            <p:cNvSpPr/>
            <p:nvPr/>
          </p:nvSpPr>
          <p:spPr>
            <a:xfrm>
              <a:off x="10985233" y="1251857"/>
              <a:ext cx="1914338" cy="407125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pSp>
      <p:grpSp>
        <p:nvGrpSpPr>
          <p:cNvPr id="12" name="Group 11">
            <a:extLst>
              <a:ext uri="{FF2B5EF4-FFF2-40B4-BE49-F238E27FC236}">
                <a16:creationId xmlns:a16="http://schemas.microsoft.com/office/drawing/2014/main" id="{E7E4A9D0-E158-BBA0-9B92-8B9DDBFD45DC}"/>
              </a:ext>
            </a:extLst>
          </p:cNvPr>
          <p:cNvGrpSpPr/>
          <p:nvPr/>
        </p:nvGrpSpPr>
        <p:grpSpPr>
          <a:xfrm>
            <a:off x="1527387" y="3075167"/>
            <a:ext cx="9509807" cy="1888073"/>
            <a:chOff x="741776" y="1251857"/>
            <a:chExt cx="12157795" cy="4071257"/>
          </a:xfrm>
          <a:solidFill>
            <a:schemeClr val="bg1">
              <a:lumMod val="95000"/>
            </a:schemeClr>
          </a:solidFill>
        </p:grpSpPr>
        <p:sp>
          <p:nvSpPr>
            <p:cNvPr id="13" name="Rectangle 12">
              <a:extLst>
                <a:ext uri="{FF2B5EF4-FFF2-40B4-BE49-F238E27FC236}">
                  <a16:creationId xmlns:a16="http://schemas.microsoft.com/office/drawing/2014/main" id="{A20D8C61-7FB7-F4A0-51CE-B87230CE5F98}"/>
                </a:ext>
              </a:extLst>
            </p:cNvPr>
            <p:cNvSpPr/>
            <p:nvPr/>
          </p:nvSpPr>
          <p:spPr>
            <a:xfrm>
              <a:off x="741776" y="1251857"/>
              <a:ext cx="1914338" cy="407125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4" name="Rectangle 13">
              <a:extLst>
                <a:ext uri="{FF2B5EF4-FFF2-40B4-BE49-F238E27FC236}">
                  <a16:creationId xmlns:a16="http://schemas.microsoft.com/office/drawing/2014/main" id="{98F976FE-A338-5E55-B6A3-EE1EC6D639B5}"/>
                </a:ext>
              </a:extLst>
            </p:cNvPr>
            <p:cNvSpPr/>
            <p:nvPr/>
          </p:nvSpPr>
          <p:spPr>
            <a:xfrm>
              <a:off x="2790467" y="1251857"/>
              <a:ext cx="1914338" cy="407125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5" name="Rectangle 14">
              <a:extLst>
                <a:ext uri="{FF2B5EF4-FFF2-40B4-BE49-F238E27FC236}">
                  <a16:creationId xmlns:a16="http://schemas.microsoft.com/office/drawing/2014/main" id="{D64917E1-7F7A-3257-4CC5-B066E53E61C0}"/>
                </a:ext>
              </a:extLst>
            </p:cNvPr>
            <p:cNvSpPr/>
            <p:nvPr/>
          </p:nvSpPr>
          <p:spPr>
            <a:xfrm>
              <a:off x="4839158" y="1251857"/>
              <a:ext cx="1914338" cy="407125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6" name="Rectangle 15">
              <a:extLst>
                <a:ext uri="{FF2B5EF4-FFF2-40B4-BE49-F238E27FC236}">
                  <a16:creationId xmlns:a16="http://schemas.microsoft.com/office/drawing/2014/main" id="{9C8472EC-C533-780D-C941-934FF5B8B216}"/>
                </a:ext>
              </a:extLst>
            </p:cNvPr>
            <p:cNvSpPr/>
            <p:nvPr/>
          </p:nvSpPr>
          <p:spPr>
            <a:xfrm>
              <a:off x="6887849" y="1251857"/>
              <a:ext cx="1914338" cy="407125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7" name="Rectangle 16">
              <a:extLst>
                <a:ext uri="{FF2B5EF4-FFF2-40B4-BE49-F238E27FC236}">
                  <a16:creationId xmlns:a16="http://schemas.microsoft.com/office/drawing/2014/main" id="{14EE21D7-BA67-D80C-E10D-6DC22C07B3D9}"/>
                </a:ext>
              </a:extLst>
            </p:cNvPr>
            <p:cNvSpPr/>
            <p:nvPr/>
          </p:nvSpPr>
          <p:spPr>
            <a:xfrm>
              <a:off x="8936540" y="1251857"/>
              <a:ext cx="1914338" cy="407125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8" name="Rectangle 17">
              <a:extLst>
                <a:ext uri="{FF2B5EF4-FFF2-40B4-BE49-F238E27FC236}">
                  <a16:creationId xmlns:a16="http://schemas.microsoft.com/office/drawing/2014/main" id="{1339665A-4ADF-75A1-2FBD-5E07B331484D}"/>
                </a:ext>
              </a:extLst>
            </p:cNvPr>
            <p:cNvSpPr/>
            <p:nvPr/>
          </p:nvSpPr>
          <p:spPr>
            <a:xfrm>
              <a:off x="10985233" y="1251857"/>
              <a:ext cx="1914338" cy="407125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pSp>
      <p:sp>
        <p:nvSpPr>
          <p:cNvPr id="21" name="Rectangle 20">
            <a:extLst>
              <a:ext uri="{FF2B5EF4-FFF2-40B4-BE49-F238E27FC236}">
                <a16:creationId xmlns:a16="http://schemas.microsoft.com/office/drawing/2014/main" id="{4F817ECF-2CFC-A612-9E90-866B09823F72}"/>
              </a:ext>
            </a:extLst>
          </p:cNvPr>
          <p:cNvSpPr/>
          <p:nvPr/>
        </p:nvSpPr>
        <p:spPr>
          <a:xfrm>
            <a:off x="1527387" y="5587184"/>
            <a:ext cx="1497392" cy="556914"/>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22" name="Rectangle 21">
            <a:extLst>
              <a:ext uri="{FF2B5EF4-FFF2-40B4-BE49-F238E27FC236}">
                <a16:creationId xmlns:a16="http://schemas.microsoft.com/office/drawing/2014/main" id="{040E86F5-7801-17FE-7D76-F97374756A7F}"/>
              </a:ext>
            </a:extLst>
          </p:cNvPr>
          <p:cNvSpPr/>
          <p:nvPr/>
        </p:nvSpPr>
        <p:spPr>
          <a:xfrm>
            <a:off x="3129870" y="5587184"/>
            <a:ext cx="1497392" cy="556914"/>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23" name="Rectangle 22">
            <a:extLst>
              <a:ext uri="{FF2B5EF4-FFF2-40B4-BE49-F238E27FC236}">
                <a16:creationId xmlns:a16="http://schemas.microsoft.com/office/drawing/2014/main" id="{696A0CDB-2884-C63F-7078-7BADE8F10A2C}"/>
              </a:ext>
            </a:extLst>
          </p:cNvPr>
          <p:cNvSpPr/>
          <p:nvPr/>
        </p:nvSpPr>
        <p:spPr>
          <a:xfrm>
            <a:off x="4732352" y="5587184"/>
            <a:ext cx="1497392" cy="556914"/>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24" name="Rectangle 23">
            <a:extLst>
              <a:ext uri="{FF2B5EF4-FFF2-40B4-BE49-F238E27FC236}">
                <a16:creationId xmlns:a16="http://schemas.microsoft.com/office/drawing/2014/main" id="{9EB1D6FC-5565-E3A4-21D5-F5C7C5E426F6}"/>
              </a:ext>
            </a:extLst>
          </p:cNvPr>
          <p:cNvSpPr/>
          <p:nvPr/>
        </p:nvSpPr>
        <p:spPr>
          <a:xfrm>
            <a:off x="6334835" y="5587184"/>
            <a:ext cx="1497392" cy="556914"/>
          </a:xfrm>
          <a:prstGeom prst="rect">
            <a:avLst/>
          </a:prstGeom>
          <a:solidFill>
            <a:srgbClr val="FF99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25" name="Rectangle 24">
            <a:extLst>
              <a:ext uri="{FF2B5EF4-FFF2-40B4-BE49-F238E27FC236}">
                <a16:creationId xmlns:a16="http://schemas.microsoft.com/office/drawing/2014/main" id="{2CDD4513-0B8D-7401-6BE5-8C593908CC27}"/>
              </a:ext>
            </a:extLst>
          </p:cNvPr>
          <p:cNvSpPr/>
          <p:nvPr/>
        </p:nvSpPr>
        <p:spPr>
          <a:xfrm>
            <a:off x="7937318" y="5587185"/>
            <a:ext cx="1497392" cy="3852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26" name="Rectangle 25">
            <a:extLst>
              <a:ext uri="{FF2B5EF4-FFF2-40B4-BE49-F238E27FC236}">
                <a16:creationId xmlns:a16="http://schemas.microsoft.com/office/drawing/2014/main" id="{85DD823D-BB1C-55F0-8F99-C07FA4B17E12}"/>
              </a:ext>
            </a:extLst>
          </p:cNvPr>
          <p:cNvSpPr/>
          <p:nvPr/>
        </p:nvSpPr>
        <p:spPr>
          <a:xfrm>
            <a:off x="9539802" y="5587185"/>
            <a:ext cx="1497392" cy="3852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2" name="Title 1">
            <a:extLst>
              <a:ext uri="{FF2B5EF4-FFF2-40B4-BE49-F238E27FC236}">
                <a16:creationId xmlns:a16="http://schemas.microsoft.com/office/drawing/2014/main" id="{FF1D8800-558E-67CE-0883-F0A2B9FF39F5}"/>
              </a:ext>
            </a:extLst>
          </p:cNvPr>
          <p:cNvSpPr>
            <a:spLocks noGrp="1"/>
          </p:cNvSpPr>
          <p:nvPr>
            <p:ph type="title"/>
          </p:nvPr>
        </p:nvSpPr>
        <p:spPr/>
        <p:txBody>
          <a:bodyPr vert="horz"/>
          <a:lstStyle/>
          <a:p>
            <a:r>
              <a:rPr lang="en-US"/>
              <a:t>Market opportunities: </a:t>
            </a:r>
            <a:r>
              <a:rPr lang="en-US" b="1">
                <a:latin typeface="Helvetica" pitchFamily="2" charset="0"/>
              </a:rPr>
              <a:t>Spain</a:t>
            </a:r>
          </a:p>
        </p:txBody>
      </p:sp>
      <p:sp>
        <p:nvSpPr>
          <p:cNvPr id="3" name="Text Placeholder 2">
            <a:extLst>
              <a:ext uri="{FF2B5EF4-FFF2-40B4-BE49-F238E27FC236}">
                <a16:creationId xmlns:a16="http://schemas.microsoft.com/office/drawing/2014/main" id="{5F34A08A-2FC2-C746-F65C-865118D9A68B}"/>
              </a:ext>
            </a:extLst>
          </p:cNvPr>
          <p:cNvSpPr>
            <a:spLocks noGrp="1"/>
          </p:cNvSpPr>
          <p:nvPr>
            <p:ph type="body" sz="quarter" idx="22"/>
          </p:nvPr>
        </p:nvSpPr>
        <p:spPr>
          <a:xfrm>
            <a:off x="1517449" y="2448919"/>
            <a:ext cx="1497392" cy="546663"/>
          </a:xfrm>
        </p:spPr>
        <p:txBody>
          <a:bodyPr anchor="ctr">
            <a:normAutofit/>
          </a:bodyPr>
          <a:lstStyle/>
          <a:p>
            <a:pPr algn="ctr"/>
            <a:r>
              <a:rPr lang="en-US" sz="1400"/>
              <a:t>Cash Management</a:t>
            </a:r>
          </a:p>
        </p:txBody>
      </p:sp>
      <p:sp>
        <p:nvSpPr>
          <p:cNvPr id="4" name="Text Placeholder 3">
            <a:extLst>
              <a:ext uri="{FF2B5EF4-FFF2-40B4-BE49-F238E27FC236}">
                <a16:creationId xmlns:a16="http://schemas.microsoft.com/office/drawing/2014/main" id="{8E1CB5C5-1C27-764A-B60B-82C80ABA83A3}"/>
              </a:ext>
            </a:extLst>
          </p:cNvPr>
          <p:cNvSpPr>
            <a:spLocks noGrp="1"/>
          </p:cNvSpPr>
          <p:nvPr>
            <p:ph type="body" sz="quarter" idx="15"/>
          </p:nvPr>
        </p:nvSpPr>
        <p:spPr>
          <a:xfrm>
            <a:off x="1711085" y="3269885"/>
            <a:ext cx="1238313" cy="1404052"/>
          </a:xfrm>
        </p:spPr>
        <p:txBody>
          <a:bodyPr/>
          <a:lstStyle/>
          <a:p>
            <a:pPr algn="ctr"/>
            <a:r>
              <a:rPr lang="en-GB" sz="1100">
                <a:solidFill>
                  <a:srgbClr val="141E50"/>
                </a:solidFill>
                <a:latin typeface="Helvetica Light"/>
              </a:rPr>
              <a:t>Mostly manual cash handling in grocery stores </a:t>
            </a:r>
            <a:endParaRPr lang="en-US" sz="1100"/>
          </a:p>
        </p:txBody>
      </p:sp>
      <p:sp>
        <p:nvSpPr>
          <p:cNvPr id="19" name="Text Placeholder 3">
            <a:extLst>
              <a:ext uri="{FF2B5EF4-FFF2-40B4-BE49-F238E27FC236}">
                <a16:creationId xmlns:a16="http://schemas.microsoft.com/office/drawing/2014/main" id="{E9B59963-CFCF-E67F-E04E-9CBC1C6E4539}"/>
              </a:ext>
            </a:extLst>
          </p:cNvPr>
          <p:cNvSpPr txBox="1">
            <a:spLocks/>
          </p:cNvSpPr>
          <p:nvPr/>
        </p:nvSpPr>
        <p:spPr>
          <a:xfrm>
            <a:off x="1527387" y="5034597"/>
            <a:ext cx="1497391" cy="469879"/>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3200">
                <a:solidFill>
                  <a:srgbClr val="1E1E50"/>
                </a:solidFill>
                <a:latin typeface="Helvetica Light"/>
              </a:rPr>
              <a:t>5</a:t>
            </a:r>
            <a:r>
              <a:rPr kumimoji="0" lang="en-GB" sz="2000" b="0" i="0" u="none" strike="noStrike" kern="1200" cap="none" spc="0" normalizeH="0" baseline="0" noProof="0">
                <a:ln>
                  <a:noFill/>
                </a:ln>
                <a:solidFill>
                  <a:srgbClr val="1E1E50"/>
                </a:solidFill>
                <a:effectLst/>
                <a:uLnTx/>
                <a:uFillTx/>
                <a:latin typeface="Helvetica Light"/>
                <a:ea typeface="+mn-ea"/>
                <a:cs typeface="+mn-cs"/>
              </a:rPr>
              <a:t>%</a:t>
            </a:r>
            <a:endParaRPr kumimoji="0" lang="en-US" sz="3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27" name="Text Placeholder 3">
            <a:extLst>
              <a:ext uri="{FF2B5EF4-FFF2-40B4-BE49-F238E27FC236}">
                <a16:creationId xmlns:a16="http://schemas.microsoft.com/office/drawing/2014/main" id="{01C638ED-BC69-C1FC-C97B-5416FB54817A}"/>
              </a:ext>
            </a:extLst>
          </p:cNvPr>
          <p:cNvSpPr txBox="1">
            <a:spLocks/>
          </p:cNvSpPr>
          <p:nvPr/>
        </p:nvSpPr>
        <p:spPr>
          <a:xfrm>
            <a:off x="1527387" y="5759575"/>
            <a:ext cx="1487453" cy="254970"/>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1E1E50"/>
                </a:solidFill>
                <a:effectLst/>
                <a:uLnTx/>
                <a:uFillTx/>
                <a:latin typeface="Helvetica" pitchFamily="2" charset="0"/>
                <a:ea typeface="+mn-ea"/>
                <a:cs typeface="+mn-cs"/>
              </a:rPr>
              <a:t>HIGH</a:t>
            </a:r>
          </a:p>
        </p:txBody>
      </p:sp>
      <p:sp>
        <p:nvSpPr>
          <p:cNvPr id="29" name="TextBox 28">
            <a:extLst>
              <a:ext uri="{FF2B5EF4-FFF2-40B4-BE49-F238E27FC236}">
                <a16:creationId xmlns:a16="http://schemas.microsoft.com/office/drawing/2014/main" id="{F935E57E-7EB3-F933-9D7B-A50DCBFF361A}"/>
              </a:ext>
            </a:extLst>
          </p:cNvPr>
          <p:cNvSpPr txBox="1"/>
          <p:nvPr/>
        </p:nvSpPr>
        <p:spPr>
          <a:xfrm>
            <a:off x="190173" y="3269885"/>
            <a:ext cx="1284668" cy="43088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41E50"/>
                </a:solidFill>
                <a:effectLst/>
                <a:uLnTx/>
                <a:uFillTx/>
                <a:latin typeface="Helvetica Light"/>
                <a:ea typeface="+mn-ea"/>
                <a:cs typeface="+mn-cs"/>
              </a:rPr>
              <a:t>Market</a:t>
            </a:r>
            <a:br>
              <a:rPr kumimoji="0" lang="en-US" sz="1100" b="0" i="0" u="none" strike="noStrike" kern="1200" cap="none" spc="0" normalizeH="0" baseline="0" noProof="0">
                <a:ln>
                  <a:noFill/>
                </a:ln>
                <a:solidFill>
                  <a:srgbClr val="141E50"/>
                </a:solidFill>
                <a:effectLst/>
                <a:uLnTx/>
                <a:uFillTx/>
                <a:latin typeface="Helvetica Light"/>
                <a:ea typeface="+mn-ea"/>
                <a:cs typeface="+mn-cs"/>
              </a:rPr>
            </a:br>
            <a:r>
              <a:rPr kumimoji="0" lang="en-US" sz="1100" b="0" i="0" u="none" strike="noStrike" kern="1200" cap="none" spc="0" normalizeH="0" baseline="0" noProof="0">
                <a:ln>
                  <a:noFill/>
                </a:ln>
                <a:solidFill>
                  <a:srgbClr val="141E50"/>
                </a:solidFill>
                <a:effectLst/>
                <a:uLnTx/>
                <a:uFillTx/>
                <a:latin typeface="Helvetica Light"/>
                <a:ea typeface="+mn-ea"/>
                <a:cs typeface="+mn-cs"/>
              </a:rPr>
              <a:t>Insights</a:t>
            </a:r>
          </a:p>
        </p:txBody>
      </p:sp>
      <p:sp>
        <p:nvSpPr>
          <p:cNvPr id="30" name="TextBox 29">
            <a:extLst>
              <a:ext uri="{FF2B5EF4-FFF2-40B4-BE49-F238E27FC236}">
                <a16:creationId xmlns:a16="http://schemas.microsoft.com/office/drawing/2014/main" id="{33B863CE-8FEE-3E31-DEC3-A52F6D4C9E80}"/>
              </a:ext>
            </a:extLst>
          </p:cNvPr>
          <p:cNvSpPr txBox="1"/>
          <p:nvPr/>
        </p:nvSpPr>
        <p:spPr>
          <a:xfrm>
            <a:off x="190173" y="5054093"/>
            <a:ext cx="1284668" cy="43088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41E50"/>
                </a:solidFill>
                <a:effectLst/>
                <a:uLnTx/>
                <a:uFillTx/>
                <a:latin typeface="Helvetica Light"/>
                <a:ea typeface="+mn-ea"/>
                <a:cs typeface="+mn-cs"/>
              </a:rPr>
              <a:t>Solution Penetration</a:t>
            </a:r>
          </a:p>
        </p:txBody>
      </p:sp>
      <p:sp>
        <p:nvSpPr>
          <p:cNvPr id="31" name="TextBox 30">
            <a:extLst>
              <a:ext uri="{FF2B5EF4-FFF2-40B4-BE49-F238E27FC236}">
                <a16:creationId xmlns:a16="http://schemas.microsoft.com/office/drawing/2014/main" id="{5AF34FCE-3283-45D6-A9BD-C57AB5056011}"/>
              </a:ext>
            </a:extLst>
          </p:cNvPr>
          <p:cNvSpPr txBox="1"/>
          <p:nvPr/>
        </p:nvSpPr>
        <p:spPr>
          <a:xfrm>
            <a:off x="190173" y="5703507"/>
            <a:ext cx="1284668" cy="43088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41E50"/>
                </a:solidFill>
                <a:effectLst/>
                <a:uLnTx/>
                <a:uFillTx/>
                <a:latin typeface="Helvetica Light"/>
                <a:ea typeface="+mn-ea"/>
                <a:cs typeface="+mn-cs"/>
              </a:rPr>
              <a:t>Opportunity Likelihood</a:t>
            </a:r>
          </a:p>
        </p:txBody>
      </p:sp>
      <p:sp>
        <p:nvSpPr>
          <p:cNvPr id="43" name="Text Placeholder 2">
            <a:extLst>
              <a:ext uri="{FF2B5EF4-FFF2-40B4-BE49-F238E27FC236}">
                <a16:creationId xmlns:a16="http://schemas.microsoft.com/office/drawing/2014/main" id="{06958418-B9C4-57DF-1EB7-DBFE99F4F38D}"/>
              </a:ext>
            </a:extLst>
          </p:cNvPr>
          <p:cNvSpPr txBox="1">
            <a:spLocks/>
          </p:cNvSpPr>
          <p:nvPr/>
        </p:nvSpPr>
        <p:spPr>
          <a:xfrm>
            <a:off x="3132240" y="2448919"/>
            <a:ext cx="1497392" cy="546663"/>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800" b="1" i="0" kern="1200">
                <a:solidFill>
                  <a:schemeClr val="accent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2832DC"/>
                </a:solidFill>
                <a:effectLst/>
                <a:uLnTx/>
                <a:uFillTx/>
                <a:latin typeface="Helvetica" pitchFamily="2" charset="0"/>
                <a:ea typeface="+mn-ea"/>
                <a:cs typeface="+mn-cs"/>
              </a:rPr>
              <a:t>Self-</a:t>
            </a:r>
            <a:br>
              <a:rPr kumimoji="0" lang="en-US" sz="1400" b="1" i="0" u="none" strike="noStrike" kern="1200" cap="none" spc="0" normalizeH="0" baseline="0" noProof="0">
                <a:ln>
                  <a:noFill/>
                </a:ln>
                <a:solidFill>
                  <a:srgbClr val="2832DC"/>
                </a:solidFill>
                <a:effectLst/>
                <a:uLnTx/>
                <a:uFillTx/>
                <a:latin typeface="Helvetica" pitchFamily="2" charset="0"/>
                <a:ea typeface="+mn-ea"/>
                <a:cs typeface="+mn-cs"/>
              </a:rPr>
            </a:br>
            <a:r>
              <a:rPr kumimoji="0" lang="en-US" sz="1400" b="1" i="0" u="none" strike="noStrike" kern="1200" cap="none" spc="0" normalizeH="0" baseline="0" noProof="0">
                <a:ln>
                  <a:noFill/>
                </a:ln>
                <a:solidFill>
                  <a:srgbClr val="2832DC"/>
                </a:solidFill>
                <a:effectLst/>
                <a:uLnTx/>
                <a:uFillTx/>
                <a:latin typeface="Helvetica" pitchFamily="2" charset="0"/>
                <a:ea typeface="+mn-ea"/>
                <a:cs typeface="+mn-cs"/>
              </a:rPr>
              <a:t>Checkout</a:t>
            </a:r>
          </a:p>
        </p:txBody>
      </p:sp>
      <p:sp>
        <p:nvSpPr>
          <p:cNvPr id="44" name="Text Placeholder 3">
            <a:extLst>
              <a:ext uri="{FF2B5EF4-FFF2-40B4-BE49-F238E27FC236}">
                <a16:creationId xmlns:a16="http://schemas.microsoft.com/office/drawing/2014/main" id="{8E07EE7C-5D83-A982-D6A6-8BC900483D75}"/>
              </a:ext>
            </a:extLst>
          </p:cNvPr>
          <p:cNvSpPr txBox="1">
            <a:spLocks/>
          </p:cNvSpPr>
          <p:nvPr/>
        </p:nvSpPr>
        <p:spPr>
          <a:xfrm>
            <a:off x="3142178" y="3269885"/>
            <a:ext cx="1487453" cy="1404052"/>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141E50"/>
                </a:solidFill>
                <a:effectLst/>
                <a:uLnTx/>
                <a:uFillTx/>
                <a:latin typeface="Helvetica Light"/>
                <a:ea typeface="+mn-ea"/>
                <a:cs typeface="+mn-cs"/>
              </a:rPr>
              <a:t>Most of tier 1</a:t>
            </a:r>
            <a:br>
              <a:rPr kumimoji="0" lang="en-GB" sz="1100" b="0" i="0" u="none" strike="noStrike" kern="1200" cap="none" spc="0" normalizeH="0" baseline="0" noProof="0">
                <a:ln>
                  <a:noFill/>
                </a:ln>
                <a:solidFill>
                  <a:srgbClr val="141E50"/>
                </a:solidFill>
                <a:effectLst/>
                <a:uLnTx/>
                <a:uFillTx/>
                <a:latin typeface="Helvetica Light"/>
                <a:ea typeface="+mn-ea"/>
                <a:cs typeface="+mn-cs"/>
              </a:rPr>
            </a:br>
            <a:r>
              <a:rPr kumimoji="0" lang="en-GB" sz="1100" b="0" i="0" u="none" strike="noStrike" kern="1200" cap="none" spc="0" normalizeH="0" baseline="0" noProof="0">
                <a:ln>
                  <a:noFill/>
                </a:ln>
                <a:solidFill>
                  <a:srgbClr val="141E50"/>
                </a:solidFill>
                <a:effectLst/>
                <a:uLnTx/>
                <a:uFillTx/>
                <a:latin typeface="Helvetica Light"/>
                <a:ea typeface="+mn-ea"/>
                <a:cs typeface="+mn-cs"/>
              </a:rPr>
              <a:t>have deployed</a:t>
            </a:r>
            <a:br>
              <a:rPr kumimoji="0" lang="en-GB" sz="1100" b="0" i="0" u="none" strike="noStrike" kern="1200" cap="none" spc="0" normalizeH="0" baseline="0" noProof="0">
                <a:ln>
                  <a:noFill/>
                </a:ln>
                <a:solidFill>
                  <a:srgbClr val="141E50"/>
                </a:solidFill>
                <a:effectLst/>
                <a:uLnTx/>
                <a:uFillTx/>
                <a:latin typeface="Helvetica Light"/>
                <a:ea typeface="+mn-ea"/>
                <a:cs typeface="+mn-cs"/>
              </a:rPr>
            </a:br>
            <a:r>
              <a:rPr kumimoji="0" lang="en-GB" sz="1100" b="0" i="0" u="none" strike="noStrike" kern="1200" cap="none" spc="0" normalizeH="0" baseline="0" noProof="0">
                <a:ln>
                  <a:noFill/>
                </a:ln>
                <a:solidFill>
                  <a:srgbClr val="141E50"/>
                </a:solidFill>
                <a:effectLst/>
                <a:uLnTx/>
                <a:uFillTx/>
                <a:latin typeface="Helvetica Light"/>
                <a:ea typeface="+mn-ea"/>
                <a:cs typeface="+mn-cs"/>
              </a:rPr>
              <a:t>and many tier 2 players are now testing the</a:t>
            </a:r>
            <a:br>
              <a:rPr kumimoji="0" lang="en-GB" sz="1100" b="0" i="0" u="none" strike="noStrike" kern="1200" cap="none" spc="0" normalizeH="0" baseline="0" noProof="0">
                <a:ln>
                  <a:noFill/>
                </a:ln>
                <a:solidFill>
                  <a:srgbClr val="141E50"/>
                </a:solidFill>
                <a:effectLst/>
                <a:uLnTx/>
                <a:uFillTx/>
                <a:latin typeface="Helvetica Light"/>
                <a:ea typeface="+mn-ea"/>
                <a:cs typeface="+mn-cs"/>
              </a:rPr>
            </a:br>
            <a:r>
              <a:rPr kumimoji="0" lang="en-GB" sz="1100" b="0" i="0" u="none" strike="noStrike" kern="1200" cap="none" spc="0" normalizeH="0" baseline="0" noProof="0">
                <a:ln>
                  <a:noFill/>
                </a:ln>
                <a:solidFill>
                  <a:srgbClr val="141E50"/>
                </a:solidFill>
                <a:effectLst/>
                <a:uLnTx/>
                <a:uFillTx/>
                <a:latin typeface="Helvetica Light"/>
                <a:ea typeface="+mn-ea"/>
                <a:cs typeface="+mn-cs"/>
              </a:rPr>
              <a:t>concept</a:t>
            </a:r>
            <a:endParaRPr kumimoji="0" lang="en-US" sz="11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45" name="Text Placeholder 3">
            <a:extLst>
              <a:ext uri="{FF2B5EF4-FFF2-40B4-BE49-F238E27FC236}">
                <a16:creationId xmlns:a16="http://schemas.microsoft.com/office/drawing/2014/main" id="{25D07F18-3CBE-24D6-D401-539FEE8BD51A}"/>
              </a:ext>
            </a:extLst>
          </p:cNvPr>
          <p:cNvSpPr txBox="1">
            <a:spLocks/>
          </p:cNvSpPr>
          <p:nvPr/>
        </p:nvSpPr>
        <p:spPr>
          <a:xfrm>
            <a:off x="3142178" y="5034597"/>
            <a:ext cx="1497391" cy="469879"/>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b="0" i="0" u="none" strike="noStrike" kern="1200" cap="none" spc="0" normalizeH="0" baseline="0" noProof="0">
                <a:ln>
                  <a:noFill/>
                </a:ln>
                <a:solidFill>
                  <a:srgbClr val="1E1E50"/>
                </a:solidFill>
                <a:effectLst/>
                <a:uLnTx/>
                <a:uFillTx/>
                <a:latin typeface="Helvetica Light"/>
                <a:ea typeface="+mn-ea"/>
                <a:cs typeface="+mn-cs"/>
              </a:rPr>
              <a:t>25</a:t>
            </a:r>
            <a:r>
              <a:rPr kumimoji="0" lang="en-GB" sz="2000" b="0" i="0" u="none" strike="noStrike" kern="1200" cap="none" spc="0" normalizeH="0" baseline="0" noProof="0">
                <a:ln>
                  <a:noFill/>
                </a:ln>
                <a:solidFill>
                  <a:srgbClr val="1E1E50"/>
                </a:solidFill>
                <a:effectLst/>
                <a:uLnTx/>
                <a:uFillTx/>
                <a:latin typeface="Helvetica Light"/>
                <a:ea typeface="+mn-ea"/>
                <a:cs typeface="+mn-cs"/>
              </a:rPr>
              <a:t>%</a:t>
            </a:r>
            <a:endParaRPr kumimoji="0" lang="en-US" sz="3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46" name="Text Placeholder 3">
            <a:extLst>
              <a:ext uri="{FF2B5EF4-FFF2-40B4-BE49-F238E27FC236}">
                <a16:creationId xmlns:a16="http://schemas.microsoft.com/office/drawing/2014/main" id="{29F68E01-2408-D590-1887-861DE3844114}"/>
              </a:ext>
            </a:extLst>
          </p:cNvPr>
          <p:cNvSpPr txBox="1">
            <a:spLocks/>
          </p:cNvSpPr>
          <p:nvPr/>
        </p:nvSpPr>
        <p:spPr>
          <a:xfrm>
            <a:off x="3142178" y="5759575"/>
            <a:ext cx="1487453" cy="254970"/>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1E1E50"/>
                </a:solidFill>
                <a:effectLst/>
                <a:uLnTx/>
                <a:uFillTx/>
                <a:latin typeface="Helvetica" pitchFamily="2" charset="0"/>
                <a:ea typeface="+mn-ea"/>
                <a:cs typeface="+mn-cs"/>
              </a:rPr>
              <a:t>HIGH</a:t>
            </a:r>
          </a:p>
        </p:txBody>
      </p:sp>
      <p:sp>
        <p:nvSpPr>
          <p:cNvPr id="48" name="Text Placeholder 2">
            <a:extLst>
              <a:ext uri="{FF2B5EF4-FFF2-40B4-BE49-F238E27FC236}">
                <a16:creationId xmlns:a16="http://schemas.microsoft.com/office/drawing/2014/main" id="{00F9F6E0-582B-E6C6-065B-65D408CB1E9A}"/>
              </a:ext>
            </a:extLst>
          </p:cNvPr>
          <p:cNvSpPr txBox="1">
            <a:spLocks/>
          </p:cNvSpPr>
          <p:nvPr/>
        </p:nvSpPr>
        <p:spPr>
          <a:xfrm>
            <a:off x="4726161" y="2448919"/>
            <a:ext cx="1497392" cy="546663"/>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800" b="1" i="0" kern="1200">
                <a:solidFill>
                  <a:schemeClr val="accent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2832DC"/>
                </a:solidFill>
                <a:effectLst/>
                <a:uLnTx/>
                <a:uFillTx/>
                <a:latin typeface="Helvetica" pitchFamily="2" charset="0"/>
                <a:ea typeface="+mn-ea"/>
                <a:cs typeface="+mn-cs"/>
              </a:rPr>
              <a:t>Electronic Shelf Labels</a:t>
            </a:r>
          </a:p>
        </p:txBody>
      </p:sp>
      <p:sp>
        <p:nvSpPr>
          <p:cNvPr id="49" name="Text Placeholder 3">
            <a:extLst>
              <a:ext uri="{FF2B5EF4-FFF2-40B4-BE49-F238E27FC236}">
                <a16:creationId xmlns:a16="http://schemas.microsoft.com/office/drawing/2014/main" id="{A35EE312-8400-67D5-2882-38900100F759}"/>
              </a:ext>
            </a:extLst>
          </p:cNvPr>
          <p:cNvSpPr txBox="1">
            <a:spLocks/>
          </p:cNvSpPr>
          <p:nvPr/>
        </p:nvSpPr>
        <p:spPr>
          <a:xfrm>
            <a:off x="4736099" y="3269885"/>
            <a:ext cx="1487453" cy="1404052"/>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141E50"/>
                </a:solidFill>
                <a:effectLst/>
                <a:uLnTx/>
                <a:uFillTx/>
                <a:latin typeface="Helvetica Light"/>
                <a:ea typeface="+mn-ea"/>
                <a:cs typeface="+mn-cs"/>
              </a:rPr>
              <a:t>Grocery retailers testing and deploying ESLs yet few mass rollouts</a:t>
            </a:r>
            <a:endParaRPr kumimoji="0" lang="es-ES" sz="11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endParaRPr>
          </a:p>
        </p:txBody>
      </p:sp>
      <p:sp>
        <p:nvSpPr>
          <p:cNvPr id="50" name="Text Placeholder 3">
            <a:extLst>
              <a:ext uri="{FF2B5EF4-FFF2-40B4-BE49-F238E27FC236}">
                <a16:creationId xmlns:a16="http://schemas.microsoft.com/office/drawing/2014/main" id="{CBD82277-CA2C-2794-8B56-F9CC6382BFD5}"/>
              </a:ext>
            </a:extLst>
          </p:cNvPr>
          <p:cNvSpPr txBox="1">
            <a:spLocks/>
          </p:cNvSpPr>
          <p:nvPr/>
        </p:nvSpPr>
        <p:spPr>
          <a:xfrm>
            <a:off x="4736099" y="5034597"/>
            <a:ext cx="1497391" cy="469879"/>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b="0" i="0" u="none" strike="noStrike" kern="1200" cap="none" spc="0" normalizeH="0" baseline="0" noProof="0">
                <a:ln>
                  <a:noFill/>
                </a:ln>
                <a:solidFill>
                  <a:srgbClr val="1E1E50"/>
                </a:solidFill>
                <a:effectLst/>
                <a:uLnTx/>
                <a:uFillTx/>
                <a:latin typeface="Helvetica Light"/>
                <a:ea typeface="+mn-ea"/>
                <a:cs typeface="+mn-cs"/>
              </a:rPr>
              <a:t>10</a:t>
            </a:r>
            <a:r>
              <a:rPr kumimoji="0" lang="en-GB" sz="2000" b="0" i="0" u="none" strike="noStrike" kern="1200" cap="none" spc="0" normalizeH="0" baseline="0" noProof="0">
                <a:ln>
                  <a:noFill/>
                </a:ln>
                <a:solidFill>
                  <a:srgbClr val="1E1E50"/>
                </a:solidFill>
                <a:effectLst/>
                <a:uLnTx/>
                <a:uFillTx/>
                <a:latin typeface="Helvetica Light"/>
                <a:ea typeface="+mn-ea"/>
                <a:cs typeface="+mn-cs"/>
              </a:rPr>
              <a:t>%</a:t>
            </a:r>
            <a:endParaRPr kumimoji="0" lang="en-US" sz="3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51" name="Text Placeholder 3">
            <a:extLst>
              <a:ext uri="{FF2B5EF4-FFF2-40B4-BE49-F238E27FC236}">
                <a16:creationId xmlns:a16="http://schemas.microsoft.com/office/drawing/2014/main" id="{C3542050-85D8-9935-ADAB-22F4C87DF7A0}"/>
              </a:ext>
            </a:extLst>
          </p:cNvPr>
          <p:cNvSpPr txBox="1">
            <a:spLocks/>
          </p:cNvSpPr>
          <p:nvPr/>
        </p:nvSpPr>
        <p:spPr>
          <a:xfrm>
            <a:off x="4736099" y="5759575"/>
            <a:ext cx="1487453" cy="254970"/>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1E1E50"/>
                </a:solidFill>
                <a:effectLst/>
                <a:uLnTx/>
                <a:uFillTx/>
                <a:latin typeface="Helvetica" pitchFamily="2" charset="0"/>
                <a:ea typeface="+mn-ea"/>
                <a:cs typeface="+mn-cs"/>
              </a:rPr>
              <a:t>HIGH</a:t>
            </a:r>
          </a:p>
        </p:txBody>
      </p:sp>
      <p:sp>
        <p:nvSpPr>
          <p:cNvPr id="52" name="Text Placeholder 2">
            <a:extLst>
              <a:ext uri="{FF2B5EF4-FFF2-40B4-BE49-F238E27FC236}">
                <a16:creationId xmlns:a16="http://schemas.microsoft.com/office/drawing/2014/main" id="{8415DCD9-1E20-789D-8C1A-CBC3E1E965E4}"/>
              </a:ext>
            </a:extLst>
          </p:cNvPr>
          <p:cNvSpPr txBox="1">
            <a:spLocks/>
          </p:cNvSpPr>
          <p:nvPr/>
        </p:nvSpPr>
        <p:spPr>
          <a:xfrm>
            <a:off x="6340952" y="2341961"/>
            <a:ext cx="1497392" cy="760579"/>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800" b="1" i="0" kern="1200">
                <a:solidFill>
                  <a:schemeClr val="accent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2832DC"/>
                </a:solidFill>
                <a:effectLst/>
                <a:uLnTx/>
                <a:uFillTx/>
                <a:latin typeface="Helvetica" pitchFamily="2" charset="0"/>
                <a:ea typeface="+mn-ea"/>
                <a:cs typeface="+mn-cs"/>
              </a:rPr>
              <a:t>Scales</a:t>
            </a:r>
          </a:p>
        </p:txBody>
      </p:sp>
      <p:sp>
        <p:nvSpPr>
          <p:cNvPr id="53" name="Text Placeholder 3">
            <a:extLst>
              <a:ext uri="{FF2B5EF4-FFF2-40B4-BE49-F238E27FC236}">
                <a16:creationId xmlns:a16="http://schemas.microsoft.com/office/drawing/2014/main" id="{50FE5E7E-1CB8-0F21-CB73-D582FC426879}"/>
              </a:ext>
            </a:extLst>
          </p:cNvPr>
          <p:cNvSpPr txBox="1">
            <a:spLocks/>
          </p:cNvSpPr>
          <p:nvPr/>
        </p:nvSpPr>
        <p:spPr>
          <a:xfrm>
            <a:off x="6350890" y="3269885"/>
            <a:ext cx="1487453" cy="1404052"/>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141E50"/>
                </a:solidFill>
                <a:effectLst/>
                <a:uLnTx/>
                <a:uFillTx/>
                <a:latin typeface="Helvetica Light"/>
                <a:ea typeface="+mn-ea"/>
                <a:cs typeface="+mn-cs"/>
              </a:rPr>
              <a:t>Most grocery retailers have scales however many are considering for</a:t>
            </a:r>
            <a:br>
              <a:rPr kumimoji="0" lang="en-GB" sz="1100" b="0" i="0" u="none" strike="noStrike" kern="1200" cap="none" spc="0" normalizeH="0" baseline="0" noProof="0">
                <a:ln>
                  <a:noFill/>
                </a:ln>
                <a:solidFill>
                  <a:srgbClr val="141E50"/>
                </a:solidFill>
                <a:effectLst/>
                <a:uLnTx/>
                <a:uFillTx/>
                <a:latin typeface="Helvetica Light"/>
                <a:ea typeface="+mn-ea"/>
                <a:cs typeface="+mn-cs"/>
              </a:rPr>
            </a:br>
            <a:r>
              <a:rPr kumimoji="0" lang="en-GB" sz="1100" b="0" i="0" u="none" strike="noStrike" kern="1200" cap="none" spc="0" normalizeH="0" baseline="0" noProof="0">
                <a:ln>
                  <a:noFill/>
                </a:ln>
                <a:solidFill>
                  <a:srgbClr val="141E50"/>
                </a:solidFill>
                <a:effectLst/>
                <a:uLnTx/>
                <a:uFillTx/>
                <a:latin typeface="Helvetica Light"/>
                <a:ea typeface="+mn-ea"/>
                <a:cs typeface="+mn-cs"/>
              </a:rPr>
              <a:t>next generation solution with AI capabilities</a:t>
            </a:r>
            <a:endParaRPr kumimoji="0" lang="en-US" sz="11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54" name="Text Placeholder 3">
            <a:extLst>
              <a:ext uri="{FF2B5EF4-FFF2-40B4-BE49-F238E27FC236}">
                <a16:creationId xmlns:a16="http://schemas.microsoft.com/office/drawing/2014/main" id="{9E72819D-0D2A-98C5-E081-9928BA9E4C88}"/>
              </a:ext>
            </a:extLst>
          </p:cNvPr>
          <p:cNvSpPr txBox="1">
            <a:spLocks/>
          </p:cNvSpPr>
          <p:nvPr/>
        </p:nvSpPr>
        <p:spPr>
          <a:xfrm>
            <a:off x="6350890" y="5034597"/>
            <a:ext cx="1497391" cy="469879"/>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b="0" i="0" u="none" strike="noStrike" kern="1200" cap="none" spc="0" normalizeH="0" baseline="0" noProof="0">
                <a:ln>
                  <a:noFill/>
                </a:ln>
                <a:solidFill>
                  <a:srgbClr val="1E1E50"/>
                </a:solidFill>
                <a:effectLst/>
                <a:uLnTx/>
                <a:uFillTx/>
                <a:latin typeface="Helvetica Light"/>
                <a:ea typeface="+mn-ea"/>
                <a:cs typeface="+mn-cs"/>
              </a:rPr>
              <a:t>100</a:t>
            </a:r>
            <a:r>
              <a:rPr kumimoji="0" lang="en-GB" sz="2000" b="0" i="0" u="none" strike="noStrike" kern="1200" cap="none" spc="0" normalizeH="0" baseline="0" noProof="0">
                <a:ln>
                  <a:noFill/>
                </a:ln>
                <a:solidFill>
                  <a:srgbClr val="1E1E50"/>
                </a:solidFill>
                <a:effectLst/>
                <a:uLnTx/>
                <a:uFillTx/>
                <a:latin typeface="Helvetica Light"/>
                <a:ea typeface="+mn-ea"/>
                <a:cs typeface="+mn-cs"/>
              </a:rPr>
              <a:t>%</a:t>
            </a:r>
            <a:endParaRPr kumimoji="0" lang="en-US" sz="3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55" name="Text Placeholder 3">
            <a:extLst>
              <a:ext uri="{FF2B5EF4-FFF2-40B4-BE49-F238E27FC236}">
                <a16:creationId xmlns:a16="http://schemas.microsoft.com/office/drawing/2014/main" id="{F6431D7D-38EE-1033-53F6-4C65F2AA5CC6}"/>
              </a:ext>
            </a:extLst>
          </p:cNvPr>
          <p:cNvSpPr txBox="1">
            <a:spLocks/>
          </p:cNvSpPr>
          <p:nvPr/>
        </p:nvSpPr>
        <p:spPr>
          <a:xfrm>
            <a:off x="6350890" y="5759575"/>
            <a:ext cx="1487453" cy="254970"/>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1E1E50"/>
                </a:solidFill>
                <a:effectLst/>
                <a:uLnTx/>
                <a:uFillTx/>
                <a:latin typeface="Helvetica" pitchFamily="2" charset="0"/>
                <a:ea typeface="+mn-ea"/>
                <a:cs typeface="+mn-cs"/>
              </a:rPr>
              <a:t>MID</a:t>
            </a:r>
          </a:p>
        </p:txBody>
      </p:sp>
      <p:sp>
        <p:nvSpPr>
          <p:cNvPr id="56" name="Rectangle 55">
            <a:extLst>
              <a:ext uri="{FF2B5EF4-FFF2-40B4-BE49-F238E27FC236}">
                <a16:creationId xmlns:a16="http://schemas.microsoft.com/office/drawing/2014/main" id="{B7D0DB77-0050-708E-7C90-81F751C2830F}"/>
              </a:ext>
            </a:extLst>
          </p:cNvPr>
          <p:cNvSpPr/>
          <p:nvPr/>
        </p:nvSpPr>
        <p:spPr>
          <a:xfrm>
            <a:off x="7937595" y="5587184"/>
            <a:ext cx="1497392" cy="556914"/>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57" name="Rectangle 56">
            <a:extLst>
              <a:ext uri="{FF2B5EF4-FFF2-40B4-BE49-F238E27FC236}">
                <a16:creationId xmlns:a16="http://schemas.microsoft.com/office/drawing/2014/main" id="{9F239999-501E-596F-BCCB-F6D71590BD69}"/>
              </a:ext>
            </a:extLst>
          </p:cNvPr>
          <p:cNvSpPr/>
          <p:nvPr/>
        </p:nvSpPr>
        <p:spPr>
          <a:xfrm>
            <a:off x="9540078" y="5587184"/>
            <a:ext cx="1497392" cy="556914"/>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58" name="Text Placeholder 2">
            <a:extLst>
              <a:ext uri="{FF2B5EF4-FFF2-40B4-BE49-F238E27FC236}">
                <a16:creationId xmlns:a16="http://schemas.microsoft.com/office/drawing/2014/main" id="{1D5D6650-1A03-05D6-557D-F98F99891791}"/>
              </a:ext>
            </a:extLst>
          </p:cNvPr>
          <p:cNvSpPr txBox="1">
            <a:spLocks/>
          </p:cNvSpPr>
          <p:nvPr/>
        </p:nvSpPr>
        <p:spPr>
          <a:xfrm>
            <a:off x="7918248" y="2448919"/>
            <a:ext cx="1497392" cy="546663"/>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800" b="1" i="0" kern="1200">
                <a:solidFill>
                  <a:schemeClr val="accent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2832DC"/>
                </a:solidFill>
                <a:effectLst/>
                <a:uLnTx/>
                <a:uFillTx/>
                <a:latin typeface="Helvetica" pitchFamily="2" charset="0"/>
                <a:ea typeface="+mn-ea"/>
                <a:cs typeface="+mn-cs"/>
              </a:rPr>
              <a:t>Grocery Lockers</a:t>
            </a:r>
          </a:p>
        </p:txBody>
      </p:sp>
      <p:sp>
        <p:nvSpPr>
          <p:cNvPr id="59" name="Text Placeholder 3">
            <a:extLst>
              <a:ext uri="{FF2B5EF4-FFF2-40B4-BE49-F238E27FC236}">
                <a16:creationId xmlns:a16="http://schemas.microsoft.com/office/drawing/2014/main" id="{1DF36C65-53A1-ED89-760D-47D57E6471AC}"/>
              </a:ext>
            </a:extLst>
          </p:cNvPr>
          <p:cNvSpPr txBox="1">
            <a:spLocks/>
          </p:cNvSpPr>
          <p:nvPr/>
        </p:nvSpPr>
        <p:spPr>
          <a:xfrm>
            <a:off x="7928186" y="3269885"/>
            <a:ext cx="1487453" cy="1404052"/>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100" b="0" i="0" u="none" strike="noStrike" kern="1200" cap="none" spc="0" normalizeH="0" baseline="0" noProof="0" err="1">
                <a:ln>
                  <a:noFill/>
                </a:ln>
                <a:solidFill>
                  <a:srgbClr val="141E50"/>
                </a:solidFill>
                <a:effectLst/>
                <a:uLnTx/>
                <a:uFillTx/>
                <a:latin typeface="Helvetica Light" panose="020B0403020202020204" pitchFamily="34" charset="0"/>
                <a:ea typeface="+mn-ea"/>
                <a:cs typeface="+mn-cs"/>
                <a:sym typeface="Wingdings" pitchFamily="2" charset="2"/>
              </a:rPr>
              <a:t>Grocery</a:t>
            </a:r>
            <a:r>
              <a:rPr kumimoji="0" lang="es-ES" sz="11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rPr>
              <a:t> e-</a:t>
            </a:r>
            <a:r>
              <a:rPr kumimoji="0" lang="es-ES" sz="1100" b="0" i="0" u="none" strike="noStrike" kern="1200" cap="none" spc="0" normalizeH="0" baseline="0" noProof="0" err="1">
                <a:ln>
                  <a:noFill/>
                </a:ln>
                <a:solidFill>
                  <a:srgbClr val="141E50"/>
                </a:solidFill>
                <a:effectLst/>
                <a:uLnTx/>
                <a:uFillTx/>
                <a:latin typeface="Helvetica Light" panose="020B0403020202020204" pitchFamily="34" charset="0"/>
                <a:ea typeface="+mn-ea"/>
                <a:cs typeface="+mn-cs"/>
                <a:sym typeface="Wingdings" pitchFamily="2" charset="2"/>
              </a:rPr>
              <a:t>commerce</a:t>
            </a:r>
            <a:r>
              <a:rPr kumimoji="0" lang="es-ES" sz="11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rPr>
              <a:t> </a:t>
            </a:r>
            <a:r>
              <a:rPr kumimoji="0" lang="es-ES" sz="1100" b="0" i="0" u="none" strike="noStrike" kern="1200" cap="none" spc="0" normalizeH="0" baseline="0" noProof="0" err="1">
                <a:ln>
                  <a:noFill/>
                </a:ln>
                <a:solidFill>
                  <a:srgbClr val="141E50"/>
                </a:solidFill>
                <a:effectLst/>
                <a:uLnTx/>
                <a:uFillTx/>
                <a:latin typeface="Helvetica Light" panose="020B0403020202020204" pitchFamily="34" charset="0"/>
                <a:ea typeface="+mn-ea"/>
                <a:cs typeface="+mn-cs"/>
                <a:sym typeface="Wingdings" pitchFamily="2" charset="2"/>
              </a:rPr>
              <a:t>penetration</a:t>
            </a:r>
            <a:r>
              <a:rPr kumimoji="0" lang="es-ES" sz="11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rPr>
              <a:t> </a:t>
            </a:r>
            <a:r>
              <a:rPr kumimoji="0" lang="es-ES" sz="1100" b="0" i="0" u="none" strike="noStrike" kern="1200" cap="none" spc="0" normalizeH="0" baseline="0" noProof="0" err="1">
                <a:ln>
                  <a:noFill/>
                </a:ln>
                <a:solidFill>
                  <a:srgbClr val="141E50"/>
                </a:solidFill>
                <a:effectLst/>
                <a:uLnTx/>
                <a:uFillTx/>
                <a:latin typeface="Helvetica Light" panose="020B0403020202020204" pitchFamily="34" charset="0"/>
                <a:ea typeface="+mn-ea"/>
                <a:cs typeface="+mn-cs"/>
                <a:sym typeface="Wingdings" pitchFamily="2" charset="2"/>
              </a:rPr>
              <a:t>is</a:t>
            </a:r>
            <a:r>
              <a:rPr kumimoji="0" lang="es-ES" sz="11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rPr>
              <a:t> </a:t>
            </a:r>
            <a:r>
              <a:rPr kumimoji="0" lang="es-ES" sz="1100" b="0" i="0" u="none" strike="noStrike" kern="1200" cap="none" spc="0" normalizeH="0" baseline="0" noProof="0" err="1">
                <a:ln>
                  <a:noFill/>
                </a:ln>
                <a:solidFill>
                  <a:srgbClr val="141E50"/>
                </a:solidFill>
                <a:effectLst/>
                <a:uLnTx/>
                <a:uFillTx/>
                <a:latin typeface="Helvetica Light" panose="020B0403020202020204" pitchFamily="34" charset="0"/>
                <a:ea typeface="+mn-ea"/>
                <a:cs typeface="+mn-cs"/>
                <a:sym typeface="Wingdings" pitchFamily="2" charset="2"/>
              </a:rPr>
              <a:t>low</a:t>
            </a:r>
            <a:r>
              <a:rPr kumimoji="0" lang="es-ES" sz="11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rPr>
              <a:t>. G</a:t>
            </a:r>
            <a:r>
              <a:rPr kumimoji="0" lang="es-ES" sz="1100" b="0" i="0" u="none" strike="noStrike" kern="1200" cap="none" spc="0" normalizeH="0" baseline="0" noProof="0" err="1">
                <a:ln>
                  <a:noFill/>
                </a:ln>
                <a:solidFill>
                  <a:srgbClr val="141E50"/>
                </a:solidFill>
                <a:effectLst/>
                <a:uLnTx/>
                <a:uFillTx/>
                <a:latin typeface="Helvetica Light" panose="020B0403020202020204" pitchFamily="34" charset="0"/>
                <a:ea typeface="+mn-ea"/>
                <a:cs typeface="+mn-cs"/>
                <a:sym typeface="Wingdings" pitchFamily="2" charset="2"/>
              </a:rPr>
              <a:t>rew</a:t>
            </a:r>
            <a:r>
              <a:rPr kumimoji="0" lang="es-ES" sz="11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rPr>
              <a:t> 20% in 2023 and </a:t>
            </a:r>
            <a:r>
              <a:rPr kumimoji="0" lang="es-ES" sz="1100" b="0" i="0" u="none" strike="noStrike" kern="1200" cap="none" spc="0" normalizeH="0" baseline="0" noProof="0" err="1">
                <a:ln>
                  <a:noFill/>
                </a:ln>
                <a:solidFill>
                  <a:srgbClr val="141E50"/>
                </a:solidFill>
                <a:effectLst/>
                <a:uLnTx/>
                <a:uFillTx/>
                <a:latin typeface="Helvetica Light" panose="020B0403020202020204" pitchFamily="34" charset="0"/>
                <a:ea typeface="+mn-ea"/>
                <a:cs typeface="+mn-cs"/>
                <a:sym typeface="Wingdings" pitchFamily="2" charset="2"/>
              </a:rPr>
              <a:t>expected</a:t>
            </a:r>
            <a:r>
              <a:rPr kumimoji="0" lang="es-ES" sz="11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rPr>
              <a:t> </a:t>
            </a:r>
            <a:r>
              <a:rPr kumimoji="0" lang="es-ES" sz="1100" b="0" i="0" u="none" strike="noStrike" kern="1200" cap="none" spc="0" normalizeH="0" baseline="0" noProof="0" err="1">
                <a:ln>
                  <a:noFill/>
                </a:ln>
                <a:solidFill>
                  <a:srgbClr val="141E50"/>
                </a:solidFill>
                <a:effectLst/>
                <a:uLnTx/>
                <a:uFillTx/>
                <a:latin typeface="Helvetica Light" panose="020B0403020202020204" pitchFamily="34" charset="0"/>
                <a:ea typeface="+mn-ea"/>
                <a:cs typeface="+mn-cs"/>
                <a:sym typeface="Wingdings" pitchFamily="2" charset="2"/>
              </a:rPr>
              <a:t>to</a:t>
            </a:r>
            <a:r>
              <a:rPr kumimoji="0" lang="es-ES" sz="11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rPr>
              <a:t> continue </a:t>
            </a:r>
            <a:r>
              <a:rPr kumimoji="0" lang="es-ES" sz="1100" b="0" i="0" u="none" strike="noStrike" kern="1200" cap="none" spc="0" normalizeH="0" baseline="0" noProof="0" err="1">
                <a:ln>
                  <a:noFill/>
                </a:ln>
                <a:solidFill>
                  <a:srgbClr val="141E50"/>
                </a:solidFill>
                <a:effectLst/>
                <a:uLnTx/>
                <a:uFillTx/>
                <a:latin typeface="Helvetica Light" panose="020B0403020202020204" pitchFamily="34" charset="0"/>
                <a:ea typeface="+mn-ea"/>
                <a:cs typeface="+mn-cs"/>
                <a:sym typeface="Wingdings" pitchFamily="2" charset="2"/>
              </a:rPr>
              <a:t>to</a:t>
            </a:r>
            <a:r>
              <a:rPr kumimoji="0" lang="es-ES" sz="11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rPr>
              <a:t> </a:t>
            </a:r>
            <a:r>
              <a:rPr kumimoji="0" lang="es-ES" sz="1100" b="0" i="0" u="none" strike="noStrike" kern="1200" cap="none" spc="0" normalizeH="0" baseline="0" noProof="0" err="1">
                <a:ln>
                  <a:noFill/>
                </a:ln>
                <a:solidFill>
                  <a:srgbClr val="141E50"/>
                </a:solidFill>
                <a:effectLst/>
                <a:uLnTx/>
                <a:uFillTx/>
                <a:latin typeface="Helvetica Light" panose="020B0403020202020204" pitchFamily="34" charset="0"/>
                <a:ea typeface="+mn-ea"/>
                <a:cs typeface="+mn-cs"/>
                <a:sym typeface="Wingdings" pitchFamily="2" charset="2"/>
              </a:rPr>
              <a:t>grow</a:t>
            </a:r>
            <a:r>
              <a:rPr kumimoji="0" lang="es-ES" sz="11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rPr>
              <a:t>, </a:t>
            </a:r>
            <a:r>
              <a:rPr kumimoji="0" lang="es-ES" sz="1100" b="0" i="0" u="none" strike="noStrike" kern="1200" cap="none" spc="0" normalizeH="0" baseline="0" noProof="0" err="1">
                <a:ln>
                  <a:noFill/>
                </a:ln>
                <a:solidFill>
                  <a:srgbClr val="141E50"/>
                </a:solidFill>
                <a:effectLst/>
                <a:uLnTx/>
                <a:uFillTx/>
                <a:latin typeface="Helvetica Light" panose="020B0403020202020204" pitchFamily="34" charset="0"/>
                <a:ea typeface="+mn-ea"/>
                <a:cs typeface="+mn-cs"/>
                <a:sym typeface="Wingdings" pitchFamily="2" charset="2"/>
              </a:rPr>
              <a:t>driving</a:t>
            </a:r>
            <a:r>
              <a:rPr kumimoji="0" lang="es-ES" sz="11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rPr>
              <a:t> </a:t>
            </a:r>
            <a:r>
              <a:rPr kumimoji="0" lang="es-ES" sz="1100" b="0" i="0" u="none" strike="noStrike" kern="1200" cap="none" spc="0" normalizeH="0" baseline="0" noProof="0" err="1">
                <a:ln>
                  <a:noFill/>
                </a:ln>
                <a:solidFill>
                  <a:srgbClr val="141E50"/>
                </a:solidFill>
                <a:effectLst/>
                <a:uLnTx/>
                <a:uFillTx/>
                <a:latin typeface="Helvetica Light" panose="020B0403020202020204" pitchFamily="34" charset="0"/>
                <a:ea typeface="+mn-ea"/>
                <a:cs typeface="+mn-cs"/>
                <a:sym typeface="Wingdings" pitchFamily="2" charset="2"/>
              </a:rPr>
              <a:t>interest</a:t>
            </a:r>
            <a:r>
              <a:rPr kumimoji="0" lang="es-ES" sz="11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rPr>
              <a:t> in </a:t>
            </a:r>
            <a:r>
              <a:rPr kumimoji="0" lang="es-ES" sz="1100" b="0" i="0" u="none" strike="noStrike" kern="1200" cap="none" spc="0" normalizeH="0" baseline="0" noProof="0" err="1">
                <a:ln>
                  <a:noFill/>
                </a:ln>
                <a:solidFill>
                  <a:srgbClr val="141E50"/>
                </a:solidFill>
                <a:effectLst/>
                <a:uLnTx/>
                <a:uFillTx/>
                <a:latin typeface="Helvetica Light" panose="020B0403020202020204" pitchFamily="34" charset="0"/>
                <a:ea typeface="+mn-ea"/>
                <a:cs typeface="+mn-cs"/>
                <a:sym typeface="Wingdings" pitchFamily="2" charset="2"/>
              </a:rPr>
              <a:t>grocery</a:t>
            </a:r>
            <a:r>
              <a:rPr kumimoji="0" lang="es-ES" sz="11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rPr>
              <a:t> </a:t>
            </a:r>
            <a:r>
              <a:rPr kumimoji="0" lang="es-ES" sz="1100" b="0" i="0" u="none" strike="noStrike" kern="1200" cap="none" spc="0" normalizeH="0" baseline="0" noProof="0" err="1">
                <a:ln>
                  <a:noFill/>
                </a:ln>
                <a:solidFill>
                  <a:srgbClr val="141E50"/>
                </a:solidFill>
                <a:effectLst/>
                <a:uLnTx/>
                <a:uFillTx/>
                <a:latin typeface="Helvetica Light" panose="020B0403020202020204" pitchFamily="34" charset="0"/>
                <a:ea typeface="+mn-ea"/>
                <a:cs typeface="+mn-cs"/>
                <a:sym typeface="Wingdings" pitchFamily="2" charset="2"/>
              </a:rPr>
              <a:t>lockers</a:t>
            </a:r>
            <a:r>
              <a:rPr kumimoji="0" lang="es-ES" sz="11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sym typeface="Wingdings" pitchFamily="2" charset="2"/>
              </a:rPr>
              <a:t> </a:t>
            </a:r>
          </a:p>
        </p:txBody>
      </p:sp>
      <p:sp>
        <p:nvSpPr>
          <p:cNvPr id="60" name="Text Placeholder 3">
            <a:extLst>
              <a:ext uri="{FF2B5EF4-FFF2-40B4-BE49-F238E27FC236}">
                <a16:creationId xmlns:a16="http://schemas.microsoft.com/office/drawing/2014/main" id="{E64D3B8C-61CF-090C-2E78-2E2D12C55D99}"/>
              </a:ext>
            </a:extLst>
          </p:cNvPr>
          <p:cNvSpPr txBox="1">
            <a:spLocks/>
          </p:cNvSpPr>
          <p:nvPr/>
        </p:nvSpPr>
        <p:spPr>
          <a:xfrm>
            <a:off x="7928186" y="5034597"/>
            <a:ext cx="1497391" cy="469879"/>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b="0" i="0" u="none" strike="noStrike" kern="1200" cap="none" spc="0" normalizeH="0" baseline="0" noProof="0">
                <a:ln>
                  <a:noFill/>
                </a:ln>
                <a:solidFill>
                  <a:srgbClr val="1E1E50"/>
                </a:solidFill>
                <a:effectLst/>
                <a:uLnTx/>
                <a:uFillTx/>
                <a:latin typeface="Helvetica Light"/>
                <a:ea typeface="+mn-ea"/>
                <a:cs typeface="+mn-cs"/>
              </a:rPr>
              <a:t>25</a:t>
            </a:r>
            <a:r>
              <a:rPr kumimoji="0" lang="en-GB" sz="2000" b="0" i="0" u="none" strike="noStrike" kern="1200" cap="none" spc="0" normalizeH="0" baseline="0" noProof="0">
                <a:ln>
                  <a:noFill/>
                </a:ln>
                <a:solidFill>
                  <a:srgbClr val="1E1E50"/>
                </a:solidFill>
                <a:effectLst/>
                <a:uLnTx/>
                <a:uFillTx/>
                <a:latin typeface="Helvetica Light"/>
                <a:ea typeface="+mn-ea"/>
                <a:cs typeface="+mn-cs"/>
              </a:rPr>
              <a:t>%</a:t>
            </a:r>
            <a:endParaRPr kumimoji="0" lang="en-US" sz="3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61" name="Text Placeholder 2">
            <a:extLst>
              <a:ext uri="{FF2B5EF4-FFF2-40B4-BE49-F238E27FC236}">
                <a16:creationId xmlns:a16="http://schemas.microsoft.com/office/drawing/2014/main" id="{9DECBC99-E169-29EA-017F-6B9EE59E85C5}"/>
              </a:ext>
            </a:extLst>
          </p:cNvPr>
          <p:cNvSpPr txBox="1">
            <a:spLocks/>
          </p:cNvSpPr>
          <p:nvPr/>
        </p:nvSpPr>
        <p:spPr>
          <a:xfrm>
            <a:off x="9533039" y="2448919"/>
            <a:ext cx="1497392" cy="546663"/>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800" b="1" i="0" kern="1200">
                <a:solidFill>
                  <a:schemeClr val="accent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2832DC"/>
                </a:solidFill>
                <a:effectLst/>
                <a:uLnTx/>
                <a:uFillTx/>
                <a:latin typeface="Helvetica" pitchFamily="2" charset="0"/>
                <a:ea typeface="+mn-ea"/>
                <a:cs typeface="+mn-cs"/>
              </a:rPr>
              <a:t>Order</a:t>
            </a:r>
            <a:br>
              <a:rPr kumimoji="0" lang="en-US" sz="1400" b="1" i="0" u="none" strike="noStrike" kern="1200" cap="none" spc="0" normalizeH="0" baseline="0" noProof="0">
                <a:ln>
                  <a:noFill/>
                </a:ln>
                <a:solidFill>
                  <a:srgbClr val="2832DC"/>
                </a:solidFill>
                <a:effectLst/>
                <a:uLnTx/>
                <a:uFillTx/>
                <a:latin typeface="Helvetica" pitchFamily="2" charset="0"/>
                <a:ea typeface="+mn-ea"/>
                <a:cs typeface="+mn-cs"/>
              </a:rPr>
            </a:br>
            <a:r>
              <a:rPr kumimoji="0" lang="en-US" sz="1400" b="1" i="0" u="none" strike="noStrike" kern="1200" cap="none" spc="0" normalizeH="0" baseline="0" noProof="0">
                <a:ln>
                  <a:noFill/>
                </a:ln>
                <a:solidFill>
                  <a:srgbClr val="2832DC"/>
                </a:solidFill>
                <a:effectLst/>
                <a:uLnTx/>
                <a:uFillTx/>
                <a:latin typeface="Helvetica" pitchFamily="2" charset="0"/>
                <a:ea typeface="+mn-ea"/>
                <a:cs typeface="+mn-cs"/>
              </a:rPr>
              <a:t>Picking</a:t>
            </a:r>
          </a:p>
        </p:txBody>
      </p:sp>
      <p:sp>
        <p:nvSpPr>
          <p:cNvPr id="62" name="Text Placeholder 3">
            <a:extLst>
              <a:ext uri="{FF2B5EF4-FFF2-40B4-BE49-F238E27FC236}">
                <a16:creationId xmlns:a16="http://schemas.microsoft.com/office/drawing/2014/main" id="{CB62BCDC-4B74-A45B-2062-E351AA4855EF}"/>
              </a:ext>
            </a:extLst>
          </p:cNvPr>
          <p:cNvSpPr txBox="1">
            <a:spLocks/>
          </p:cNvSpPr>
          <p:nvPr/>
        </p:nvSpPr>
        <p:spPr>
          <a:xfrm>
            <a:off x="9542977" y="3269885"/>
            <a:ext cx="1481175" cy="1404052"/>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With e-commerce growth order picking solutions demand increases </a:t>
            </a:r>
          </a:p>
        </p:txBody>
      </p:sp>
      <p:sp>
        <p:nvSpPr>
          <p:cNvPr id="63" name="Text Placeholder 3">
            <a:extLst>
              <a:ext uri="{FF2B5EF4-FFF2-40B4-BE49-F238E27FC236}">
                <a16:creationId xmlns:a16="http://schemas.microsoft.com/office/drawing/2014/main" id="{178484D5-27F2-299B-18BB-7C0850040244}"/>
              </a:ext>
            </a:extLst>
          </p:cNvPr>
          <p:cNvSpPr txBox="1">
            <a:spLocks/>
          </p:cNvSpPr>
          <p:nvPr/>
        </p:nvSpPr>
        <p:spPr>
          <a:xfrm>
            <a:off x="9542977" y="5034597"/>
            <a:ext cx="1497391" cy="469879"/>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b="0" i="0" u="none" strike="noStrike" kern="1200" cap="none" spc="0" normalizeH="0" baseline="0" noProof="0">
                <a:ln>
                  <a:noFill/>
                </a:ln>
                <a:solidFill>
                  <a:srgbClr val="1E1E50"/>
                </a:solidFill>
                <a:effectLst/>
                <a:uLnTx/>
                <a:uFillTx/>
                <a:latin typeface="Helvetica Light"/>
                <a:ea typeface="+mn-ea"/>
                <a:cs typeface="+mn-cs"/>
              </a:rPr>
              <a:t>25</a:t>
            </a:r>
            <a:r>
              <a:rPr kumimoji="0" lang="en-GB" sz="2000" b="0" i="0" u="none" strike="noStrike" kern="1200" cap="none" spc="0" normalizeH="0" baseline="0" noProof="0">
                <a:ln>
                  <a:noFill/>
                </a:ln>
                <a:solidFill>
                  <a:srgbClr val="1E1E50"/>
                </a:solidFill>
                <a:effectLst/>
                <a:uLnTx/>
                <a:uFillTx/>
                <a:latin typeface="Helvetica Light"/>
                <a:ea typeface="+mn-ea"/>
                <a:cs typeface="+mn-cs"/>
              </a:rPr>
              <a:t>%</a:t>
            </a:r>
            <a:endParaRPr kumimoji="0" lang="en-US" sz="3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64" name="Text Placeholder 3">
            <a:extLst>
              <a:ext uri="{FF2B5EF4-FFF2-40B4-BE49-F238E27FC236}">
                <a16:creationId xmlns:a16="http://schemas.microsoft.com/office/drawing/2014/main" id="{E01B0972-0C27-E4F9-B774-B265BBB71280}"/>
              </a:ext>
            </a:extLst>
          </p:cNvPr>
          <p:cNvSpPr txBox="1">
            <a:spLocks/>
          </p:cNvSpPr>
          <p:nvPr/>
        </p:nvSpPr>
        <p:spPr>
          <a:xfrm>
            <a:off x="7937642" y="5759575"/>
            <a:ext cx="1487453" cy="254970"/>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1E1E50"/>
                </a:solidFill>
                <a:effectLst/>
                <a:uLnTx/>
                <a:uFillTx/>
                <a:latin typeface="Helvetica" pitchFamily="2" charset="0"/>
                <a:ea typeface="+mn-ea"/>
                <a:cs typeface="+mn-cs"/>
              </a:rPr>
              <a:t>HIGH</a:t>
            </a:r>
          </a:p>
        </p:txBody>
      </p:sp>
      <p:sp>
        <p:nvSpPr>
          <p:cNvPr id="66" name="Text Placeholder 3">
            <a:extLst>
              <a:ext uri="{FF2B5EF4-FFF2-40B4-BE49-F238E27FC236}">
                <a16:creationId xmlns:a16="http://schemas.microsoft.com/office/drawing/2014/main" id="{A1D2FFCE-7C66-1C46-56EE-AEC2FBD8B85D}"/>
              </a:ext>
            </a:extLst>
          </p:cNvPr>
          <p:cNvSpPr txBox="1">
            <a:spLocks/>
          </p:cNvSpPr>
          <p:nvPr/>
        </p:nvSpPr>
        <p:spPr>
          <a:xfrm>
            <a:off x="9536699" y="5759575"/>
            <a:ext cx="1487453" cy="254970"/>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1E1E50"/>
                </a:solidFill>
                <a:effectLst/>
                <a:uLnTx/>
                <a:uFillTx/>
                <a:latin typeface="Helvetica" pitchFamily="2" charset="0"/>
                <a:ea typeface="+mn-ea"/>
                <a:cs typeface="+mn-cs"/>
              </a:rPr>
              <a:t>HIGH</a:t>
            </a:r>
          </a:p>
        </p:txBody>
      </p:sp>
      <p:pic>
        <p:nvPicPr>
          <p:cNvPr id="68" name="Bilde 43" descr="Et bilde som inneholder tekst&#10;&#10;Automatisk generert beskrivelse">
            <a:extLst>
              <a:ext uri="{FF2B5EF4-FFF2-40B4-BE49-F238E27FC236}">
                <a16:creationId xmlns:a16="http://schemas.microsoft.com/office/drawing/2014/main" id="{DF87BB9E-F8FB-1B66-5FE9-E8AC7A7D517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81951" y="1600562"/>
            <a:ext cx="1456622" cy="768772"/>
          </a:xfrm>
          <a:prstGeom prst="rect">
            <a:avLst/>
          </a:prstGeom>
          <a:effectLst>
            <a:outerShdw blurRad="128960" dist="71004" dir="2700000" algn="tl" rotWithShape="0">
              <a:schemeClr val="accent1">
                <a:lumMod val="75000"/>
                <a:alpha val="40000"/>
              </a:schemeClr>
            </a:outerShdw>
          </a:effectLst>
        </p:spPr>
      </p:pic>
      <p:pic>
        <p:nvPicPr>
          <p:cNvPr id="70" name="Bilde 6" descr="Et bilde som inneholder tekst, projektor&#10;&#10;Automatisk generert beskrivelse">
            <a:extLst>
              <a:ext uri="{FF2B5EF4-FFF2-40B4-BE49-F238E27FC236}">
                <a16:creationId xmlns:a16="http://schemas.microsoft.com/office/drawing/2014/main" id="{09ED82F0-4944-E547-067E-73510753EFA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090425" y="1311031"/>
            <a:ext cx="1184236" cy="1108738"/>
          </a:xfrm>
          <a:prstGeom prst="rect">
            <a:avLst/>
          </a:prstGeom>
          <a:effectLst>
            <a:outerShdw blurRad="128960" dist="71004" dir="2700000" algn="tl" rotWithShape="0">
              <a:schemeClr val="accent1">
                <a:lumMod val="75000"/>
                <a:alpha val="40000"/>
              </a:schemeClr>
            </a:outerShdw>
          </a:effectLst>
        </p:spPr>
      </p:pic>
      <p:pic>
        <p:nvPicPr>
          <p:cNvPr id="32" name="Bilde 42">
            <a:extLst>
              <a:ext uri="{FF2B5EF4-FFF2-40B4-BE49-F238E27FC236}">
                <a16:creationId xmlns:a16="http://schemas.microsoft.com/office/drawing/2014/main" id="{F1C61F07-7584-A425-84F9-3EFBC887879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21429955">
            <a:off x="3311665" y="1248497"/>
            <a:ext cx="1136469" cy="1233806"/>
          </a:xfrm>
          <a:prstGeom prst="rect">
            <a:avLst/>
          </a:prstGeom>
          <a:effectLst>
            <a:outerShdw blurRad="128960" dist="71004" dir="2700000" algn="tl" rotWithShape="0">
              <a:schemeClr val="accent1">
                <a:lumMod val="75000"/>
                <a:alpha val="40000"/>
              </a:schemeClr>
            </a:outerShdw>
          </a:effectLst>
        </p:spPr>
      </p:pic>
      <p:pic>
        <p:nvPicPr>
          <p:cNvPr id="33" name="Bilde 3" descr="Et bilde som inneholder leke, datamaskin, bord, pult&#10;&#10;Automatisk generert beskrivelse">
            <a:extLst>
              <a:ext uri="{FF2B5EF4-FFF2-40B4-BE49-F238E27FC236}">
                <a16:creationId xmlns:a16="http://schemas.microsoft.com/office/drawing/2014/main" id="{FC75EBD1-8379-40E6-4CC5-DBDBC826E89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633513" y="1546025"/>
            <a:ext cx="1101007" cy="795936"/>
          </a:xfrm>
          <a:prstGeom prst="rect">
            <a:avLst/>
          </a:prstGeom>
          <a:effectLst>
            <a:outerShdw blurRad="128960" dist="71004" dir="2700000" algn="tl" rotWithShape="0">
              <a:schemeClr val="accent1">
                <a:lumMod val="75000"/>
                <a:alpha val="40000"/>
              </a:schemeClr>
            </a:outerShdw>
          </a:effectLst>
        </p:spPr>
      </p:pic>
      <p:pic>
        <p:nvPicPr>
          <p:cNvPr id="35" name="Bilde 4">
            <a:extLst>
              <a:ext uri="{FF2B5EF4-FFF2-40B4-BE49-F238E27FC236}">
                <a16:creationId xmlns:a16="http://schemas.microsoft.com/office/drawing/2014/main" id="{8155B43D-0A3B-CD98-F876-9DE8932BB0C4}"/>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6494101" y="1251105"/>
            <a:ext cx="1278902" cy="1537500"/>
          </a:xfrm>
          <a:prstGeom prst="rect">
            <a:avLst/>
          </a:prstGeom>
          <a:effectLst>
            <a:outerShdw blurRad="128960" dist="71004" dir="2700000" algn="tl" rotWithShape="0">
              <a:schemeClr val="accent1">
                <a:lumMod val="75000"/>
                <a:alpha val="40000"/>
              </a:schemeClr>
            </a:outerShdw>
          </a:effectLst>
        </p:spPr>
      </p:pic>
      <p:pic>
        <p:nvPicPr>
          <p:cNvPr id="36" name="Bilde 4">
            <a:extLst>
              <a:ext uri="{FF2B5EF4-FFF2-40B4-BE49-F238E27FC236}">
                <a16:creationId xmlns:a16="http://schemas.microsoft.com/office/drawing/2014/main" id="{EF37894D-41A1-FE50-33BB-E21D36843F41}"/>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b="21339"/>
          <a:stretch/>
        </p:blipFill>
        <p:spPr>
          <a:xfrm>
            <a:off x="1638437" y="1246251"/>
            <a:ext cx="1278902" cy="1209405"/>
          </a:xfrm>
          <a:prstGeom prst="rect">
            <a:avLst/>
          </a:prstGeom>
          <a:effectLst>
            <a:outerShdw blurRad="128960" dist="71004" dir="2700000" algn="tl" rotWithShape="0">
              <a:schemeClr val="accent1">
                <a:lumMod val="75000"/>
                <a:alpha val="40000"/>
              </a:schemeClr>
            </a:outerShdw>
          </a:effectLst>
        </p:spPr>
      </p:pic>
    </p:spTree>
    <p:extLst>
      <p:ext uri="{BB962C8B-B14F-4D97-AF65-F5344CB8AC3E}">
        <p14:creationId xmlns:p14="http://schemas.microsoft.com/office/powerpoint/2010/main" val="2966679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671BB0A-FE7C-719D-597A-B4EB0C6E0219}"/>
              </a:ext>
            </a:extLst>
          </p:cNvPr>
          <p:cNvGraphicFramePr>
            <a:graphicFrameLocks noChangeAspect="1"/>
          </p:cNvGraphicFramePr>
          <p:nvPr>
            <p:custDataLst>
              <p:tags r:id="rId1"/>
            </p:custDataLst>
            <p:extLst>
              <p:ext uri="{D42A27DB-BD31-4B8C-83A1-F6EECF244321}">
                <p14:modId xmlns:p14="http://schemas.microsoft.com/office/powerpoint/2010/main" val="14141847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7671BB0A-FE7C-719D-597A-B4EB0C6E021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31F06077-752C-07E8-8179-979719D4AC4F}"/>
              </a:ext>
            </a:extLst>
          </p:cNvPr>
          <p:cNvSpPr>
            <a:spLocks noGrp="1"/>
          </p:cNvSpPr>
          <p:nvPr>
            <p:ph type="title"/>
          </p:nvPr>
        </p:nvSpPr>
        <p:spPr>
          <a:xfrm>
            <a:off x="1227692" y="3086098"/>
            <a:ext cx="8394291" cy="1886926"/>
          </a:xfrm>
          <a:prstGeom prst="rect">
            <a:avLst/>
          </a:prstGeom>
        </p:spPr>
        <p:txBody>
          <a:bodyPr vert="horz" lIns="91440" tIns="45720" rIns="91440" bIns="45720" anchor="b">
            <a:normAutofit/>
          </a:bodyPr>
          <a:lstStyle>
            <a:lvl1pPr>
              <a:defRPr sz="4000" b="0" i="0">
                <a:solidFill>
                  <a:schemeClr val="bg1"/>
                </a:solidFill>
                <a:latin typeface="Helvetica Light" panose="020B0403020202020204" pitchFamily="34" charset="0"/>
              </a:defRPr>
            </a:lvl1pPr>
          </a:lstStyle>
          <a:p>
            <a:r>
              <a:rPr lang="en-US" sz="6600"/>
              <a:t>Financial update</a:t>
            </a:r>
          </a:p>
        </p:txBody>
      </p:sp>
      <p:pic>
        <p:nvPicPr>
          <p:cNvPr id="5" name="Picture Placeholder 4" descr="A person shopping at a grocery store&#10;&#10;Description automatically generated with low confidence">
            <a:extLst>
              <a:ext uri="{FF2B5EF4-FFF2-40B4-BE49-F238E27FC236}">
                <a16:creationId xmlns:a16="http://schemas.microsoft.com/office/drawing/2014/main" id="{41777B7C-45E3-599D-AA0F-7D8A12730898}"/>
              </a:ext>
            </a:extLst>
          </p:cNvPr>
          <p:cNvPicPr>
            <a:picLocks noGrp="1" noChangeAspect="1"/>
          </p:cNvPicPr>
          <p:nvPr>
            <p:ph type="pic" sz="quarter" idx="4294967295"/>
          </p:nvPr>
        </p:nvPicPr>
        <p:blipFill rotWithShape="1">
          <a:blip r:embed="rId6" cstate="print">
            <a:alphaModFix amt="26000"/>
            <a:extLst>
              <a:ext uri="{28A0092B-C50C-407E-A947-70E740481C1C}">
                <a14:useLocalDpi xmlns:a14="http://schemas.microsoft.com/office/drawing/2010/main"/>
              </a:ext>
            </a:extLst>
          </a:blip>
          <a:srcRect/>
          <a:stretch/>
        </p:blipFill>
        <p:spPr>
          <a:xfrm>
            <a:off x="0" y="0"/>
            <a:ext cx="12192000" cy="6858000"/>
          </a:xfrm>
        </p:spPr>
      </p:pic>
      <p:cxnSp>
        <p:nvCxnSpPr>
          <p:cNvPr id="10" name="Straight Connector 9">
            <a:extLst>
              <a:ext uri="{FF2B5EF4-FFF2-40B4-BE49-F238E27FC236}">
                <a16:creationId xmlns:a16="http://schemas.microsoft.com/office/drawing/2014/main" id="{19C55B9A-411C-CCD2-7C44-86752FEDAFEE}"/>
              </a:ext>
            </a:extLst>
          </p:cNvPr>
          <p:cNvCxnSpPr>
            <a:cxnSpLocks/>
          </p:cNvCxnSpPr>
          <p:nvPr/>
        </p:nvCxnSpPr>
        <p:spPr>
          <a:xfrm>
            <a:off x="1315186" y="5260160"/>
            <a:ext cx="85977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Bilde 3">
            <a:extLst>
              <a:ext uri="{FF2B5EF4-FFF2-40B4-BE49-F238E27FC236}">
                <a16:creationId xmlns:a16="http://schemas.microsoft.com/office/drawing/2014/main" id="{1CFE7C1A-03C1-DA39-0257-9C11128F2B8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315186" y="5601342"/>
            <a:ext cx="2737020" cy="478520"/>
          </a:xfrm>
          <a:prstGeom prst="rect">
            <a:avLst/>
          </a:prstGeom>
        </p:spPr>
      </p:pic>
    </p:spTree>
    <p:extLst>
      <p:ext uri="{BB962C8B-B14F-4D97-AF65-F5344CB8AC3E}">
        <p14:creationId xmlns:p14="http://schemas.microsoft.com/office/powerpoint/2010/main" val="23958325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7BD43F3-A039-D46A-400B-988F6CBE50DE}"/>
              </a:ext>
            </a:extLst>
          </p:cNvPr>
          <p:cNvGraphicFramePr>
            <a:graphicFrameLocks noChangeAspect="1"/>
          </p:cNvGraphicFramePr>
          <p:nvPr>
            <p:custDataLst>
              <p:tags r:id="rId1"/>
            </p:custDataLst>
            <p:extLst>
              <p:ext uri="{D42A27DB-BD31-4B8C-83A1-F6EECF244321}">
                <p14:modId xmlns:p14="http://schemas.microsoft.com/office/powerpoint/2010/main" val="4442842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B7BD43F3-A039-D46A-400B-988F6CBE50D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27" name="Group 26">
            <a:extLst>
              <a:ext uri="{FF2B5EF4-FFF2-40B4-BE49-F238E27FC236}">
                <a16:creationId xmlns:a16="http://schemas.microsoft.com/office/drawing/2014/main" id="{ECD3EA42-A2CB-3DDF-3B42-F0990F31E7B1}"/>
              </a:ext>
            </a:extLst>
          </p:cNvPr>
          <p:cNvGrpSpPr/>
          <p:nvPr/>
        </p:nvGrpSpPr>
        <p:grpSpPr>
          <a:xfrm>
            <a:off x="7354208" y="1635370"/>
            <a:ext cx="3905075" cy="4218590"/>
            <a:chOff x="7354208" y="1635370"/>
            <a:chExt cx="3905075" cy="4218590"/>
          </a:xfrm>
        </p:grpSpPr>
        <p:sp>
          <p:nvSpPr>
            <p:cNvPr id="14" name="Rectangle 13">
              <a:extLst>
                <a:ext uri="{FF2B5EF4-FFF2-40B4-BE49-F238E27FC236}">
                  <a16:creationId xmlns:a16="http://schemas.microsoft.com/office/drawing/2014/main" id="{27083C1B-AE2B-3FAB-041B-1B9285096A72}"/>
                </a:ext>
              </a:extLst>
            </p:cNvPr>
            <p:cNvSpPr/>
            <p:nvPr/>
          </p:nvSpPr>
          <p:spPr>
            <a:xfrm>
              <a:off x="7401179" y="1635370"/>
              <a:ext cx="3658734" cy="4218590"/>
            </a:xfrm>
            <a:prstGeom prst="rect">
              <a:avLst/>
            </a:prstGeom>
            <a:solidFill>
              <a:srgbClr val="EF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Light"/>
                <a:ea typeface="+mn-ea"/>
                <a:cs typeface="+mn-cs"/>
              </a:endParaRPr>
            </a:p>
          </p:txBody>
        </p:sp>
        <p:sp>
          <p:nvSpPr>
            <p:cNvPr id="11" name="Plassholder for innhold 3">
              <a:extLst>
                <a:ext uri="{FF2B5EF4-FFF2-40B4-BE49-F238E27FC236}">
                  <a16:creationId xmlns:a16="http://schemas.microsoft.com/office/drawing/2014/main" id="{778DB081-11E1-B20C-E7AE-2D23E4BF709B}"/>
                </a:ext>
              </a:extLst>
            </p:cNvPr>
            <p:cNvSpPr txBox="1">
              <a:spLocks/>
            </p:cNvSpPr>
            <p:nvPr/>
          </p:nvSpPr>
          <p:spPr>
            <a:xfrm>
              <a:off x="7354208" y="4187391"/>
              <a:ext cx="3905075" cy="1666568"/>
            </a:xfrm>
            <a:prstGeom prst="rect">
              <a:avLst/>
            </a:prstGeom>
            <a:noFill/>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4-6</a:t>
              </a:r>
              <a:r>
                <a:rPr kumimoji="0" lang="en-US" sz="4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a:t>
              </a:r>
              <a:endParaRPr kumimoji="0" lang="en-US" sz="7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22" name="Plassholder for innhold 3">
              <a:extLst>
                <a:ext uri="{FF2B5EF4-FFF2-40B4-BE49-F238E27FC236}">
                  <a16:creationId xmlns:a16="http://schemas.microsoft.com/office/drawing/2014/main" id="{BFF20E6D-6868-77DD-EC16-4160B3EAC15F}"/>
                </a:ext>
              </a:extLst>
            </p:cNvPr>
            <p:cNvSpPr txBox="1">
              <a:spLocks/>
            </p:cNvSpPr>
            <p:nvPr/>
          </p:nvSpPr>
          <p:spPr>
            <a:xfrm>
              <a:off x="7354208" y="2579186"/>
              <a:ext cx="3905075" cy="1608199"/>
            </a:xfrm>
            <a:prstGeom prst="rect">
              <a:avLst/>
            </a:prstGeom>
            <a:noFill/>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1.5-1.8</a:t>
              </a:r>
              <a:r>
                <a:rPr kumimoji="0" lang="en-US" sz="4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Bn</a:t>
              </a:r>
              <a:endParaRPr kumimoji="0" lang="en-US" sz="7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5" name="Rectangle 4">
              <a:extLst>
                <a:ext uri="{FF2B5EF4-FFF2-40B4-BE49-F238E27FC236}">
                  <a16:creationId xmlns:a16="http://schemas.microsoft.com/office/drawing/2014/main" id="{D51A9349-2ACF-5271-7F60-9F9CFB2B2890}"/>
                </a:ext>
              </a:extLst>
            </p:cNvPr>
            <p:cNvSpPr/>
            <p:nvPr/>
          </p:nvSpPr>
          <p:spPr>
            <a:xfrm>
              <a:off x="7512353" y="1891084"/>
              <a:ext cx="2573643"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2832DC"/>
                  </a:solidFill>
                  <a:effectLst/>
                  <a:uLnTx/>
                  <a:uFillTx/>
                  <a:latin typeface="Helvetica" pitchFamily="2" charset="0"/>
                  <a:ea typeface="+mn-ea"/>
                  <a:cs typeface="+mn-cs"/>
                </a:rPr>
                <a:t>2025 Estimate </a:t>
              </a:r>
            </a:p>
          </p:txBody>
        </p:sp>
        <p:sp>
          <p:nvSpPr>
            <p:cNvPr id="25" name="TextBox 24">
              <a:extLst>
                <a:ext uri="{FF2B5EF4-FFF2-40B4-BE49-F238E27FC236}">
                  <a16:creationId xmlns:a16="http://schemas.microsoft.com/office/drawing/2014/main" id="{BF04759D-E609-0D8E-005C-461CEB18F026}"/>
                </a:ext>
              </a:extLst>
            </p:cNvPr>
            <p:cNvSpPr txBox="1"/>
            <p:nvPr/>
          </p:nvSpPr>
          <p:spPr>
            <a:xfrm>
              <a:off x="7384396" y="3795282"/>
              <a:ext cx="240742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NOK</a:t>
              </a:r>
              <a:endParaRPr kumimoji="0" lang="en-US" sz="1800" b="0" i="0" u="none" strike="noStrike" kern="1200" cap="none" spc="0" normalizeH="0" baseline="0" noProof="0">
                <a:ln>
                  <a:noFill/>
                </a:ln>
                <a:solidFill>
                  <a:prstClr val="black"/>
                </a:solidFill>
                <a:effectLst/>
                <a:uLnTx/>
                <a:uFillTx/>
                <a:latin typeface="Helvetica Light"/>
                <a:ea typeface="+mn-ea"/>
                <a:cs typeface="+mn-cs"/>
              </a:endParaRPr>
            </a:p>
          </p:txBody>
        </p:sp>
      </p:grpSp>
      <p:sp>
        <p:nvSpPr>
          <p:cNvPr id="9" name="Rectangle 8">
            <a:extLst>
              <a:ext uri="{FF2B5EF4-FFF2-40B4-BE49-F238E27FC236}">
                <a16:creationId xmlns:a16="http://schemas.microsoft.com/office/drawing/2014/main" id="{A01A5CA3-4744-4953-D8F3-B3924BD09A5F}"/>
              </a:ext>
            </a:extLst>
          </p:cNvPr>
          <p:cNvSpPr/>
          <p:nvPr/>
        </p:nvSpPr>
        <p:spPr>
          <a:xfrm>
            <a:off x="3949193" y="1635370"/>
            <a:ext cx="3405015" cy="4218590"/>
          </a:xfrm>
          <a:prstGeom prst="rect">
            <a:avLst/>
          </a:prstGeom>
          <a:solidFill>
            <a:srgbClr val="EF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Light"/>
              <a:ea typeface="+mn-ea"/>
              <a:cs typeface="+mn-cs"/>
            </a:endParaRPr>
          </a:p>
        </p:txBody>
      </p:sp>
      <p:sp>
        <p:nvSpPr>
          <p:cNvPr id="2" name="Title 1">
            <a:extLst>
              <a:ext uri="{FF2B5EF4-FFF2-40B4-BE49-F238E27FC236}">
                <a16:creationId xmlns:a16="http://schemas.microsoft.com/office/drawing/2014/main" id="{F766BB73-C02B-781D-31E1-B0F81D712373}"/>
              </a:ext>
            </a:extLst>
          </p:cNvPr>
          <p:cNvSpPr>
            <a:spLocks noGrp="1"/>
          </p:cNvSpPr>
          <p:nvPr>
            <p:ph type="title"/>
          </p:nvPr>
        </p:nvSpPr>
        <p:spPr>
          <a:xfrm>
            <a:off x="741778" y="365126"/>
            <a:ext cx="10943944" cy="1270244"/>
          </a:xfrm>
        </p:spPr>
        <p:txBody>
          <a:bodyPr vert="horz">
            <a:normAutofit/>
          </a:bodyPr>
          <a:lstStyle/>
          <a:p>
            <a:r>
              <a:rPr lang="en-US"/>
              <a:t>Where we are today and our 2025 estimates</a:t>
            </a:r>
            <a:endParaRPr lang="en-US">
              <a:latin typeface="Helvetica Light" panose="020B0403020202020204" pitchFamily="34" charset="0"/>
            </a:endParaRPr>
          </a:p>
        </p:txBody>
      </p:sp>
      <p:pic>
        <p:nvPicPr>
          <p:cNvPr id="12" name="Graphic 11">
            <a:extLst>
              <a:ext uri="{FF2B5EF4-FFF2-40B4-BE49-F238E27FC236}">
                <a16:creationId xmlns:a16="http://schemas.microsoft.com/office/drawing/2014/main" id="{76F7AB16-6528-47F2-AADD-8F793565A17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32088" y="2967626"/>
            <a:ext cx="837873" cy="837873"/>
          </a:xfrm>
          <a:prstGeom prst="rect">
            <a:avLst/>
          </a:prstGeom>
        </p:spPr>
      </p:pic>
      <p:sp>
        <p:nvSpPr>
          <p:cNvPr id="13" name="Text Placeholder 3">
            <a:extLst>
              <a:ext uri="{FF2B5EF4-FFF2-40B4-BE49-F238E27FC236}">
                <a16:creationId xmlns:a16="http://schemas.microsoft.com/office/drawing/2014/main" id="{16485EC3-A7B8-F846-2DEE-D1388E819BE1}"/>
              </a:ext>
            </a:extLst>
          </p:cNvPr>
          <p:cNvSpPr txBox="1">
            <a:spLocks/>
          </p:cNvSpPr>
          <p:nvPr/>
        </p:nvSpPr>
        <p:spPr>
          <a:xfrm>
            <a:off x="2238874" y="4707967"/>
            <a:ext cx="1494022" cy="865600"/>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EBITDA</a:t>
            </a:r>
          </a:p>
        </p:txBody>
      </p:sp>
      <p:sp>
        <p:nvSpPr>
          <p:cNvPr id="15" name="Text Placeholder 3">
            <a:extLst>
              <a:ext uri="{FF2B5EF4-FFF2-40B4-BE49-F238E27FC236}">
                <a16:creationId xmlns:a16="http://schemas.microsoft.com/office/drawing/2014/main" id="{F9872B83-56A8-6771-8D0E-15F5DB0B2CD9}"/>
              </a:ext>
            </a:extLst>
          </p:cNvPr>
          <p:cNvSpPr txBox="1">
            <a:spLocks/>
          </p:cNvSpPr>
          <p:nvPr/>
        </p:nvSpPr>
        <p:spPr>
          <a:xfrm>
            <a:off x="2230769" y="2957031"/>
            <a:ext cx="1494022" cy="861613"/>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Revenue</a:t>
            </a:r>
            <a:endParaRPr kumimoji="0" lang="en-US" sz="2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pic>
        <p:nvPicPr>
          <p:cNvPr id="17" name="Graphic 16">
            <a:extLst>
              <a:ext uri="{FF2B5EF4-FFF2-40B4-BE49-F238E27FC236}">
                <a16:creationId xmlns:a16="http://schemas.microsoft.com/office/drawing/2014/main" id="{0C9C678C-E419-8AF4-6E9F-94236DD0843F}"/>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05259" y="4547215"/>
            <a:ext cx="1149057" cy="1149057"/>
          </a:xfrm>
          <a:prstGeom prst="rect">
            <a:avLst/>
          </a:prstGeom>
        </p:spPr>
      </p:pic>
      <p:cxnSp>
        <p:nvCxnSpPr>
          <p:cNvPr id="19" name="Straight Connector 18">
            <a:extLst>
              <a:ext uri="{FF2B5EF4-FFF2-40B4-BE49-F238E27FC236}">
                <a16:creationId xmlns:a16="http://schemas.microsoft.com/office/drawing/2014/main" id="{6ABFCFEB-B292-BE41-37D1-47E0BE6E37BF}"/>
              </a:ext>
            </a:extLst>
          </p:cNvPr>
          <p:cNvCxnSpPr>
            <a:cxnSpLocks/>
          </p:cNvCxnSpPr>
          <p:nvPr/>
        </p:nvCxnSpPr>
        <p:spPr>
          <a:xfrm>
            <a:off x="1005259" y="2520823"/>
            <a:ext cx="1005465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3BC5291-712B-FA31-5E2C-A680A30AEAE9}"/>
              </a:ext>
            </a:extLst>
          </p:cNvPr>
          <p:cNvCxnSpPr>
            <a:cxnSpLocks/>
          </p:cNvCxnSpPr>
          <p:nvPr/>
        </p:nvCxnSpPr>
        <p:spPr>
          <a:xfrm>
            <a:off x="1005259" y="4187391"/>
            <a:ext cx="1005465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7FC4A69-EAFE-184F-3E4C-A76C89891D26}"/>
              </a:ext>
            </a:extLst>
          </p:cNvPr>
          <p:cNvCxnSpPr>
            <a:cxnSpLocks/>
          </p:cNvCxnSpPr>
          <p:nvPr/>
        </p:nvCxnSpPr>
        <p:spPr>
          <a:xfrm>
            <a:off x="1005259" y="5853959"/>
            <a:ext cx="1005465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26204A46-ECE3-465F-6892-98541835EB86}"/>
              </a:ext>
            </a:extLst>
          </p:cNvPr>
          <p:cNvSpPr/>
          <p:nvPr/>
        </p:nvSpPr>
        <p:spPr>
          <a:xfrm>
            <a:off x="4203089" y="1891084"/>
            <a:ext cx="1892911"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2832DC"/>
                </a:solidFill>
                <a:effectLst/>
                <a:uLnTx/>
                <a:uFillTx/>
                <a:latin typeface="Helvetica" pitchFamily="2" charset="0"/>
                <a:ea typeface="+mn-ea"/>
                <a:cs typeface="+mn-cs"/>
              </a:rPr>
              <a:t>2023 Results</a:t>
            </a:r>
          </a:p>
        </p:txBody>
      </p:sp>
      <p:sp>
        <p:nvSpPr>
          <p:cNvPr id="7" name="Plassholder for innhold 3">
            <a:extLst>
              <a:ext uri="{FF2B5EF4-FFF2-40B4-BE49-F238E27FC236}">
                <a16:creationId xmlns:a16="http://schemas.microsoft.com/office/drawing/2014/main" id="{4EED28AB-F2EB-6155-53ED-3EC78E6E8763}"/>
              </a:ext>
            </a:extLst>
          </p:cNvPr>
          <p:cNvSpPr txBox="1">
            <a:spLocks/>
          </p:cNvSpPr>
          <p:nvPr/>
        </p:nvSpPr>
        <p:spPr>
          <a:xfrm>
            <a:off x="4106360" y="4187391"/>
            <a:ext cx="2479580" cy="1666568"/>
          </a:xfrm>
          <a:prstGeom prst="rect">
            <a:avLst/>
          </a:prstGeom>
          <a:noFill/>
        </p:spPr>
        <p:txBody>
          <a:bodyPr vert="horz" lIns="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200">
                <a:solidFill>
                  <a:srgbClr val="1E1E50"/>
                </a:solidFill>
                <a:latin typeface="Helvetica Light" panose="020B0403020202020204" pitchFamily="34" charset="0"/>
              </a:rPr>
              <a:t>0</a:t>
            </a:r>
            <a:r>
              <a:rPr lang="en-US" sz="4000" baseline="30000">
                <a:solidFill>
                  <a:srgbClr val="1E1E50"/>
                </a:solidFill>
                <a:latin typeface="Helvetica Light" panose="020B0403020202020204" pitchFamily="34" charset="0"/>
              </a:rPr>
              <a:t>%</a:t>
            </a:r>
            <a:endParaRPr kumimoji="0" lang="en-US" sz="7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8" name="Plassholder for innhold 3">
            <a:extLst>
              <a:ext uri="{FF2B5EF4-FFF2-40B4-BE49-F238E27FC236}">
                <a16:creationId xmlns:a16="http://schemas.microsoft.com/office/drawing/2014/main" id="{3118566A-48BA-2A8B-DC31-757A6A6C1210}"/>
              </a:ext>
            </a:extLst>
          </p:cNvPr>
          <p:cNvSpPr txBox="1">
            <a:spLocks/>
          </p:cNvSpPr>
          <p:nvPr/>
        </p:nvSpPr>
        <p:spPr>
          <a:xfrm>
            <a:off x="4106360" y="2579186"/>
            <a:ext cx="2479580" cy="1644963"/>
          </a:xfrm>
          <a:prstGeom prst="rect">
            <a:avLst/>
          </a:prstGeom>
          <a:noFill/>
        </p:spPr>
        <p:txBody>
          <a:bodyPr vert="horz" lIns="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1.35</a:t>
            </a:r>
            <a:r>
              <a:rPr kumimoji="0" lang="en-US" sz="4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Bn</a:t>
            </a:r>
            <a:endParaRPr kumimoji="0" lang="en-US" sz="7200" b="0" i="0" u="none" strike="noStrike" kern="1200" cap="none" spc="0" normalizeH="0" baseline="30000" noProof="0">
              <a:ln>
                <a:noFill/>
              </a:ln>
              <a:solidFill>
                <a:srgbClr val="1E1E50"/>
              </a:solidFill>
              <a:effectLst/>
              <a:uLnTx/>
              <a:uFillTx/>
              <a:latin typeface="Helvetica Light" panose="020B0403020202020204" pitchFamily="34" charset="0"/>
              <a:ea typeface="+mn-ea"/>
              <a:cs typeface="+mn-cs"/>
            </a:endParaRPr>
          </a:p>
        </p:txBody>
      </p:sp>
      <p:sp>
        <p:nvSpPr>
          <p:cNvPr id="24" name="TextBox 23">
            <a:extLst>
              <a:ext uri="{FF2B5EF4-FFF2-40B4-BE49-F238E27FC236}">
                <a16:creationId xmlns:a16="http://schemas.microsoft.com/office/drawing/2014/main" id="{15AF6F81-8707-3865-54C6-BCFAFD711AD7}"/>
              </a:ext>
            </a:extLst>
          </p:cNvPr>
          <p:cNvSpPr txBox="1"/>
          <p:nvPr/>
        </p:nvSpPr>
        <p:spPr>
          <a:xfrm>
            <a:off x="4106359" y="3795282"/>
            <a:ext cx="240742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NOK</a:t>
            </a:r>
            <a:endParaRPr kumimoji="0" lang="en-US" sz="1800" b="0" i="0" u="none" strike="noStrike" kern="1200" cap="none" spc="0" normalizeH="0" baseline="0" noProof="0">
              <a:ln>
                <a:noFill/>
              </a:ln>
              <a:solidFill>
                <a:prstClr val="black"/>
              </a:solidFill>
              <a:effectLst/>
              <a:uLnTx/>
              <a:uFillTx/>
              <a:latin typeface="Helvetica Light"/>
              <a:ea typeface="+mn-ea"/>
              <a:cs typeface="+mn-cs"/>
            </a:endParaRPr>
          </a:p>
        </p:txBody>
      </p:sp>
    </p:spTree>
    <p:extLst>
      <p:ext uri="{BB962C8B-B14F-4D97-AF65-F5344CB8AC3E}">
        <p14:creationId xmlns:p14="http://schemas.microsoft.com/office/powerpoint/2010/main" val="7867795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F2540B4E-2156-1672-C3D3-E3B9D3755E31}"/>
              </a:ext>
            </a:extLst>
          </p:cNvPr>
          <p:cNvGraphicFramePr>
            <a:graphicFrameLocks noChangeAspect="1"/>
          </p:cNvGraphicFramePr>
          <p:nvPr>
            <p:custDataLst>
              <p:tags r:id="rId1"/>
            </p:custDataLst>
            <p:extLst>
              <p:ext uri="{D42A27DB-BD31-4B8C-83A1-F6EECF244321}">
                <p14:modId xmlns:p14="http://schemas.microsoft.com/office/powerpoint/2010/main" val="4012548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5" progId="TCLayout.ActiveDocument.1">
                  <p:embed/>
                </p:oleObj>
              </mc:Choice>
              <mc:Fallback>
                <p:oleObj name="think-cell Slide" r:id="rId12" imgW="344" imgH="345" progId="TCLayout.ActiveDocument.1">
                  <p:embed/>
                  <p:pic>
                    <p:nvPicPr>
                      <p:cNvPr id="9" name="Objekt 8" hidden="1">
                        <a:extLst>
                          <a:ext uri="{FF2B5EF4-FFF2-40B4-BE49-F238E27FC236}">
                            <a16:creationId xmlns:a16="http://schemas.microsoft.com/office/drawing/2014/main" id="{F2540B4E-2156-1672-C3D3-E3B9D3755E31}"/>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C60094DD-8A4B-8E78-8C59-E84342149CAE}"/>
              </a:ext>
            </a:extLst>
          </p:cNvPr>
          <p:cNvSpPr/>
          <p:nvPr/>
        </p:nvSpPr>
        <p:spPr>
          <a:xfrm>
            <a:off x="755849" y="1448733"/>
            <a:ext cx="6838132" cy="4608757"/>
          </a:xfrm>
          <a:prstGeom prst="rect">
            <a:avLst/>
          </a:prstGeom>
          <a:solidFill>
            <a:schemeClr val="accent4">
              <a:lumMod val="20000"/>
              <a:lumOff val="80000"/>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2" name="Title 1">
            <a:extLst>
              <a:ext uri="{FF2B5EF4-FFF2-40B4-BE49-F238E27FC236}">
                <a16:creationId xmlns:a16="http://schemas.microsoft.com/office/drawing/2014/main" id="{F5DFCB5D-1AD6-5915-15DF-57B223F44702}"/>
              </a:ext>
            </a:extLst>
          </p:cNvPr>
          <p:cNvSpPr>
            <a:spLocks noGrp="1"/>
          </p:cNvSpPr>
          <p:nvPr>
            <p:ph type="title"/>
          </p:nvPr>
        </p:nvSpPr>
        <p:spPr/>
        <p:txBody>
          <a:bodyPr vert="horz">
            <a:normAutofit/>
          </a:bodyPr>
          <a:lstStyle/>
          <a:p>
            <a:r>
              <a:rPr lang="en-US"/>
              <a:t>2025 estimates: Scandinavia   </a:t>
            </a:r>
          </a:p>
        </p:txBody>
      </p:sp>
      <p:sp>
        <p:nvSpPr>
          <p:cNvPr id="17" name="TekstSylinder 32">
            <a:extLst>
              <a:ext uri="{FF2B5EF4-FFF2-40B4-BE49-F238E27FC236}">
                <a16:creationId xmlns:a16="http://schemas.microsoft.com/office/drawing/2014/main" id="{B41DC34C-1C93-7B95-A8D6-264633FA8507}"/>
              </a:ext>
            </a:extLst>
          </p:cNvPr>
          <p:cNvSpPr txBox="1"/>
          <p:nvPr/>
        </p:nvSpPr>
        <p:spPr>
          <a:xfrm>
            <a:off x="7856538" y="1812940"/>
            <a:ext cx="3557134" cy="3877985"/>
          </a:xfrm>
          <a:prstGeom prst="rect">
            <a:avLst/>
          </a:prstGeom>
          <a:noFill/>
        </p:spPr>
        <p:txBody>
          <a:bodyPr wrap="square" rtlCol="0" anchor="ctr">
            <a:spAutoFit/>
          </a:bodyPr>
          <a:lstStyle/>
          <a:p>
            <a:pPr marL="285750" marR="0" lvl="0" indent="-285750" algn="l" defTabSz="914400" rtl="0" eaLnBrk="1" fontAlgn="auto" latinLnBrk="0" hangingPunct="1">
              <a:spcBef>
                <a:spcPts val="0"/>
              </a:spcBef>
              <a:spcAft>
                <a:spcPts val="1200"/>
              </a:spcAft>
              <a:buClrTx/>
              <a:buSzTx/>
              <a:buFont typeface="Arial" panose="020B0604020202020204" pitchFamily="34" charset="0"/>
              <a:buChar char="•"/>
              <a:tabLst/>
              <a:defRPr/>
            </a:pPr>
            <a:r>
              <a:rPr lang="en-GB">
                <a:solidFill>
                  <a:srgbClr val="1E1E50"/>
                </a:solidFill>
                <a:latin typeface="Helvetica Light" panose="020B0403020202020204" pitchFamily="34" charset="0"/>
              </a:rPr>
              <a:t>Overall challenging market conditions in 2023 and so far in 2024</a:t>
            </a:r>
          </a:p>
          <a:p>
            <a:pPr marL="285750" marR="0" lvl="0" indent="-285750" algn="l" defTabSz="914400" rtl="0" eaLnBrk="1" fontAlgn="auto" latinLnBrk="0" hangingPunct="1">
              <a:spcBef>
                <a:spcPts val="0"/>
              </a:spcBef>
              <a:spcAft>
                <a:spcPts val="1200"/>
              </a:spcAft>
              <a:buClrTx/>
              <a:buSzTx/>
              <a:buFont typeface="Arial" panose="020B0604020202020204" pitchFamily="34" charset="0"/>
              <a:buChar char="•"/>
              <a:tabLst/>
              <a:defRPr/>
            </a:pPr>
            <a:r>
              <a:rPr lang="en-GB">
                <a:solidFill>
                  <a:srgbClr val="1E1E50"/>
                </a:solidFill>
                <a:latin typeface="Helvetica Light" panose="020B0403020202020204" pitchFamily="34" charset="0"/>
              </a:rPr>
              <a:t>Norway: Increase in in-store deliveries, off-set by expected reduction in payment solutions</a:t>
            </a:r>
          </a:p>
          <a:p>
            <a:pPr marL="285750" marR="0" lvl="0" indent="-285750" algn="l" defTabSz="914400" rtl="0" eaLnBrk="1" fontAlgn="auto" latinLnBrk="0" hangingPunct="1">
              <a:spcBef>
                <a:spcPts val="0"/>
              </a:spcBef>
              <a:spcAft>
                <a:spcPts val="1200"/>
              </a:spcAft>
              <a:buClrTx/>
              <a:buSzTx/>
              <a:buFont typeface="Arial" panose="020B0604020202020204" pitchFamily="34" charset="0"/>
              <a:buChar char="•"/>
              <a:tabLst/>
              <a:defRPr/>
            </a:pPr>
            <a:r>
              <a:rPr lang="en-GB">
                <a:solidFill>
                  <a:srgbClr val="1E1E50"/>
                </a:solidFill>
                <a:latin typeface="Helvetica Light" panose="020B0403020202020204" pitchFamily="34" charset="0"/>
              </a:rPr>
              <a:t>Sweden: Increase in in-store and checkout</a:t>
            </a:r>
          </a:p>
          <a:p>
            <a:pPr marL="285750" indent="-285750">
              <a:spcAft>
                <a:spcPts val="1200"/>
              </a:spcAft>
              <a:buFont typeface="Arial" panose="020B0604020202020204" pitchFamily="34" charset="0"/>
              <a:buChar char="•"/>
              <a:defRPr/>
            </a:pPr>
            <a:r>
              <a:rPr lang="en-GB">
                <a:solidFill>
                  <a:srgbClr val="1E1E50"/>
                </a:solidFill>
                <a:latin typeface="Helvetica Light" panose="020B0403020202020204" pitchFamily="34" charset="0"/>
              </a:rPr>
              <a:t>Stable margins, continuous measures to maintain and strengthen through operational excellence</a:t>
            </a:r>
          </a:p>
        </p:txBody>
      </p:sp>
      <p:sp>
        <p:nvSpPr>
          <p:cNvPr id="18" name="Plassholder for innhold 3">
            <a:extLst>
              <a:ext uri="{FF2B5EF4-FFF2-40B4-BE49-F238E27FC236}">
                <a16:creationId xmlns:a16="http://schemas.microsoft.com/office/drawing/2014/main" id="{28420332-228D-0F86-BF7C-F0FB17301722}"/>
              </a:ext>
            </a:extLst>
          </p:cNvPr>
          <p:cNvSpPr txBox="1">
            <a:spLocks/>
          </p:cNvSpPr>
          <p:nvPr/>
        </p:nvSpPr>
        <p:spPr>
          <a:xfrm>
            <a:off x="833438" y="1460313"/>
            <a:ext cx="4822825" cy="804229"/>
          </a:xfrm>
          <a:prstGeom prst="rect">
            <a:avLst/>
          </a:prstGeom>
          <a:no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1E1E50"/>
                </a:solidFill>
                <a:effectLst/>
                <a:uLnTx/>
                <a:uFillTx/>
                <a:latin typeface="Helvetica" pitchFamily="2" charset="0"/>
                <a:ea typeface="+mn-ea"/>
                <a:cs typeface="Arial" panose="020B0604020202020204" pitchFamily="34" charset="0"/>
              </a:rPr>
              <a:t>Revenue and EBITDA margin</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2000">
                <a:solidFill>
                  <a:srgbClr val="1E1E50"/>
                </a:solidFill>
                <a:latin typeface="Helvetica" pitchFamily="2" charset="0"/>
                <a:cs typeface="Arial" panose="020B0604020202020204" pitchFamily="34" charset="0"/>
              </a:rPr>
              <a:t>(</a:t>
            </a:r>
            <a:r>
              <a:rPr kumimoji="0" lang="en-US" sz="2000" i="0" u="none" strike="noStrike" kern="1200" cap="none" spc="0" normalizeH="0" baseline="0" noProof="0">
                <a:ln>
                  <a:noFill/>
                </a:ln>
                <a:solidFill>
                  <a:srgbClr val="1E1E50"/>
                </a:solidFill>
                <a:effectLst/>
                <a:uLnTx/>
                <a:uFillTx/>
                <a:latin typeface="Helvetica" pitchFamily="2" charset="0"/>
                <a:ea typeface="+mn-ea"/>
                <a:cs typeface="Arial" panose="020B0604020202020204" pitchFamily="34" charset="0"/>
              </a:rPr>
              <a:t>MNOK)</a:t>
            </a:r>
          </a:p>
        </p:txBody>
      </p:sp>
      <p:cxnSp>
        <p:nvCxnSpPr>
          <p:cNvPr id="16" name="Straight Connector 15">
            <a:extLst>
              <a:ext uri="{FF2B5EF4-FFF2-40B4-BE49-F238E27FC236}">
                <a16:creationId xmlns:a16="http://schemas.microsoft.com/office/drawing/2014/main" id="{5AB0DD28-B666-6D09-CD1C-E31CA1753B3F}"/>
              </a:ext>
            </a:extLst>
          </p:cNvPr>
          <p:cNvCxnSpPr>
            <a:cxnSpLocks/>
          </p:cNvCxnSpPr>
          <p:nvPr/>
        </p:nvCxnSpPr>
        <p:spPr>
          <a:xfrm>
            <a:off x="731838" y="1412892"/>
            <a:ext cx="6862143" cy="0"/>
          </a:xfrm>
          <a:prstGeom prst="line">
            <a:avLst/>
          </a:prstGeom>
          <a:ln w="12700"/>
        </p:spPr>
        <p:style>
          <a:lnRef idx="1">
            <a:schemeClr val="accent2"/>
          </a:lnRef>
          <a:fillRef idx="0">
            <a:schemeClr val="accent2"/>
          </a:fillRef>
          <a:effectRef idx="0">
            <a:schemeClr val="accent2"/>
          </a:effectRef>
          <a:fontRef idx="minor">
            <a:schemeClr val="tx1"/>
          </a:fontRef>
        </p:style>
      </p:cxnSp>
      <p:graphicFrame>
        <p:nvGraphicFramePr>
          <p:cNvPr id="5" name="Chart 4">
            <a:extLst>
              <a:ext uri="{FF2B5EF4-FFF2-40B4-BE49-F238E27FC236}">
                <a16:creationId xmlns:a16="http://schemas.microsoft.com/office/drawing/2014/main" id="{53F3E2B7-D640-495C-5F36-D4D4D78379BD}"/>
              </a:ext>
            </a:extLst>
          </p:cNvPr>
          <p:cNvGraphicFramePr/>
          <p:nvPr>
            <p:custDataLst>
              <p:tags r:id="rId2"/>
            </p:custDataLst>
            <p:extLst>
              <p:ext uri="{D42A27DB-BD31-4B8C-83A1-F6EECF244321}">
                <p14:modId xmlns:p14="http://schemas.microsoft.com/office/powerpoint/2010/main" val="1600593464"/>
              </p:ext>
            </p:extLst>
          </p:nvPr>
        </p:nvGraphicFramePr>
        <p:xfrm>
          <a:off x="1262063" y="2319338"/>
          <a:ext cx="5243512" cy="3714750"/>
        </p:xfrm>
        <a:graphic>
          <a:graphicData uri="http://schemas.openxmlformats.org/drawingml/2006/chart">
            <c:chart xmlns:c="http://schemas.openxmlformats.org/drawingml/2006/chart" xmlns:r="http://schemas.openxmlformats.org/officeDocument/2006/relationships" r:id="rId14"/>
          </a:graphicData>
        </a:graphic>
      </p:graphicFrame>
      <p:cxnSp>
        <p:nvCxnSpPr>
          <p:cNvPr id="204" name="Straight Connector 203">
            <a:extLst>
              <a:ext uri="{FF2B5EF4-FFF2-40B4-BE49-F238E27FC236}">
                <a16:creationId xmlns:a16="http://schemas.microsoft.com/office/drawing/2014/main" id="{D07AD04B-8A23-34D4-76D4-29D395537CC4}"/>
              </a:ext>
            </a:extLst>
          </p:cNvPr>
          <p:cNvCxnSpPr/>
          <p:nvPr>
            <p:custDataLst>
              <p:tags r:id="rId3"/>
            </p:custDataLst>
          </p:nvPr>
        </p:nvCxnSpPr>
        <p:spPr bwMode="auto">
          <a:xfrm flipV="1">
            <a:off x="2613025" y="2212975"/>
            <a:ext cx="2540000" cy="4349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 name="Rectangle 3">
            <a:extLst>
              <a:ext uri="{FF2B5EF4-FFF2-40B4-BE49-F238E27FC236}">
                <a16:creationId xmlns:a16="http://schemas.microsoft.com/office/drawing/2014/main" id="{F2012282-F2D2-491E-6C94-F4A05D08BC2D}"/>
              </a:ext>
            </a:extLst>
          </p:cNvPr>
          <p:cNvSpPr/>
          <p:nvPr>
            <p:custDataLst>
              <p:tags r:id="rId4"/>
            </p:custDataLst>
          </p:nvPr>
        </p:nvSpPr>
        <p:spPr bwMode="auto">
          <a:xfrm>
            <a:off x="2239963" y="5689600"/>
            <a:ext cx="747713" cy="3048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BFB34C2D-BF70-42F1-A450-EBAFBF56281D}" type="datetime'''''''''''''''''2''02''''''''''3''''''''''''A'''''''''">
              <a:rPr lang="en-GB" altLang="en-US" sz="2000">
                <a:solidFill>
                  <a:schemeClr val="tx1"/>
                </a:solidFill>
              </a:rPr>
              <a:pPr algn="ctr">
                <a:spcBef>
                  <a:spcPct val="0"/>
                </a:spcBef>
                <a:spcAft>
                  <a:spcPct val="0"/>
                </a:spcAft>
              </a:pPr>
              <a:t>2023A</a:t>
            </a:fld>
            <a:endParaRPr lang="en-GB" sz="2000">
              <a:solidFill>
                <a:schemeClr val="tx1"/>
              </a:solidFill>
            </a:endParaRPr>
          </a:p>
        </p:txBody>
      </p:sp>
      <p:sp>
        <p:nvSpPr>
          <p:cNvPr id="173" name="Rectangle 172">
            <a:extLst>
              <a:ext uri="{FF2B5EF4-FFF2-40B4-BE49-F238E27FC236}">
                <a16:creationId xmlns:a16="http://schemas.microsoft.com/office/drawing/2014/main" id="{7EAFC3BA-28D5-747B-D43E-960315851028}"/>
              </a:ext>
            </a:extLst>
          </p:cNvPr>
          <p:cNvSpPr/>
          <p:nvPr>
            <p:custDataLst>
              <p:tags r:id="rId5"/>
            </p:custDataLst>
          </p:nvPr>
        </p:nvSpPr>
        <p:spPr bwMode="gray">
          <a:xfrm>
            <a:off x="4622800" y="4230688"/>
            <a:ext cx="1062038" cy="2746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6513" tIns="0" rIns="36513" bIns="0" rtlCol="0" anchor="ctr"/>
          <a:lstStyle/>
          <a:p>
            <a:pPr algn="ctr">
              <a:lnSpc>
                <a:spcPct val="90000"/>
              </a:lnSpc>
              <a:spcBef>
                <a:spcPct val="0"/>
              </a:spcBef>
              <a:spcAft>
                <a:spcPct val="0"/>
              </a:spcAft>
            </a:pPr>
            <a:fld id="{DB60C12F-68D3-441A-96A3-0ED1CC59D31F}" type="datetime'''''6''''''''''5''''''''''''''''''''0'''''''''''''''''''''''''">
              <a:rPr lang="en-GB" altLang="en-US" sz="2000" smtClean="0">
                <a:solidFill>
                  <a:schemeClr val="tx1"/>
                </a:solidFill>
                <a:effectLst/>
                <a:latin typeface="Helvetica" pitchFamily="2" charset="0"/>
              </a:rPr>
              <a:pPr algn="ctr">
                <a:lnSpc>
                  <a:spcPct val="90000"/>
                </a:lnSpc>
                <a:spcBef>
                  <a:spcPct val="0"/>
                </a:spcBef>
                <a:spcAft>
                  <a:spcPct val="0"/>
                </a:spcAft>
              </a:pPr>
              <a:t>650</a:t>
            </a:fld>
            <a:r>
              <a:rPr lang="en-GB" altLang="en-US" sz="2000">
                <a:solidFill>
                  <a:schemeClr val="tx1"/>
                </a:solidFill>
                <a:latin typeface="Helvetica" pitchFamily="2" charset="0"/>
              </a:rPr>
              <a:t>–</a:t>
            </a:r>
            <a:r>
              <a:rPr lang="en-GB" altLang="en-US" sz="2000">
                <a:solidFill>
                  <a:schemeClr val="tx1"/>
                </a:solidFill>
                <a:effectLst/>
                <a:latin typeface="Helvetica" pitchFamily="2" charset="0"/>
              </a:rPr>
              <a:t>750</a:t>
            </a:r>
            <a:endParaRPr lang="en-GB" sz="2000">
              <a:solidFill>
                <a:schemeClr val="tx1"/>
              </a:solidFill>
              <a:latin typeface="Helvetica" pitchFamily="2" charset="0"/>
            </a:endParaRPr>
          </a:p>
        </p:txBody>
      </p:sp>
      <p:sp>
        <p:nvSpPr>
          <p:cNvPr id="6" name="Rectangle 5">
            <a:extLst>
              <a:ext uri="{FF2B5EF4-FFF2-40B4-BE49-F238E27FC236}">
                <a16:creationId xmlns:a16="http://schemas.microsoft.com/office/drawing/2014/main" id="{C201A21B-B2F9-1EF1-CDC1-DBADB463FF1F}"/>
              </a:ext>
            </a:extLst>
          </p:cNvPr>
          <p:cNvSpPr/>
          <p:nvPr>
            <p:custDataLst>
              <p:tags r:id="rId6"/>
            </p:custDataLst>
          </p:nvPr>
        </p:nvSpPr>
        <p:spPr bwMode="auto">
          <a:xfrm>
            <a:off x="4794249" y="5689600"/>
            <a:ext cx="719138" cy="3048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E2B83D49-3205-4018-AD11-0EC1937A0BD0}" type="datetime'''''''''''''2''''''0''''''''''''2''''''''5''''''''''e'''">
              <a:rPr lang="en-GB" altLang="en-US" sz="2000">
                <a:solidFill>
                  <a:schemeClr val="tx1"/>
                </a:solidFill>
              </a:rPr>
              <a:pPr algn="ctr">
                <a:spcBef>
                  <a:spcPct val="0"/>
                </a:spcBef>
                <a:spcAft>
                  <a:spcPct val="0"/>
                </a:spcAft>
              </a:pPr>
              <a:t>2025e</a:t>
            </a:fld>
            <a:endParaRPr lang="en-GB" sz="2000">
              <a:solidFill>
                <a:schemeClr val="tx1"/>
              </a:solidFill>
            </a:endParaRPr>
          </a:p>
        </p:txBody>
      </p:sp>
      <p:sp>
        <p:nvSpPr>
          <p:cNvPr id="202" name="Oval 201">
            <a:extLst>
              <a:ext uri="{FF2B5EF4-FFF2-40B4-BE49-F238E27FC236}">
                <a16:creationId xmlns:a16="http://schemas.microsoft.com/office/drawing/2014/main" id="{B3690DAD-DCE3-DBE6-A077-FE79B8914178}"/>
              </a:ext>
            </a:extLst>
          </p:cNvPr>
          <p:cNvSpPr/>
          <p:nvPr>
            <p:custDataLst>
              <p:tags r:id="rId7"/>
            </p:custDataLst>
          </p:nvPr>
        </p:nvSpPr>
        <p:spPr bwMode="auto">
          <a:xfrm>
            <a:off x="2784474" y="2214562"/>
            <a:ext cx="2197100" cy="431800"/>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ctr">
              <a:spcBef>
                <a:spcPct val="0"/>
              </a:spcBef>
              <a:spcAft>
                <a:spcPct val="0"/>
              </a:spcAft>
            </a:pPr>
            <a:r>
              <a:rPr lang="en-GB" sz="2000" b="1">
                <a:solidFill>
                  <a:schemeClr val="tx1"/>
                </a:solidFill>
              </a:rPr>
              <a:t>CAGR 1-10%</a:t>
            </a:r>
          </a:p>
        </p:txBody>
      </p:sp>
      <p:grpSp>
        <p:nvGrpSpPr>
          <p:cNvPr id="14" name="Group 13">
            <a:extLst>
              <a:ext uri="{FF2B5EF4-FFF2-40B4-BE49-F238E27FC236}">
                <a16:creationId xmlns:a16="http://schemas.microsoft.com/office/drawing/2014/main" id="{D2BE5CEE-435A-AAAD-BB97-E8E3EBC4ADFB}"/>
              </a:ext>
            </a:extLst>
          </p:cNvPr>
          <p:cNvGrpSpPr/>
          <p:nvPr/>
        </p:nvGrpSpPr>
        <p:grpSpPr>
          <a:xfrm>
            <a:off x="2114550" y="3034534"/>
            <a:ext cx="1000125" cy="717399"/>
            <a:chOff x="1556837" y="2830513"/>
            <a:chExt cx="1000125" cy="717399"/>
          </a:xfrm>
          <a:effectLst>
            <a:outerShdw blurRad="50800" dist="38100" dir="2700000" algn="tl" rotWithShape="0">
              <a:prstClr val="black">
                <a:alpha val="40000"/>
              </a:prstClr>
            </a:outerShdw>
          </a:effectLst>
        </p:grpSpPr>
        <p:sp>
          <p:nvSpPr>
            <p:cNvPr id="19" name="Oval 18">
              <a:extLst>
                <a:ext uri="{FF2B5EF4-FFF2-40B4-BE49-F238E27FC236}">
                  <a16:creationId xmlns:a16="http://schemas.microsoft.com/office/drawing/2014/main" id="{5B98CBD6-89AE-DB58-EE7A-E0F7F006D326}"/>
                </a:ext>
              </a:extLst>
            </p:cNvPr>
            <p:cNvSpPr/>
            <p:nvPr/>
          </p:nvSpPr>
          <p:spPr>
            <a:xfrm>
              <a:off x="1698200" y="2830513"/>
              <a:ext cx="717399" cy="717399"/>
            </a:xfrm>
            <a:prstGeom prst="ellipse">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2210388A-3632-DE0E-05A0-00738F9CBB81}"/>
                </a:ext>
              </a:extLst>
            </p:cNvPr>
            <p:cNvSpPr/>
            <p:nvPr>
              <p:custDataLst>
                <p:tags r:id="rId9"/>
              </p:custDataLst>
            </p:nvPr>
          </p:nvSpPr>
          <p:spPr bwMode="gray">
            <a:xfrm>
              <a:off x="1556837" y="3208980"/>
              <a:ext cx="10001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r>
                <a:rPr lang="en-GB" altLang="en-US" sz="2000" b="1">
                  <a:solidFill>
                    <a:schemeClr val="bg1"/>
                  </a:solidFill>
                  <a:latin typeface="Helvetica" pitchFamily="2" charset="0"/>
                </a:rPr>
                <a:t>7</a:t>
              </a:r>
              <a:r>
                <a:rPr lang="en-GB" altLang="en-US" sz="1400" b="1">
                  <a:solidFill>
                    <a:schemeClr val="bg1"/>
                  </a:solidFill>
                  <a:effectLst/>
                  <a:latin typeface="Helvetica" pitchFamily="2" charset="0"/>
                </a:rPr>
                <a:t>%</a:t>
              </a:r>
              <a:endParaRPr lang="en-GB" altLang="en-US" sz="2000" b="1">
                <a:solidFill>
                  <a:schemeClr val="bg1"/>
                </a:solidFill>
                <a:effectLst/>
                <a:latin typeface="Helvetica" pitchFamily="2" charset="0"/>
              </a:endParaRPr>
            </a:p>
            <a:p>
              <a:pPr algn="ctr">
                <a:lnSpc>
                  <a:spcPct val="90000"/>
                </a:lnSpc>
                <a:spcBef>
                  <a:spcPct val="0"/>
                </a:spcBef>
                <a:spcAft>
                  <a:spcPct val="0"/>
                </a:spcAft>
              </a:pPr>
              <a:r>
                <a:rPr lang="en-GB" altLang="en-US" sz="1100">
                  <a:solidFill>
                    <a:schemeClr val="bg1"/>
                  </a:solidFill>
                  <a:effectLst/>
                </a:rPr>
                <a:t>EBITDA</a:t>
              </a:r>
              <a:endParaRPr lang="en-GB" sz="1100">
                <a:solidFill>
                  <a:schemeClr val="bg1"/>
                </a:solidFill>
              </a:endParaRPr>
            </a:p>
          </p:txBody>
        </p:sp>
      </p:grpSp>
      <p:grpSp>
        <p:nvGrpSpPr>
          <p:cNvPr id="23" name="Group 22">
            <a:extLst>
              <a:ext uri="{FF2B5EF4-FFF2-40B4-BE49-F238E27FC236}">
                <a16:creationId xmlns:a16="http://schemas.microsoft.com/office/drawing/2014/main" id="{726280B5-8357-2E7C-C29F-630947BB9A23}"/>
              </a:ext>
            </a:extLst>
          </p:cNvPr>
          <p:cNvGrpSpPr/>
          <p:nvPr/>
        </p:nvGrpSpPr>
        <p:grpSpPr>
          <a:xfrm>
            <a:off x="4708600" y="2546462"/>
            <a:ext cx="1000125" cy="717399"/>
            <a:chOff x="1556837" y="2830513"/>
            <a:chExt cx="1000125" cy="717399"/>
          </a:xfrm>
          <a:effectLst>
            <a:outerShdw blurRad="50800" dist="38100" dir="2700000" algn="tl" rotWithShape="0">
              <a:prstClr val="black">
                <a:alpha val="40000"/>
              </a:prstClr>
            </a:outerShdw>
          </a:effectLst>
        </p:grpSpPr>
        <p:sp>
          <p:nvSpPr>
            <p:cNvPr id="24" name="Oval 23">
              <a:extLst>
                <a:ext uri="{FF2B5EF4-FFF2-40B4-BE49-F238E27FC236}">
                  <a16:creationId xmlns:a16="http://schemas.microsoft.com/office/drawing/2014/main" id="{6C59AF18-F7D2-FDD3-9A42-BFD72EE3DD42}"/>
                </a:ext>
              </a:extLst>
            </p:cNvPr>
            <p:cNvSpPr/>
            <p:nvPr/>
          </p:nvSpPr>
          <p:spPr>
            <a:xfrm>
              <a:off x="1698200" y="2830513"/>
              <a:ext cx="717399" cy="717399"/>
            </a:xfrm>
            <a:prstGeom prst="ellipse">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39683994-AE3C-3067-BCA3-62A7F4BD9613}"/>
                </a:ext>
              </a:extLst>
            </p:cNvPr>
            <p:cNvSpPr/>
            <p:nvPr>
              <p:custDataLst>
                <p:tags r:id="rId8"/>
              </p:custDataLst>
            </p:nvPr>
          </p:nvSpPr>
          <p:spPr bwMode="gray">
            <a:xfrm>
              <a:off x="1556837" y="3208980"/>
              <a:ext cx="10001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r>
                <a:rPr lang="en-GB" altLang="en-US" sz="2000" b="1">
                  <a:solidFill>
                    <a:schemeClr val="bg1"/>
                  </a:solidFill>
                  <a:latin typeface="Helvetica" pitchFamily="2" charset="0"/>
                </a:rPr>
                <a:t>7-8</a:t>
              </a:r>
              <a:r>
                <a:rPr lang="en-GB" altLang="en-US" sz="1400" b="1">
                  <a:solidFill>
                    <a:schemeClr val="bg1"/>
                  </a:solidFill>
                  <a:effectLst/>
                  <a:latin typeface="Helvetica" pitchFamily="2" charset="0"/>
                </a:rPr>
                <a:t>%</a:t>
              </a:r>
              <a:endParaRPr lang="en-GB" altLang="en-US" sz="2000" b="1">
                <a:solidFill>
                  <a:schemeClr val="bg1"/>
                </a:solidFill>
                <a:effectLst/>
                <a:latin typeface="Helvetica" pitchFamily="2" charset="0"/>
              </a:endParaRPr>
            </a:p>
            <a:p>
              <a:pPr algn="ctr">
                <a:lnSpc>
                  <a:spcPct val="90000"/>
                </a:lnSpc>
                <a:spcBef>
                  <a:spcPct val="0"/>
                </a:spcBef>
                <a:spcAft>
                  <a:spcPct val="0"/>
                </a:spcAft>
              </a:pPr>
              <a:r>
                <a:rPr lang="en-GB" altLang="en-US" sz="1100">
                  <a:solidFill>
                    <a:schemeClr val="bg1"/>
                  </a:solidFill>
                  <a:effectLst/>
                </a:rPr>
                <a:t>EBITDA</a:t>
              </a:r>
              <a:endParaRPr lang="en-GB" sz="1100">
                <a:solidFill>
                  <a:schemeClr val="bg1"/>
                </a:solidFill>
              </a:endParaRPr>
            </a:p>
          </p:txBody>
        </p:sp>
      </p:grpSp>
      <p:cxnSp>
        <p:nvCxnSpPr>
          <p:cNvPr id="12" name="Straight Connector 11">
            <a:extLst>
              <a:ext uri="{FF2B5EF4-FFF2-40B4-BE49-F238E27FC236}">
                <a16:creationId xmlns:a16="http://schemas.microsoft.com/office/drawing/2014/main" id="{765231FD-47A2-C0DD-391A-F845847596C4}"/>
              </a:ext>
            </a:extLst>
          </p:cNvPr>
          <p:cNvCxnSpPr>
            <a:cxnSpLocks/>
          </p:cNvCxnSpPr>
          <p:nvPr/>
        </p:nvCxnSpPr>
        <p:spPr>
          <a:xfrm>
            <a:off x="7888994" y="1412892"/>
            <a:ext cx="3625673"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21" name="Straight Connector 20">
            <a:extLst>
              <a:ext uri="{FF2B5EF4-FFF2-40B4-BE49-F238E27FC236}">
                <a16:creationId xmlns:a16="http://schemas.microsoft.com/office/drawing/2014/main" id="{8C9850B4-05F2-85EE-EA7B-A608B4F1EEFB}"/>
              </a:ext>
            </a:extLst>
          </p:cNvPr>
          <p:cNvCxnSpPr>
            <a:cxnSpLocks/>
          </p:cNvCxnSpPr>
          <p:nvPr/>
        </p:nvCxnSpPr>
        <p:spPr>
          <a:xfrm>
            <a:off x="7888994" y="6052625"/>
            <a:ext cx="3625673" cy="0"/>
          </a:xfrm>
          <a:prstGeom prst="line">
            <a:avLst/>
          </a:prstGeom>
          <a:ln w="1270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006029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F2540B4E-2156-1672-C3D3-E3B9D3755E31}"/>
              </a:ext>
            </a:extLst>
          </p:cNvPr>
          <p:cNvGraphicFramePr>
            <a:graphicFrameLocks noChangeAspect="1"/>
          </p:cNvGraphicFramePr>
          <p:nvPr>
            <p:custDataLst>
              <p:tags r:id="rId1"/>
            </p:custDataLst>
            <p:extLst>
              <p:ext uri="{D42A27DB-BD31-4B8C-83A1-F6EECF244321}">
                <p14:modId xmlns:p14="http://schemas.microsoft.com/office/powerpoint/2010/main" val="3702486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5" progId="TCLayout.ActiveDocument.1">
                  <p:embed/>
                </p:oleObj>
              </mc:Choice>
              <mc:Fallback>
                <p:oleObj name="think-cell Slide" r:id="rId12" imgW="344" imgH="345" progId="TCLayout.ActiveDocument.1">
                  <p:embed/>
                  <p:pic>
                    <p:nvPicPr>
                      <p:cNvPr id="9" name="Objekt 8" hidden="1">
                        <a:extLst>
                          <a:ext uri="{FF2B5EF4-FFF2-40B4-BE49-F238E27FC236}">
                            <a16:creationId xmlns:a16="http://schemas.microsoft.com/office/drawing/2014/main" id="{F2540B4E-2156-1672-C3D3-E3B9D3755E31}"/>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C60094DD-8A4B-8E78-8C59-E84342149CAE}"/>
              </a:ext>
            </a:extLst>
          </p:cNvPr>
          <p:cNvSpPr/>
          <p:nvPr/>
        </p:nvSpPr>
        <p:spPr>
          <a:xfrm>
            <a:off x="764329" y="1433734"/>
            <a:ext cx="6695249" cy="4641627"/>
          </a:xfrm>
          <a:prstGeom prst="rect">
            <a:avLst/>
          </a:prstGeom>
          <a:solidFill>
            <a:schemeClr val="accent4">
              <a:lumMod val="20000"/>
              <a:lumOff val="80000"/>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2" name="Title 1">
            <a:extLst>
              <a:ext uri="{FF2B5EF4-FFF2-40B4-BE49-F238E27FC236}">
                <a16:creationId xmlns:a16="http://schemas.microsoft.com/office/drawing/2014/main" id="{F5DFCB5D-1AD6-5915-15DF-57B223F44702}"/>
              </a:ext>
            </a:extLst>
          </p:cNvPr>
          <p:cNvSpPr>
            <a:spLocks noGrp="1"/>
          </p:cNvSpPr>
          <p:nvPr>
            <p:ph type="title"/>
          </p:nvPr>
        </p:nvSpPr>
        <p:spPr/>
        <p:txBody>
          <a:bodyPr vert="horz">
            <a:normAutofit/>
          </a:bodyPr>
          <a:lstStyle/>
          <a:p>
            <a:r>
              <a:rPr lang="en-US"/>
              <a:t>2025 estimates: International  </a:t>
            </a:r>
          </a:p>
        </p:txBody>
      </p:sp>
      <p:sp>
        <p:nvSpPr>
          <p:cNvPr id="18" name="Plassholder for innhold 3">
            <a:extLst>
              <a:ext uri="{FF2B5EF4-FFF2-40B4-BE49-F238E27FC236}">
                <a16:creationId xmlns:a16="http://schemas.microsoft.com/office/drawing/2014/main" id="{28420332-228D-0F86-BF7C-F0FB17301722}"/>
              </a:ext>
            </a:extLst>
          </p:cNvPr>
          <p:cNvSpPr txBox="1">
            <a:spLocks/>
          </p:cNvSpPr>
          <p:nvPr/>
        </p:nvSpPr>
        <p:spPr>
          <a:xfrm>
            <a:off x="741777" y="1484313"/>
            <a:ext cx="4822825" cy="804229"/>
          </a:xfrm>
          <a:prstGeom prst="rect">
            <a:avLst/>
          </a:prstGeom>
          <a:no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1E1E50"/>
                </a:solidFill>
                <a:effectLst/>
                <a:uLnTx/>
                <a:uFillTx/>
                <a:latin typeface="Helvetica" pitchFamily="2" charset="0"/>
                <a:ea typeface="+mn-ea"/>
                <a:cs typeface="Arial" panose="020B0604020202020204" pitchFamily="34" charset="0"/>
              </a:rPr>
              <a:t>Revenue and EBITDA </a:t>
            </a:r>
            <a:r>
              <a:rPr lang="en-US" sz="2000" b="1">
                <a:solidFill>
                  <a:srgbClr val="1E1E50"/>
                </a:solidFill>
                <a:latin typeface="Helvetica" pitchFamily="2" charset="0"/>
                <a:cs typeface="Arial" panose="020B0604020202020204" pitchFamily="34" charset="0"/>
              </a:rPr>
              <a:t>margin</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i="0" u="none" strike="noStrike" kern="1200" cap="none" spc="0" normalizeH="0" baseline="0" noProof="0">
                <a:ln>
                  <a:noFill/>
                </a:ln>
                <a:solidFill>
                  <a:srgbClr val="1E1E50"/>
                </a:solidFill>
                <a:effectLst/>
                <a:uLnTx/>
                <a:uFillTx/>
                <a:latin typeface="Helvetica" pitchFamily="2" charset="0"/>
                <a:ea typeface="+mn-ea"/>
                <a:cs typeface="Arial" panose="020B0604020202020204" pitchFamily="34" charset="0"/>
              </a:rPr>
              <a:t>MNOK</a:t>
            </a:r>
          </a:p>
        </p:txBody>
      </p:sp>
      <p:cxnSp>
        <p:nvCxnSpPr>
          <p:cNvPr id="16" name="Straight Connector 15">
            <a:extLst>
              <a:ext uri="{FF2B5EF4-FFF2-40B4-BE49-F238E27FC236}">
                <a16:creationId xmlns:a16="http://schemas.microsoft.com/office/drawing/2014/main" id="{5AB0DD28-B666-6D09-CD1C-E31CA1753B3F}"/>
              </a:ext>
            </a:extLst>
          </p:cNvPr>
          <p:cNvCxnSpPr>
            <a:cxnSpLocks/>
          </p:cNvCxnSpPr>
          <p:nvPr/>
        </p:nvCxnSpPr>
        <p:spPr>
          <a:xfrm>
            <a:off x="764330" y="1401746"/>
            <a:ext cx="6695248" cy="0"/>
          </a:xfrm>
          <a:prstGeom prst="line">
            <a:avLst/>
          </a:prstGeom>
          <a:ln w="12700"/>
        </p:spPr>
        <p:style>
          <a:lnRef idx="1">
            <a:schemeClr val="accent2"/>
          </a:lnRef>
          <a:fillRef idx="0">
            <a:schemeClr val="accent2"/>
          </a:fillRef>
          <a:effectRef idx="0">
            <a:schemeClr val="accent2"/>
          </a:effectRef>
          <a:fontRef idx="minor">
            <a:schemeClr val="tx1"/>
          </a:fontRef>
        </p:style>
      </p:cxnSp>
      <p:graphicFrame>
        <p:nvGraphicFramePr>
          <p:cNvPr id="8" name="Chart 7">
            <a:extLst>
              <a:ext uri="{FF2B5EF4-FFF2-40B4-BE49-F238E27FC236}">
                <a16:creationId xmlns:a16="http://schemas.microsoft.com/office/drawing/2014/main" id="{8FA23876-6EE2-A277-C598-35EBC6C7B060}"/>
              </a:ext>
            </a:extLst>
          </p:cNvPr>
          <p:cNvGraphicFramePr/>
          <p:nvPr>
            <p:custDataLst>
              <p:tags r:id="rId2"/>
            </p:custDataLst>
            <p:extLst>
              <p:ext uri="{D42A27DB-BD31-4B8C-83A1-F6EECF244321}">
                <p14:modId xmlns:p14="http://schemas.microsoft.com/office/powerpoint/2010/main" val="2102797330"/>
              </p:ext>
            </p:extLst>
          </p:nvPr>
        </p:nvGraphicFramePr>
        <p:xfrm>
          <a:off x="1162050" y="2305050"/>
          <a:ext cx="5243513" cy="3714750"/>
        </p:xfrm>
        <a:graphic>
          <a:graphicData uri="http://schemas.openxmlformats.org/drawingml/2006/chart">
            <c:chart xmlns:c="http://schemas.openxmlformats.org/drawingml/2006/chart" xmlns:r="http://schemas.openxmlformats.org/officeDocument/2006/relationships" r:id="rId14"/>
          </a:graphicData>
        </a:graphic>
      </p:graphicFrame>
      <p:cxnSp>
        <p:nvCxnSpPr>
          <p:cNvPr id="204" name="Straight Connector 203">
            <a:extLst>
              <a:ext uri="{FF2B5EF4-FFF2-40B4-BE49-F238E27FC236}">
                <a16:creationId xmlns:a16="http://schemas.microsoft.com/office/drawing/2014/main" id="{D07AD04B-8A23-34D4-76D4-29D395537CC4}"/>
              </a:ext>
            </a:extLst>
          </p:cNvPr>
          <p:cNvCxnSpPr/>
          <p:nvPr>
            <p:custDataLst>
              <p:tags r:id="rId3"/>
            </p:custDataLst>
          </p:nvPr>
        </p:nvCxnSpPr>
        <p:spPr bwMode="auto">
          <a:xfrm flipV="1">
            <a:off x="2513013" y="1947863"/>
            <a:ext cx="2540000" cy="93662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 name="Rectangle 3">
            <a:extLst>
              <a:ext uri="{FF2B5EF4-FFF2-40B4-BE49-F238E27FC236}">
                <a16:creationId xmlns:a16="http://schemas.microsoft.com/office/drawing/2014/main" id="{F2012282-F2D2-491E-6C94-F4A05D08BC2D}"/>
              </a:ext>
            </a:extLst>
          </p:cNvPr>
          <p:cNvSpPr/>
          <p:nvPr>
            <p:custDataLst>
              <p:tags r:id="rId4"/>
            </p:custDataLst>
          </p:nvPr>
        </p:nvSpPr>
        <p:spPr bwMode="auto">
          <a:xfrm>
            <a:off x="2139950" y="5675313"/>
            <a:ext cx="747713" cy="3048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C567ACBF-402D-4F38-8266-92429FE16CE3}" type="datetime'''''''''2''0''''''2''''''''''''''''3''''''''''''''''A'''''''">
              <a:rPr lang="en-GB" altLang="en-US" sz="2000">
                <a:solidFill>
                  <a:schemeClr val="tx1"/>
                </a:solidFill>
              </a:rPr>
              <a:pPr algn="ctr">
                <a:spcBef>
                  <a:spcPct val="0"/>
                </a:spcBef>
                <a:spcAft>
                  <a:spcPct val="0"/>
                </a:spcAft>
              </a:pPr>
              <a:t>2023A</a:t>
            </a:fld>
            <a:endParaRPr lang="en-GB" sz="2000">
              <a:solidFill>
                <a:schemeClr val="tx1"/>
              </a:solidFill>
            </a:endParaRPr>
          </a:p>
        </p:txBody>
      </p:sp>
      <p:sp>
        <p:nvSpPr>
          <p:cNvPr id="173" name="Rectangle 172">
            <a:extLst>
              <a:ext uri="{FF2B5EF4-FFF2-40B4-BE49-F238E27FC236}">
                <a16:creationId xmlns:a16="http://schemas.microsoft.com/office/drawing/2014/main" id="{7EAFC3BA-28D5-747B-D43E-960315851028}"/>
              </a:ext>
            </a:extLst>
          </p:cNvPr>
          <p:cNvSpPr/>
          <p:nvPr>
            <p:custDataLst>
              <p:tags r:id="rId5"/>
            </p:custDataLst>
          </p:nvPr>
        </p:nvSpPr>
        <p:spPr bwMode="gray">
          <a:xfrm>
            <a:off x="4416425" y="4297363"/>
            <a:ext cx="1273175" cy="2746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6513" tIns="0" rIns="36513" bIns="0" rtlCol="0" anchor="ctr"/>
          <a:lstStyle/>
          <a:p>
            <a:pPr algn="ctr">
              <a:lnSpc>
                <a:spcPct val="90000"/>
              </a:lnSpc>
              <a:spcBef>
                <a:spcPct val="0"/>
              </a:spcBef>
              <a:spcAft>
                <a:spcPct val="0"/>
              </a:spcAft>
            </a:pPr>
            <a:r>
              <a:rPr lang="en-GB" altLang="en-US" sz="2000">
                <a:solidFill>
                  <a:schemeClr val="tx1"/>
                </a:solidFill>
                <a:latin typeface="Helvetica" pitchFamily="2" charset="0"/>
              </a:rPr>
              <a:t>850–1 050</a:t>
            </a:r>
            <a:endParaRPr lang="en-GB" sz="2000">
              <a:solidFill>
                <a:schemeClr val="tx1"/>
              </a:solidFill>
              <a:latin typeface="Helvetica" pitchFamily="2" charset="0"/>
            </a:endParaRPr>
          </a:p>
        </p:txBody>
      </p:sp>
      <p:sp>
        <p:nvSpPr>
          <p:cNvPr id="6" name="Rectangle 5">
            <a:extLst>
              <a:ext uri="{FF2B5EF4-FFF2-40B4-BE49-F238E27FC236}">
                <a16:creationId xmlns:a16="http://schemas.microsoft.com/office/drawing/2014/main" id="{C201A21B-B2F9-1EF1-CDC1-DBADB463FF1F}"/>
              </a:ext>
            </a:extLst>
          </p:cNvPr>
          <p:cNvSpPr/>
          <p:nvPr>
            <p:custDataLst>
              <p:tags r:id="rId6"/>
            </p:custDataLst>
          </p:nvPr>
        </p:nvSpPr>
        <p:spPr bwMode="auto">
          <a:xfrm>
            <a:off x="4694237" y="5675313"/>
            <a:ext cx="719138" cy="3048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FD987F66-36C5-4FF4-BD60-0BD850FB8631}" type="datetime'''''''''''''''''''2''''0''''''''''''''''''''2''5e'''''">
              <a:rPr lang="en-GB" altLang="en-US" sz="2000">
                <a:solidFill>
                  <a:schemeClr val="tx1"/>
                </a:solidFill>
              </a:rPr>
              <a:pPr algn="ctr">
                <a:spcBef>
                  <a:spcPct val="0"/>
                </a:spcBef>
                <a:spcAft>
                  <a:spcPct val="0"/>
                </a:spcAft>
              </a:pPr>
              <a:t>2025e</a:t>
            </a:fld>
            <a:endParaRPr lang="en-GB" sz="2000">
              <a:solidFill>
                <a:schemeClr val="tx1"/>
              </a:solidFill>
            </a:endParaRPr>
          </a:p>
        </p:txBody>
      </p:sp>
      <p:sp>
        <p:nvSpPr>
          <p:cNvPr id="202" name="Oval 201">
            <a:extLst>
              <a:ext uri="{FF2B5EF4-FFF2-40B4-BE49-F238E27FC236}">
                <a16:creationId xmlns:a16="http://schemas.microsoft.com/office/drawing/2014/main" id="{B3690DAD-DCE3-DBE6-A077-FE79B8914178}"/>
              </a:ext>
            </a:extLst>
          </p:cNvPr>
          <p:cNvSpPr/>
          <p:nvPr>
            <p:custDataLst>
              <p:tags r:id="rId7"/>
            </p:custDataLst>
          </p:nvPr>
        </p:nvSpPr>
        <p:spPr bwMode="auto">
          <a:xfrm>
            <a:off x="2586038" y="2200274"/>
            <a:ext cx="2395538" cy="431800"/>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ctr">
              <a:spcBef>
                <a:spcPct val="0"/>
              </a:spcBef>
              <a:spcAft>
                <a:spcPct val="0"/>
              </a:spcAft>
            </a:pPr>
            <a:r>
              <a:rPr lang="en-GB" sz="2000" b="1">
                <a:solidFill>
                  <a:schemeClr val="tx1"/>
                </a:solidFill>
              </a:rPr>
              <a:t>CAGR 10-20%</a:t>
            </a:r>
          </a:p>
        </p:txBody>
      </p:sp>
      <p:sp>
        <p:nvSpPr>
          <p:cNvPr id="12" name="TekstSylinder 32">
            <a:extLst>
              <a:ext uri="{FF2B5EF4-FFF2-40B4-BE49-F238E27FC236}">
                <a16:creationId xmlns:a16="http://schemas.microsoft.com/office/drawing/2014/main" id="{B4229720-3B4F-74FA-4D71-3BA445B9B30A}"/>
              </a:ext>
            </a:extLst>
          </p:cNvPr>
          <p:cNvSpPr txBox="1"/>
          <p:nvPr/>
        </p:nvSpPr>
        <p:spPr>
          <a:xfrm>
            <a:off x="7826376" y="1886427"/>
            <a:ext cx="3789891" cy="3754874"/>
          </a:xfrm>
          <a:prstGeom prst="rect">
            <a:avLst/>
          </a:prstGeom>
          <a:noFill/>
        </p:spPr>
        <p:txBody>
          <a:bodyPr wrap="square" rtlCol="0">
            <a:spAutoFit/>
          </a:bodyPr>
          <a:lstStyle>
            <a:defPPr>
              <a:defRPr lang="en-US"/>
            </a:defPPr>
            <a:lvl1pPr marL="285750" marR="0" lvl="0" indent="-285750" fontAlgn="auto">
              <a:spcBef>
                <a:spcPts val="0"/>
              </a:spcBef>
              <a:spcAft>
                <a:spcPts val="0"/>
              </a:spcAft>
              <a:buClrTx/>
              <a:buSzTx/>
              <a:buFont typeface="Arial" panose="020B0604020202020204" pitchFamily="34" charset="0"/>
              <a:buChar char="•"/>
              <a:tabLst/>
              <a:defRPr>
                <a:solidFill>
                  <a:srgbClr val="1E1E50"/>
                </a:solidFill>
                <a:latin typeface="Helvetica Light" panose="020B0403020202020204" pitchFamily="34" charset="0"/>
              </a:defRPr>
            </a:lvl1pPr>
          </a:lstStyle>
          <a:p>
            <a:pPr>
              <a:spcAft>
                <a:spcPts val="1200"/>
              </a:spcAft>
            </a:pPr>
            <a:r>
              <a:rPr lang="en-GB"/>
              <a:t>Mixed performance in 2023</a:t>
            </a:r>
          </a:p>
          <a:p>
            <a:pPr>
              <a:spcAft>
                <a:spcPts val="1200"/>
              </a:spcAft>
            </a:pPr>
            <a:r>
              <a:rPr lang="en-GB"/>
              <a:t>Baltics and Finland: Increase in Checkout, plus recurring revenue from POS/ ERP</a:t>
            </a:r>
          </a:p>
          <a:p>
            <a:pPr>
              <a:spcAft>
                <a:spcPts val="1200"/>
              </a:spcAft>
            </a:pPr>
            <a:r>
              <a:rPr lang="en-GB"/>
              <a:t>Spain: </a:t>
            </a:r>
            <a:r>
              <a:rPr lang="en-GB" err="1"/>
              <a:t>CashGuard</a:t>
            </a:r>
            <a:r>
              <a:rPr lang="en-GB"/>
              <a:t> Connect rollout anticipated H2 2025</a:t>
            </a:r>
          </a:p>
          <a:p>
            <a:pPr>
              <a:spcAft>
                <a:spcPts val="1200"/>
              </a:spcAft>
            </a:pPr>
            <a:r>
              <a:rPr lang="en-GB"/>
              <a:t>UK: Restore Shopfitting volume, growth in E-commerce </a:t>
            </a:r>
          </a:p>
          <a:p>
            <a:pPr>
              <a:spcAft>
                <a:spcPts val="1200"/>
              </a:spcAft>
            </a:pPr>
            <a:r>
              <a:rPr lang="en-GB"/>
              <a:t>Margin improvement through scalability and operational leverage</a:t>
            </a:r>
          </a:p>
        </p:txBody>
      </p:sp>
      <p:grpSp>
        <p:nvGrpSpPr>
          <p:cNvPr id="17" name="Group 16">
            <a:extLst>
              <a:ext uri="{FF2B5EF4-FFF2-40B4-BE49-F238E27FC236}">
                <a16:creationId xmlns:a16="http://schemas.microsoft.com/office/drawing/2014/main" id="{84117EB7-F211-0F46-DC51-C61641861426}"/>
              </a:ext>
            </a:extLst>
          </p:cNvPr>
          <p:cNvGrpSpPr/>
          <p:nvPr/>
        </p:nvGrpSpPr>
        <p:grpSpPr>
          <a:xfrm>
            <a:off x="2012950" y="3384098"/>
            <a:ext cx="1000125" cy="717399"/>
            <a:chOff x="1556837" y="2830513"/>
            <a:chExt cx="1000125" cy="717399"/>
          </a:xfrm>
          <a:effectLst>
            <a:outerShdw blurRad="50800" dist="38100" dir="2700000" algn="tl" rotWithShape="0">
              <a:prstClr val="black">
                <a:alpha val="40000"/>
              </a:prstClr>
            </a:outerShdw>
          </a:effectLst>
        </p:grpSpPr>
        <p:sp>
          <p:nvSpPr>
            <p:cNvPr id="19" name="Oval 18">
              <a:extLst>
                <a:ext uri="{FF2B5EF4-FFF2-40B4-BE49-F238E27FC236}">
                  <a16:creationId xmlns:a16="http://schemas.microsoft.com/office/drawing/2014/main" id="{A7FA9DEA-EF51-E7C7-AEF6-AEBC41C966D1}"/>
                </a:ext>
              </a:extLst>
            </p:cNvPr>
            <p:cNvSpPr/>
            <p:nvPr/>
          </p:nvSpPr>
          <p:spPr>
            <a:xfrm>
              <a:off x="1698200" y="2830513"/>
              <a:ext cx="717399" cy="717399"/>
            </a:xfrm>
            <a:prstGeom prst="ellipse">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00EBD63B-93EC-2BB7-5234-E2406E5CFCE6}"/>
                </a:ext>
              </a:extLst>
            </p:cNvPr>
            <p:cNvSpPr/>
            <p:nvPr>
              <p:custDataLst>
                <p:tags r:id="rId9"/>
              </p:custDataLst>
            </p:nvPr>
          </p:nvSpPr>
          <p:spPr bwMode="gray">
            <a:xfrm>
              <a:off x="1556837" y="3208980"/>
              <a:ext cx="10001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r>
                <a:rPr lang="en-GB" altLang="en-US" sz="2000" b="1">
                  <a:solidFill>
                    <a:schemeClr val="bg1"/>
                  </a:solidFill>
                  <a:latin typeface="Helvetica" pitchFamily="2" charset="0"/>
                </a:rPr>
                <a:t>-1</a:t>
              </a:r>
              <a:r>
                <a:rPr lang="en-GB" altLang="en-US" sz="1400" b="1">
                  <a:solidFill>
                    <a:schemeClr val="bg1"/>
                  </a:solidFill>
                  <a:effectLst/>
                  <a:latin typeface="Helvetica" pitchFamily="2" charset="0"/>
                </a:rPr>
                <a:t>%</a:t>
              </a:r>
              <a:endParaRPr lang="en-GB" altLang="en-US" sz="2000" b="1">
                <a:solidFill>
                  <a:schemeClr val="bg1"/>
                </a:solidFill>
                <a:effectLst/>
                <a:latin typeface="Helvetica" pitchFamily="2" charset="0"/>
              </a:endParaRPr>
            </a:p>
            <a:p>
              <a:pPr algn="ctr">
                <a:lnSpc>
                  <a:spcPct val="90000"/>
                </a:lnSpc>
                <a:spcBef>
                  <a:spcPct val="0"/>
                </a:spcBef>
                <a:spcAft>
                  <a:spcPct val="0"/>
                </a:spcAft>
              </a:pPr>
              <a:r>
                <a:rPr lang="en-GB" altLang="en-US" sz="1100">
                  <a:solidFill>
                    <a:schemeClr val="bg1"/>
                  </a:solidFill>
                  <a:effectLst/>
                </a:rPr>
                <a:t>EBITDA</a:t>
              </a:r>
              <a:endParaRPr lang="en-GB" sz="1100">
                <a:solidFill>
                  <a:schemeClr val="bg1"/>
                </a:solidFill>
              </a:endParaRPr>
            </a:p>
          </p:txBody>
        </p:sp>
      </p:grpSp>
      <p:grpSp>
        <p:nvGrpSpPr>
          <p:cNvPr id="21" name="Group 20">
            <a:extLst>
              <a:ext uri="{FF2B5EF4-FFF2-40B4-BE49-F238E27FC236}">
                <a16:creationId xmlns:a16="http://schemas.microsoft.com/office/drawing/2014/main" id="{873CD8BB-B425-B597-AD6F-39E4FBB639C4}"/>
              </a:ext>
            </a:extLst>
          </p:cNvPr>
          <p:cNvGrpSpPr/>
          <p:nvPr/>
        </p:nvGrpSpPr>
        <p:grpSpPr>
          <a:xfrm>
            <a:off x="4559702" y="2470354"/>
            <a:ext cx="1000125" cy="717399"/>
            <a:chOff x="1556837" y="2830513"/>
            <a:chExt cx="1000125" cy="717399"/>
          </a:xfrm>
          <a:effectLst>
            <a:outerShdw blurRad="50800" dist="38100" dir="2700000" algn="tl" rotWithShape="0">
              <a:prstClr val="black">
                <a:alpha val="40000"/>
              </a:prstClr>
            </a:outerShdw>
          </a:effectLst>
        </p:grpSpPr>
        <p:sp>
          <p:nvSpPr>
            <p:cNvPr id="22" name="Oval 21">
              <a:extLst>
                <a:ext uri="{FF2B5EF4-FFF2-40B4-BE49-F238E27FC236}">
                  <a16:creationId xmlns:a16="http://schemas.microsoft.com/office/drawing/2014/main" id="{6CB745CB-9635-FF08-EADC-F2F2757D83F6}"/>
                </a:ext>
              </a:extLst>
            </p:cNvPr>
            <p:cNvSpPr/>
            <p:nvPr/>
          </p:nvSpPr>
          <p:spPr>
            <a:xfrm>
              <a:off x="1698200" y="2830513"/>
              <a:ext cx="717399" cy="717399"/>
            </a:xfrm>
            <a:prstGeom prst="ellipse">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C349C026-160B-52CB-DE79-BAD001F13407}"/>
                </a:ext>
              </a:extLst>
            </p:cNvPr>
            <p:cNvSpPr/>
            <p:nvPr>
              <p:custDataLst>
                <p:tags r:id="rId8"/>
              </p:custDataLst>
            </p:nvPr>
          </p:nvSpPr>
          <p:spPr bwMode="gray">
            <a:xfrm>
              <a:off x="1556837" y="3208980"/>
              <a:ext cx="10001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r>
                <a:rPr lang="en-GB" altLang="en-US" sz="2000" b="1">
                  <a:solidFill>
                    <a:schemeClr val="bg1"/>
                  </a:solidFill>
                  <a:latin typeface="Helvetica" pitchFamily="2" charset="0"/>
                </a:rPr>
                <a:t>5-8</a:t>
              </a:r>
              <a:r>
                <a:rPr lang="en-GB" altLang="en-US" sz="1400" b="1">
                  <a:solidFill>
                    <a:schemeClr val="bg1"/>
                  </a:solidFill>
                  <a:effectLst/>
                  <a:latin typeface="Helvetica" pitchFamily="2" charset="0"/>
                </a:rPr>
                <a:t>%</a:t>
              </a:r>
              <a:endParaRPr lang="en-GB" altLang="en-US" sz="2000" b="1">
                <a:solidFill>
                  <a:schemeClr val="bg1"/>
                </a:solidFill>
                <a:effectLst/>
                <a:latin typeface="Helvetica" pitchFamily="2" charset="0"/>
              </a:endParaRPr>
            </a:p>
            <a:p>
              <a:pPr algn="ctr">
                <a:lnSpc>
                  <a:spcPct val="90000"/>
                </a:lnSpc>
                <a:spcBef>
                  <a:spcPct val="0"/>
                </a:spcBef>
                <a:spcAft>
                  <a:spcPct val="0"/>
                </a:spcAft>
              </a:pPr>
              <a:r>
                <a:rPr lang="en-GB" altLang="en-US" sz="1100">
                  <a:solidFill>
                    <a:schemeClr val="bg1"/>
                  </a:solidFill>
                  <a:effectLst/>
                </a:rPr>
                <a:t>EBITDA</a:t>
              </a:r>
              <a:endParaRPr lang="en-GB" sz="1100">
                <a:solidFill>
                  <a:schemeClr val="bg1"/>
                </a:solidFill>
              </a:endParaRPr>
            </a:p>
          </p:txBody>
        </p:sp>
      </p:grpSp>
      <p:cxnSp>
        <p:nvCxnSpPr>
          <p:cNvPr id="5" name="Straight Connector 4">
            <a:extLst>
              <a:ext uri="{FF2B5EF4-FFF2-40B4-BE49-F238E27FC236}">
                <a16:creationId xmlns:a16="http://schemas.microsoft.com/office/drawing/2014/main" id="{08EDE112-B6FD-7838-BCB4-4EC9FD7679A9}"/>
              </a:ext>
            </a:extLst>
          </p:cNvPr>
          <p:cNvCxnSpPr>
            <a:cxnSpLocks/>
          </p:cNvCxnSpPr>
          <p:nvPr/>
        </p:nvCxnSpPr>
        <p:spPr>
          <a:xfrm>
            <a:off x="7888994" y="1412892"/>
            <a:ext cx="3625673"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7" name="Straight Connector 6">
            <a:extLst>
              <a:ext uri="{FF2B5EF4-FFF2-40B4-BE49-F238E27FC236}">
                <a16:creationId xmlns:a16="http://schemas.microsoft.com/office/drawing/2014/main" id="{5DEA58BF-09D3-08AF-499D-2494DF8A5FE0}"/>
              </a:ext>
            </a:extLst>
          </p:cNvPr>
          <p:cNvCxnSpPr>
            <a:cxnSpLocks/>
          </p:cNvCxnSpPr>
          <p:nvPr/>
        </p:nvCxnSpPr>
        <p:spPr>
          <a:xfrm>
            <a:off x="7888994" y="6052625"/>
            <a:ext cx="3625673" cy="0"/>
          </a:xfrm>
          <a:prstGeom prst="line">
            <a:avLst/>
          </a:prstGeom>
          <a:ln w="1270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1893208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F2540B4E-2156-1672-C3D3-E3B9D3755E31}"/>
              </a:ext>
            </a:extLst>
          </p:cNvPr>
          <p:cNvGraphicFramePr>
            <a:graphicFrameLocks noChangeAspect="1"/>
          </p:cNvGraphicFramePr>
          <p:nvPr>
            <p:custDataLst>
              <p:tags r:id="rId1"/>
            </p:custDataLst>
            <p:extLst>
              <p:ext uri="{D42A27DB-BD31-4B8C-83A1-F6EECF244321}">
                <p14:modId xmlns:p14="http://schemas.microsoft.com/office/powerpoint/2010/main" val="458923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44" imgH="345" progId="TCLayout.ActiveDocument.1">
                  <p:embed/>
                </p:oleObj>
              </mc:Choice>
              <mc:Fallback>
                <p:oleObj name="think-cell Slide" r:id="rId20" imgW="344" imgH="345" progId="TCLayout.ActiveDocument.1">
                  <p:embed/>
                  <p:pic>
                    <p:nvPicPr>
                      <p:cNvPr id="9" name="Objekt 8" hidden="1">
                        <a:extLst>
                          <a:ext uri="{FF2B5EF4-FFF2-40B4-BE49-F238E27FC236}">
                            <a16:creationId xmlns:a16="http://schemas.microsoft.com/office/drawing/2014/main" id="{F2540B4E-2156-1672-C3D3-E3B9D3755E31}"/>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C60094DD-8A4B-8E78-8C59-E84342149CAE}"/>
              </a:ext>
            </a:extLst>
          </p:cNvPr>
          <p:cNvSpPr/>
          <p:nvPr/>
        </p:nvSpPr>
        <p:spPr>
          <a:xfrm>
            <a:off x="571500" y="1401746"/>
            <a:ext cx="6900021" cy="4650874"/>
          </a:xfrm>
          <a:prstGeom prst="rect">
            <a:avLst/>
          </a:prstGeom>
          <a:solidFill>
            <a:schemeClr val="accent4">
              <a:lumMod val="20000"/>
              <a:lumOff val="80000"/>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2" name="Title 1">
            <a:extLst>
              <a:ext uri="{FF2B5EF4-FFF2-40B4-BE49-F238E27FC236}">
                <a16:creationId xmlns:a16="http://schemas.microsoft.com/office/drawing/2014/main" id="{F5DFCB5D-1AD6-5915-15DF-57B223F44702}"/>
              </a:ext>
            </a:extLst>
          </p:cNvPr>
          <p:cNvSpPr>
            <a:spLocks noGrp="1"/>
          </p:cNvSpPr>
          <p:nvPr>
            <p:ph type="title"/>
          </p:nvPr>
        </p:nvSpPr>
        <p:spPr/>
        <p:txBody>
          <a:bodyPr vert="horz">
            <a:normAutofit/>
          </a:bodyPr>
          <a:lstStyle/>
          <a:p>
            <a:r>
              <a:rPr lang="en-US"/>
              <a:t>2025 estimates: in-store &amp; e-commerce split</a:t>
            </a:r>
          </a:p>
        </p:txBody>
      </p:sp>
      <p:sp>
        <p:nvSpPr>
          <p:cNvPr id="18" name="Plassholder for innhold 3">
            <a:extLst>
              <a:ext uri="{FF2B5EF4-FFF2-40B4-BE49-F238E27FC236}">
                <a16:creationId xmlns:a16="http://schemas.microsoft.com/office/drawing/2014/main" id="{28420332-228D-0F86-BF7C-F0FB17301722}"/>
              </a:ext>
            </a:extLst>
          </p:cNvPr>
          <p:cNvSpPr txBox="1">
            <a:spLocks/>
          </p:cNvSpPr>
          <p:nvPr/>
        </p:nvSpPr>
        <p:spPr>
          <a:xfrm>
            <a:off x="641350" y="1524651"/>
            <a:ext cx="4822825" cy="804229"/>
          </a:xfrm>
          <a:prstGeom prst="rect">
            <a:avLst/>
          </a:prstGeom>
          <a:no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1E1E50"/>
                </a:solidFill>
                <a:effectLst/>
                <a:uLnTx/>
                <a:uFillTx/>
                <a:latin typeface="Helvetica" pitchFamily="2" charset="0"/>
                <a:ea typeface="+mn-ea"/>
                <a:cs typeface="Arial" panose="020B0604020202020204" pitchFamily="34" charset="0"/>
              </a:rPr>
              <a:t>Revenue </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i="0" u="none" strike="noStrike" kern="1200" cap="none" spc="0" normalizeH="0" baseline="0" noProof="0">
                <a:ln>
                  <a:noFill/>
                </a:ln>
                <a:solidFill>
                  <a:srgbClr val="1E1E50"/>
                </a:solidFill>
                <a:effectLst/>
                <a:uLnTx/>
                <a:uFillTx/>
                <a:latin typeface="Helvetica" pitchFamily="2" charset="0"/>
                <a:ea typeface="+mn-ea"/>
                <a:cs typeface="Arial" panose="020B0604020202020204" pitchFamily="34" charset="0"/>
              </a:rPr>
              <a:t>MNOK</a:t>
            </a:r>
          </a:p>
        </p:txBody>
      </p:sp>
      <p:cxnSp>
        <p:nvCxnSpPr>
          <p:cNvPr id="16" name="Straight Connector 15">
            <a:extLst>
              <a:ext uri="{FF2B5EF4-FFF2-40B4-BE49-F238E27FC236}">
                <a16:creationId xmlns:a16="http://schemas.microsoft.com/office/drawing/2014/main" id="{5AB0DD28-B666-6D09-CD1C-E31CA1753B3F}"/>
              </a:ext>
            </a:extLst>
          </p:cNvPr>
          <p:cNvCxnSpPr>
            <a:cxnSpLocks/>
          </p:cNvCxnSpPr>
          <p:nvPr/>
        </p:nvCxnSpPr>
        <p:spPr>
          <a:xfrm>
            <a:off x="544513" y="1401746"/>
            <a:ext cx="6927008"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168" name="Straight Connector 167">
            <a:extLst>
              <a:ext uri="{FF2B5EF4-FFF2-40B4-BE49-F238E27FC236}">
                <a16:creationId xmlns:a16="http://schemas.microsoft.com/office/drawing/2014/main" id="{278C0752-E37A-150E-B36B-40A53E271BC3}"/>
              </a:ext>
            </a:extLst>
          </p:cNvPr>
          <p:cNvCxnSpPr/>
          <p:nvPr>
            <p:custDataLst>
              <p:tags r:id="rId2"/>
            </p:custDataLst>
          </p:nvPr>
        </p:nvCxnSpPr>
        <p:spPr bwMode="auto">
          <a:xfrm flipV="1">
            <a:off x="3057525" y="2601913"/>
            <a:ext cx="1128713" cy="725488"/>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A6A42E80-8FE5-771E-5F36-74288A03322E}"/>
              </a:ext>
            </a:extLst>
          </p:cNvPr>
          <p:cNvCxnSpPr/>
          <p:nvPr>
            <p:custDataLst>
              <p:tags r:id="rId3"/>
            </p:custDataLst>
          </p:nvPr>
        </p:nvCxnSpPr>
        <p:spPr bwMode="auto">
          <a:xfrm flipV="1">
            <a:off x="3057525" y="3078163"/>
            <a:ext cx="1128713" cy="45085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1" name="Chart 10">
            <a:extLst>
              <a:ext uri="{FF2B5EF4-FFF2-40B4-BE49-F238E27FC236}">
                <a16:creationId xmlns:a16="http://schemas.microsoft.com/office/drawing/2014/main" id="{9CD8C5F5-2C5A-8B0A-CC29-26208027DC3A}"/>
              </a:ext>
            </a:extLst>
          </p:cNvPr>
          <p:cNvGraphicFramePr/>
          <p:nvPr>
            <p:custDataLst>
              <p:tags r:id="rId4"/>
            </p:custDataLst>
            <p:extLst>
              <p:ext uri="{D42A27DB-BD31-4B8C-83A1-F6EECF244321}">
                <p14:modId xmlns:p14="http://schemas.microsoft.com/office/powerpoint/2010/main" val="1067399669"/>
              </p:ext>
            </p:extLst>
          </p:nvPr>
        </p:nvGraphicFramePr>
        <p:xfrm>
          <a:off x="1000125" y="2295525"/>
          <a:ext cx="5243513" cy="3470275"/>
        </p:xfrm>
        <a:graphic>
          <a:graphicData uri="http://schemas.openxmlformats.org/drawingml/2006/chart">
            <c:chart xmlns:c="http://schemas.openxmlformats.org/drawingml/2006/chart" xmlns:r="http://schemas.openxmlformats.org/officeDocument/2006/relationships" r:id="rId22"/>
          </a:graphicData>
        </a:graphic>
      </p:graphicFrame>
      <p:cxnSp>
        <p:nvCxnSpPr>
          <p:cNvPr id="204" name="Straight Connector 203">
            <a:extLst>
              <a:ext uri="{FF2B5EF4-FFF2-40B4-BE49-F238E27FC236}">
                <a16:creationId xmlns:a16="http://schemas.microsoft.com/office/drawing/2014/main" id="{D07AD04B-8A23-34D4-76D4-29D395537CC4}"/>
              </a:ext>
            </a:extLst>
          </p:cNvPr>
          <p:cNvCxnSpPr>
            <a:cxnSpLocks/>
          </p:cNvCxnSpPr>
          <p:nvPr>
            <p:custDataLst>
              <p:tags r:id="rId5"/>
            </p:custDataLst>
          </p:nvPr>
        </p:nvCxnSpPr>
        <p:spPr bwMode="auto">
          <a:xfrm flipV="1">
            <a:off x="2351088" y="1704975"/>
            <a:ext cx="2540000" cy="7254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 name="Rectangle 3">
            <a:extLst>
              <a:ext uri="{FF2B5EF4-FFF2-40B4-BE49-F238E27FC236}">
                <a16:creationId xmlns:a16="http://schemas.microsoft.com/office/drawing/2014/main" id="{F2012282-F2D2-491E-6C94-F4A05D08BC2D}"/>
              </a:ext>
            </a:extLst>
          </p:cNvPr>
          <p:cNvSpPr/>
          <p:nvPr>
            <p:custDataLst>
              <p:tags r:id="rId6"/>
            </p:custDataLst>
          </p:nvPr>
        </p:nvSpPr>
        <p:spPr bwMode="auto">
          <a:xfrm>
            <a:off x="1978025" y="5543549"/>
            <a:ext cx="747713" cy="3048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F34E0062-7394-4FDB-AD81-66DF08808D6A}" type="datetime'''''''''''2''''02''''''''''''''3''''A'">
              <a:rPr lang="en-GB" altLang="en-US" sz="2000">
                <a:solidFill>
                  <a:schemeClr val="tx1"/>
                </a:solidFill>
              </a:rPr>
              <a:pPr algn="ctr">
                <a:spcBef>
                  <a:spcPct val="0"/>
                </a:spcBef>
                <a:spcAft>
                  <a:spcPct val="0"/>
                </a:spcAft>
              </a:pPr>
              <a:t>2023A</a:t>
            </a:fld>
            <a:endParaRPr lang="en-GB" sz="2000">
              <a:solidFill>
                <a:schemeClr val="tx1"/>
              </a:solidFill>
            </a:endParaRPr>
          </a:p>
        </p:txBody>
      </p:sp>
      <p:sp>
        <p:nvSpPr>
          <p:cNvPr id="141" name="Rectangle 140">
            <a:extLst>
              <a:ext uri="{FF2B5EF4-FFF2-40B4-BE49-F238E27FC236}">
                <a16:creationId xmlns:a16="http://schemas.microsoft.com/office/drawing/2014/main" id="{6800FFA5-5007-3475-47F7-BC37980AC715}"/>
              </a:ext>
            </a:extLst>
          </p:cNvPr>
          <p:cNvSpPr/>
          <p:nvPr>
            <p:custDataLst>
              <p:tags r:id="rId7"/>
            </p:custDataLst>
          </p:nvPr>
        </p:nvSpPr>
        <p:spPr bwMode="gray">
          <a:xfrm>
            <a:off x="4541838" y="2744788"/>
            <a:ext cx="700088"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r>
              <a:rPr lang="en-GB" altLang="en-US" sz="1400">
                <a:solidFill>
                  <a:schemeClr val="bg1"/>
                </a:solidFill>
                <a:effectLst/>
              </a:rPr>
              <a:t>200-300</a:t>
            </a:r>
            <a:endParaRPr lang="en-GB" sz="1400">
              <a:solidFill>
                <a:schemeClr val="bg1"/>
              </a:solidFill>
            </a:endParaRPr>
          </a:p>
        </p:txBody>
      </p:sp>
      <p:sp>
        <p:nvSpPr>
          <p:cNvPr id="147" name="Rectangle 146">
            <a:extLst>
              <a:ext uri="{FF2B5EF4-FFF2-40B4-BE49-F238E27FC236}">
                <a16:creationId xmlns:a16="http://schemas.microsoft.com/office/drawing/2014/main" id="{543945F7-DF25-A31E-74F1-4D55675708A9}"/>
              </a:ext>
            </a:extLst>
          </p:cNvPr>
          <p:cNvSpPr/>
          <p:nvPr>
            <p:custDataLst>
              <p:tags r:id="rId8"/>
            </p:custDataLst>
          </p:nvPr>
        </p:nvSpPr>
        <p:spPr bwMode="gray">
          <a:xfrm>
            <a:off x="4222750" y="4144963"/>
            <a:ext cx="1336675" cy="2476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3338" tIns="0" rIns="33338" bIns="0" rtlCol="0" anchor="ctr"/>
          <a:lstStyle/>
          <a:p>
            <a:pPr algn="ctr">
              <a:lnSpc>
                <a:spcPct val="90000"/>
              </a:lnSpc>
              <a:spcBef>
                <a:spcPct val="0"/>
              </a:spcBef>
              <a:spcAft>
                <a:spcPct val="0"/>
              </a:spcAft>
            </a:pPr>
            <a:r>
              <a:rPr lang="en-GB" altLang="en-US">
                <a:solidFill>
                  <a:schemeClr val="tx1"/>
                </a:solidFill>
              </a:rPr>
              <a:t>1 300–</a:t>
            </a:r>
            <a:r>
              <a:rPr lang="en-GB" altLang="en-US">
                <a:solidFill>
                  <a:schemeClr val="tx1"/>
                </a:solidFill>
                <a:effectLst/>
              </a:rPr>
              <a:t>1 500</a:t>
            </a:r>
            <a:endParaRPr lang="en-GB">
              <a:solidFill>
                <a:schemeClr val="tx1"/>
              </a:solidFill>
            </a:endParaRPr>
          </a:p>
        </p:txBody>
      </p:sp>
      <p:sp>
        <p:nvSpPr>
          <p:cNvPr id="6" name="Rectangle 5">
            <a:extLst>
              <a:ext uri="{FF2B5EF4-FFF2-40B4-BE49-F238E27FC236}">
                <a16:creationId xmlns:a16="http://schemas.microsoft.com/office/drawing/2014/main" id="{C201A21B-B2F9-1EF1-CDC1-DBADB463FF1F}"/>
              </a:ext>
            </a:extLst>
          </p:cNvPr>
          <p:cNvSpPr/>
          <p:nvPr>
            <p:custDataLst>
              <p:tags r:id="rId9"/>
            </p:custDataLst>
          </p:nvPr>
        </p:nvSpPr>
        <p:spPr bwMode="auto">
          <a:xfrm>
            <a:off x="4532312" y="5543549"/>
            <a:ext cx="719138" cy="3048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28C6FDAC-D463-43A1-979D-C5423D41C2D6}" type="datetime'''''''''2''''''0''25''''''''''''''''''''''''''''''e'''''">
              <a:rPr lang="en-GB" altLang="en-US" sz="2000">
                <a:solidFill>
                  <a:schemeClr val="tx1"/>
                </a:solidFill>
              </a:rPr>
              <a:pPr algn="ctr">
                <a:spcBef>
                  <a:spcPct val="0"/>
                </a:spcBef>
                <a:spcAft>
                  <a:spcPct val="0"/>
                </a:spcAft>
              </a:pPr>
              <a:t>2025e</a:t>
            </a:fld>
            <a:endParaRPr lang="en-GB" sz="2000">
              <a:solidFill>
                <a:schemeClr val="tx1"/>
              </a:solidFill>
            </a:endParaRPr>
          </a:p>
        </p:txBody>
      </p:sp>
      <p:sp>
        <p:nvSpPr>
          <p:cNvPr id="131" name="Rectangle 130">
            <a:extLst>
              <a:ext uri="{FF2B5EF4-FFF2-40B4-BE49-F238E27FC236}">
                <a16:creationId xmlns:a16="http://schemas.microsoft.com/office/drawing/2014/main" id="{85E1BFD6-C936-28B2-DDDE-83554896C2B4}"/>
              </a:ext>
            </a:extLst>
          </p:cNvPr>
          <p:cNvSpPr/>
          <p:nvPr>
            <p:custDataLst>
              <p:tags r:id="rId10"/>
            </p:custDataLst>
          </p:nvPr>
        </p:nvSpPr>
        <p:spPr bwMode="gray">
          <a:xfrm>
            <a:off x="2105025" y="3109913"/>
            <a:ext cx="4937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r>
              <a:rPr lang="en-GB" altLang="en-US" sz="1400">
                <a:solidFill>
                  <a:schemeClr val="tx1"/>
                </a:solidFill>
              </a:rPr>
              <a:t>1 342</a:t>
            </a:r>
            <a:endParaRPr lang="en-GB" sz="1400">
              <a:solidFill>
                <a:schemeClr val="tx1"/>
              </a:solidFill>
            </a:endParaRPr>
          </a:p>
        </p:txBody>
      </p:sp>
      <p:sp>
        <p:nvSpPr>
          <p:cNvPr id="13" name="Rectangle 12">
            <a:extLst>
              <a:ext uri="{FF2B5EF4-FFF2-40B4-BE49-F238E27FC236}">
                <a16:creationId xmlns:a16="http://schemas.microsoft.com/office/drawing/2014/main" id="{4E555202-37CF-F883-75A6-A41BAEEAD04F}"/>
              </a:ext>
            </a:extLst>
          </p:cNvPr>
          <p:cNvSpPr/>
          <p:nvPr>
            <p:custDataLst>
              <p:tags r:id="rId11"/>
            </p:custDataLst>
          </p:nvPr>
        </p:nvSpPr>
        <p:spPr bwMode="gray">
          <a:xfrm>
            <a:off x="4335463" y="2384425"/>
            <a:ext cx="1111250"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r>
              <a:rPr lang="en-GB" altLang="en-US" sz="1400">
                <a:solidFill>
                  <a:schemeClr val="tx1"/>
                </a:solidFill>
                <a:latin typeface="Helvetica Light" panose="020B0403020202020204" pitchFamily="34" charset="0"/>
              </a:rPr>
              <a:t>1 500 – 1 800</a:t>
            </a:r>
          </a:p>
        </p:txBody>
      </p:sp>
      <p:sp>
        <p:nvSpPr>
          <p:cNvPr id="10" name="Rectangle 9">
            <a:extLst>
              <a:ext uri="{FF2B5EF4-FFF2-40B4-BE49-F238E27FC236}">
                <a16:creationId xmlns:a16="http://schemas.microsoft.com/office/drawing/2014/main" id="{F848DC90-877F-453F-ECC9-BD9D4AF3A48E}"/>
              </a:ext>
            </a:extLst>
          </p:cNvPr>
          <p:cNvSpPr/>
          <p:nvPr>
            <p:custDataLst>
              <p:tags r:id="rId12"/>
            </p:custDataLst>
          </p:nvPr>
        </p:nvSpPr>
        <p:spPr bwMode="gray">
          <a:xfrm>
            <a:off x="1997075" y="4357688"/>
            <a:ext cx="708025" cy="2746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6513" tIns="0" rIns="36513" bIns="0" rtlCol="0" anchor="ctr"/>
          <a:lstStyle/>
          <a:p>
            <a:pPr algn="ctr">
              <a:lnSpc>
                <a:spcPct val="90000"/>
              </a:lnSpc>
              <a:spcBef>
                <a:spcPct val="0"/>
              </a:spcBef>
              <a:spcAft>
                <a:spcPct val="0"/>
              </a:spcAft>
            </a:pPr>
            <a:fld id="{E29E8054-B284-4D05-81F6-2442C769576F}" type="datetime'''''''''1 ''''''''''''''''''''''''''''''21''6'''''''''''">
              <a:rPr lang="en-GB" altLang="en-US" sz="2000" smtClean="0">
                <a:solidFill>
                  <a:schemeClr val="tx1"/>
                </a:solidFill>
                <a:effectLst/>
              </a:rPr>
              <a:pPr algn="ctr">
                <a:lnSpc>
                  <a:spcPct val="90000"/>
                </a:lnSpc>
                <a:spcBef>
                  <a:spcPct val="0"/>
                </a:spcBef>
                <a:spcAft>
                  <a:spcPct val="0"/>
                </a:spcAft>
              </a:pPr>
              <a:t>1 216</a:t>
            </a:fld>
            <a:endParaRPr lang="en-GB" sz="2000">
              <a:solidFill>
                <a:schemeClr val="tx1"/>
              </a:solidFill>
            </a:endParaRPr>
          </a:p>
        </p:txBody>
      </p:sp>
      <p:sp>
        <p:nvSpPr>
          <p:cNvPr id="202" name="Oval 201">
            <a:extLst>
              <a:ext uri="{FF2B5EF4-FFF2-40B4-BE49-F238E27FC236}">
                <a16:creationId xmlns:a16="http://schemas.microsoft.com/office/drawing/2014/main" id="{B3690DAD-DCE3-DBE6-A077-FE79B8914178}"/>
              </a:ext>
            </a:extLst>
          </p:cNvPr>
          <p:cNvSpPr/>
          <p:nvPr>
            <p:custDataLst>
              <p:tags r:id="rId13"/>
            </p:custDataLst>
          </p:nvPr>
        </p:nvSpPr>
        <p:spPr bwMode="auto">
          <a:xfrm>
            <a:off x="2522538" y="1851024"/>
            <a:ext cx="2197100" cy="431800"/>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ctr">
              <a:spcBef>
                <a:spcPct val="0"/>
              </a:spcBef>
              <a:spcAft>
                <a:spcPct val="0"/>
              </a:spcAft>
            </a:pPr>
            <a:r>
              <a:rPr lang="en-GB" sz="2000" b="1">
                <a:solidFill>
                  <a:schemeClr val="tx1"/>
                </a:solidFill>
              </a:rPr>
              <a:t>CAGR 5-15%</a:t>
            </a:r>
          </a:p>
        </p:txBody>
      </p:sp>
      <p:sp>
        <p:nvSpPr>
          <p:cNvPr id="213" name="Rektangel 30">
            <a:extLst>
              <a:ext uri="{FF2B5EF4-FFF2-40B4-BE49-F238E27FC236}">
                <a16:creationId xmlns:a16="http://schemas.microsoft.com/office/drawing/2014/main" id="{5218CE44-C3B7-E913-EC94-FB04303277F3}"/>
              </a:ext>
            </a:extLst>
          </p:cNvPr>
          <p:cNvSpPr/>
          <p:nvPr>
            <p:custDataLst>
              <p:tags r:id="rId14"/>
            </p:custDataLst>
          </p:nvPr>
        </p:nvSpPr>
        <p:spPr bwMode="auto">
          <a:xfrm>
            <a:off x="5943600" y="2933821"/>
            <a:ext cx="1201738" cy="16819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C705BFA0-7BF4-44E8-B17E-E0AF143721C6}" type="datetime'''''''''E''-''''com''m''''''e''''''r''''''''c''''''''e'''''">
              <a:rPr kumimoji="0" lang="en-GB" altLang="en-US" sz="1400" b="0" i="0" u="none" strike="noStrike" kern="1200" cap="none" spc="0" normalizeH="0" baseline="0" noProof="0" smtClean="0">
                <a:ln>
                  <a:noFill/>
                </a:ln>
                <a:solidFill>
                  <a:prstClr val="black"/>
                </a:solidFill>
                <a:effectLst/>
                <a:uLnTx/>
                <a:uFillTx/>
                <a:latin typeface="Helvetica Light" panose="020B0403020202020204" pitchFamily="34" charset="0"/>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E-commerce</a:t>
            </a:fld>
            <a:endParaRPr kumimoji="0" lang="en-GB" sz="14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endParaRPr>
          </a:p>
        </p:txBody>
      </p:sp>
      <p:sp>
        <p:nvSpPr>
          <p:cNvPr id="214" name="Rektangel 30">
            <a:extLst>
              <a:ext uri="{FF2B5EF4-FFF2-40B4-BE49-F238E27FC236}">
                <a16:creationId xmlns:a16="http://schemas.microsoft.com/office/drawing/2014/main" id="{A693BC99-B91D-A6D6-4576-35481E8F57F6}"/>
              </a:ext>
            </a:extLst>
          </p:cNvPr>
          <p:cNvSpPr/>
          <p:nvPr>
            <p:custDataLst>
              <p:tags r:id="rId15"/>
            </p:custDataLst>
          </p:nvPr>
        </p:nvSpPr>
        <p:spPr bwMode="auto">
          <a:xfrm>
            <a:off x="5942013" y="4331692"/>
            <a:ext cx="1203325" cy="16819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14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rPr>
              <a:t>In-Store</a:t>
            </a:r>
            <a:endParaRPr kumimoji="0" lang="en-GB" sz="140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endParaRPr>
          </a:p>
        </p:txBody>
      </p:sp>
      <p:grpSp>
        <p:nvGrpSpPr>
          <p:cNvPr id="3" name="Group 2">
            <a:extLst>
              <a:ext uri="{FF2B5EF4-FFF2-40B4-BE49-F238E27FC236}">
                <a16:creationId xmlns:a16="http://schemas.microsoft.com/office/drawing/2014/main" id="{728E1381-C171-9E6B-ADCD-9D5DA441C9E1}"/>
              </a:ext>
            </a:extLst>
          </p:cNvPr>
          <p:cNvGrpSpPr/>
          <p:nvPr/>
        </p:nvGrpSpPr>
        <p:grpSpPr>
          <a:xfrm>
            <a:off x="3232242" y="2681545"/>
            <a:ext cx="774421" cy="555499"/>
            <a:chOff x="1556837" y="2830513"/>
            <a:chExt cx="1000125" cy="717399"/>
          </a:xfrm>
          <a:effectLst>
            <a:outerShdw blurRad="50800" dist="38100" dir="2700000" algn="tl" rotWithShape="0">
              <a:prstClr val="black">
                <a:alpha val="40000"/>
              </a:prstClr>
            </a:outerShdw>
          </a:effectLst>
        </p:grpSpPr>
        <p:sp>
          <p:nvSpPr>
            <p:cNvPr id="5" name="Oval 4">
              <a:extLst>
                <a:ext uri="{FF2B5EF4-FFF2-40B4-BE49-F238E27FC236}">
                  <a16:creationId xmlns:a16="http://schemas.microsoft.com/office/drawing/2014/main" id="{38D52D6A-18E9-2304-8BB0-CE4387309F94}"/>
                </a:ext>
              </a:extLst>
            </p:cNvPr>
            <p:cNvSpPr/>
            <p:nvPr/>
          </p:nvSpPr>
          <p:spPr>
            <a:xfrm>
              <a:off x="1698200" y="2830513"/>
              <a:ext cx="717399" cy="717399"/>
            </a:xfrm>
            <a:prstGeom prst="ellipse">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 name="Rectangle 6">
              <a:extLst>
                <a:ext uri="{FF2B5EF4-FFF2-40B4-BE49-F238E27FC236}">
                  <a16:creationId xmlns:a16="http://schemas.microsoft.com/office/drawing/2014/main" id="{B4821300-1183-DD6B-6182-E6E435CC0967}"/>
                </a:ext>
              </a:extLst>
            </p:cNvPr>
            <p:cNvSpPr/>
            <p:nvPr>
              <p:custDataLst>
                <p:tags r:id="rId17"/>
              </p:custDataLst>
            </p:nvPr>
          </p:nvSpPr>
          <p:spPr bwMode="gray">
            <a:xfrm>
              <a:off x="1556837" y="3208980"/>
              <a:ext cx="10001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r>
                <a:rPr lang="en-GB" altLang="en-US" sz="1200" b="1">
                  <a:solidFill>
                    <a:schemeClr val="bg1"/>
                  </a:solidFill>
                  <a:latin typeface="Helvetica" pitchFamily="2" charset="0"/>
                </a:rPr>
                <a:t>25-50</a:t>
              </a:r>
              <a:r>
                <a:rPr lang="en-GB" altLang="en-US" sz="900" b="1">
                  <a:solidFill>
                    <a:schemeClr val="bg1"/>
                  </a:solidFill>
                  <a:effectLst/>
                  <a:latin typeface="Helvetica" pitchFamily="2" charset="0"/>
                </a:rPr>
                <a:t>%</a:t>
              </a:r>
              <a:endParaRPr lang="en-GB" altLang="en-US" sz="1200" b="1">
                <a:solidFill>
                  <a:schemeClr val="bg1"/>
                </a:solidFill>
                <a:effectLst/>
                <a:latin typeface="Helvetica" pitchFamily="2" charset="0"/>
              </a:endParaRPr>
            </a:p>
            <a:p>
              <a:pPr algn="ctr">
                <a:lnSpc>
                  <a:spcPct val="90000"/>
                </a:lnSpc>
                <a:spcBef>
                  <a:spcPct val="0"/>
                </a:spcBef>
                <a:spcAft>
                  <a:spcPct val="0"/>
                </a:spcAft>
              </a:pPr>
              <a:r>
                <a:rPr lang="en-GB" altLang="en-US" sz="1000">
                  <a:solidFill>
                    <a:schemeClr val="bg1"/>
                  </a:solidFill>
                  <a:effectLst/>
                </a:rPr>
                <a:t>CAGR</a:t>
              </a:r>
              <a:endParaRPr lang="en-GB" sz="1000">
                <a:solidFill>
                  <a:schemeClr val="bg1"/>
                </a:solidFill>
              </a:endParaRPr>
            </a:p>
          </p:txBody>
        </p:sp>
      </p:grpSp>
      <p:grpSp>
        <p:nvGrpSpPr>
          <p:cNvPr id="19" name="Group 18">
            <a:extLst>
              <a:ext uri="{FF2B5EF4-FFF2-40B4-BE49-F238E27FC236}">
                <a16:creationId xmlns:a16="http://schemas.microsoft.com/office/drawing/2014/main" id="{F43421F3-A19D-7EFD-22B1-7B678CB9F468}"/>
              </a:ext>
            </a:extLst>
          </p:cNvPr>
          <p:cNvGrpSpPr/>
          <p:nvPr/>
        </p:nvGrpSpPr>
        <p:grpSpPr>
          <a:xfrm>
            <a:off x="3232242" y="3330182"/>
            <a:ext cx="774421" cy="555499"/>
            <a:chOff x="1556837" y="2830513"/>
            <a:chExt cx="1000125" cy="717399"/>
          </a:xfrm>
          <a:effectLst>
            <a:outerShdw blurRad="50800" dist="38100" dir="2700000" algn="tl" rotWithShape="0">
              <a:prstClr val="black">
                <a:alpha val="40000"/>
              </a:prstClr>
            </a:outerShdw>
          </a:effectLst>
        </p:grpSpPr>
        <p:sp>
          <p:nvSpPr>
            <p:cNvPr id="20" name="Oval 19">
              <a:extLst>
                <a:ext uri="{FF2B5EF4-FFF2-40B4-BE49-F238E27FC236}">
                  <a16:creationId xmlns:a16="http://schemas.microsoft.com/office/drawing/2014/main" id="{9894B58E-CDEF-DF36-C1F5-EA15CD947A9F}"/>
                </a:ext>
              </a:extLst>
            </p:cNvPr>
            <p:cNvSpPr/>
            <p:nvPr/>
          </p:nvSpPr>
          <p:spPr>
            <a:xfrm>
              <a:off x="1698200" y="2830513"/>
              <a:ext cx="717399" cy="717399"/>
            </a:xfrm>
            <a:prstGeom prst="ellipse">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1" name="Rectangle 20">
              <a:extLst>
                <a:ext uri="{FF2B5EF4-FFF2-40B4-BE49-F238E27FC236}">
                  <a16:creationId xmlns:a16="http://schemas.microsoft.com/office/drawing/2014/main" id="{6B43A1D2-5C08-3719-8413-DA5961A36674}"/>
                </a:ext>
              </a:extLst>
            </p:cNvPr>
            <p:cNvSpPr/>
            <p:nvPr>
              <p:custDataLst>
                <p:tags r:id="rId16"/>
              </p:custDataLst>
            </p:nvPr>
          </p:nvSpPr>
          <p:spPr bwMode="gray">
            <a:xfrm>
              <a:off x="1556837" y="3208980"/>
              <a:ext cx="10001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r>
                <a:rPr lang="en-GB" altLang="en-US" sz="1200" b="1">
                  <a:solidFill>
                    <a:schemeClr val="bg1"/>
                  </a:solidFill>
                  <a:latin typeface="Helvetica" pitchFamily="2" charset="0"/>
                </a:rPr>
                <a:t>3-10</a:t>
              </a:r>
              <a:r>
                <a:rPr lang="en-GB" altLang="en-US" sz="900" b="1">
                  <a:solidFill>
                    <a:schemeClr val="bg1"/>
                  </a:solidFill>
                  <a:effectLst/>
                  <a:latin typeface="Helvetica" pitchFamily="2" charset="0"/>
                </a:rPr>
                <a:t>%</a:t>
              </a:r>
              <a:endParaRPr lang="en-GB" altLang="en-US" sz="1200" b="1">
                <a:solidFill>
                  <a:schemeClr val="bg1"/>
                </a:solidFill>
                <a:effectLst/>
                <a:latin typeface="Helvetica" pitchFamily="2" charset="0"/>
              </a:endParaRPr>
            </a:p>
            <a:p>
              <a:pPr algn="ctr">
                <a:lnSpc>
                  <a:spcPct val="90000"/>
                </a:lnSpc>
                <a:spcBef>
                  <a:spcPct val="0"/>
                </a:spcBef>
                <a:spcAft>
                  <a:spcPct val="0"/>
                </a:spcAft>
              </a:pPr>
              <a:r>
                <a:rPr lang="en-GB" altLang="en-US" sz="1000">
                  <a:solidFill>
                    <a:schemeClr val="bg1"/>
                  </a:solidFill>
                  <a:effectLst/>
                </a:rPr>
                <a:t>CAGR</a:t>
              </a:r>
              <a:endParaRPr lang="en-GB" sz="1000">
                <a:solidFill>
                  <a:schemeClr val="bg1"/>
                </a:solidFill>
              </a:endParaRPr>
            </a:p>
          </p:txBody>
        </p:sp>
      </p:grpSp>
      <p:cxnSp>
        <p:nvCxnSpPr>
          <p:cNvPr id="23" name="Straight Connector 22">
            <a:extLst>
              <a:ext uri="{FF2B5EF4-FFF2-40B4-BE49-F238E27FC236}">
                <a16:creationId xmlns:a16="http://schemas.microsoft.com/office/drawing/2014/main" id="{DD626F40-7600-CD56-A212-5A16B5402188}"/>
              </a:ext>
            </a:extLst>
          </p:cNvPr>
          <p:cNvCxnSpPr>
            <a:cxnSpLocks/>
          </p:cNvCxnSpPr>
          <p:nvPr/>
        </p:nvCxnSpPr>
        <p:spPr>
          <a:xfrm>
            <a:off x="7888994" y="1412892"/>
            <a:ext cx="3625673"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24" name="Straight Connector 23">
            <a:extLst>
              <a:ext uri="{FF2B5EF4-FFF2-40B4-BE49-F238E27FC236}">
                <a16:creationId xmlns:a16="http://schemas.microsoft.com/office/drawing/2014/main" id="{E7FF2E80-31C7-904A-3ED7-6D01EE84C679}"/>
              </a:ext>
            </a:extLst>
          </p:cNvPr>
          <p:cNvCxnSpPr>
            <a:cxnSpLocks/>
          </p:cNvCxnSpPr>
          <p:nvPr/>
        </p:nvCxnSpPr>
        <p:spPr>
          <a:xfrm>
            <a:off x="7888994" y="6052625"/>
            <a:ext cx="3625673"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14" name="TekstSylinder 32">
            <a:extLst>
              <a:ext uri="{FF2B5EF4-FFF2-40B4-BE49-F238E27FC236}">
                <a16:creationId xmlns:a16="http://schemas.microsoft.com/office/drawing/2014/main" id="{0533FEB3-A5E2-98DA-9C63-304351DCD404}"/>
              </a:ext>
            </a:extLst>
          </p:cNvPr>
          <p:cNvSpPr txBox="1"/>
          <p:nvPr/>
        </p:nvSpPr>
        <p:spPr>
          <a:xfrm>
            <a:off x="7854599" y="1704975"/>
            <a:ext cx="3917000" cy="3200876"/>
          </a:xfrm>
          <a:prstGeom prst="rect">
            <a:avLst/>
          </a:prstGeom>
          <a:noFill/>
        </p:spPr>
        <p:txBody>
          <a:bodyPr wrap="square" rtlCol="0">
            <a:spAutoFit/>
          </a:bodyPr>
          <a:lstStyle/>
          <a:p>
            <a:pPr marR="0" lvl="0" algn="l" defTabSz="914400" rtl="0" eaLnBrk="1" fontAlgn="auto" latinLnBrk="0" hangingPunct="1">
              <a:spcBef>
                <a:spcPts val="0"/>
              </a:spcBef>
              <a:spcAft>
                <a:spcPts val="1200"/>
              </a:spcAft>
              <a:buClrTx/>
              <a:buSzTx/>
              <a:tabLst/>
              <a:defRPr/>
            </a:pPr>
            <a:r>
              <a:rPr lang="en-GB" b="1">
                <a:solidFill>
                  <a:srgbClr val="1E1E50"/>
                </a:solidFill>
                <a:latin typeface="Helvetica" pitchFamily="2" charset="0"/>
              </a:rPr>
              <a:t>In-store</a:t>
            </a:r>
          </a:p>
          <a:p>
            <a:pPr marL="285750" marR="0" lvl="0" indent="-285750" algn="l" defTabSz="914400" rtl="0" eaLnBrk="1" fontAlgn="auto" latinLnBrk="0" hangingPunct="1">
              <a:spcBef>
                <a:spcPts val="0"/>
              </a:spcBef>
              <a:spcAft>
                <a:spcPts val="1200"/>
              </a:spcAft>
              <a:buClrTx/>
              <a:buSzTx/>
              <a:buFont typeface="Arial" panose="020B0604020202020204" pitchFamily="34" charset="0"/>
              <a:buChar char="•"/>
              <a:tabLst/>
              <a:defRPr/>
            </a:pPr>
            <a:r>
              <a:rPr lang="en-GB">
                <a:solidFill>
                  <a:srgbClr val="1E1E50"/>
                </a:solidFill>
                <a:latin typeface="Helvetica Light" panose="020B0403020202020204" pitchFamily="34" charset="0"/>
              </a:rPr>
              <a:t>Increase in ESL projects,</a:t>
            </a:r>
            <a:br>
              <a:rPr lang="en-GB">
                <a:solidFill>
                  <a:srgbClr val="1E1E50"/>
                </a:solidFill>
                <a:latin typeface="Helvetica Light" panose="020B0403020202020204" pitchFamily="34" charset="0"/>
              </a:rPr>
            </a:br>
            <a:r>
              <a:rPr lang="en-GB">
                <a:solidFill>
                  <a:srgbClr val="1E1E50"/>
                </a:solidFill>
                <a:latin typeface="Helvetica Light" panose="020B0403020202020204" pitchFamily="34" charset="0"/>
              </a:rPr>
              <a:t>Self-checkout and</a:t>
            </a:r>
            <a:br>
              <a:rPr lang="en-GB">
                <a:solidFill>
                  <a:srgbClr val="1E1E50"/>
                </a:solidFill>
                <a:latin typeface="Helvetica Light" panose="020B0403020202020204" pitchFamily="34" charset="0"/>
              </a:rPr>
            </a:br>
            <a:r>
              <a:rPr lang="en-GB" err="1">
                <a:solidFill>
                  <a:srgbClr val="1E1E50"/>
                </a:solidFill>
                <a:latin typeface="Helvetica Light" panose="020B0403020202020204" pitchFamily="34" charset="0"/>
              </a:rPr>
              <a:t>CashGuard</a:t>
            </a:r>
            <a:r>
              <a:rPr lang="en-GB">
                <a:solidFill>
                  <a:srgbClr val="1E1E50"/>
                </a:solidFill>
                <a:latin typeface="Helvetica Light" panose="020B0403020202020204" pitchFamily="34" charset="0"/>
              </a:rPr>
              <a:t> Connect</a:t>
            </a:r>
          </a:p>
          <a:p>
            <a:pPr marR="0" lvl="0" algn="l" defTabSz="914400" rtl="0" eaLnBrk="1" fontAlgn="auto" latinLnBrk="0" hangingPunct="1">
              <a:spcBef>
                <a:spcPts val="0"/>
              </a:spcBef>
              <a:spcAft>
                <a:spcPts val="1200"/>
              </a:spcAft>
              <a:buClrTx/>
              <a:buSzTx/>
              <a:tabLst/>
              <a:defRPr/>
            </a:pPr>
            <a:endParaRPr lang="en-GB" b="1">
              <a:solidFill>
                <a:srgbClr val="1E1E50"/>
              </a:solidFill>
              <a:latin typeface="Helvetica" pitchFamily="2" charset="0"/>
            </a:endParaRPr>
          </a:p>
          <a:p>
            <a:pPr marR="0" lvl="0" algn="l" defTabSz="914400" rtl="0" eaLnBrk="1" fontAlgn="auto" latinLnBrk="0" hangingPunct="1">
              <a:spcBef>
                <a:spcPts val="0"/>
              </a:spcBef>
              <a:spcAft>
                <a:spcPts val="1200"/>
              </a:spcAft>
              <a:buClrTx/>
              <a:buSzTx/>
              <a:tabLst/>
              <a:defRPr/>
            </a:pPr>
            <a:r>
              <a:rPr lang="en-GB" b="1">
                <a:solidFill>
                  <a:srgbClr val="1E1E50"/>
                </a:solidFill>
                <a:latin typeface="Helvetica" pitchFamily="2" charset="0"/>
              </a:rPr>
              <a:t>E-commerce</a:t>
            </a:r>
          </a:p>
          <a:p>
            <a:pPr marL="285750" indent="-285750">
              <a:spcAft>
                <a:spcPts val="1200"/>
              </a:spcAft>
              <a:buFont typeface="Arial" panose="020B0604020202020204" pitchFamily="34" charset="0"/>
              <a:buChar char="•"/>
              <a:defRPr/>
            </a:pPr>
            <a:r>
              <a:rPr lang="en-GB">
                <a:solidFill>
                  <a:srgbClr val="1E1E50"/>
                </a:solidFill>
                <a:latin typeface="Helvetica Light" panose="020B0403020202020204" pitchFamily="34" charset="0"/>
              </a:rPr>
              <a:t>Increase in Order Picking, Grocery Lockers and</a:t>
            </a:r>
            <a:br>
              <a:rPr lang="en-GB">
                <a:solidFill>
                  <a:srgbClr val="1E1E50"/>
                </a:solidFill>
                <a:latin typeface="Helvetica Light" panose="020B0403020202020204" pitchFamily="34" charset="0"/>
              </a:rPr>
            </a:br>
            <a:r>
              <a:rPr lang="en-GB" err="1">
                <a:solidFill>
                  <a:srgbClr val="1E1E50"/>
                </a:solidFill>
                <a:latin typeface="Helvetica Light" panose="020B0403020202020204" pitchFamily="34" charset="0"/>
              </a:rPr>
              <a:t>AutoStore</a:t>
            </a:r>
            <a:r>
              <a:rPr lang="en-GB">
                <a:solidFill>
                  <a:srgbClr val="1E1E50"/>
                </a:solidFill>
                <a:latin typeface="Helvetica Light" panose="020B0403020202020204" pitchFamily="34" charset="0"/>
              </a:rPr>
              <a:t> projects</a:t>
            </a:r>
          </a:p>
        </p:txBody>
      </p:sp>
    </p:spTree>
    <p:extLst>
      <p:ext uri="{BB962C8B-B14F-4D97-AF65-F5344CB8AC3E}">
        <p14:creationId xmlns:p14="http://schemas.microsoft.com/office/powerpoint/2010/main" val="35901485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e 76" descr="Et bilde som inneholder tekst&#10;&#10;Automatisk generert beskrivelse">
            <a:extLst>
              <a:ext uri="{FF2B5EF4-FFF2-40B4-BE49-F238E27FC236}">
                <a16:creationId xmlns:a16="http://schemas.microsoft.com/office/drawing/2014/main" id="{5296A282-BCFB-76FD-EC1C-6D95B03233A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4590" b="-321"/>
          <a:stretch/>
        </p:blipFill>
        <p:spPr>
          <a:xfrm>
            <a:off x="4524768" y="1081911"/>
            <a:ext cx="6961214" cy="5118287"/>
          </a:xfrm>
          <a:prstGeom prst="rect">
            <a:avLst/>
          </a:prstGeom>
          <a:solidFill>
            <a:srgbClr val="E0E0E3"/>
          </a:solidFill>
        </p:spPr>
      </p:pic>
      <p:sp>
        <p:nvSpPr>
          <p:cNvPr id="2" name="Title 1">
            <a:extLst>
              <a:ext uri="{FF2B5EF4-FFF2-40B4-BE49-F238E27FC236}">
                <a16:creationId xmlns:a16="http://schemas.microsoft.com/office/drawing/2014/main" id="{98FF0C3C-0E6D-AE34-D5F4-98EECE27623C}"/>
              </a:ext>
            </a:extLst>
          </p:cNvPr>
          <p:cNvSpPr>
            <a:spLocks noGrp="1"/>
          </p:cNvSpPr>
          <p:nvPr>
            <p:ph type="title"/>
          </p:nvPr>
        </p:nvSpPr>
        <p:spPr/>
        <p:txBody>
          <a:bodyPr>
            <a:normAutofit/>
          </a:bodyPr>
          <a:lstStyle/>
          <a:p>
            <a:r>
              <a:rPr lang="en-GB" sz="3200">
                <a:latin typeface="Helvetica Light" panose="020B0403020202020204" pitchFamily="34" charset="0"/>
              </a:rPr>
              <a:t>Our grocery retail solutions - aisle to aisle &amp; door to door</a:t>
            </a:r>
            <a:endParaRPr lang="en-US" sz="3200">
              <a:latin typeface="Helvetica Light" panose="020B0403020202020204" pitchFamily="34" charset="0"/>
            </a:endParaRPr>
          </a:p>
        </p:txBody>
      </p:sp>
      <p:sp>
        <p:nvSpPr>
          <p:cNvPr id="34" name="Rectangle 33">
            <a:extLst>
              <a:ext uri="{FF2B5EF4-FFF2-40B4-BE49-F238E27FC236}">
                <a16:creationId xmlns:a16="http://schemas.microsoft.com/office/drawing/2014/main" id="{25D6AB84-176A-B15A-53DD-7F2D99AF976B}"/>
              </a:ext>
            </a:extLst>
          </p:cNvPr>
          <p:cNvSpPr/>
          <p:nvPr/>
        </p:nvSpPr>
        <p:spPr>
          <a:xfrm>
            <a:off x="842355" y="1073379"/>
            <a:ext cx="1699688" cy="5126819"/>
          </a:xfrm>
          <a:prstGeom prst="rect">
            <a:avLst/>
          </a:prstGeom>
          <a:solidFill>
            <a:srgbClr val="F2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13" name="Rektangel 56">
            <a:extLst>
              <a:ext uri="{FF2B5EF4-FFF2-40B4-BE49-F238E27FC236}">
                <a16:creationId xmlns:a16="http://schemas.microsoft.com/office/drawing/2014/main" id="{AC2B10D0-A97B-3A29-4A3F-85A907BF4892}"/>
              </a:ext>
            </a:extLst>
          </p:cNvPr>
          <p:cNvSpPr/>
          <p:nvPr/>
        </p:nvSpPr>
        <p:spPr>
          <a:xfrm>
            <a:off x="1120514" y="2721651"/>
            <a:ext cx="912670"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Self-Checkou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amp; AI solutions</a:t>
            </a:r>
          </a:p>
        </p:txBody>
      </p:sp>
      <p:sp>
        <p:nvSpPr>
          <p:cNvPr id="16" name="Rektangel 72">
            <a:extLst>
              <a:ext uri="{FF2B5EF4-FFF2-40B4-BE49-F238E27FC236}">
                <a16:creationId xmlns:a16="http://schemas.microsoft.com/office/drawing/2014/main" id="{C23016D9-7948-0BE4-3B1B-31DFDF1043D6}"/>
              </a:ext>
            </a:extLst>
          </p:cNvPr>
          <p:cNvSpPr/>
          <p:nvPr/>
        </p:nvSpPr>
        <p:spPr>
          <a:xfrm>
            <a:off x="1085673" y="2131860"/>
            <a:ext cx="856670"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Electronic Shelf Labels</a:t>
            </a:r>
          </a:p>
        </p:txBody>
      </p:sp>
      <p:sp>
        <p:nvSpPr>
          <p:cNvPr id="19" name="Rektangel 13">
            <a:extLst>
              <a:ext uri="{FF2B5EF4-FFF2-40B4-BE49-F238E27FC236}">
                <a16:creationId xmlns:a16="http://schemas.microsoft.com/office/drawing/2014/main" id="{FD10DC3D-E579-7551-EFAD-EBDB848179C1}"/>
              </a:ext>
            </a:extLst>
          </p:cNvPr>
          <p:cNvSpPr/>
          <p:nvPr/>
        </p:nvSpPr>
        <p:spPr>
          <a:xfrm>
            <a:off x="1077095" y="1446565"/>
            <a:ext cx="1040605" cy="4154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In-store</a:t>
            </a:r>
            <a:b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b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Product Pickup (</a:t>
            </a:r>
            <a:r>
              <a:rPr kumimoji="0" lang="en-GB" sz="900" b="0" i="0" u="none" strike="noStrike" kern="1200" cap="none" spc="0" normalizeH="0" baseline="0" noProof="0" err="1">
                <a:ln>
                  <a:noFill/>
                </a:ln>
                <a:solidFill>
                  <a:srgbClr val="1E1E50"/>
                </a:solidFill>
                <a:effectLst/>
                <a:uLnTx/>
                <a:uFillTx/>
                <a:latin typeface="Helvetica Light" panose="020B0403020202020204" pitchFamily="34" charset="0"/>
                <a:ea typeface="+mn-ea"/>
                <a:cs typeface="Arial" panose="020B0604020202020204" pitchFamily="34" charset="0"/>
              </a:rPr>
              <a:t>Vensafe</a:t>
            </a: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a:t>
            </a:r>
          </a:p>
        </p:txBody>
      </p:sp>
      <p:sp>
        <p:nvSpPr>
          <p:cNvPr id="22" name="Rektangel 57">
            <a:extLst>
              <a:ext uri="{FF2B5EF4-FFF2-40B4-BE49-F238E27FC236}">
                <a16:creationId xmlns:a16="http://schemas.microsoft.com/office/drawing/2014/main" id="{0181127F-B1E8-68FA-6524-84A6E5F9766A}"/>
              </a:ext>
            </a:extLst>
          </p:cNvPr>
          <p:cNvSpPr/>
          <p:nvPr/>
        </p:nvSpPr>
        <p:spPr>
          <a:xfrm>
            <a:off x="1106538" y="3328095"/>
            <a:ext cx="1171516"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Cash</a:t>
            </a:r>
            <a:b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b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Management </a:t>
            </a:r>
          </a:p>
        </p:txBody>
      </p:sp>
      <p:sp>
        <p:nvSpPr>
          <p:cNvPr id="31" name="Rektangel 74">
            <a:extLst>
              <a:ext uri="{FF2B5EF4-FFF2-40B4-BE49-F238E27FC236}">
                <a16:creationId xmlns:a16="http://schemas.microsoft.com/office/drawing/2014/main" id="{0882EB83-26B3-7BC1-8910-39458BA0CFD9}"/>
              </a:ext>
            </a:extLst>
          </p:cNvPr>
          <p:cNvSpPr/>
          <p:nvPr/>
        </p:nvSpPr>
        <p:spPr>
          <a:xfrm>
            <a:off x="1118710" y="5725446"/>
            <a:ext cx="880183" cy="4154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Humanoid Grocery Robot</a:t>
            </a:r>
            <a:r>
              <a:rPr kumimoji="0" lang="en-GB" sz="900" b="1" i="0" u="none" strike="noStrike" kern="1200" cap="none" spc="0" normalizeH="0" baseline="0" noProof="0">
                <a:ln>
                  <a:noFill/>
                </a:ln>
                <a:solidFill>
                  <a:srgbClr val="2832DC"/>
                </a:solidFill>
                <a:effectLst/>
                <a:uLnTx/>
                <a:uFillTx/>
                <a:latin typeface="Helvetica" pitchFamily="2" charset="0"/>
                <a:ea typeface="+mn-ea"/>
                <a:cs typeface="Arial" panose="020B0604020202020204" pitchFamily="34" charset="0"/>
              </a:rPr>
              <a:t> </a:t>
            </a:r>
          </a:p>
        </p:txBody>
      </p:sp>
      <p:sp>
        <p:nvSpPr>
          <p:cNvPr id="51" name="!!What">
            <a:extLst>
              <a:ext uri="{FF2B5EF4-FFF2-40B4-BE49-F238E27FC236}">
                <a16:creationId xmlns:a16="http://schemas.microsoft.com/office/drawing/2014/main" id="{5B1B77FD-9462-6041-1FB5-9629DB487691}"/>
              </a:ext>
            </a:extLst>
          </p:cNvPr>
          <p:cNvSpPr txBox="1">
            <a:spLocks/>
          </p:cNvSpPr>
          <p:nvPr/>
        </p:nvSpPr>
        <p:spPr>
          <a:xfrm>
            <a:off x="846654" y="1081911"/>
            <a:ext cx="1585651" cy="193434"/>
          </a:xfrm>
          <a:prstGeom prst="rect">
            <a:avLst/>
          </a:prstGeom>
        </p:spPr>
        <p:txBody>
          <a:bodyPr/>
          <a:lstStyle>
            <a:lvl1pPr algn="l" defTabSz="914400" rtl="0" eaLnBrk="1" latinLnBrk="0" hangingPunct="1">
              <a:lnSpc>
                <a:spcPct val="90000"/>
              </a:lnSpc>
              <a:spcBef>
                <a:spcPct val="0"/>
              </a:spcBef>
              <a:buNone/>
              <a:defRPr sz="3200" kern="1200">
                <a:solidFill>
                  <a:schemeClr val="accent5"/>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900" b="1" i="0" u="none" strike="noStrike" kern="1200" cap="none" spc="0" normalizeH="0" baseline="0" noProof="0">
                <a:ln>
                  <a:noFill/>
                </a:ln>
                <a:solidFill>
                  <a:srgbClr val="1E1E50"/>
                </a:solidFill>
                <a:effectLst/>
                <a:uLnTx/>
                <a:uFillTx/>
                <a:latin typeface="Helvetica" pitchFamily="2" charset="0"/>
                <a:ea typeface="+mj-ea"/>
                <a:cs typeface="Arial" panose="020B0604020202020204" pitchFamily="34" charset="0"/>
              </a:rPr>
              <a:t>In-store</a:t>
            </a:r>
          </a:p>
        </p:txBody>
      </p:sp>
      <p:sp>
        <p:nvSpPr>
          <p:cNvPr id="50" name="Rektangel 74">
            <a:extLst>
              <a:ext uri="{FF2B5EF4-FFF2-40B4-BE49-F238E27FC236}">
                <a16:creationId xmlns:a16="http://schemas.microsoft.com/office/drawing/2014/main" id="{17F81A8D-323C-1F74-EE2E-515D19853BB2}"/>
              </a:ext>
            </a:extLst>
          </p:cNvPr>
          <p:cNvSpPr/>
          <p:nvPr/>
        </p:nvSpPr>
        <p:spPr>
          <a:xfrm>
            <a:off x="1152404" y="4609650"/>
            <a:ext cx="1024040" cy="1384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Scales</a:t>
            </a:r>
            <a:endParaRPr kumimoji="0" lang="en-GB" sz="900" b="1" i="0" u="none" strike="noStrike" kern="1200" cap="none" spc="0" normalizeH="0" baseline="0" noProof="0">
              <a:ln>
                <a:noFill/>
              </a:ln>
              <a:solidFill>
                <a:srgbClr val="2832DC"/>
              </a:solidFill>
              <a:effectLst/>
              <a:uLnTx/>
              <a:uFillTx/>
              <a:latin typeface="Helvetica" pitchFamily="2" charset="0"/>
              <a:ea typeface="+mn-ea"/>
              <a:cs typeface="Arial" panose="020B0604020202020204" pitchFamily="34" charset="0"/>
            </a:endParaRPr>
          </a:p>
        </p:txBody>
      </p:sp>
      <p:pic>
        <p:nvPicPr>
          <p:cNvPr id="14" name="Bilde 78" descr="Et bilde som inneholder tekst, leke, vektorgrafikk&#10;&#10;Automatisk generert beskrivelse">
            <a:extLst>
              <a:ext uri="{FF2B5EF4-FFF2-40B4-BE49-F238E27FC236}">
                <a16:creationId xmlns:a16="http://schemas.microsoft.com/office/drawing/2014/main" id="{7D0BE12D-37F9-C943-6362-6A944B0AF84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011538" y="2623491"/>
            <a:ext cx="420290" cy="310651"/>
          </a:xfrm>
          <a:prstGeom prst="rect">
            <a:avLst/>
          </a:prstGeom>
        </p:spPr>
      </p:pic>
      <p:pic>
        <p:nvPicPr>
          <p:cNvPr id="44" name="Bilde 79" descr="Et bilde som inneholder tekst, leke, vektorgrafikk&#10;&#10;Automatisk generert beskrivelse">
            <a:extLst>
              <a:ext uri="{FF2B5EF4-FFF2-40B4-BE49-F238E27FC236}">
                <a16:creationId xmlns:a16="http://schemas.microsoft.com/office/drawing/2014/main" id="{62D5CACE-9150-528F-3387-EDD162D5915E}"/>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737578" y="2545320"/>
            <a:ext cx="454375" cy="335843"/>
          </a:xfrm>
          <a:prstGeom prst="rect">
            <a:avLst/>
          </a:prstGeom>
        </p:spPr>
      </p:pic>
      <p:pic>
        <p:nvPicPr>
          <p:cNvPr id="49" name="Bilde 80" descr="Et bilde som inneholder tekst, leke, vektorgrafikk&#10;&#10;Automatisk generert beskrivelse">
            <a:extLst>
              <a:ext uri="{FF2B5EF4-FFF2-40B4-BE49-F238E27FC236}">
                <a16:creationId xmlns:a16="http://schemas.microsoft.com/office/drawing/2014/main" id="{97FBCAB2-723A-6DCF-2EF8-26580685E781}"/>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r="-11103"/>
          <a:stretch/>
        </p:blipFill>
        <p:spPr>
          <a:xfrm>
            <a:off x="8014395" y="3250891"/>
            <a:ext cx="454375" cy="335844"/>
          </a:xfrm>
          <a:prstGeom prst="rect">
            <a:avLst/>
          </a:prstGeom>
        </p:spPr>
      </p:pic>
      <p:pic>
        <p:nvPicPr>
          <p:cNvPr id="52" name="Bilde 81" descr="Et bilde som inneholder tekst, leke, vektorgrafikk&#10;&#10;Automatisk generert beskrivelse">
            <a:extLst>
              <a:ext uri="{FF2B5EF4-FFF2-40B4-BE49-F238E27FC236}">
                <a16:creationId xmlns:a16="http://schemas.microsoft.com/office/drawing/2014/main" id="{B19E9685-CF57-8BAB-0D17-DC25D54E602E}"/>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8230578" y="2504361"/>
            <a:ext cx="454375" cy="335844"/>
          </a:xfrm>
          <a:prstGeom prst="rect">
            <a:avLst/>
          </a:prstGeom>
        </p:spPr>
      </p:pic>
      <p:pic>
        <p:nvPicPr>
          <p:cNvPr id="53" name="Bilde 82" descr="Et bilde som inneholder tekst&#10;&#10;Automatisk generert beskrivelse">
            <a:extLst>
              <a:ext uri="{FF2B5EF4-FFF2-40B4-BE49-F238E27FC236}">
                <a16:creationId xmlns:a16="http://schemas.microsoft.com/office/drawing/2014/main" id="{B45BF0F2-E5F7-DF52-432F-13D05E511FA9}"/>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513065" y="2737246"/>
            <a:ext cx="1681310" cy="1344682"/>
          </a:xfrm>
          <a:prstGeom prst="rect">
            <a:avLst/>
          </a:prstGeom>
        </p:spPr>
      </p:pic>
      <p:pic>
        <p:nvPicPr>
          <p:cNvPr id="54" name="Bilde 83" descr="Et bilde som inneholder tekst, leke&#10;&#10;Automatisk generert beskrivelse">
            <a:extLst>
              <a:ext uri="{FF2B5EF4-FFF2-40B4-BE49-F238E27FC236}">
                <a16:creationId xmlns:a16="http://schemas.microsoft.com/office/drawing/2014/main" id="{EADDBDEE-7CC0-EE29-804A-6F1294B0CE0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678158" y="3324992"/>
            <a:ext cx="2770434" cy="2205943"/>
          </a:xfrm>
          <a:prstGeom prst="rect">
            <a:avLst/>
          </a:prstGeom>
        </p:spPr>
      </p:pic>
      <p:pic>
        <p:nvPicPr>
          <p:cNvPr id="60" name="Bilde 84">
            <a:extLst>
              <a:ext uri="{FF2B5EF4-FFF2-40B4-BE49-F238E27FC236}">
                <a16:creationId xmlns:a16="http://schemas.microsoft.com/office/drawing/2014/main" id="{07DB0DC9-272F-23D8-1167-E708A1B574ED}"/>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6104991" y="3763727"/>
            <a:ext cx="2846638" cy="1930265"/>
          </a:xfrm>
          <a:prstGeom prst="rect">
            <a:avLst/>
          </a:prstGeom>
        </p:spPr>
      </p:pic>
      <p:pic>
        <p:nvPicPr>
          <p:cNvPr id="61" name="Bilde 85" descr="Et bilde som inneholder leke&#10;&#10;Automatisk generert beskrivelse">
            <a:extLst>
              <a:ext uri="{FF2B5EF4-FFF2-40B4-BE49-F238E27FC236}">
                <a16:creationId xmlns:a16="http://schemas.microsoft.com/office/drawing/2014/main" id="{BB882746-83E4-8FD2-4668-544D7C0F28C3}"/>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290988" y="3920002"/>
            <a:ext cx="1362988" cy="568357"/>
          </a:xfrm>
          <a:prstGeom prst="rect">
            <a:avLst/>
          </a:prstGeom>
        </p:spPr>
      </p:pic>
      <p:pic>
        <p:nvPicPr>
          <p:cNvPr id="62" name="Bilde 86">
            <a:extLst>
              <a:ext uri="{FF2B5EF4-FFF2-40B4-BE49-F238E27FC236}">
                <a16:creationId xmlns:a16="http://schemas.microsoft.com/office/drawing/2014/main" id="{A9E8D71B-70FA-69BC-7DFB-4C5B851A797A}"/>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425502" y="4211079"/>
            <a:ext cx="599629" cy="484128"/>
          </a:xfrm>
          <a:prstGeom prst="rect">
            <a:avLst/>
          </a:prstGeom>
        </p:spPr>
      </p:pic>
      <p:grpSp>
        <p:nvGrpSpPr>
          <p:cNvPr id="74" name="Group 73">
            <a:extLst>
              <a:ext uri="{FF2B5EF4-FFF2-40B4-BE49-F238E27FC236}">
                <a16:creationId xmlns:a16="http://schemas.microsoft.com/office/drawing/2014/main" id="{BB1B7B31-20F2-D85D-8F6C-D0C5BE5FD175}"/>
              </a:ext>
            </a:extLst>
          </p:cNvPr>
          <p:cNvGrpSpPr>
            <a:grpSpLocks noChangeAspect="1"/>
          </p:cNvGrpSpPr>
          <p:nvPr/>
        </p:nvGrpSpPr>
        <p:grpSpPr>
          <a:xfrm>
            <a:off x="6322366" y="2357462"/>
            <a:ext cx="158400" cy="166419"/>
            <a:chOff x="4068263" y="1628190"/>
            <a:chExt cx="218924" cy="230008"/>
          </a:xfrm>
        </p:grpSpPr>
        <p:sp>
          <p:nvSpPr>
            <p:cNvPr id="72" name="Oval 71">
              <a:extLst>
                <a:ext uri="{FF2B5EF4-FFF2-40B4-BE49-F238E27FC236}">
                  <a16:creationId xmlns:a16="http://schemas.microsoft.com/office/drawing/2014/main" id="{01670F76-428F-8E5A-2EA9-3F07BA953E4A}"/>
                </a:ext>
              </a:extLst>
            </p:cNvPr>
            <p:cNvSpPr/>
            <p:nvPr/>
          </p:nvSpPr>
          <p:spPr>
            <a:xfrm>
              <a:off x="4068263" y="1628190"/>
              <a:ext cx="218924" cy="21892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Helvetica"/>
                <a:ea typeface="+mn-ea"/>
                <a:cs typeface="+mn-cs"/>
              </a:endParaRPr>
            </a:p>
          </p:txBody>
        </p:sp>
        <p:sp>
          <p:nvSpPr>
            <p:cNvPr id="73" name="Rektangel 72">
              <a:extLst>
                <a:ext uri="{FF2B5EF4-FFF2-40B4-BE49-F238E27FC236}">
                  <a16:creationId xmlns:a16="http://schemas.microsoft.com/office/drawing/2014/main" id="{4D11D32E-71E0-61D0-AD76-F42A92823E2B}"/>
                </a:ext>
              </a:extLst>
            </p:cNvPr>
            <p:cNvSpPr/>
            <p:nvPr/>
          </p:nvSpPr>
          <p:spPr>
            <a:xfrm>
              <a:off x="4073533" y="1634874"/>
              <a:ext cx="213654" cy="22332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2</a:t>
              </a:r>
            </a:p>
          </p:txBody>
        </p:sp>
      </p:grpSp>
      <p:pic>
        <p:nvPicPr>
          <p:cNvPr id="6" name="Bilde 77" descr="Et bilde som inneholder tekst, projektor&#10;&#10;Automatisk generert beskrivelse">
            <a:extLst>
              <a:ext uri="{FF2B5EF4-FFF2-40B4-BE49-F238E27FC236}">
                <a16:creationId xmlns:a16="http://schemas.microsoft.com/office/drawing/2014/main" id="{C1CDAADC-22D7-2B3F-9DB6-91A76B0E9E7C}"/>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r="-13853"/>
          <a:stretch/>
        </p:blipFill>
        <p:spPr>
          <a:xfrm>
            <a:off x="4951234" y="1533983"/>
            <a:ext cx="1001258" cy="1025544"/>
          </a:xfrm>
          <a:prstGeom prst="rect">
            <a:avLst/>
          </a:prstGeom>
        </p:spPr>
      </p:pic>
      <p:pic>
        <p:nvPicPr>
          <p:cNvPr id="7" name="Bilde 98" descr="Et bilde som inneholder LEGO, leke&#10;&#10;Automatisk generert beskrivelse">
            <a:extLst>
              <a:ext uri="{FF2B5EF4-FFF2-40B4-BE49-F238E27FC236}">
                <a16:creationId xmlns:a16="http://schemas.microsoft.com/office/drawing/2014/main" id="{78AEEDB2-8DE7-4F03-6E60-F898A8CEDE19}"/>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9840697" y="1950548"/>
            <a:ext cx="1645285" cy="1146665"/>
          </a:xfrm>
          <a:prstGeom prst="rect">
            <a:avLst/>
          </a:prstGeom>
        </p:spPr>
      </p:pic>
      <p:sp>
        <p:nvSpPr>
          <p:cNvPr id="12" name="Rectangle 11">
            <a:extLst>
              <a:ext uri="{FF2B5EF4-FFF2-40B4-BE49-F238E27FC236}">
                <a16:creationId xmlns:a16="http://schemas.microsoft.com/office/drawing/2014/main" id="{A7B96666-6C92-4A37-25D7-DCD8FCA7EB0C}"/>
              </a:ext>
            </a:extLst>
          </p:cNvPr>
          <p:cNvSpPr/>
          <p:nvPr/>
        </p:nvSpPr>
        <p:spPr>
          <a:xfrm>
            <a:off x="2629520" y="1081910"/>
            <a:ext cx="1812820" cy="5118864"/>
          </a:xfrm>
          <a:prstGeom prst="rect">
            <a:avLst/>
          </a:prstGeom>
          <a:solidFill>
            <a:srgbClr val="F2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white"/>
              </a:solidFill>
              <a:effectLst/>
              <a:uLnTx/>
              <a:uFillTx/>
              <a:latin typeface="Arial"/>
              <a:ea typeface="+mn-ea"/>
              <a:cs typeface="+mn-cs"/>
            </a:endParaRPr>
          </a:p>
        </p:txBody>
      </p:sp>
      <p:sp>
        <p:nvSpPr>
          <p:cNvPr id="15" name="Rektangel 57">
            <a:extLst>
              <a:ext uri="{FF2B5EF4-FFF2-40B4-BE49-F238E27FC236}">
                <a16:creationId xmlns:a16="http://schemas.microsoft.com/office/drawing/2014/main" id="{130CC69D-8CC6-0DCE-E725-24A784E79581}"/>
              </a:ext>
            </a:extLst>
          </p:cNvPr>
          <p:cNvSpPr/>
          <p:nvPr/>
        </p:nvSpPr>
        <p:spPr>
          <a:xfrm>
            <a:off x="2873752" y="5164774"/>
            <a:ext cx="123194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Drive-thru</a:t>
            </a:r>
            <a:b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b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Pickup </a:t>
            </a:r>
          </a:p>
        </p:txBody>
      </p:sp>
      <p:sp>
        <p:nvSpPr>
          <p:cNvPr id="18" name="Rektangel 72">
            <a:extLst>
              <a:ext uri="{FF2B5EF4-FFF2-40B4-BE49-F238E27FC236}">
                <a16:creationId xmlns:a16="http://schemas.microsoft.com/office/drawing/2014/main" id="{492BD632-AFE5-F868-4082-EA4BBBEB3C49}"/>
              </a:ext>
            </a:extLst>
          </p:cNvPr>
          <p:cNvSpPr/>
          <p:nvPr/>
        </p:nvSpPr>
        <p:spPr>
          <a:xfrm>
            <a:off x="2873752" y="3371665"/>
            <a:ext cx="919252"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Grocery Lockers</a:t>
            </a:r>
          </a:p>
        </p:txBody>
      </p:sp>
      <p:sp>
        <p:nvSpPr>
          <p:cNvPr id="20" name="Rektangel 13">
            <a:extLst>
              <a:ext uri="{FF2B5EF4-FFF2-40B4-BE49-F238E27FC236}">
                <a16:creationId xmlns:a16="http://schemas.microsoft.com/office/drawing/2014/main" id="{954668C6-D614-FD45-0195-39EAE6C357FB}"/>
              </a:ext>
            </a:extLst>
          </p:cNvPr>
          <p:cNvSpPr/>
          <p:nvPr/>
        </p:nvSpPr>
        <p:spPr>
          <a:xfrm>
            <a:off x="2873752" y="1448994"/>
            <a:ext cx="907457" cy="4154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In-store Manual Picking</a:t>
            </a:r>
          </a:p>
        </p:txBody>
      </p:sp>
      <p:sp>
        <p:nvSpPr>
          <p:cNvPr id="30" name="Rektangel 13">
            <a:extLst>
              <a:ext uri="{FF2B5EF4-FFF2-40B4-BE49-F238E27FC236}">
                <a16:creationId xmlns:a16="http://schemas.microsoft.com/office/drawing/2014/main" id="{4116995E-396E-07F6-44EA-70C80B8F1C17}"/>
              </a:ext>
            </a:extLst>
          </p:cNvPr>
          <p:cNvSpPr/>
          <p:nvPr/>
        </p:nvSpPr>
        <p:spPr>
          <a:xfrm>
            <a:off x="2873752" y="2048159"/>
            <a:ext cx="894397" cy="4154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Dark Store Manual Picking</a:t>
            </a:r>
          </a:p>
        </p:txBody>
      </p:sp>
      <p:sp>
        <p:nvSpPr>
          <p:cNvPr id="35" name="Rektangel 72">
            <a:extLst>
              <a:ext uri="{FF2B5EF4-FFF2-40B4-BE49-F238E27FC236}">
                <a16:creationId xmlns:a16="http://schemas.microsoft.com/office/drawing/2014/main" id="{4A42D8BA-BF0E-571F-24A5-D71769F2F97C}"/>
              </a:ext>
            </a:extLst>
          </p:cNvPr>
          <p:cNvSpPr/>
          <p:nvPr/>
        </p:nvSpPr>
        <p:spPr>
          <a:xfrm>
            <a:off x="2873752" y="2731197"/>
            <a:ext cx="939308"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Automated Fulfilment  </a:t>
            </a:r>
          </a:p>
        </p:txBody>
      </p:sp>
      <p:sp>
        <p:nvSpPr>
          <p:cNvPr id="43" name="!!What">
            <a:extLst>
              <a:ext uri="{FF2B5EF4-FFF2-40B4-BE49-F238E27FC236}">
                <a16:creationId xmlns:a16="http://schemas.microsoft.com/office/drawing/2014/main" id="{28BC17CB-E64B-84D4-7763-662837B6775C}"/>
              </a:ext>
            </a:extLst>
          </p:cNvPr>
          <p:cNvSpPr txBox="1">
            <a:spLocks/>
          </p:cNvSpPr>
          <p:nvPr/>
        </p:nvSpPr>
        <p:spPr>
          <a:xfrm>
            <a:off x="2547832" y="1081910"/>
            <a:ext cx="2030700" cy="223860"/>
          </a:xfrm>
          <a:prstGeom prst="rect">
            <a:avLst/>
          </a:prstGeom>
        </p:spPr>
        <p:txBody>
          <a:bodyPr/>
          <a:lstStyle>
            <a:lvl1pPr algn="l" defTabSz="914400" rtl="0" eaLnBrk="1" latinLnBrk="0" hangingPunct="1">
              <a:lnSpc>
                <a:spcPct val="90000"/>
              </a:lnSpc>
              <a:spcBef>
                <a:spcPct val="0"/>
              </a:spcBef>
              <a:buNone/>
              <a:defRPr sz="3200" kern="1200">
                <a:solidFill>
                  <a:schemeClr val="accent5"/>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900" b="1" i="0" u="none" strike="noStrike" kern="1200" cap="none" spc="0" normalizeH="0" baseline="0" noProof="0">
                <a:ln>
                  <a:noFill/>
                </a:ln>
                <a:solidFill>
                  <a:srgbClr val="1E1E50"/>
                </a:solidFill>
                <a:effectLst/>
                <a:uLnTx/>
                <a:uFillTx/>
                <a:latin typeface="Helvetica" pitchFamily="2" charset="0"/>
                <a:ea typeface="+mj-ea"/>
                <a:cs typeface="Arial" panose="020B0604020202020204" pitchFamily="34" charset="0"/>
              </a:rPr>
              <a:t>E-Commerce</a:t>
            </a:r>
          </a:p>
        </p:txBody>
      </p:sp>
      <p:sp>
        <p:nvSpPr>
          <p:cNvPr id="131" name="Rektangel 72">
            <a:extLst>
              <a:ext uri="{FF2B5EF4-FFF2-40B4-BE49-F238E27FC236}">
                <a16:creationId xmlns:a16="http://schemas.microsoft.com/office/drawing/2014/main" id="{833F7CF4-6F88-63FD-4F56-D98AD478E329}"/>
              </a:ext>
            </a:extLst>
          </p:cNvPr>
          <p:cNvSpPr/>
          <p:nvPr/>
        </p:nvSpPr>
        <p:spPr>
          <a:xfrm>
            <a:off x="2873752" y="3959651"/>
            <a:ext cx="919252"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Ho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Delivery</a:t>
            </a:r>
          </a:p>
        </p:txBody>
      </p:sp>
      <p:sp>
        <p:nvSpPr>
          <p:cNvPr id="132" name="Rektangel 72">
            <a:extLst>
              <a:ext uri="{FF2B5EF4-FFF2-40B4-BE49-F238E27FC236}">
                <a16:creationId xmlns:a16="http://schemas.microsoft.com/office/drawing/2014/main" id="{0C63B55F-CBC3-F57E-520C-7B8CB4129C7F}"/>
              </a:ext>
            </a:extLst>
          </p:cNvPr>
          <p:cNvSpPr/>
          <p:nvPr/>
        </p:nvSpPr>
        <p:spPr>
          <a:xfrm>
            <a:off x="2873752" y="4561407"/>
            <a:ext cx="919252"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In-store</a:t>
            </a:r>
            <a:b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b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Pickup</a:t>
            </a:r>
          </a:p>
        </p:txBody>
      </p:sp>
      <p:sp>
        <p:nvSpPr>
          <p:cNvPr id="138" name="Rektangel 72">
            <a:extLst>
              <a:ext uri="{FF2B5EF4-FFF2-40B4-BE49-F238E27FC236}">
                <a16:creationId xmlns:a16="http://schemas.microsoft.com/office/drawing/2014/main" id="{5C6A4BEC-B48D-A876-3BF4-C21D35614F14}"/>
              </a:ext>
            </a:extLst>
          </p:cNvPr>
          <p:cNvSpPr/>
          <p:nvPr/>
        </p:nvSpPr>
        <p:spPr>
          <a:xfrm>
            <a:off x="8681493" y="2546347"/>
            <a:ext cx="154587" cy="16158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endParaRPr>
          </a:p>
        </p:txBody>
      </p:sp>
      <p:grpSp>
        <p:nvGrpSpPr>
          <p:cNvPr id="142" name="Group 141">
            <a:extLst>
              <a:ext uri="{FF2B5EF4-FFF2-40B4-BE49-F238E27FC236}">
                <a16:creationId xmlns:a16="http://schemas.microsoft.com/office/drawing/2014/main" id="{10BC74FA-27E5-8BBF-2987-7A0C6347A0DD}"/>
              </a:ext>
            </a:extLst>
          </p:cNvPr>
          <p:cNvGrpSpPr>
            <a:grpSpLocks noChangeAspect="1"/>
          </p:cNvGrpSpPr>
          <p:nvPr/>
        </p:nvGrpSpPr>
        <p:grpSpPr>
          <a:xfrm>
            <a:off x="10123741" y="3949513"/>
            <a:ext cx="158400" cy="166419"/>
            <a:chOff x="4068263" y="1628190"/>
            <a:chExt cx="218924" cy="230008"/>
          </a:xfrm>
        </p:grpSpPr>
        <p:sp>
          <p:nvSpPr>
            <p:cNvPr id="143" name="Oval 142">
              <a:extLst>
                <a:ext uri="{FF2B5EF4-FFF2-40B4-BE49-F238E27FC236}">
                  <a16:creationId xmlns:a16="http://schemas.microsoft.com/office/drawing/2014/main" id="{5DA0722D-4145-724E-1406-A42C3F4B2F43}"/>
                </a:ext>
              </a:extLst>
            </p:cNvPr>
            <p:cNvSpPr/>
            <p:nvPr/>
          </p:nvSpPr>
          <p:spPr>
            <a:xfrm>
              <a:off x="4068263" y="1628190"/>
              <a:ext cx="218924" cy="21892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Helvetica"/>
                <a:ea typeface="+mn-ea"/>
                <a:cs typeface="+mn-cs"/>
              </a:endParaRPr>
            </a:p>
          </p:txBody>
        </p:sp>
        <p:sp>
          <p:nvSpPr>
            <p:cNvPr id="144" name="Rektangel 72">
              <a:extLst>
                <a:ext uri="{FF2B5EF4-FFF2-40B4-BE49-F238E27FC236}">
                  <a16:creationId xmlns:a16="http://schemas.microsoft.com/office/drawing/2014/main" id="{F617C6D0-083A-159A-11B8-874A4FF51E4A}"/>
                </a:ext>
              </a:extLst>
            </p:cNvPr>
            <p:cNvSpPr/>
            <p:nvPr/>
          </p:nvSpPr>
          <p:spPr>
            <a:xfrm>
              <a:off x="4073533" y="1634874"/>
              <a:ext cx="213654" cy="22332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3</a:t>
              </a:r>
            </a:p>
          </p:txBody>
        </p:sp>
      </p:grpSp>
      <p:grpSp>
        <p:nvGrpSpPr>
          <p:cNvPr id="145" name="Group 144">
            <a:extLst>
              <a:ext uri="{FF2B5EF4-FFF2-40B4-BE49-F238E27FC236}">
                <a16:creationId xmlns:a16="http://schemas.microsoft.com/office/drawing/2014/main" id="{CB5E8DF2-1B90-B198-4115-829228D3862B}"/>
              </a:ext>
            </a:extLst>
          </p:cNvPr>
          <p:cNvGrpSpPr>
            <a:grpSpLocks noChangeAspect="1"/>
          </p:cNvGrpSpPr>
          <p:nvPr/>
        </p:nvGrpSpPr>
        <p:grpSpPr>
          <a:xfrm>
            <a:off x="8876542" y="3925693"/>
            <a:ext cx="158400" cy="166419"/>
            <a:chOff x="4068263" y="1628190"/>
            <a:chExt cx="218924" cy="230008"/>
          </a:xfrm>
        </p:grpSpPr>
        <p:sp>
          <p:nvSpPr>
            <p:cNvPr id="146" name="Oval 145">
              <a:extLst>
                <a:ext uri="{FF2B5EF4-FFF2-40B4-BE49-F238E27FC236}">
                  <a16:creationId xmlns:a16="http://schemas.microsoft.com/office/drawing/2014/main" id="{9827B806-B706-C295-9C79-2052C6305380}"/>
                </a:ext>
              </a:extLst>
            </p:cNvPr>
            <p:cNvSpPr/>
            <p:nvPr/>
          </p:nvSpPr>
          <p:spPr>
            <a:xfrm>
              <a:off x="4068263" y="1628190"/>
              <a:ext cx="218924" cy="21892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Helvetica"/>
                <a:ea typeface="+mn-ea"/>
                <a:cs typeface="+mn-cs"/>
              </a:endParaRPr>
            </a:p>
          </p:txBody>
        </p:sp>
        <p:sp>
          <p:nvSpPr>
            <p:cNvPr id="147" name="Rektangel 72">
              <a:extLst>
                <a:ext uri="{FF2B5EF4-FFF2-40B4-BE49-F238E27FC236}">
                  <a16:creationId xmlns:a16="http://schemas.microsoft.com/office/drawing/2014/main" id="{3BB8C528-3B40-AAD6-F43A-67F3A0F9E6AD}"/>
                </a:ext>
              </a:extLst>
            </p:cNvPr>
            <p:cNvSpPr/>
            <p:nvPr/>
          </p:nvSpPr>
          <p:spPr>
            <a:xfrm>
              <a:off x="4073533" y="1634874"/>
              <a:ext cx="213654" cy="22332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1</a:t>
              </a:r>
            </a:p>
          </p:txBody>
        </p:sp>
      </p:grpSp>
      <p:grpSp>
        <p:nvGrpSpPr>
          <p:cNvPr id="148" name="Group 147">
            <a:extLst>
              <a:ext uri="{FF2B5EF4-FFF2-40B4-BE49-F238E27FC236}">
                <a16:creationId xmlns:a16="http://schemas.microsoft.com/office/drawing/2014/main" id="{8C43ECCC-D76D-7839-5E50-254B2663C619}"/>
              </a:ext>
            </a:extLst>
          </p:cNvPr>
          <p:cNvGrpSpPr>
            <a:grpSpLocks noChangeAspect="1"/>
          </p:cNvGrpSpPr>
          <p:nvPr/>
        </p:nvGrpSpPr>
        <p:grpSpPr>
          <a:xfrm>
            <a:off x="9194945" y="4261797"/>
            <a:ext cx="158400" cy="166419"/>
            <a:chOff x="4068263" y="1628190"/>
            <a:chExt cx="218924" cy="230008"/>
          </a:xfrm>
        </p:grpSpPr>
        <p:sp>
          <p:nvSpPr>
            <p:cNvPr id="149" name="Oval 148">
              <a:extLst>
                <a:ext uri="{FF2B5EF4-FFF2-40B4-BE49-F238E27FC236}">
                  <a16:creationId xmlns:a16="http://schemas.microsoft.com/office/drawing/2014/main" id="{C8706A1D-A1DF-3242-16D3-4CD48DD81A11}"/>
                </a:ext>
              </a:extLst>
            </p:cNvPr>
            <p:cNvSpPr/>
            <p:nvPr/>
          </p:nvSpPr>
          <p:spPr>
            <a:xfrm>
              <a:off x="4068263" y="1628190"/>
              <a:ext cx="218924" cy="21892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Helvetica"/>
                <a:ea typeface="+mn-ea"/>
                <a:cs typeface="+mn-cs"/>
              </a:endParaRPr>
            </a:p>
          </p:txBody>
        </p:sp>
        <p:sp>
          <p:nvSpPr>
            <p:cNvPr id="150" name="Rektangel 72">
              <a:extLst>
                <a:ext uri="{FF2B5EF4-FFF2-40B4-BE49-F238E27FC236}">
                  <a16:creationId xmlns:a16="http://schemas.microsoft.com/office/drawing/2014/main" id="{5CD89204-C8C6-5631-344E-42526C1A3FA5}"/>
                </a:ext>
              </a:extLst>
            </p:cNvPr>
            <p:cNvSpPr/>
            <p:nvPr/>
          </p:nvSpPr>
          <p:spPr>
            <a:xfrm>
              <a:off x="4073533" y="1634874"/>
              <a:ext cx="213654" cy="22332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4</a:t>
              </a:r>
            </a:p>
          </p:txBody>
        </p:sp>
      </p:grpSp>
      <p:grpSp>
        <p:nvGrpSpPr>
          <p:cNvPr id="151" name="Group 150">
            <a:extLst>
              <a:ext uri="{FF2B5EF4-FFF2-40B4-BE49-F238E27FC236}">
                <a16:creationId xmlns:a16="http://schemas.microsoft.com/office/drawing/2014/main" id="{F85F83A6-1A7B-B939-F2E9-BD408C9034D9}"/>
              </a:ext>
            </a:extLst>
          </p:cNvPr>
          <p:cNvGrpSpPr>
            <a:grpSpLocks noChangeAspect="1"/>
          </p:cNvGrpSpPr>
          <p:nvPr/>
        </p:nvGrpSpPr>
        <p:grpSpPr>
          <a:xfrm>
            <a:off x="8542125" y="2407905"/>
            <a:ext cx="158403" cy="166419"/>
            <a:chOff x="4068259" y="1628190"/>
            <a:chExt cx="218928" cy="230008"/>
          </a:xfrm>
        </p:grpSpPr>
        <p:sp>
          <p:nvSpPr>
            <p:cNvPr id="152" name="Oval 151">
              <a:extLst>
                <a:ext uri="{FF2B5EF4-FFF2-40B4-BE49-F238E27FC236}">
                  <a16:creationId xmlns:a16="http://schemas.microsoft.com/office/drawing/2014/main" id="{143F0D0C-C8EA-6EB8-9AAF-ADE444E9A5F0}"/>
                </a:ext>
              </a:extLst>
            </p:cNvPr>
            <p:cNvSpPr/>
            <p:nvPr/>
          </p:nvSpPr>
          <p:spPr>
            <a:xfrm>
              <a:off x="4068259" y="1628190"/>
              <a:ext cx="218924" cy="21892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Helvetica"/>
                <a:ea typeface="+mn-ea"/>
                <a:cs typeface="+mn-cs"/>
              </a:endParaRPr>
            </a:p>
          </p:txBody>
        </p:sp>
        <p:sp>
          <p:nvSpPr>
            <p:cNvPr id="153" name="Rektangel 72">
              <a:extLst>
                <a:ext uri="{FF2B5EF4-FFF2-40B4-BE49-F238E27FC236}">
                  <a16:creationId xmlns:a16="http://schemas.microsoft.com/office/drawing/2014/main" id="{5B5F8877-DDD6-E801-5F0F-E3D7F2832248}"/>
                </a:ext>
              </a:extLst>
            </p:cNvPr>
            <p:cNvSpPr/>
            <p:nvPr/>
          </p:nvSpPr>
          <p:spPr>
            <a:xfrm>
              <a:off x="4073533" y="1634874"/>
              <a:ext cx="213654" cy="22332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9</a:t>
              </a:r>
            </a:p>
          </p:txBody>
        </p:sp>
      </p:grpSp>
      <p:grpSp>
        <p:nvGrpSpPr>
          <p:cNvPr id="160" name="Group 159">
            <a:extLst>
              <a:ext uri="{FF2B5EF4-FFF2-40B4-BE49-F238E27FC236}">
                <a16:creationId xmlns:a16="http://schemas.microsoft.com/office/drawing/2014/main" id="{7CDB62FA-5CDE-FF74-AA7A-B5C466E5E6F3}"/>
              </a:ext>
            </a:extLst>
          </p:cNvPr>
          <p:cNvGrpSpPr>
            <a:grpSpLocks noChangeAspect="1"/>
          </p:cNvGrpSpPr>
          <p:nvPr/>
        </p:nvGrpSpPr>
        <p:grpSpPr>
          <a:xfrm>
            <a:off x="4899570" y="2591354"/>
            <a:ext cx="435145" cy="193826"/>
            <a:chOff x="3454418" y="2363790"/>
            <a:chExt cx="491487" cy="218924"/>
          </a:xfrm>
        </p:grpSpPr>
        <p:sp>
          <p:nvSpPr>
            <p:cNvPr id="161" name="Oval 160">
              <a:extLst>
                <a:ext uri="{FF2B5EF4-FFF2-40B4-BE49-F238E27FC236}">
                  <a16:creationId xmlns:a16="http://schemas.microsoft.com/office/drawing/2014/main" id="{BD0CAA59-539B-3225-A2C8-3E3D74384709}"/>
                </a:ext>
              </a:extLst>
            </p:cNvPr>
            <p:cNvSpPr/>
            <p:nvPr/>
          </p:nvSpPr>
          <p:spPr>
            <a:xfrm>
              <a:off x="3595066" y="2363790"/>
              <a:ext cx="218923" cy="21892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Helvetica"/>
                <a:ea typeface="+mn-ea"/>
                <a:cs typeface="+mn-cs"/>
              </a:endParaRPr>
            </a:p>
          </p:txBody>
        </p:sp>
        <p:sp>
          <p:nvSpPr>
            <p:cNvPr id="162" name="Rektangel 72">
              <a:extLst>
                <a:ext uri="{FF2B5EF4-FFF2-40B4-BE49-F238E27FC236}">
                  <a16:creationId xmlns:a16="http://schemas.microsoft.com/office/drawing/2014/main" id="{04ADA5C3-FA0C-0152-631C-A581889D89C1}"/>
                </a:ext>
              </a:extLst>
            </p:cNvPr>
            <p:cNvSpPr/>
            <p:nvPr/>
          </p:nvSpPr>
          <p:spPr>
            <a:xfrm>
              <a:off x="3454418" y="2403270"/>
              <a:ext cx="491487" cy="17381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12</a:t>
              </a:r>
            </a:p>
          </p:txBody>
        </p:sp>
      </p:grpSp>
      <p:grpSp>
        <p:nvGrpSpPr>
          <p:cNvPr id="163" name="Group 162">
            <a:extLst>
              <a:ext uri="{FF2B5EF4-FFF2-40B4-BE49-F238E27FC236}">
                <a16:creationId xmlns:a16="http://schemas.microsoft.com/office/drawing/2014/main" id="{481F2058-2C7A-AB5F-8DF2-744495A2D1AF}"/>
              </a:ext>
            </a:extLst>
          </p:cNvPr>
          <p:cNvGrpSpPr>
            <a:grpSpLocks noChangeAspect="1"/>
          </p:cNvGrpSpPr>
          <p:nvPr/>
        </p:nvGrpSpPr>
        <p:grpSpPr>
          <a:xfrm>
            <a:off x="5513297" y="4428844"/>
            <a:ext cx="435145" cy="193826"/>
            <a:chOff x="3754179" y="1628190"/>
            <a:chExt cx="491487" cy="218924"/>
          </a:xfrm>
        </p:grpSpPr>
        <p:sp>
          <p:nvSpPr>
            <p:cNvPr id="164" name="Oval 163">
              <a:extLst>
                <a:ext uri="{FF2B5EF4-FFF2-40B4-BE49-F238E27FC236}">
                  <a16:creationId xmlns:a16="http://schemas.microsoft.com/office/drawing/2014/main" id="{D010D4F6-74E7-458A-3284-907C31923DB7}"/>
                </a:ext>
              </a:extLst>
            </p:cNvPr>
            <p:cNvSpPr/>
            <p:nvPr/>
          </p:nvSpPr>
          <p:spPr>
            <a:xfrm>
              <a:off x="3897985" y="1628190"/>
              <a:ext cx="218924" cy="21892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Helvetica"/>
                <a:ea typeface="+mn-ea"/>
                <a:cs typeface="+mn-cs"/>
              </a:endParaRPr>
            </a:p>
          </p:txBody>
        </p:sp>
        <p:sp>
          <p:nvSpPr>
            <p:cNvPr id="165" name="Rektangel 72">
              <a:extLst>
                <a:ext uri="{FF2B5EF4-FFF2-40B4-BE49-F238E27FC236}">
                  <a16:creationId xmlns:a16="http://schemas.microsoft.com/office/drawing/2014/main" id="{C73C4052-66AD-056B-1D75-9E9D3A96DC95}"/>
                </a:ext>
              </a:extLst>
            </p:cNvPr>
            <p:cNvSpPr/>
            <p:nvPr/>
          </p:nvSpPr>
          <p:spPr>
            <a:xfrm>
              <a:off x="3754179" y="1660982"/>
              <a:ext cx="491487" cy="17381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13</a:t>
              </a:r>
            </a:p>
          </p:txBody>
        </p:sp>
      </p:grpSp>
      <p:grpSp>
        <p:nvGrpSpPr>
          <p:cNvPr id="166" name="Group 165">
            <a:extLst>
              <a:ext uri="{FF2B5EF4-FFF2-40B4-BE49-F238E27FC236}">
                <a16:creationId xmlns:a16="http://schemas.microsoft.com/office/drawing/2014/main" id="{62A4E5F2-5342-B689-19ED-204F29A73BCC}"/>
              </a:ext>
            </a:extLst>
          </p:cNvPr>
          <p:cNvGrpSpPr>
            <a:grpSpLocks noChangeAspect="1"/>
          </p:cNvGrpSpPr>
          <p:nvPr/>
        </p:nvGrpSpPr>
        <p:grpSpPr>
          <a:xfrm>
            <a:off x="8177471" y="4153598"/>
            <a:ext cx="435145" cy="193826"/>
            <a:chOff x="3744342" y="1628190"/>
            <a:chExt cx="491487" cy="218924"/>
          </a:xfrm>
        </p:grpSpPr>
        <p:sp>
          <p:nvSpPr>
            <p:cNvPr id="167" name="Oval 166">
              <a:extLst>
                <a:ext uri="{FF2B5EF4-FFF2-40B4-BE49-F238E27FC236}">
                  <a16:creationId xmlns:a16="http://schemas.microsoft.com/office/drawing/2014/main" id="{FEF29B81-8A4E-3BAC-9A98-B571F6A6B3C1}"/>
                </a:ext>
              </a:extLst>
            </p:cNvPr>
            <p:cNvSpPr/>
            <p:nvPr/>
          </p:nvSpPr>
          <p:spPr>
            <a:xfrm>
              <a:off x="3897985" y="1628190"/>
              <a:ext cx="218924" cy="21892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Helvetica"/>
                <a:ea typeface="+mn-ea"/>
                <a:cs typeface="+mn-cs"/>
              </a:endParaRPr>
            </a:p>
          </p:txBody>
        </p:sp>
        <p:sp>
          <p:nvSpPr>
            <p:cNvPr id="168" name="Rektangel 72">
              <a:extLst>
                <a:ext uri="{FF2B5EF4-FFF2-40B4-BE49-F238E27FC236}">
                  <a16:creationId xmlns:a16="http://schemas.microsoft.com/office/drawing/2014/main" id="{EC717299-E9E5-BD4A-6F3A-2D79B66CA755}"/>
                </a:ext>
              </a:extLst>
            </p:cNvPr>
            <p:cNvSpPr/>
            <p:nvPr/>
          </p:nvSpPr>
          <p:spPr>
            <a:xfrm>
              <a:off x="3744342" y="1660982"/>
              <a:ext cx="491487" cy="17381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14</a:t>
              </a:r>
            </a:p>
          </p:txBody>
        </p:sp>
      </p:grpSp>
      <p:grpSp>
        <p:nvGrpSpPr>
          <p:cNvPr id="169" name="Group 168">
            <a:extLst>
              <a:ext uri="{FF2B5EF4-FFF2-40B4-BE49-F238E27FC236}">
                <a16:creationId xmlns:a16="http://schemas.microsoft.com/office/drawing/2014/main" id="{F896544A-CD35-E19E-D92C-06729F6C19C9}"/>
              </a:ext>
            </a:extLst>
          </p:cNvPr>
          <p:cNvGrpSpPr>
            <a:grpSpLocks noChangeAspect="1"/>
          </p:cNvGrpSpPr>
          <p:nvPr/>
        </p:nvGrpSpPr>
        <p:grpSpPr>
          <a:xfrm>
            <a:off x="6436403" y="5337109"/>
            <a:ext cx="435145" cy="193826"/>
            <a:chOff x="3754179" y="1628190"/>
            <a:chExt cx="491487" cy="218924"/>
          </a:xfrm>
        </p:grpSpPr>
        <p:sp>
          <p:nvSpPr>
            <p:cNvPr id="170" name="Oval 169">
              <a:extLst>
                <a:ext uri="{FF2B5EF4-FFF2-40B4-BE49-F238E27FC236}">
                  <a16:creationId xmlns:a16="http://schemas.microsoft.com/office/drawing/2014/main" id="{CE38CE54-CF78-9AF1-0622-0733CA1D2E7E}"/>
                </a:ext>
              </a:extLst>
            </p:cNvPr>
            <p:cNvSpPr/>
            <p:nvPr/>
          </p:nvSpPr>
          <p:spPr>
            <a:xfrm>
              <a:off x="3897985" y="1628190"/>
              <a:ext cx="218924" cy="21892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Helvetica"/>
                <a:ea typeface="+mn-ea"/>
                <a:cs typeface="+mn-cs"/>
              </a:endParaRPr>
            </a:p>
          </p:txBody>
        </p:sp>
        <p:sp>
          <p:nvSpPr>
            <p:cNvPr id="171" name="Rektangel 72">
              <a:extLst>
                <a:ext uri="{FF2B5EF4-FFF2-40B4-BE49-F238E27FC236}">
                  <a16:creationId xmlns:a16="http://schemas.microsoft.com/office/drawing/2014/main" id="{5C45F700-A7BA-5F3A-A452-5E73ED220F8F}"/>
                </a:ext>
              </a:extLst>
            </p:cNvPr>
            <p:cNvSpPr/>
            <p:nvPr/>
          </p:nvSpPr>
          <p:spPr>
            <a:xfrm>
              <a:off x="3754179" y="1660982"/>
              <a:ext cx="491487" cy="17381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15</a:t>
              </a:r>
            </a:p>
          </p:txBody>
        </p:sp>
      </p:grpSp>
      <p:sp>
        <p:nvSpPr>
          <p:cNvPr id="36" name="Rektangel 74">
            <a:extLst>
              <a:ext uri="{FF2B5EF4-FFF2-40B4-BE49-F238E27FC236}">
                <a16:creationId xmlns:a16="http://schemas.microsoft.com/office/drawing/2014/main" id="{95D1D438-6799-86AE-DD5D-3294F2D30C81}"/>
              </a:ext>
            </a:extLst>
          </p:cNvPr>
          <p:cNvSpPr/>
          <p:nvPr/>
        </p:nvSpPr>
        <p:spPr>
          <a:xfrm>
            <a:off x="1142737" y="3918609"/>
            <a:ext cx="880183"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err="1">
                <a:ln>
                  <a:noFill/>
                </a:ln>
                <a:solidFill>
                  <a:srgbClr val="1E1E50"/>
                </a:solidFill>
                <a:effectLst/>
                <a:uLnTx/>
                <a:uFillTx/>
                <a:latin typeface="Helvetica Light" panose="020B0403020202020204" pitchFamily="34" charset="0"/>
                <a:ea typeface="+mn-ea"/>
                <a:cs typeface="Arial" panose="020B0604020202020204" pitchFamily="34" charset="0"/>
              </a:rPr>
              <a:t>ShopFlow</a:t>
            </a: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 Logistics</a:t>
            </a:r>
            <a:endParaRPr kumimoji="0" lang="en-GB" sz="900" b="1" i="0" u="none" strike="noStrike" kern="1200" cap="none" spc="0" normalizeH="0" baseline="0" noProof="0">
              <a:ln>
                <a:noFill/>
              </a:ln>
              <a:solidFill>
                <a:srgbClr val="2832DC"/>
              </a:solidFill>
              <a:effectLst/>
              <a:uLnTx/>
              <a:uFillTx/>
              <a:latin typeface="Helvetica" pitchFamily="2" charset="0"/>
              <a:ea typeface="+mn-ea"/>
              <a:cs typeface="Arial" panose="020B0604020202020204" pitchFamily="34" charset="0"/>
            </a:endParaRPr>
          </a:p>
        </p:txBody>
      </p:sp>
      <p:grpSp>
        <p:nvGrpSpPr>
          <p:cNvPr id="41" name="Group 40">
            <a:extLst>
              <a:ext uri="{FF2B5EF4-FFF2-40B4-BE49-F238E27FC236}">
                <a16:creationId xmlns:a16="http://schemas.microsoft.com/office/drawing/2014/main" id="{E78B318C-0488-E6DA-BFB9-3FF7C80C8B89}"/>
              </a:ext>
            </a:extLst>
          </p:cNvPr>
          <p:cNvGrpSpPr>
            <a:grpSpLocks noChangeAspect="1"/>
          </p:cNvGrpSpPr>
          <p:nvPr/>
        </p:nvGrpSpPr>
        <p:grpSpPr>
          <a:xfrm>
            <a:off x="6184077" y="3684211"/>
            <a:ext cx="158400" cy="166419"/>
            <a:chOff x="4068263" y="1628190"/>
            <a:chExt cx="218924" cy="230008"/>
          </a:xfrm>
        </p:grpSpPr>
        <p:sp>
          <p:nvSpPr>
            <p:cNvPr id="42" name="Oval 41">
              <a:extLst>
                <a:ext uri="{FF2B5EF4-FFF2-40B4-BE49-F238E27FC236}">
                  <a16:creationId xmlns:a16="http://schemas.microsoft.com/office/drawing/2014/main" id="{7CBF95A0-0D08-9B93-B71D-81E4EF8AB996}"/>
                </a:ext>
              </a:extLst>
            </p:cNvPr>
            <p:cNvSpPr/>
            <p:nvPr/>
          </p:nvSpPr>
          <p:spPr>
            <a:xfrm>
              <a:off x="4068263" y="1628190"/>
              <a:ext cx="218924" cy="21892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Helvetica"/>
                <a:ea typeface="+mn-ea"/>
                <a:cs typeface="+mn-cs"/>
              </a:endParaRPr>
            </a:p>
          </p:txBody>
        </p:sp>
        <p:sp>
          <p:nvSpPr>
            <p:cNvPr id="45" name="Rektangel 72">
              <a:extLst>
                <a:ext uri="{FF2B5EF4-FFF2-40B4-BE49-F238E27FC236}">
                  <a16:creationId xmlns:a16="http://schemas.microsoft.com/office/drawing/2014/main" id="{DB321380-CF11-FA5A-2542-49AA11616A1A}"/>
                </a:ext>
              </a:extLst>
            </p:cNvPr>
            <p:cNvSpPr/>
            <p:nvPr/>
          </p:nvSpPr>
          <p:spPr>
            <a:xfrm>
              <a:off x="4073533" y="1634874"/>
              <a:ext cx="213654" cy="22332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5</a:t>
              </a:r>
            </a:p>
          </p:txBody>
        </p:sp>
      </p:grpSp>
      <p:pic>
        <p:nvPicPr>
          <p:cNvPr id="9" name="Bilde 41" descr="Et bilde som inneholder leke&#10;&#10;Automatisk generert beskrivelse">
            <a:extLst>
              <a:ext uri="{FF2B5EF4-FFF2-40B4-BE49-F238E27FC236}">
                <a16:creationId xmlns:a16="http://schemas.microsoft.com/office/drawing/2014/main" id="{31F19CBC-8F9A-1CEF-49B0-65127D115C18}"/>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847337" y="3207697"/>
            <a:ext cx="672763" cy="571538"/>
          </a:xfrm>
          <a:prstGeom prst="rect">
            <a:avLst/>
          </a:prstGeom>
        </p:spPr>
      </p:pic>
      <p:pic>
        <p:nvPicPr>
          <p:cNvPr id="37" name="Bilde 43" descr="Et bilde som inneholder tekst&#10;&#10;Automatisk generert beskrivelse">
            <a:extLst>
              <a:ext uri="{FF2B5EF4-FFF2-40B4-BE49-F238E27FC236}">
                <a16:creationId xmlns:a16="http://schemas.microsoft.com/office/drawing/2014/main" id="{32DDAA8B-8B43-34BF-E503-2AC3A1D57BA4}"/>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1757545" y="2061328"/>
            <a:ext cx="802360" cy="423468"/>
          </a:xfrm>
          <a:prstGeom prst="rect">
            <a:avLst/>
          </a:prstGeom>
        </p:spPr>
      </p:pic>
      <p:grpSp>
        <p:nvGrpSpPr>
          <p:cNvPr id="21" name="Group 20">
            <a:extLst>
              <a:ext uri="{FF2B5EF4-FFF2-40B4-BE49-F238E27FC236}">
                <a16:creationId xmlns:a16="http://schemas.microsoft.com/office/drawing/2014/main" id="{F557B754-8A3F-EC0B-C334-380DE93A190A}"/>
              </a:ext>
            </a:extLst>
          </p:cNvPr>
          <p:cNvGrpSpPr/>
          <p:nvPr/>
        </p:nvGrpSpPr>
        <p:grpSpPr>
          <a:xfrm>
            <a:off x="1921453" y="3835234"/>
            <a:ext cx="596844" cy="452197"/>
            <a:chOff x="3868914" y="1468902"/>
            <a:chExt cx="992588" cy="752031"/>
          </a:xfrm>
        </p:grpSpPr>
        <p:pic>
          <p:nvPicPr>
            <p:cNvPr id="10" name="Bilde 3">
              <a:extLst>
                <a:ext uri="{FF2B5EF4-FFF2-40B4-BE49-F238E27FC236}">
                  <a16:creationId xmlns:a16="http://schemas.microsoft.com/office/drawing/2014/main" id="{AF41E1F8-7F52-3557-6679-CD065205BB75}"/>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3868914" y="1526336"/>
              <a:ext cx="472524" cy="643632"/>
            </a:xfrm>
            <a:prstGeom prst="rect">
              <a:avLst/>
            </a:prstGeom>
          </p:spPr>
        </p:pic>
        <p:pic>
          <p:nvPicPr>
            <p:cNvPr id="17" name="Bilde 4">
              <a:extLst>
                <a:ext uri="{FF2B5EF4-FFF2-40B4-BE49-F238E27FC236}">
                  <a16:creationId xmlns:a16="http://schemas.microsoft.com/office/drawing/2014/main" id="{F479FBB6-2C43-A330-4890-D01D2E1C91D5}"/>
                </a:ext>
              </a:extLst>
            </p:cNvPr>
            <p:cNvPicPr>
              <a:picLocks noChangeAspect="1"/>
            </p:cNvPicPr>
            <p:nvPr/>
          </p:nvPicPr>
          <p:blipFill rotWithShape="1">
            <a:blip r:embed="rId18" cstate="email">
              <a:extLst>
                <a:ext uri="{28A0092B-C50C-407E-A947-70E740481C1C}">
                  <a14:useLocalDpi xmlns:a14="http://schemas.microsoft.com/office/drawing/2010/main"/>
                </a:ext>
              </a:extLst>
            </a:blip>
            <a:srcRect/>
            <a:stretch/>
          </p:blipFill>
          <p:spPr>
            <a:xfrm>
              <a:off x="4129799" y="1468902"/>
              <a:ext cx="731703" cy="752031"/>
            </a:xfrm>
            <a:prstGeom prst="rect">
              <a:avLst/>
            </a:prstGeom>
          </p:spPr>
        </p:pic>
      </p:grpSp>
      <p:grpSp>
        <p:nvGrpSpPr>
          <p:cNvPr id="4" name="Group 3">
            <a:extLst>
              <a:ext uri="{FF2B5EF4-FFF2-40B4-BE49-F238E27FC236}">
                <a16:creationId xmlns:a16="http://schemas.microsoft.com/office/drawing/2014/main" id="{E167BCFA-2C9D-38E8-6B36-4665AB198FC4}"/>
              </a:ext>
            </a:extLst>
          </p:cNvPr>
          <p:cNvGrpSpPr/>
          <p:nvPr/>
        </p:nvGrpSpPr>
        <p:grpSpPr>
          <a:xfrm>
            <a:off x="8300872" y="1151383"/>
            <a:ext cx="2185717" cy="1339549"/>
            <a:chOff x="1110564" y="271980"/>
            <a:chExt cx="10302502" cy="6314040"/>
          </a:xfrm>
        </p:grpSpPr>
        <p:pic>
          <p:nvPicPr>
            <p:cNvPr id="56" name="Bilde 3" descr="Et bilde som inneholder elektronikk, leke&#10;&#10;Automatisk generert beskrivelse">
              <a:extLst>
                <a:ext uri="{FF2B5EF4-FFF2-40B4-BE49-F238E27FC236}">
                  <a16:creationId xmlns:a16="http://schemas.microsoft.com/office/drawing/2014/main" id="{83DD955D-D991-975C-C231-935384D96A97}"/>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110564" y="271980"/>
              <a:ext cx="10302502" cy="6314040"/>
            </a:xfrm>
            <a:prstGeom prst="rect">
              <a:avLst/>
            </a:prstGeom>
          </p:spPr>
        </p:pic>
        <p:pic>
          <p:nvPicPr>
            <p:cNvPr id="57" name="Bilde 5" descr="Et bilde som inneholder hjul, dekk, Landkjøretøy, kjøretøy&#10;&#10;Automatisk generert beskrivelse">
              <a:extLst>
                <a:ext uri="{FF2B5EF4-FFF2-40B4-BE49-F238E27FC236}">
                  <a16:creationId xmlns:a16="http://schemas.microsoft.com/office/drawing/2014/main" id="{72FCC28A-0F79-1F90-EE3D-BDB8DEE97FE8}"/>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4667422" y="2242065"/>
              <a:ext cx="668130" cy="587632"/>
            </a:xfrm>
            <a:prstGeom prst="rect">
              <a:avLst/>
            </a:prstGeom>
          </p:spPr>
        </p:pic>
      </p:grpSp>
      <p:grpSp>
        <p:nvGrpSpPr>
          <p:cNvPr id="58" name="Group 57">
            <a:extLst>
              <a:ext uri="{FF2B5EF4-FFF2-40B4-BE49-F238E27FC236}">
                <a16:creationId xmlns:a16="http://schemas.microsoft.com/office/drawing/2014/main" id="{2F145703-A665-5BF3-55BB-F620D1F092BE}"/>
              </a:ext>
            </a:extLst>
          </p:cNvPr>
          <p:cNvGrpSpPr/>
          <p:nvPr/>
        </p:nvGrpSpPr>
        <p:grpSpPr>
          <a:xfrm>
            <a:off x="3575569" y="2630659"/>
            <a:ext cx="779592" cy="477785"/>
            <a:chOff x="1110564" y="271980"/>
            <a:chExt cx="10302502" cy="6314040"/>
          </a:xfrm>
        </p:grpSpPr>
        <p:pic>
          <p:nvPicPr>
            <p:cNvPr id="59" name="Bilde 3" descr="Et bilde som inneholder elektronikk, leke&#10;&#10;Automatisk generert beskrivelse">
              <a:extLst>
                <a:ext uri="{FF2B5EF4-FFF2-40B4-BE49-F238E27FC236}">
                  <a16:creationId xmlns:a16="http://schemas.microsoft.com/office/drawing/2014/main" id="{26269CBC-908F-6030-485A-FFFB50BAB2C6}"/>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110564" y="271980"/>
              <a:ext cx="10302502" cy="6314040"/>
            </a:xfrm>
            <a:prstGeom prst="rect">
              <a:avLst/>
            </a:prstGeom>
          </p:spPr>
        </p:pic>
        <p:pic>
          <p:nvPicPr>
            <p:cNvPr id="64" name="Bilde 5" descr="Et bilde som inneholder hjul, dekk, Landkjøretøy, kjøretøy&#10;&#10;Automatisk generert beskrivelse">
              <a:extLst>
                <a:ext uri="{FF2B5EF4-FFF2-40B4-BE49-F238E27FC236}">
                  <a16:creationId xmlns:a16="http://schemas.microsoft.com/office/drawing/2014/main" id="{5741C08B-350A-9261-529F-C79200A39E3E}"/>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4667422" y="2242065"/>
              <a:ext cx="668130" cy="587632"/>
            </a:xfrm>
            <a:prstGeom prst="rect">
              <a:avLst/>
            </a:prstGeom>
          </p:spPr>
        </p:pic>
      </p:grpSp>
      <p:pic>
        <p:nvPicPr>
          <p:cNvPr id="98" name="Bilde 3" descr="Et bilde som inneholder skjermbilde, design, illustrasjon&#10;&#10;Automatisk generert beskrivelse">
            <a:extLst>
              <a:ext uri="{FF2B5EF4-FFF2-40B4-BE49-F238E27FC236}">
                <a16:creationId xmlns:a16="http://schemas.microsoft.com/office/drawing/2014/main" id="{C7C5FF63-94DF-EB1F-8031-6DB43283EAA6}"/>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995353" y="5142412"/>
            <a:ext cx="529980" cy="359007"/>
          </a:xfrm>
          <a:prstGeom prst="rect">
            <a:avLst/>
          </a:prstGeom>
        </p:spPr>
      </p:pic>
      <p:sp>
        <p:nvSpPr>
          <p:cNvPr id="99" name="Rektangel 57">
            <a:extLst>
              <a:ext uri="{FF2B5EF4-FFF2-40B4-BE49-F238E27FC236}">
                <a16:creationId xmlns:a16="http://schemas.microsoft.com/office/drawing/2014/main" id="{52918F8C-8AFE-58ED-8B8C-1E4B74FC1D41}"/>
              </a:ext>
            </a:extLst>
          </p:cNvPr>
          <p:cNvSpPr/>
          <p:nvPr/>
        </p:nvSpPr>
        <p:spPr>
          <a:xfrm>
            <a:off x="2873752" y="5721783"/>
            <a:ext cx="1439262" cy="4154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Warehouse</a:t>
            </a:r>
            <a:b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b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Management</a:t>
            </a:r>
            <a:b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b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System</a:t>
            </a:r>
          </a:p>
        </p:txBody>
      </p:sp>
      <p:grpSp>
        <p:nvGrpSpPr>
          <p:cNvPr id="104" name="Group 103">
            <a:extLst>
              <a:ext uri="{FF2B5EF4-FFF2-40B4-BE49-F238E27FC236}">
                <a16:creationId xmlns:a16="http://schemas.microsoft.com/office/drawing/2014/main" id="{39710537-0FC2-12E1-D1E6-8A3739823DF6}"/>
              </a:ext>
            </a:extLst>
          </p:cNvPr>
          <p:cNvGrpSpPr>
            <a:grpSpLocks noChangeAspect="1"/>
          </p:cNvGrpSpPr>
          <p:nvPr/>
        </p:nvGrpSpPr>
        <p:grpSpPr>
          <a:xfrm>
            <a:off x="9819823" y="1390516"/>
            <a:ext cx="435145" cy="193826"/>
            <a:chOff x="3754179" y="1628190"/>
            <a:chExt cx="491487" cy="218924"/>
          </a:xfrm>
        </p:grpSpPr>
        <p:sp>
          <p:nvSpPr>
            <p:cNvPr id="106" name="Oval 105">
              <a:extLst>
                <a:ext uri="{FF2B5EF4-FFF2-40B4-BE49-F238E27FC236}">
                  <a16:creationId xmlns:a16="http://schemas.microsoft.com/office/drawing/2014/main" id="{B70DE7B4-8DEF-9797-2C4B-2634B5F6F8FC}"/>
                </a:ext>
              </a:extLst>
            </p:cNvPr>
            <p:cNvSpPr/>
            <p:nvPr/>
          </p:nvSpPr>
          <p:spPr>
            <a:xfrm>
              <a:off x="3897985" y="1628190"/>
              <a:ext cx="218924" cy="21892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Helvetica"/>
                <a:ea typeface="+mn-ea"/>
                <a:cs typeface="+mn-cs"/>
              </a:endParaRPr>
            </a:p>
          </p:txBody>
        </p:sp>
        <p:sp>
          <p:nvSpPr>
            <p:cNvPr id="107" name="Rektangel 72">
              <a:extLst>
                <a:ext uri="{FF2B5EF4-FFF2-40B4-BE49-F238E27FC236}">
                  <a16:creationId xmlns:a16="http://schemas.microsoft.com/office/drawing/2014/main" id="{EBD7C0B5-5F96-37EB-2F29-15E663403D3A}"/>
                </a:ext>
              </a:extLst>
            </p:cNvPr>
            <p:cNvSpPr/>
            <p:nvPr/>
          </p:nvSpPr>
          <p:spPr>
            <a:xfrm>
              <a:off x="3754179" y="1660982"/>
              <a:ext cx="491487" cy="17381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16</a:t>
              </a:r>
            </a:p>
          </p:txBody>
        </p:sp>
      </p:grpSp>
      <p:pic>
        <p:nvPicPr>
          <p:cNvPr id="108" name="Picture 107">
            <a:extLst>
              <a:ext uri="{FF2B5EF4-FFF2-40B4-BE49-F238E27FC236}">
                <a16:creationId xmlns:a16="http://schemas.microsoft.com/office/drawing/2014/main" id="{201EB66D-0C51-18A4-75A8-3F17309C585C}"/>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3697037" y="5658135"/>
            <a:ext cx="606995" cy="493888"/>
          </a:xfrm>
          <a:prstGeom prst="rect">
            <a:avLst/>
          </a:prstGeom>
        </p:spPr>
      </p:pic>
      <p:grpSp>
        <p:nvGrpSpPr>
          <p:cNvPr id="46" name="Group 45">
            <a:extLst>
              <a:ext uri="{FF2B5EF4-FFF2-40B4-BE49-F238E27FC236}">
                <a16:creationId xmlns:a16="http://schemas.microsoft.com/office/drawing/2014/main" id="{B28AE4DA-4A7B-4413-4B0B-8D8501D55AD1}"/>
              </a:ext>
            </a:extLst>
          </p:cNvPr>
          <p:cNvGrpSpPr>
            <a:grpSpLocks noChangeAspect="1"/>
          </p:cNvGrpSpPr>
          <p:nvPr/>
        </p:nvGrpSpPr>
        <p:grpSpPr>
          <a:xfrm>
            <a:off x="8374489" y="1500037"/>
            <a:ext cx="435145" cy="193826"/>
            <a:chOff x="3754179" y="1628190"/>
            <a:chExt cx="491487" cy="218924"/>
          </a:xfrm>
        </p:grpSpPr>
        <p:sp>
          <p:nvSpPr>
            <p:cNvPr id="47" name="Oval 46">
              <a:extLst>
                <a:ext uri="{FF2B5EF4-FFF2-40B4-BE49-F238E27FC236}">
                  <a16:creationId xmlns:a16="http://schemas.microsoft.com/office/drawing/2014/main" id="{03AF302D-19CE-FB1F-986D-6CD97A0439A1}"/>
                </a:ext>
              </a:extLst>
            </p:cNvPr>
            <p:cNvSpPr/>
            <p:nvPr/>
          </p:nvSpPr>
          <p:spPr>
            <a:xfrm>
              <a:off x="3897985" y="1628190"/>
              <a:ext cx="218924" cy="21892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Helvetica"/>
                <a:ea typeface="+mn-ea"/>
                <a:cs typeface="+mn-cs"/>
              </a:endParaRPr>
            </a:p>
          </p:txBody>
        </p:sp>
        <p:sp>
          <p:nvSpPr>
            <p:cNvPr id="48" name="Rektangel 72">
              <a:extLst>
                <a:ext uri="{FF2B5EF4-FFF2-40B4-BE49-F238E27FC236}">
                  <a16:creationId xmlns:a16="http://schemas.microsoft.com/office/drawing/2014/main" id="{F19F9C74-2957-3C1F-DA90-BAF92E03FAD5}"/>
                </a:ext>
              </a:extLst>
            </p:cNvPr>
            <p:cNvSpPr/>
            <p:nvPr/>
          </p:nvSpPr>
          <p:spPr>
            <a:xfrm>
              <a:off x="3754179" y="1660982"/>
              <a:ext cx="491487" cy="17381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11</a:t>
              </a:r>
            </a:p>
          </p:txBody>
        </p:sp>
      </p:grpSp>
      <p:grpSp>
        <p:nvGrpSpPr>
          <p:cNvPr id="249" name="Group 248">
            <a:extLst>
              <a:ext uri="{FF2B5EF4-FFF2-40B4-BE49-F238E27FC236}">
                <a16:creationId xmlns:a16="http://schemas.microsoft.com/office/drawing/2014/main" id="{F2C3D866-AB30-E3D0-81DE-BE6055A9E855}"/>
              </a:ext>
            </a:extLst>
          </p:cNvPr>
          <p:cNvGrpSpPr/>
          <p:nvPr/>
        </p:nvGrpSpPr>
        <p:grpSpPr>
          <a:xfrm>
            <a:off x="839586" y="1338426"/>
            <a:ext cx="1709238" cy="4265184"/>
            <a:chOff x="581891" y="1338426"/>
            <a:chExt cx="4021938" cy="4265184"/>
          </a:xfrm>
        </p:grpSpPr>
        <p:cxnSp>
          <p:nvCxnSpPr>
            <p:cNvPr id="158" name="Straight Connector 157">
              <a:extLst>
                <a:ext uri="{FF2B5EF4-FFF2-40B4-BE49-F238E27FC236}">
                  <a16:creationId xmlns:a16="http://schemas.microsoft.com/office/drawing/2014/main" id="{1FC5D6DF-4976-A606-F5D7-E7A7A93769A0}"/>
                </a:ext>
              </a:extLst>
            </p:cNvPr>
            <p:cNvCxnSpPr/>
            <p:nvPr/>
          </p:nvCxnSpPr>
          <p:spPr>
            <a:xfrm>
              <a:off x="581891" y="2557050"/>
              <a:ext cx="4021938"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48" name="Group 247">
              <a:extLst>
                <a:ext uri="{FF2B5EF4-FFF2-40B4-BE49-F238E27FC236}">
                  <a16:creationId xmlns:a16="http://schemas.microsoft.com/office/drawing/2014/main" id="{8ECF6CC4-A622-A956-A60D-65664BED4047}"/>
                </a:ext>
              </a:extLst>
            </p:cNvPr>
            <p:cNvGrpSpPr/>
            <p:nvPr/>
          </p:nvGrpSpPr>
          <p:grpSpPr>
            <a:xfrm>
              <a:off x="581891" y="1338426"/>
              <a:ext cx="4021938" cy="4265184"/>
              <a:chOff x="581891" y="1338426"/>
              <a:chExt cx="4021938" cy="4265184"/>
            </a:xfrm>
          </p:grpSpPr>
          <p:cxnSp>
            <p:nvCxnSpPr>
              <p:cNvPr id="135" name="Straight Connector 134">
                <a:extLst>
                  <a:ext uri="{FF2B5EF4-FFF2-40B4-BE49-F238E27FC236}">
                    <a16:creationId xmlns:a16="http://schemas.microsoft.com/office/drawing/2014/main" id="{2FDB052F-EC50-D3F1-3914-81A191D42643}"/>
                  </a:ext>
                </a:extLst>
              </p:cNvPr>
              <p:cNvCxnSpPr/>
              <p:nvPr/>
            </p:nvCxnSpPr>
            <p:spPr>
              <a:xfrm>
                <a:off x="581891" y="1338426"/>
                <a:ext cx="402193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45BC2B62-84ED-0A9B-3510-4D29A4B19D1B}"/>
                  </a:ext>
                </a:extLst>
              </p:cNvPr>
              <p:cNvCxnSpPr/>
              <p:nvPr/>
            </p:nvCxnSpPr>
            <p:spPr>
              <a:xfrm>
                <a:off x="581891" y="1947738"/>
                <a:ext cx="402193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2004E660-32AA-8E03-353E-E85F80815BA0}"/>
                  </a:ext>
                </a:extLst>
              </p:cNvPr>
              <p:cNvCxnSpPr/>
              <p:nvPr/>
            </p:nvCxnSpPr>
            <p:spPr>
              <a:xfrm>
                <a:off x="581891" y="3166362"/>
                <a:ext cx="402193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0E4E0522-73C8-1343-7591-53E0E1132EA2}"/>
                  </a:ext>
                </a:extLst>
              </p:cNvPr>
              <p:cNvCxnSpPr/>
              <p:nvPr/>
            </p:nvCxnSpPr>
            <p:spPr>
              <a:xfrm>
                <a:off x="581891" y="3775674"/>
                <a:ext cx="402193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A37F0CB6-6917-181D-4082-F3EAA603A6A3}"/>
                  </a:ext>
                </a:extLst>
              </p:cNvPr>
              <p:cNvCxnSpPr/>
              <p:nvPr/>
            </p:nvCxnSpPr>
            <p:spPr>
              <a:xfrm>
                <a:off x="581891" y="4384986"/>
                <a:ext cx="402193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6F1497C0-712D-88B3-15E0-69D63E697F2E}"/>
                  </a:ext>
                </a:extLst>
              </p:cNvPr>
              <p:cNvCxnSpPr/>
              <p:nvPr/>
            </p:nvCxnSpPr>
            <p:spPr>
              <a:xfrm>
                <a:off x="581891" y="4994298"/>
                <a:ext cx="402193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92565CF1-5B63-6170-2C46-0CA6B753963B}"/>
                  </a:ext>
                </a:extLst>
              </p:cNvPr>
              <p:cNvCxnSpPr/>
              <p:nvPr/>
            </p:nvCxnSpPr>
            <p:spPr>
              <a:xfrm>
                <a:off x="581891" y="5603610"/>
                <a:ext cx="4021938" cy="0"/>
              </a:xfrm>
              <a:prstGeom prst="line">
                <a:avLst/>
              </a:prstGeom>
            </p:spPr>
            <p:style>
              <a:lnRef idx="1">
                <a:schemeClr val="accent1"/>
              </a:lnRef>
              <a:fillRef idx="0">
                <a:schemeClr val="accent1"/>
              </a:fillRef>
              <a:effectRef idx="0">
                <a:schemeClr val="accent1"/>
              </a:effectRef>
              <a:fontRef idx="minor">
                <a:schemeClr val="tx1"/>
              </a:fontRef>
            </p:style>
          </p:cxnSp>
        </p:grpSp>
      </p:grpSp>
      <p:sp>
        <p:nvSpPr>
          <p:cNvPr id="178" name="Rektangel 74">
            <a:extLst>
              <a:ext uri="{FF2B5EF4-FFF2-40B4-BE49-F238E27FC236}">
                <a16:creationId xmlns:a16="http://schemas.microsoft.com/office/drawing/2014/main" id="{4F2DC201-B1C0-B7E7-3432-4A04F9B940DB}"/>
              </a:ext>
            </a:extLst>
          </p:cNvPr>
          <p:cNvSpPr/>
          <p:nvPr/>
        </p:nvSpPr>
        <p:spPr>
          <a:xfrm>
            <a:off x="1118805" y="5110536"/>
            <a:ext cx="880183" cy="4154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Autonomous Mobile Robots</a:t>
            </a:r>
          </a:p>
        </p:txBody>
      </p:sp>
      <p:pic>
        <p:nvPicPr>
          <p:cNvPr id="179" name="Bilde 53" descr="Et bilde som inneholder leke&#10;&#10;Automatisk generert beskrivelse">
            <a:extLst>
              <a:ext uri="{FF2B5EF4-FFF2-40B4-BE49-F238E27FC236}">
                <a16:creationId xmlns:a16="http://schemas.microsoft.com/office/drawing/2014/main" id="{77EC30AF-2705-2B09-8CD4-FB8A78161360}"/>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rot="21435521">
            <a:off x="2104320" y="2586459"/>
            <a:ext cx="371207" cy="559895"/>
          </a:xfrm>
          <a:prstGeom prst="rect">
            <a:avLst/>
          </a:prstGeom>
        </p:spPr>
      </p:pic>
      <p:pic>
        <p:nvPicPr>
          <p:cNvPr id="180" name="Bilde 50">
            <a:extLst>
              <a:ext uri="{FF2B5EF4-FFF2-40B4-BE49-F238E27FC236}">
                <a16:creationId xmlns:a16="http://schemas.microsoft.com/office/drawing/2014/main" id="{636043B6-BC3F-D385-D3FA-36191E9B991F}"/>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2041271" y="1369487"/>
            <a:ext cx="377818" cy="559248"/>
          </a:xfrm>
          <a:prstGeom prst="rect">
            <a:avLst/>
          </a:prstGeom>
        </p:spPr>
      </p:pic>
      <p:pic>
        <p:nvPicPr>
          <p:cNvPr id="181" name="Bilde 92">
            <a:extLst>
              <a:ext uri="{FF2B5EF4-FFF2-40B4-BE49-F238E27FC236}">
                <a16:creationId xmlns:a16="http://schemas.microsoft.com/office/drawing/2014/main" id="{29EC1BD0-6710-F29C-1404-D8BC94FD859A}"/>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1872464" y="4570042"/>
            <a:ext cx="600778" cy="195269"/>
          </a:xfrm>
          <a:prstGeom prst="rect">
            <a:avLst/>
          </a:prstGeom>
        </p:spPr>
      </p:pic>
      <p:pic>
        <p:nvPicPr>
          <p:cNvPr id="182" name="Picture 181">
            <a:extLst>
              <a:ext uri="{FF2B5EF4-FFF2-40B4-BE49-F238E27FC236}">
                <a16:creationId xmlns:a16="http://schemas.microsoft.com/office/drawing/2014/main" id="{4A3B016A-5A7A-DF51-E7E0-9B1E29634A44}"/>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1839763" y="5553602"/>
            <a:ext cx="759239" cy="759239"/>
          </a:xfrm>
          <a:prstGeom prst="rect">
            <a:avLst/>
          </a:prstGeom>
        </p:spPr>
      </p:pic>
      <p:grpSp>
        <p:nvGrpSpPr>
          <p:cNvPr id="183" name="Group 182">
            <a:extLst>
              <a:ext uri="{FF2B5EF4-FFF2-40B4-BE49-F238E27FC236}">
                <a16:creationId xmlns:a16="http://schemas.microsoft.com/office/drawing/2014/main" id="{AEF9C911-7085-C4A2-006F-DFA3DCF92E4E}"/>
              </a:ext>
            </a:extLst>
          </p:cNvPr>
          <p:cNvGrpSpPr/>
          <p:nvPr/>
        </p:nvGrpSpPr>
        <p:grpSpPr>
          <a:xfrm>
            <a:off x="3704025" y="1402020"/>
            <a:ext cx="522680" cy="463060"/>
            <a:chOff x="6460305" y="3449515"/>
            <a:chExt cx="934175" cy="827617"/>
          </a:xfrm>
        </p:grpSpPr>
        <p:pic>
          <p:nvPicPr>
            <p:cNvPr id="184" name="Picture 4">
              <a:extLst>
                <a:ext uri="{FF2B5EF4-FFF2-40B4-BE49-F238E27FC236}">
                  <a16:creationId xmlns:a16="http://schemas.microsoft.com/office/drawing/2014/main" id="{E967321C-D449-0E0D-5E6C-396E3D6A1ED7}"/>
                </a:ext>
              </a:extLst>
            </p:cNvPr>
            <p:cNvPicPr>
              <a:picLocks noChangeAspect="1" noChangeArrowheads="1"/>
            </p:cNvPicPr>
            <p:nvPr/>
          </p:nvPicPr>
          <p:blipFill>
            <a:blip r:embed="rId29" cstate="screen">
              <a:extLst>
                <a:ext uri="{28A0092B-C50C-407E-A947-70E740481C1C}">
                  <a14:useLocalDpi xmlns:a14="http://schemas.microsoft.com/office/drawing/2010/main"/>
                </a:ext>
              </a:extLst>
            </a:blip>
            <a:srcRect/>
            <a:stretch>
              <a:fillRect/>
            </a:stretch>
          </p:blipFill>
          <p:spPr bwMode="auto">
            <a:xfrm rot="1244888">
              <a:off x="6460305" y="3449515"/>
              <a:ext cx="583418" cy="827617"/>
            </a:xfrm>
            <a:prstGeom prst="rect">
              <a:avLst/>
            </a:prstGeom>
            <a:noFill/>
            <a:extLst>
              <a:ext uri="{909E8E84-426E-40DD-AFC4-6F175D3DCCD1}">
                <a14:hiddenFill xmlns:a14="http://schemas.microsoft.com/office/drawing/2010/main">
                  <a:solidFill>
                    <a:srgbClr val="FFFFFF"/>
                  </a:solidFill>
                </a14:hiddenFill>
              </a:ext>
            </a:extLst>
          </p:spPr>
        </p:pic>
        <p:pic>
          <p:nvPicPr>
            <p:cNvPr id="185" name="Bilde 55">
              <a:extLst>
                <a:ext uri="{FF2B5EF4-FFF2-40B4-BE49-F238E27FC236}">
                  <a16:creationId xmlns:a16="http://schemas.microsoft.com/office/drawing/2014/main" id="{3EB8FDBD-FFC7-8F79-1A1C-8403B63050C6}"/>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6926602" y="3805878"/>
              <a:ext cx="467878" cy="349175"/>
            </a:xfrm>
            <a:prstGeom prst="rect">
              <a:avLst/>
            </a:prstGeom>
          </p:spPr>
        </p:pic>
      </p:grpSp>
      <p:pic>
        <p:nvPicPr>
          <p:cNvPr id="186" name="Bilde 98" descr="Et bilde som inneholder LEGO, leke&#10;&#10;Automatisk generert beskrivelse">
            <a:extLst>
              <a:ext uri="{FF2B5EF4-FFF2-40B4-BE49-F238E27FC236}">
                <a16:creationId xmlns:a16="http://schemas.microsoft.com/office/drawing/2014/main" id="{27F9F465-15C9-E6BD-40B3-9EB9B5158B9C}"/>
              </a:ext>
            </a:extLst>
          </p:cNvPr>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3602345" y="2017357"/>
            <a:ext cx="726040" cy="506006"/>
          </a:xfrm>
          <a:prstGeom prst="rect">
            <a:avLst/>
          </a:prstGeom>
        </p:spPr>
      </p:pic>
      <p:grpSp>
        <p:nvGrpSpPr>
          <p:cNvPr id="198" name="Group 197">
            <a:extLst>
              <a:ext uri="{FF2B5EF4-FFF2-40B4-BE49-F238E27FC236}">
                <a16:creationId xmlns:a16="http://schemas.microsoft.com/office/drawing/2014/main" id="{41B19D13-8CC6-BFB7-BAC5-B979F35A77F0}"/>
              </a:ext>
            </a:extLst>
          </p:cNvPr>
          <p:cNvGrpSpPr/>
          <p:nvPr/>
        </p:nvGrpSpPr>
        <p:grpSpPr>
          <a:xfrm>
            <a:off x="842355" y="1950743"/>
            <a:ext cx="225082" cy="225082"/>
            <a:chOff x="659475" y="1950743"/>
            <a:chExt cx="225082" cy="225082"/>
          </a:xfrm>
        </p:grpSpPr>
        <p:sp>
          <p:nvSpPr>
            <p:cNvPr id="195" name="Teardrop 194">
              <a:extLst>
                <a:ext uri="{FF2B5EF4-FFF2-40B4-BE49-F238E27FC236}">
                  <a16:creationId xmlns:a16="http://schemas.microsoft.com/office/drawing/2014/main" id="{6197F765-E4C5-40BE-09F8-E90F9AD1DCBF}"/>
                </a:ext>
              </a:extLst>
            </p:cNvPr>
            <p:cNvSpPr/>
            <p:nvPr/>
          </p:nvSpPr>
          <p:spPr>
            <a:xfrm flipH="1">
              <a:off x="659475" y="1950743"/>
              <a:ext cx="225082" cy="225082"/>
            </a:xfrm>
            <a:prstGeom prst="teardrop">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96" name="Rektangel 72">
              <a:extLst>
                <a:ext uri="{FF2B5EF4-FFF2-40B4-BE49-F238E27FC236}">
                  <a16:creationId xmlns:a16="http://schemas.microsoft.com/office/drawing/2014/main" id="{AF3EEF03-1743-48C7-2C66-AADCBC4E6792}"/>
                </a:ext>
              </a:extLst>
            </p:cNvPr>
            <p:cNvSpPr/>
            <p:nvPr/>
          </p:nvSpPr>
          <p:spPr>
            <a:xfrm>
              <a:off x="664738" y="1993087"/>
              <a:ext cx="210089" cy="1384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2</a:t>
              </a:r>
            </a:p>
          </p:txBody>
        </p:sp>
      </p:grpSp>
      <p:grpSp>
        <p:nvGrpSpPr>
          <p:cNvPr id="199" name="Group 198">
            <a:extLst>
              <a:ext uri="{FF2B5EF4-FFF2-40B4-BE49-F238E27FC236}">
                <a16:creationId xmlns:a16="http://schemas.microsoft.com/office/drawing/2014/main" id="{FD3F34AF-C6D0-8A74-2B9D-DB6274994116}"/>
              </a:ext>
            </a:extLst>
          </p:cNvPr>
          <p:cNvGrpSpPr/>
          <p:nvPr/>
        </p:nvGrpSpPr>
        <p:grpSpPr>
          <a:xfrm>
            <a:off x="842355" y="1339084"/>
            <a:ext cx="225082" cy="225082"/>
            <a:chOff x="659475" y="1950743"/>
            <a:chExt cx="225082" cy="225082"/>
          </a:xfrm>
        </p:grpSpPr>
        <p:sp>
          <p:nvSpPr>
            <p:cNvPr id="200" name="Teardrop 199">
              <a:extLst>
                <a:ext uri="{FF2B5EF4-FFF2-40B4-BE49-F238E27FC236}">
                  <a16:creationId xmlns:a16="http://schemas.microsoft.com/office/drawing/2014/main" id="{DF8F3680-E263-CCCE-04CC-5C73B7F88E4E}"/>
                </a:ext>
              </a:extLst>
            </p:cNvPr>
            <p:cNvSpPr/>
            <p:nvPr/>
          </p:nvSpPr>
          <p:spPr>
            <a:xfrm flipH="1">
              <a:off x="659475" y="1950743"/>
              <a:ext cx="225082" cy="225082"/>
            </a:xfrm>
            <a:prstGeom prst="teardrop">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01" name="Rektangel 72">
              <a:extLst>
                <a:ext uri="{FF2B5EF4-FFF2-40B4-BE49-F238E27FC236}">
                  <a16:creationId xmlns:a16="http://schemas.microsoft.com/office/drawing/2014/main" id="{61F90976-F36E-7FC7-2855-D061F4035EF7}"/>
                </a:ext>
              </a:extLst>
            </p:cNvPr>
            <p:cNvSpPr/>
            <p:nvPr/>
          </p:nvSpPr>
          <p:spPr>
            <a:xfrm>
              <a:off x="664738" y="1993087"/>
              <a:ext cx="210089" cy="1384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1</a:t>
              </a:r>
            </a:p>
          </p:txBody>
        </p:sp>
      </p:grpSp>
      <p:grpSp>
        <p:nvGrpSpPr>
          <p:cNvPr id="202" name="Group 201">
            <a:extLst>
              <a:ext uri="{FF2B5EF4-FFF2-40B4-BE49-F238E27FC236}">
                <a16:creationId xmlns:a16="http://schemas.microsoft.com/office/drawing/2014/main" id="{7AB5694E-1D29-615A-67E9-9D6E10C767E6}"/>
              </a:ext>
            </a:extLst>
          </p:cNvPr>
          <p:cNvGrpSpPr/>
          <p:nvPr/>
        </p:nvGrpSpPr>
        <p:grpSpPr>
          <a:xfrm>
            <a:off x="842355" y="3169602"/>
            <a:ext cx="225082" cy="225082"/>
            <a:chOff x="659475" y="1950743"/>
            <a:chExt cx="225082" cy="225082"/>
          </a:xfrm>
        </p:grpSpPr>
        <p:sp>
          <p:nvSpPr>
            <p:cNvPr id="203" name="Teardrop 202">
              <a:extLst>
                <a:ext uri="{FF2B5EF4-FFF2-40B4-BE49-F238E27FC236}">
                  <a16:creationId xmlns:a16="http://schemas.microsoft.com/office/drawing/2014/main" id="{714DFE98-3E4B-0268-42A2-E1BBE859AEAB}"/>
                </a:ext>
              </a:extLst>
            </p:cNvPr>
            <p:cNvSpPr/>
            <p:nvPr/>
          </p:nvSpPr>
          <p:spPr>
            <a:xfrm flipH="1">
              <a:off x="659475" y="1950743"/>
              <a:ext cx="225082" cy="225082"/>
            </a:xfrm>
            <a:prstGeom prst="teardrop">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04" name="Rektangel 72">
              <a:extLst>
                <a:ext uri="{FF2B5EF4-FFF2-40B4-BE49-F238E27FC236}">
                  <a16:creationId xmlns:a16="http://schemas.microsoft.com/office/drawing/2014/main" id="{02895A54-CD7D-DDCF-6DEF-28EC579267DE}"/>
                </a:ext>
              </a:extLst>
            </p:cNvPr>
            <p:cNvSpPr/>
            <p:nvPr/>
          </p:nvSpPr>
          <p:spPr>
            <a:xfrm>
              <a:off x="664738" y="1993087"/>
              <a:ext cx="210089" cy="1384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4</a:t>
              </a:r>
            </a:p>
          </p:txBody>
        </p:sp>
      </p:grpSp>
      <p:grpSp>
        <p:nvGrpSpPr>
          <p:cNvPr id="205" name="Group 204">
            <a:extLst>
              <a:ext uri="{FF2B5EF4-FFF2-40B4-BE49-F238E27FC236}">
                <a16:creationId xmlns:a16="http://schemas.microsoft.com/office/drawing/2014/main" id="{428B4364-844F-CDA1-DD9E-811F766D6C8F}"/>
              </a:ext>
            </a:extLst>
          </p:cNvPr>
          <p:cNvGrpSpPr/>
          <p:nvPr/>
        </p:nvGrpSpPr>
        <p:grpSpPr>
          <a:xfrm>
            <a:off x="842355" y="2557406"/>
            <a:ext cx="225082" cy="225082"/>
            <a:chOff x="659475" y="1950743"/>
            <a:chExt cx="225082" cy="225082"/>
          </a:xfrm>
        </p:grpSpPr>
        <p:sp>
          <p:nvSpPr>
            <p:cNvPr id="206" name="Teardrop 205">
              <a:extLst>
                <a:ext uri="{FF2B5EF4-FFF2-40B4-BE49-F238E27FC236}">
                  <a16:creationId xmlns:a16="http://schemas.microsoft.com/office/drawing/2014/main" id="{7D55C0E8-5A1A-CE46-F436-05080B7F5C9F}"/>
                </a:ext>
              </a:extLst>
            </p:cNvPr>
            <p:cNvSpPr/>
            <p:nvPr/>
          </p:nvSpPr>
          <p:spPr>
            <a:xfrm flipH="1">
              <a:off x="659475" y="1950743"/>
              <a:ext cx="225082" cy="225082"/>
            </a:xfrm>
            <a:prstGeom prst="teardrop">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07" name="Rektangel 72">
              <a:extLst>
                <a:ext uri="{FF2B5EF4-FFF2-40B4-BE49-F238E27FC236}">
                  <a16:creationId xmlns:a16="http://schemas.microsoft.com/office/drawing/2014/main" id="{0C6989ED-D3D6-063D-7114-1A4BD9E51883}"/>
                </a:ext>
              </a:extLst>
            </p:cNvPr>
            <p:cNvSpPr/>
            <p:nvPr/>
          </p:nvSpPr>
          <p:spPr>
            <a:xfrm>
              <a:off x="664738" y="1993087"/>
              <a:ext cx="210089" cy="1384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3</a:t>
              </a:r>
            </a:p>
          </p:txBody>
        </p:sp>
      </p:grpSp>
      <p:grpSp>
        <p:nvGrpSpPr>
          <p:cNvPr id="208" name="Group 207">
            <a:extLst>
              <a:ext uri="{FF2B5EF4-FFF2-40B4-BE49-F238E27FC236}">
                <a16:creationId xmlns:a16="http://schemas.microsoft.com/office/drawing/2014/main" id="{3E46A250-0ED3-4B14-2A64-EED21D059F5F}"/>
              </a:ext>
            </a:extLst>
          </p:cNvPr>
          <p:cNvGrpSpPr/>
          <p:nvPr/>
        </p:nvGrpSpPr>
        <p:grpSpPr>
          <a:xfrm>
            <a:off x="842355" y="4384939"/>
            <a:ext cx="225082" cy="225082"/>
            <a:chOff x="659475" y="1950743"/>
            <a:chExt cx="225082" cy="225082"/>
          </a:xfrm>
        </p:grpSpPr>
        <p:sp>
          <p:nvSpPr>
            <p:cNvPr id="209" name="Teardrop 208">
              <a:extLst>
                <a:ext uri="{FF2B5EF4-FFF2-40B4-BE49-F238E27FC236}">
                  <a16:creationId xmlns:a16="http://schemas.microsoft.com/office/drawing/2014/main" id="{C63C3C6D-6AAA-F8CC-93C5-FECBC1674A44}"/>
                </a:ext>
              </a:extLst>
            </p:cNvPr>
            <p:cNvSpPr/>
            <p:nvPr/>
          </p:nvSpPr>
          <p:spPr>
            <a:xfrm flipH="1">
              <a:off x="659475" y="1950743"/>
              <a:ext cx="225082" cy="225082"/>
            </a:xfrm>
            <a:prstGeom prst="teardrop">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10" name="Rektangel 72">
              <a:extLst>
                <a:ext uri="{FF2B5EF4-FFF2-40B4-BE49-F238E27FC236}">
                  <a16:creationId xmlns:a16="http://schemas.microsoft.com/office/drawing/2014/main" id="{1BA422ED-6E1B-4428-CCA2-8E479E64D437}"/>
                </a:ext>
              </a:extLst>
            </p:cNvPr>
            <p:cNvSpPr/>
            <p:nvPr/>
          </p:nvSpPr>
          <p:spPr>
            <a:xfrm>
              <a:off x="664738" y="1993087"/>
              <a:ext cx="210089" cy="1384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6</a:t>
              </a:r>
            </a:p>
          </p:txBody>
        </p:sp>
      </p:grpSp>
      <p:grpSp>
        <p:nvGrpSpPr>
          <p:cNvPr id="211" name="Group 210">
            <a:extLst>
              <a:ext uri="{FF2B5EF4-FFF2-40B4-BE49-F238E27FC236}">
                <a16:creationId xmlns:a16="http://schemas.microsoft.com/office/drawing/2014/main" id="{4BF66680-38CD-F9C0-54F6-7CA04647483E}"/>
              </a:ext>
            </a:extLst>
          </p:cNvPr>
          <p:cNvGrpSpPr/>
          <p:nvPr/>
        </p:nvGrpSpPr>
        <p:grpSpPr>
          <a:xfrm>
            <a:off x="842355" y="3773280"/>
            <a:ext cx="225082" cy="225082"/>
            <a:chOff x="659475" y="1950743"/>
            <a:chExt cx="225082" cy="225082"/>
          </a:xfrm>
        </p:grpSpPr>
        <p:sp>
          <p:nvSpPr>
            <p:cNvPr id="212" name="Teardrop 211">
              <a:extLst>
                <a:ext uri="{FF2B5EF4-FFF2-40B4-BE49-F238E27FC236}">
                  <a16:creationId xmlns:a16="http://schemas.microsoft.com/office/drawing/2014/main" id="{2E8885D3-0825-4E80-A439-31EC7DEDB1F9}"/>
                </a:ext>
              </a:extLst>
            </p:cNvPr>
            <p:cNvSpPr/>
            <p:nvPr/>
          </p:nvSpPr>
          <p:spPr>
            <a:xfrm flipH="1">
              <a:off x="659475" y="1950743"/>
              <a:ext cx="225082" cy="225082"/>
            </a:xfrm>
            <a:prstGeom prst="teardrop">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13" name="Rektangel 72">
              <a:extLst>
                <a:ext uri="{FF2B5EF4-FFF2-40B4-BE49-F238E27FC236}">
                  <a16:creationId xmlns:a16="http://schemas.microsoft.com/office/drawing/2014/main" id="{D197F5A1-CA9D-5192-BCAA-9824C0BB3764}"/>
                </a:ext>
              </a:extLst>
            </p:cNvPr>
            <p:cNvSpPr/>
            <p:nvPr/>
          </p:nvSpPr>
          <p:spPr>
            <a:xfrm>
              <a:off x="664738" y="1993087"/>
              <a:ext cx="210089" cy="1384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5</a:t>
              </a:r>
            </a:p>
          </p:txBody>
        </p:sp>
      </p:grpSp>
      <p:grpSp>
        <p:nvGrpSpPr>
          <p:cNvPr id="214" name="Group 213">
            <a:extLst>
              <a:ext uri="{FF2B5EF4-FFF2-40B4-BE49-F238E27FC236}">
                <a16:creationId xmlns:a16="http://schemas.microsoft.com/office/drawing/2014/main" id="{403C9EB6-7480-34D1-A742-C5CDAC2DD489}"/>
              </a:ext>
            </a:extLst>
          </p:cNvPr>
          <p:cNvGrpSpPr/>
          <p:nvPr/>
        </p:nvGrpSpPr>
        <p:grpSpPr>
          <a:xfrm>
            <a:off x="842355" y="5603798"/>
            <a:ext cx="225082" cy="225082"/>
            <a:chOff x="659475" y="1950743"/>
            <a:chExt cx="225082" cy="225082"/>
          </a:xfrm>
        </p:grpSpPr>
        <p:sp>
          <p:nvSpPr>
            <p:cNvPr id="215" name="Teardrop 214">
              <a:extLst>
                <a:ext uri="{FF2B5EF4-FFF2-40B4-BE49-F238E27FC236}">
                  <a16:creationId xmlns:a16="http://schemas.microsoft.com/office/drawing/2014/main" id="{B4088022-3E0D-A130-52C6-DA6F2BD1A953}"/>
                </a:ext>
              </a:extLst>
            </p:cNvPr>
            <p:cNvSpPr/>
            <p:nvPr/>
          </p:nvSpPr>
          <p:spPr>
            <a:xfrm flipH="1">
              <a:off x="659475" y="1950743"/>
              <a:ext cx="225082" cy="225082"/>
            </a:xfrm>
            <a:prstGeom prst="teardrop">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16" name="Rektangel 72">
              <a:extLst>
                <a:ext uri="{FF2B5EF4-FFF2-40B4-BE49-F238E27FC236}">
                  <a16:creationId xmlns:a16="http://schemas.microsoft.com/office/drawing/2014/main" id="{CDB21E96-0ECA-554B-AF76-300808B388F2}"/>
                </a:ext>
              </a:extLst>
            </p:cNvPr>
            <p:cNvSpPr/>
            <p:nvPr/>
          </p:nvSpPr>
          <p:spPr>
            <a:xfrm>
              <a:off x="664738" y="1993087"/>
              <a:ext cx="210089" cy="1384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8</a:t>
              </a:r>
            </a:p>
          </p:txBody>
        </p:sp>
      </p:grpSp>
      <p:grpSp>
        <p:nvGrpSpPr>
          <p:cNvPr id="217" name="Group 216">
            <a:extLst>
              <a:ext uri="{FF2B5EF4-FFF2-40B4-BE49-F238E27FC236}">
                <a16:creationId xmlns:a16="http://schemas.microsoft.com/office/drawing/2014/main" id="{8180678B-6446-9EF8-38F1-D4EE1E2C42FB}"/>
              </a:ext>
            </a:extLst>
          </p:cNvPr>
          <p:cNvGrpSpPr/>
          <p:nvPr/>
        </p:nvGrpSpPr>
        <p:grpSpPr>
          <a:xfrm>
            <a:off x="842355" y="4996599"/>
            <a:ext cx="225082" cy="225082"/>
            <a:chOff x="659475" y="1950743"/>
            <a:chExt cx="225082" cy="225082"/>
          </a:xfrm>
        </p:grpSpPr>
        <p:sp>
          <p:nvSpPr>
            <p:cNvPr id="218" name="Teardrop 217">
              <a:extLst>
                <a:ext uri="{FF2B5EF4-FFF2-40B4-BE49-F238E27FC236}">
                  <a16:creationId xmlns:a16="http://schemas.microsoft.com/office/drawing/2014/main" id="{B390F95E-D9C3-ACAC-BEA6-074E7E02A9BA}"/>
                </a:ext>
              </a:extLst>
            </p:cNvPr>
            <p:cNvSpPr/>
            <p:nvPr/>
          </p:nvSpPr>
          <p:spPr>
            <a:xfrm flipH="1">
              <a:off x="659475" y="1950743"/>
              <a:ext cx="225082" cy="225082"/>
            </a:xfrm>
            <a:prstGeom prst="teardrop">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19" name="Rektangel 72">
              <a:extLst>
                <a:ext uri="{FF2B5EF4-FFF2-40B4-BE49-F238E27FC236}">
                  <a16:creationId xmlns:a16="http://schemas.microsoft.com/office/drawing/2014/main" id="{155A9C37-97B3-A8D4-3B8A-EFC4D0C9A547}"/>
                </a:ext>
              </a:extLst>
            </p:cNvPr>
            <p:cNvSpPr/>
            <p:nvPr/>
          </p:nvSpPr>
          <p:spPr>
            <a:xfrm>
              <a:off x="664738" y="1993087"/>
              <a:ext cx="210089" cy="1384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7</a:t>
              </a:r>
            </a:p>
          </p:txBody>
        </p:sp>
      </p:grpSp>
      <p:grpSp>
        <p:nvGrpSpPr>
          <p:cNvPr id="220" name="Group 219">
            <a:extLst>
              <a:ext uri="{FF2B5EF4-FFF2-40B4-BE49-F238E27FC236}">
                <a16:creationId xmlns:a16="http://schemas.microsoft.com/office/drawing/2014/main" id="{2185D50A-5190-EC02-2048-BCF4ED2FC54C}"/>
              </a:ext>
            </a:extLst>
          </p:cNvPr>
          <p:cNvGrpSpPr/>
          <p:nvPr/>
        </p:nvGrpSpPr>
        <p:grpSpPr>
          <a:xfrm>
            <a:off x="2632768" y="1950743"/>
            <a:ext cx="225082" cy="225082"/>
            <a:chOff x="659475" y="1950743"/>
            <a:chExt cx="225082" cy="225082"/>
          </a:xfrm>
        </p:grpSpPr>
        <p:sp>
          <p:nvSpPr>
            <p:cNvPr id="221" name="Teardrop 220">
              <a:extLst>
                <a:ext uri="{FF2B5EF4-FFF2-40B4-BE49-F238E27FC236}">
                  <a16:creationId xmlns:a16="http://schemas.microsoft.com/office/drawing/2014/main" id="{80A2EEF5-0D74-2E4C-2660-6570E1CCFB86}"/>
                </a:ext>
              </a:extLst>
            </p:cNvPr>
            <p:cNvSpPr/>
            <p:nvPr/>
          </p:nvSpPr>
          <p:spPr>
            <a:xfrm flipH="1">
              <a:off x="659475" y="1950743"/>
              <a:ext cx="225082" cy="225082"/>
            </a:xfrm>
            <a:prstGeom prst="teardrop">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22" name="Rektangel 72">
              <a:extLst>
                <a:ext uri="{FF2B5EF4-FFF2-40B4-BE49-F238E27FC236}">
                  <a16:creationId xmlns:a16="http://schemas.microsoft.com/office/drawing/2014/main" id="{F960AA43-9CF9-701B-0A32-8105095F832F}"/>
                </a:ext>
              </a:extLst>
            </p:cNvPr>
            <p:cNvSpPr/>
            <p:nvPr/>
          </p:nvSpPr>
          <p:spPr>
            <a:xfrm>
              <a:off x="664738" y="1993087"/>
              <a:ext cx="210089" cy="1384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10</a:t>
              </a:r>
            </a:p>
          </p:txBody>
        </p:sp>
      </p:grpSp>
      <p:grpSp>
        <p:nvGrpSpPr>
          <p:cNvPr id="223" name="Group 222">
            <a:extLst>
              <a:ext uri="{FF2B5EF4-FFF2-40B4-BE49-F238E27FC236}">
                <a16:creationId xmlns:a16="http://schemas.microsoft.com/office/drawing/2014/main" id="{719B40D3-D128-535D-7BF4-E8C9CEACED8B}"/>
              </a:ext>
            </a:extLst>
          </p:cNvPr>
          <p:cNvGrpSpPr/>
          <p:nvPr/>
        </p:nvGrpSpPr>
        <p:grpSpPr>
          <a:xfrm>
            <a:off x="2632768" y="1339084"/>
            <a:ext cx="225082" cy="225082"/>
            <a:chOff x="659475" y="1950743"/>
            <a:chExt cx="225082" cy="225082"/>
          </a:xfrm>
        </p:grpSpPr>
        <p:sp>
          <p:nvSpPr>
            <p:cNvPr id="224" name="Teardrop 223">
              <a:extLst>
                <a:ext uri="{FF2B5EF4-FFF2-40B4-BE49-F238E27FC236}">
                  <a16:creationId xmlns:a16="http://schemas.microsoft.com/office/drawing/2014/main" id="{A564835D-BEE3-DD90-E53B-F38342FF4B85}"/>
                </a:ext>
              </a:extLst>
            </p:cNvPr>
            <p:cNvSpPr/>
            <p:nvPr/>
          </p:nvSpPr>
          <p:spPr>
            <a:xfrm flipH="1">
              <a:off x="659475" y="1950743"/>
              <a:ext cx="225082" cy="225082"/>
            </a:xfrm>
            <a:prstGeom prst="teardrop">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25" name="Rektangel 72">
              <a:extLst>
                <a:ext uri="{FF2B5EF4-FFF2-40B4-BE49-F238E27FC236}">
                  <a16:creationId xmlns:a16="http://schemas.microsoft.com/office/drawing/2014/main" id="{8DA7200F-FD42-F3B4-D8FE-00FA50B4698B}"/>
                </a:ext>
              </a:extLst>
            </p:cNvPr>
            <p:cNvSpPr/>
            <p:nvPr/>
          </p:nvSpPr>
          <p:spPr>
            <a:xfrm>
              <a:off x="664738" y="1993087"/>
              <a:ext cx="210089" cy="1384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9</a:t>
              </a:r>
            </a:p>
          </p:txBody>
        </p:sp>
      </p:grpSp>
      <p:grpSp>
        <p:nvGrpSpPr>
          <p:cNvPr id="226" name="Group 225">
            <a:extLst>
              <a:ext uri="{FF2B5EF4-FFF2-40B4-BE49-F238E27FC236}">
                <a16:creationId xmlns:a16="http://schemas.microsoft.com/office/drawing/2014/main" id="{98AA7BA3-5F37-91A0-C1CF-A377BDC3A634}"/>
              </a:ext>
            </a:extLst>
          </p:cNvPr>
          <p:cNvGrpSpPr/>
          <p:nvPr/>
        </p:nvGrpSpPr>
        <p:grpSpPr>
          <a:xfrm>
            <a:off x="2632768" y="3169602"/>
            <a:ext cx="225082" cy="225082"/>
            <a:chOff x="659475" y="1950743"/>
            <a:chExt cx="225082" cy="225082"/>
          </a:xfrm>
        </p:grpSpPr>
        <p:sp>
          <p:nvSpPr>
            <p:cNvPr id="227" name="Teardrop 226">
              <a:extLst>
                <a:ext uri="{FF2B5EF4-FFF2-40B4-BE49-F238E27FC236}">
                  <a16:creationId xmlns:a16="http://schemas.microsoft.com/office/drawing/2014/main" id="{B7EC9CD8-6598-2226-3A15-53E2E7DF3862}"/>
                </a:ext>
              </a:extLst>
            </p:cNvPr>
            <p:cNvSpPr/>
            <p:nvPr/>
          </p:nvSpPr>
          <p:spPr>
            <a:xfrm flipH="1">
              <a:off x="659475" y="1950743"/>
              <a:ext cx="225082" cy="225082"/>
            </a:xfrm>
            <a:prstGeom prst="teardrop">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28" name="Rektangel 72">
              <a:extLst>
                <a:ext uri="{FF2B5EF4-FFF2-40B4-BE49-F238E27FC236}">
                  <a16:creationId xmlns:a16="http://schemas.microsoft.com/office/drawing/2014/main" id="{61AD0096-60AE-9E0A-5056-0474148BF63B}"/>
                </a:ext>
              </a:extLst>
            </p:cNvPr>
            <p:cNvSpPr/>
            <p:nvPr/>
          </p:nvSpPr>
          <p:spPr>
            <a:xfrm>
              <a:off x="664738" y="1993087"/>
              <a:ext cx="210089" cy="1384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12</a:t>
              </a:r>
            </a:p>
          </p:txBody>
        </p:sp>
      </p:grpSp>
      <p:grpSp>
        <p:nvGrpSpPr>
          <p:cNvPr id="229" name="Group 228">
            <a:extLst>
              <a:ext uri="{FF2B5EF4-FFF2-40B4-BE49-F238E27FC236}">
                <a16:creationId xmlns:a16="http://schemas.microsoft.com/office/drawing/2014/main" id="{DAF81869-1383-0334-0B21-A467F0063928}"/>
              </a:ext>
            </a:extLst>
          </p:cNvPr>
          <p:cNvGrpSpPr/>
          <p:nvPr/>
        </p:nvGrpSpPr>
        <p:grpSpPr>
          <a:xfrm>
            <a:off x="2632768" y="2557406"/>
            <a:ext cx="225082" cy="225082"/>
            <a:chOff x="659475" y="1950743"/>
            <a:chExt cx="225082" cy="225082"/>
          </a:xfrm>
        </p:grpSpPr>
        <p:sp>
          <p:nvSpPr>
            <p:cNvPr id="230" name="Teardrop 229">
              <a:extLst>
                <a:ext uri="{FF2B5EF4-FFF2-40B4-BE49-F238E27FC236}">
                  <a16:creationId xmlns:a16="http://schemas.microsoft.com/office/drawing/2014/main" id="{C4FE30DE-0E52-2221-3E82-D62FBD46FDC0}"/>
                </a:ext>
              </a:extLst>
            </p:cNvPr>
            <p:cNvSpPr/>
            <p:nvPr/>
          </p:nvSpPr>
          <p:spPr>
            <a:xfrm flipH="1">
              <a:off x="659475" y="1950743"/>
              <a:ext cx="225082" cy="225082"/>
            </a:xfrm>
            <a:prstGeom prst="teardrop">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31" name="Rektangel 72">
              <a:extLst>
                <a:ext uri="{FF2B5EF4-FFF2-40B4-BE49-F238E27FC236}">
                  <a16:creationId xmlns:a16="http://schemas.microsoft.com/office/drawing/2014/main" id="{2355FCF6-9BC8-2CFB-807C-C5C079D9AE2C}"/>
                </a:ext>
              </a:extLst>
            </p:cNvPr>
            <p:cNvSpPr/>
            <p:nvPr/>
          </p:nvSpPr>
          <p:spPr>
            <a:xfrm>
              <a:off x="664738" y="1993087"/>
              <a:ext cx="210089" cy="1384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11</a:t>
              </a:r>
            </a:p>
          </p:txBody>
        </p:sp>
      </p:grpSp>
      <p:grpSp>
        <p:nvGrpSpPr>
          <p:cNvPr id="232" name="Group 231">
            <a:extLst>
              <a:ext uri="{FF2B5EF4-FFF2-40B4-BE49-F238E27FC236}">
                <a16:creationId xmlns:a16="http://schemas.microsoft.com/office/drawing/2014/main" id="{282508D2-DDE2-1384-6391-A9A9FF123DED}"/>
              </a:ext>
            </a:extLst>
          </p:cNvPr>
          <p:cNvGrpSpPr/>
          <p:nvPr/>
        </p:nvGrpSpPr>
        <p:grpSpPr>
          <a:xfrm>
            <a:off x="2632768" y="4384939"/>
            <a:ext cx="225082" cy="225082"/>
            <a:chOff x="659475" y="1950743"/>
            <a:chExt cx="225082" cy="225082"/>
          </a:xfrm>
        </p:grpSpPr>
        <p:sp>
          <p:nvSpPr>
            <p:cNvPr id="233" name="Teardrop 232">
              <a:extLst>
                <a:ext uri="{FF2B5EF4-FFF2-40B4-BE49-F238E27FC236}">
                  <a16:creationId xmlns:a16="http://schemas.microsoft.com/office/drawing/2014/main" id="{10988903-387D-338E-B2F3-FB342CDBF1A0}"/>
                </a:ext>
              </a:extLst>
            </p:cNvPr>
            <p:cNvSpPr/>
            <p:nvPr/>
          </p:nvSpPr>
          <p:spPr>
            <a:xfrm flipH="1">
              <a:off x="659475" y="1950743"/>
              <a:ext cx="225082" cy="225082"/>
            </a:xfrm>
            <a:prstGeom prst="teardrop">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34" name="Rektangel 72">
              <a:extLst>
                <a:ext uri="{FF2B5EF4-FFF2-40B4-BE49-F238E27FC236}">
                  <a16:creationId xmlns:a16="http://schemas.microsoft.com/office/drawing/2014/main" id="{002011EF-0690-E914-8F2D-F10CD9D17C1A}"/>
                </a:ext>
              </a:extLst>
            </p:cNvPr>
            <p:cNvSpPr/>
            <p:nvPr/>
          </p:nvSpPr>
          <p:spPr>
            <a:xfrm>
              <a:off x="664738" y="1993087"/>
              <a:ext cx="210089" cy="1384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14</a:t>
              </a:r>
            </a:p>
          </p:txBody>
        </p:sp>
      </p:grpSp>
      <p:grpSp>
        <p:nvGrpSpPr>
          <p:cNvPr id="235" name="Group 234">
            <a:extLst>
              <a:ext uri="{FF2B5EF4-FFF2-40B4-BE49-F238E27FC236}">
                <a16:creationId xmlns:a16="http://schemas.microsoft.com/office/drawing/2014/main" id="{91796A0A-FF04-C5D2-C5D4-B8BDF1656D26}"/>
              </a:ext>
            </a:extLst>
          </p:cNvPr>
          <p:cNvGrpSpPr/>
          <p:nvPr/>
        </p:nvGrpSpPr>
        <p:grpSpPr>
          <a:xfrm>
            <a:off x="2632768" y="3773280"/>
            <a:ext cx="225082" cy="225082"/>
            <a:chOff x="659475" y="1950743"/>
            <a:chExt cx="225082" cy="225082"/>
          </a:xfrm>
        </p:grpSpPr>
        <p:sp>
          <p:nvSpPr>
            <p:cNvPr id="236" name="Teardrop 235">
              <a:extLst>
                <a:ext uri="{FF2B5EF4-FFF2-40B4-BE49-F238E27FC236}">
                  <a16:creationId xmlns:a16="http://schemas.microsoft.com/office/drawing/2014/main" id="{22A09289-2C6E-E687-160E-53572958777C}"/>
                </a:ext>
              </a:extLst>
            </p:cNvPr>
            <p:cNvSpPr/>
            <p:nvPr/>
          </p:nvSpPr>
          <p:spPr>
            <a:xfrm flipH="1">
              <a:off x="659475" y="1950743"/>
              <a:ext cx="225082" cy="225082"/>
            </a:xfrm>
            <a:prstGeom prst="teardrop">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37" name="Rektangel 72">
              <a:extLst>
                <a:ext uri="{FF2B5EF4-FFF2-40B4-BE49-F238E27FC236}">
                  <a16:creationId xmlns:a16="http://schemas.microsoft.com/office/drawing/2014/main" id="{FCD9AC26-9205-6DA5-0EA9-28988D0934DC}"/>
                </a:ext>
              </a:extLst>
            </p:cNvPr>
            <p:cNvSpPr/>
            <p:nvPr/>
          </p:nvSpPr>
          <p:spPr>
            <a:xfrm>
              <a:off x="664738" y="1993087"/>
              <a:ext cx="210089" cy="1384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13</a:t>
              </a:r>
            </a:p>
          </p:txBody>
        </p:sp>
      </p:grpSp>
      <p:grpSp>
        <p:nvGrpSpPr>
          <p:cNvPr id="238" name="Group 237">
            <a:extLst>
              <a:ext uri="{FF2B5EF4-FFF2-40B4-BE49-F238E27FC236}">
                <a16:creationId xmlns:a16="http://schemas.microsoft.com/office/drawing/2014/main" id="{F539FFD1-0E5B-9ABA-0FE4-1F17CD3D65D0}"/>
              </a:ext>
            </a:extLst>
          </p:cNvPr>
          <p:cNvGrpSpPr/>
          <p:nvPr/>
        </p:nvGrpSpPr>
        <p:grpSpPr>
          <a:xfrm>
            <a:off x="2632768" y="5603798"/>
            <a:ext cx="225082" cy="225082"/>
            <a:chOff x="659475" y="1950743"/>
            <a:chExt cx="225082" cy="225082"/>
          </a:xfrm>
        </p:grpSpPr>
        <p:sp>
          <p:nvSpPr>
            <p:cNvPr id="239" name="Teardrop 238">
              <a:extLst>
                <a:ext uri="{FF2B5EF4-FFF2-40B4-BE49-F238E27FC236}">
                  <a16:creationId xmlns:a16="http://schemas.microsoft.com/office/drawing/2014/main" id="{6CFC7BE7-9200-93B9-1DF6-021CCA438231}"/>
                </a:ext>
              </a:extLst>
            </p:cNvPr>
            <p:cNvSpPr/>
            <p:nvPr/>
          </p:nvSpPr>
          <p:spPr>
            <a:xfrm flipH="1">
              <a:off x="659475" y="1950743"/>
              <a:ext cx="225082" cy="225082"/>
            </a:xfrm>
            <a:prstGeom prst="teardrop">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40" name="Rektangel 72">
              <a:extLst>
                <a:ext uri="{FF2B5EF4-FFF2-40B4-BE49-F238E27FC236}">
                  <a16:creationId xmlns:a16="http://schemas.microsoft.com/office/drawing/2014/main" id="{11597339-4074-1DB5-ECD4-E2600627F0A2}"/>
                </a:ext>
              </a:extLst>
            </p:cNvPr>
            <p:cNvSpPr/>
            <p:nvPr/>
          </p:nvSpPr>
          <p:spPr>
            <a:xfrm>
              <a:off x="664738" y="1993087"/>
              <a:ext cx="210089" cy="1384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16</a:t>
              </a:r>
            </a:p>
          </p:txBody>
        </p:sp>
      </p:grpSp>
      <p:grpSp>
        <p:nvGrpSpPr>
          <p:cNvPr id="241" name="Group 240">
            <a:extLst>
              <a:ext uri="{FF2B5EF4-FFF2-40B4-BE49-F238E27FC236}">
                <a16:creationId xmlns:a16="http://schemas.microsoft.com/office/drawing/2014/main" id="{C795BB76-7A30-8A21-00C0-EAAA46F81BF2}"/>
              </a:ext>
            </a:extLst>
          </p:cNvPr>
          <p:cNvGrpSpPr/>
          <p:nvPr/>
        </p:nvGrpSpPr>
        <p:grpSpPr>
          <a:xfrm>
            <a:off x="2632768" y="4996599"/>
            <a:ext cx="225082" cy="225082"/>
            <a:chOff x="659475" y="1950743"/>
            <a:chExt cx="225082" cy="225082"/>
          </a:xfrm>
        </p:grpSpPr>
        <p:sp>
          <p:nvSpPr>
            <p:cNvPr id="242" name="Teardrop 241">
              <a:extLst>
                <a:ext uri="{FF2B5EF4-FFF2-40B4-BE49-F238E27FC236}">
                  <a16:creationId xmlns:a16="http://schemas.microsoft.com/office/drawing/2014/main" id="{B8B66AF2-AFAA-8382-1ED5-331E408CFAEA}"/>
                </a:ext>
              </a:extLst>
            </p:cNvPr>
            <p:cNvSpPr/>
            <p:nvPr/>
          </p:nvSpPr>
          <p:spPr>
            <a:xfrm flipH="1">
              <a:off x="659475" y="1950743"/>
              <a:ext cx="225082" cy="225082"/>
            </a:xfrm>
            <a:prstGeom prst="teardrop">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43" name="Rektangel 72">
              <a:extLst>
                <a:ext uri="{FF2B5EF4-FFF2-40B4-BE49-F238E27FC236}">
                  <a16:creationId xmlns:a16="http://schemas.microsoft.com/office/drawing/2014/main" id="{33615332-3195-9902-6D31-4F1BDC6978D6}"/>
                </a:ext>
              </a:extLst>
            </p:cNvPr>
            <p:cNvSpPr/>
            <p:nvPr/>
          </p:nvSpPr>
          <p:spPr>
            <a:xfrm>
              <a:off x="664738" y="1993087"/>
              <a:ext cx="210089" cy="1384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15</a:t>
              </a:r>
            </a:p>
          </p:txBody>
        </p:sp>
      </p:grpSp>
      <p:pic>
        <p:nvPicPr>
          <p:cNvPr id="244" name="Bilde 24">
            <a:extLst>
              <a:ext uri="{FF2B5EF4-FFF2-40B4-BE49-F238E27FC236}">
                <a16:creationId xmlns:a16="http://schemas.microsoft.com/office/drawing/2014/main" id="{AB08595F-0AE9-BA1E-F033-7FFE68971A38}"/>
              </a:ext>
            </a:extLst>
          </p:cNvPr>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3641403" y="4426392"/>
            <a:ext cx="647924" cy="523575"/>
          </a:xfrm>
          <a:prstGeom prst="rect">
            <a:avLst/>
          </a:prstGeom>
        </p:spPr>
      </p:pic>
      <p:pic>
        <p:nvPicPr>
          <p:cNvPr id="245" name="Bilde 7" descr="Et bilde som inneholder bilvei, projektor, bil&#10;&#10;Automatisk generert beskrivelse">
            <a:extLst>
              <a:ext uri="{FF2B5EF4-FFF2-40B4-BE49-F238E27FC236}">
                <a16:creationId xmlns:a16="http://schemas.microsoft.com/office/drawing/2014/main" id="{547E06FB-64B8-6956-3FCA-14C424909B61}"/>
              </a:ext>
            </a:extLst>
          </p:cNvPr>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flipH="1">
            <a:off x="3547700" y="5090066"/>
            <a:ext cx="835330" cy="371258"/>
          </a:xfrm>
          <a:prstGeom prst="rect">
            <a:avLst/>
          </a:prstGeom>
        </p:spPr>
      </p:pic>
      <p:pic>
        <p:nvPicPr>
          <p:cNvPr id="246" name="Bilde 32" descr="Et bilde som inneholder varebil, buss, sitter, parkert&#10;&#10;Automatisk generert beskrivelse">
            <a:extLst>
              <a:ext uri="{FF2B5EF4-FFF2-40B4-BE49-F238E27FC236}">
                <a16:creationId xmlns:a16="http://schemas.microsoft.com/office/drawing/2014/main" id="{8E821A13-82BE-A16E-D2C2-C63758A314B7}"/>
              </a:ext>
            </a:extLst>
          </p:cNvPr>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3645419" y="3935934"/>
            <a:ext cx="639892" cy="343886"/>
          </a:xfrm>
          <a:prstGeom prst="rect">
            <a:avLst/>
          </a:prstGeom>
        </p:spPr>
      </p:pic>
      <p:pic>
        <p:nvPicPr>
          <p:cNvPr id="247" name="Bilde 6" descr="Et bilde som inneholder tekst, projektor&#10;&#10;Automatisk generert beskrivelse">
            <a:extLst>
              <a:ext uri="{FF2B5EF4-FFF2-40B4-BE49-F238E27FC236}">
                <a16:creationId xmlns:a16="http://schemas.microsoft.com/office/drawing/2014/main" id="{E4BA2708-C962-1C3D-0DF7-B83F44853A46}"/>
              </a:ext>
            </a:extLst>
          </p:cNvPr>
          <p:cNvPicPr>
            <a:picLocks noChangeAspect="1"/>
          </p:cNvPicPr>
          <p:nvPr/>
        </p:nvPicPr>
        <p:blipFill rotWithShape="1">
          <a:blip r:embed="rId35" cstate="screen">
            <a:extLst>
              <a:ext uri="{28A0092B-C50C-407E-A947-70E740481C1C}">
                <a14:useLocalDpi xmlns:a14="http://schemas.microsoft.com/office/drawing/2010/main"/>
              </a:ext>
            </a:extLst>
          </a:blip>
          <a:srcRect/>
          <a:stretch/>
        </p:blipFill>
        <p:spPr>
          <a:xfrm>
            <a:off x="3654278" y="3162460"/>
            <a:ext cx="622175" cy="582510"/>
          </a:xfrm>
          <a:prstGeom prst="rect">
            <a:avLst/>
          </a:prstGeom>
        </p:spPr>
      </p:pic>
      <p:grpSp>
        <p:nvGrpSpPr>
          <p:cNvPr id="250" name="Group 249">
            <a:extLst>
              <a:ext uri="{FF2B5EF4-FFF2-40B4-BE49-F238E27FC236}">
                <a16:creationId xmlns:a16="http://schemas.microsoft.com/office/drawing/2014/main" id="{879A8C26-8A0D-E2B8-D29A-106E9FCDFEAA}"/>
              </a:ext>
            </a:extLst>
          </p:cNvPr>
          <p:cNvGrpSpPr/>
          <p:nvPr/>
        </p:nvGrpSpPr>
        <p:grpSpPr>
          <a:xfrm>
            <a:off x="2625573" y="1338426"/>
            <a:ext cx="1814504" cy="4265184"/>
            <a:chOff x="581891" y="1338426"/>
            <a:chExt cx="4021938" cy="4265184"/>
          </a:xfrm>
        </p:grpSpPr>
        <p:cxnSp>
          <p:nvCxnSpPr>
            <p:cNvPr id="251" name="Straight Connector 250">
              <a:extLst>
                <a:ext uri="{FF2B5EF4-FFF2-40B4-BE49-F238E27FC236}">
                  <a16:creationId xmlns:a16="http://schemas.microsoft.com/office/drawing/2014/main" id="{AB5665D0-81D1-1DB6-9343-54FF98DB3C98}"/>
                </a:ext>
              </a:extLst>
            </p:cNvPr>
            <p:cNvCxnSpPr/>
            <p:nvPr/>
          </p:nvCxnSpPr>
          <p:spPr>
            <a:xfrm>
              <a:off x="581891" y="2557050"/>
              <a:ext cx="402193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52" name="Group 251">
              <a:extLst>
                <a:ext uri="{FF2B5EF4-FFF2-40B4-BE49-F238E27FC236}">
                  <a16:creationId xmlns:a16="http://schemas.microsoft.com/office/drawing/2014/main" id="{BF99293C-B4CC-647C-3F20-F9621012C0E8}"/>
                </a:ext>
              </a:extLst>
            </p:cNvPr>
            <p:cNvGrpSpPr/>
            <p:nvPr/>
          </p:nvGrpSpPr>
          <p:grpSpPr>
            <a:xfrm>
              <a:off x="581891" y="1338426"/>
              <a:ext cx="4021938" cy="4265184"/>
              <a:chOff x="581891" y="1338426"/>
              <a:chExt cx="4021938" cy="4265184"/>
            </a:xfrm>
          </p:grpSpPr>
          <p:cxnSp>
            <p:nvCxnSpPr>
              <p:cNvPr id="253" name="Straight Connector 252">
                <a:extLst>
                  <a:ext uri="{FF2B5EF4-FFF2-40B4-BE49-F238E27FC236}">
                    <a16:creationId xmlns:a16="http://schemas.microsoft.com/office/drawing/2014/main" id="{6CFEF2AC-C4D5-BE61-422F-17EAA7662BA4}"/>
                  </a:ext>
                </a:extLst>
              </p:cNvPr>
              <p:cNvCxnSpPr/>
              <p:nvPr/>
            </p:nvCxnSpPr>
            <p:spPr>
              <a:xfrm>
                <a:off x="581891" y="1338426"/>
                <a:ext cx="402193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290CD738-8F8E-56B0-1D65-692B49341919}"/>
                  </a:ext>
                </a:extLst>
              </p:cNvPr>
              <p:cNvCxnSpPr/>
              <p:nvPr/>
            </p:nvCxnSpPr>
            <p:spPr>
              <a:xfrm>
                <a:off x="581891" y="1947738"/>
                <a:ext cx="402193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15EBD7A4-FA21-76A9-62E4-372B72514108}"/>
                  </a:ext>
                </a:extLst>
              </p:cNvPr>
              <p:cNvCxnSpPr/>
              <p:nvPr/>
            </p:nvCxnSpPr>
            <p:spPr>
              <a:xfrm>
                <a:off x="581891" y="3166362"/>
                <a:ext cx="402193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F72C05C9-7650-7C74-B424-5D1A1BBBCC96}"/>
                  </a:ext>
                </a:extLst>
              </p:cNvPr>
              <p:cNvCxnSpPr/>
              <p:nvPr/>
            </p:nvCxnSpPr>
            <p:spPr>
              <a:xfrm>
                <a:off x="581891" y="3775674"/>
                <a:ext cx="402193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4604263D-53BD-6E6A-5F18-E7F1C7241F0C}"/>
                  </a:ext>
                </a:extLst>
              </p:cNvPr>
              <p:cNvCxnSpPr/>
              <p:nvPr/>
            </p:nvCxnSpPr>
            <p:spPr>
              <a:xfrm>
                <a:off x="581891" y="4384986"/>
                <a:ext cx="402193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EDEA6F0E-F093-F22B-2F83-5A4FA39D869D}"/>
                  </a:ext>
                </a:extLst>
              </p:cNvPr>
              <p:cNvCxnSpPr/>
              <p:nvPr/>
            </p:nvCxnSpPr>
            <p:spPr>
              <a:xfrm>
                <a:off x="581891" y="4994298"/>
                <a:ext cx="402193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17FA1855-A8E4-770B-60CB-EE4667AA18CC}"/>
                  </a:ext>
                </a:extLst>
              </p:cNvPr>
              <p:cNvCxnSpPr/>
              <p:nvPr/>
            </p:nvCxnSpPr>
            <p:spPr>
              <a:xfrm>
                <a:off x="581891" y="5603610"/>
                <a:ext cx="402193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grpSp>
      <p:sp>
        <p:nvSpPr>
          <p:cNvPr id="262" name="Rectangle 261">
            <a:extLst>
              <a:ext uri="{FF2B5EF4-FFF2-40B4-BE49-F238E27FC236}">
                <a16:creationId xmlns:a16="http://schemas.microsoft.com/office/drawing/2014/main" id="{38F508CF-1CB0-F2E0-1886-006F8EFC03A5}"/>
              </a:ext>
            </a:extLst>
          </p:cNvPr>
          <p:cNvSpPr/>
          <p:nvPr/>
        </p:nvSpPr>
        <p:spPr>
          <a:xfrm>
            <a:off x="9000260" y="3453096"/>
            <a:ext cx="551234" cy="3358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63" name="Rectangle 262">
            <a:extLst>
              <a:ext uri="{FF2B5EF4-FFF2-40B4-BE49-F238E27FC236}">
                <a16:creationId xmlns:a16="http://schemas.microsoft.com/office/drawing/2014/main" id="{78DC422C-D8CD-0928-DE28-A78C0CF9CA9C}"/>
              </a:ext>
            </a:extLst>
          </p:cNvPr>
          <p:cNvSpPr/>
          <p:nvPr/>
        </p:nvSpPr>
        <p:spPr>
          <a:xfrm rot="1594939">
            <a:off x="9524811" y="3305764"/>
            <a:ext cx="345494" cy="3200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261" name="Bilde 3" descr="Et bilde som inneholder skjermbilde, design, illustrasjon&#10;&#10;Automatisk generert beskrivelse">
            <a:extLst>
              <a:ext uri="{FF2B5EF4-FFF2-40B4-BE49-F238E27FC236}">
                <a16:creationId xmlns:a16="http://schemas.microsoft.com/office/drawing/2014/main" id="{A33DE2D7-515C-50AB-B61E-E1D0ECE1F0C4}"/>
              </a:ext>
            </a:extLst>
          </p:cNvPr>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9021514" y="3534724"/>
            <a:ext cx="442714" cy="299893"/>
          </a:xfrm>
          <a:prstGeom prst="rect">
            <a:avLst/>
          </a:prstGeom>
        </p:spPr>
      </p:pic>
      <p:pic>
        <p:nvPicPr>
          <p:cNvPr id="264" name="Picture 263">
            <a:extLst>
              <a:ext uri="{FF2B5EF4-FFF2-40B4-BE49-F238E27FC236}">
                <a16:creationId xmlns:a16="http://schemas.microsoft.com/office/drawing/2014/main" id="{554C801C-1648-115C-2EAE-A5F261897441}"/>
              </a:ext>
            </a:extLst>
          </p:cNvPr>
          <p:cNvPicPr>
            <a:picLocks noChangeAspect="1"/>
          </p:cNvPicPr>
          <p:nvPr/>
        </p:nvPicPr>
        <p:blipFill rotWithShape="1">
          <a:blip r:embed="rId37" cstate="screen">
            <a:extLst>
              <a:ext uri="{28A0092B-C50C-407E-A947-70E740481C1C}">
                <a14:useLocalDpi xmlns:a14="http://schemas.microsoft.com/office/drawing/2010/main"/>
              </a:ext>
            </a:extLst>
          </a:blip>
          <a:srcRect/>
          <a:stretch/>
        </p:blipFill>
        <p:spPr>
          <a:xfrm>
            <a:off x="9179913" y="2977980"/>
            <a:ext cx="442715" cy="511067"/>
          </a:xfrm>
          <a:prstGeom prst="rect">
            <a:avLst/>
          </a:prstGeom>
        </p:spPr>
      </p:pic>
      <p:grpSp>
        <p:nvGrpSpPr>
          <p:cNvPr id="139" name="Group 138">
            <a:extLst>
              <a:ext uri="{FF2B5EF4-FFF2-40B4-BE49-F238E27FC236}">
                <a16:creationId xmlns:a16="http://schemas.microsoft.com/office/drawing/2014/main" id="{99BFD621-EFC3-EE72-C695-92E1EB2DCA42}"/>
              </a:ext>
            </a:extLst>
          </p:cNvPr>
          <p:cNvGrpSpPr>
            <a:grpSpLocks noChangeAspect="1"/>
          </p:cNvGrpSpPr>
          <p:nvPr/>
        </p:nvGrpSpPr>
        <p:grpSpPr>
          <a:xfrm>
            <a:off x="9464228" y="3092343"/>
            <a:ext cx="158400" cy="166419"/>
            <a:chOff x="4068263" y="1628190"/>
            <a:chExt cx="218924" cy="230008"/>
          </a:xfrm>
        </p:grpSpPr>
        <p:sp>
          <p:nvSpPr>
            <p:cNvPr id="140" name="Oval 139">
              <a:extLst>
                <a:ext uri="{FF2B5EF4-FFF2-40B4-BE49-F238E27FC236}">
                  <a16:creationId xmlns:a16="http://schemas.microsoft.com/office/drawing/2014/main" id="{7F53F935-6999-4CAC-943B-F71EA2A516A6}"/>
                </a:ext>
              </a:extLst>
            </p:cNvPr>
            <p:cNvSpPr/>
            <p:nvPr/>
          </p:nvSpPr>
          <p:spPr>
            <a:xfrm>
              <a:off x="4068263" y="1628190"/>
              <a:ext cx="218924" cy="21892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Helvetica"/>
                <a:ea typeface="+mn-ea"/>
                <a:cs typeface="+mn-cs"/>
              </a:endParaRPr>
            </a:p>
          </p:txBody>
        </p:sp>
        <p:sp>
          <p:nvSpPr>
            <p:cNvPr id="141" name="Rektangel 72">
              <a:extLst>
                <a:ext uri="{FF2B5EF4-FFF2-40B4-BE49-F238E27FC236}">
                  <a16:creationId xmlns:a16="http://schemas.microsoft.com/office/drawing/2014/main" id="{B50E6439-401A-F981-D94C-AEC2EE992ADA}"/>
                </a:ext>
              </a:extLst>
            </p:cNvPr>
            <p:cNvSpPr/>
            <p:nvPr/>
          </p:nvSpPr>
          <p:spPr>
            <a:xfrm>
              <a:off x="4073533" y="1634874"/>
              <a:ext cx="213654" cy="22332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8</a:t>
              </a:r>
            </a:p>
          </p:txBody>
        </p:sp>
      </p:grpSp>
      <p:grpSp>
        <p:nvGrpSpPr>
          <p:cNvPr id="265" name="Group 264">
            <a:extLst>
              <a:ext uri="{FF2B5EF4-FFF2-40B4-BE49-F238E27FC236}">
                <a16:creationId xmlns:a16="http://schemas.microsoft.com/office/drawing/2014/main" id="{B35B5457-087F-4319-56FF-1449FF392E7E}"/>
              </a:ext>
            </a:extLst>
          </p:cNvPr>
          <p:cNvGrpSpPr>
            <a:grpSpLocks noChangeAspect="1"/>
          </p:cNvGrpSpPr>
          <p:nvPr/>
        </p:nvGrpSpPr>
        <p:grpSpPr>
          <a:xfrm>
            <a:off x="9377383" y="3566603"/>
            <a:ext cx="158400" cy="166419"/>
            <a:chOff x="4068263" y="1628190"/>
            <a:chExt cx="218924" cy="230008"/>
          </a:xfrm>
        </p:grpSpPr>
        <p:sp>
          <p:nvSpPr>
            <p:cNvPr id="266" name="Oval 265">
              <a:extLst>
                <a:ext uri="{FF2B5EF4-FFF2-40B4-BE49-F238E27FC236}">
                  <a16:creationId xmlns:a16="http://schemas.microsoft.com/office/drawing/2014/main" id="{02F4A1A8-A4A8-9DB9-F163-A83E6E8FFB40}"/>
                </a:ext>
              </a:extLst>
            </p:cNvPr>
            <p:cNvSpPr/>
            <p:nvPr/>
          </p:nvSpPr>
          <p:spPr>
            <a:xfrm>
              <a:off x="4068263" y="1628190"/>
              <a:ext cx="218924" cy="21892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Helvetica"/>
                <a:ea typeface="+mn-ea"/>
                <a:cs typeface="+mn-cs"/>
              </a:endParaRPr>
            </a:p>
          </p:txBody>
        </p:sp>
        <p:sp>
          <p:nvSpPr>
            <p:cNvPr id="267" name="Rektangel 72">
              <a:extLst>
                <a:ext uri="{FF2B5EF4-FFF2-40B4-BE49-F238E27FC236}">
                  <a16:creationId xmlns:a16="http://schemas.microsoft.com/office/drawing/2014/main" id="{57DEA483-1852-987C-3A32-19F3B2FE260E}"/>
                </a:ext>
              </a:extLst>
            </p:cNvPr>
            <p:cNvSpPr/>
            <p:nvPr/>
          </p:nvSpPr>
          <p:spPr>
            <a:xfrm>
              <a:off x="4073533" y="1634874"/>
              <a:ext cx="213654" cy="22332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a:solidFill>
                    <a:prstClr val="white"/>
                  </a:solidFill>
                  <a:latin typeface="Helvetica" pitchFamily="2" charset="0"/>
                  <a:cs typeface="Arial" panose="020B0604020202020204" pitchFamily="34" charset="0"/>
                </a:rPr>
                <a:t>7</a:t>
              </a:r>
              <a:endParaRPr kumimoji="0" lang="en-GB" sz="105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endParaRPr>
            </a:p>
          </p:txBody>
        </p:sp>
      </p:grpSp>
      <p:grpSp>
        <p:nvGrpSpPr>
          <p:cNvPr id="268" name="Group 267">
            <a:extLst>
              <a:ext uri="{FF2B5EF4-FFF2-40B4-BE49-F238E27FC236}">
                <a16:creationId xmlns:a16="http://schemas.microsoft.com/office/drawing/2014/main" id="{32AC4D4F-09DB-88C6-C7B8-87998C15C538}"/>
              </a:ext>
            </a:extLst>
          </p:cNvPr>
          <p:cNvGrpSpPr>
            <a:grpSpLocks noChangeAspect="1"/>
          </p:cNvGrpSpPr>
          <p:nvPr/>
        </p:nvGrpSpPr>
        <p:grpSpPr>
          <a:xfrm>
            <a:off x="10498372" y="2911283"/>
            <a:ext cx="435145" cy="193826"/>
            <a:chOff x="3754179" y="1628190"/>
            <a:chExt cx="491487" cy="218924"/>
          </a:xfrm>
        </p:grpSpPr>
        <p:sp>
          <p:nvSpPr>
            <p:cNvPr id="269" name="Oval 268">
              <a:extLst>
                <a:ext uri="{FF2B5EF4-FFF2-40B4-BE49-F238E27FC236}">
                  <a16:creationId xmlns:a16="http://schemas.microsoft.com/office/drawing/2014/main" id="{3D6DD90E-6256-A341-4648-28A3EB405648}"/>
                </a:ext>
              </a:extLst>
            </p:cNvPr>
            <p:cNvSpPr/>
            <p:nvPr/>
          </p:nvSpPr>
          <p:spPr>
            <a:xfrm>
              <a:off x="3897985" y="1628190"/>
              <a:ext cx="218924" cy="21892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Helvetica"/>
                <a:ea typeface="+mn-ea"/>
                <a:cs typeface="+mn-cs"/>
              </a:endParaRPr>
            </a:p>
          </p:txBody>
        </p:sp>
        <p:sp>
          <p:nvSpPr>
            <p:cNvPr id="270" name="Rektangel 72">
              <a:extLst>
                <a:ext uri="{FF2B5EF4-FFF2-40B4-BE49-F238E27FC236}">
                  <a16:creationId xmlns:a16="http://schemas.microsoft.com/office/drawing/2014/main" id="{868A2094-4A26-043A-B4F7-278DA780614B}"/>
                </a:ext>
              </a:extLst>
            </p:cNvPr>
            <p:cNvSpPr/>
            <p:nvPr/>
          </p:nvSpPr>
          <p:spPr>
            <a:xfrm>
              <a:off x="3754179" y="1660982"/>
              <a:ext cx="491487" cy="17381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10</a:t>
              </a:r>
            </a:p>
          </p:txBody>
        </p:sp>
      </p:grpSp>
      <p:pic>
        <p:nvPicPr>
          <p:cNvPr id="8" name="Bilde 80" descr="Et bilde som inneholder tekst, leke, vektorgrafikk&#10;&#10;Automatisk generert beskrivelse">
            <a:extLst>
              <a:ext uri="{FF2B5EF4-FFF2-40B4-BE49-F238E27FC236}">
                <a16:creationId xmlns:a16="http://schemas.microsoft.com/office/drawing/2014/main" id="{BC108A2A-A6DA-2A48-FD6D-CCF9BDE4938F}"/>
              </a:ext>
            </a:extLst>
          </p:cNvPr>
          <p:cNvPicPr>
            <a:picLocks noChangeAspect="1"/>
          </p:cNvPicPr>
          <p:nvPr/>
        </p:nvPicPr>
        <p:blipFill rotWithShape="1">
          <a:blip r:embed="rId38" cstate="screen">
            <a:extLst>
              <a:ext uri="{28A0092B-C50C-407E-A947-70E740481C1C}">
                <a14:useLocalDpi xmlns:a14="http://schemas.microsoft.com/office/drawing/2010/main"/>
              </a:ext>
            </a:extLst>
          </a:blip>
          <a:srcRect/>
          <a:stretch/>
        </p:blipFill>
        <p:spPr>
          <a:xfrm>
            <a:off x="8841377" y="3515259"/>
            <a:ext cx="214097" cy="335844"/>
          </a:xfrm>
          <a:prstGeom prst="rect">
            <a:avLst/>
          </a:prstGeom>
        </p:spPr>
      </p:pic>
      <p:grpSp>
        <p:nvGrpSpPr>
          <p:cNvPr id="11" name="Group 10">
            <a:extLst>
              <a:ext uri="{FF2B5EF4-FFF2-40B4-BE49-F238E27FC236}">
                <a16:creationId xmlns:a16="http://schemas.microsoft.com/office/drawing/2014/main" id="{8BA2EA72-DD39-2B8F-19A9-42653F2EB3D3}"/>
              </a:ext>
            </a:extLst>
          </p:cNvPr>
          <p:cNvGrpSpPr>
            <a:grpSpLocks noChangeAspect="1"/>
          </p:cNvGrpSpPr>
          <p:nvPr/>
        </p:nvGrpSpPr>
        <p:grpSpPr>
          <a:xfrm>
            <a:off x="6767061" y="2139906"/>
            <a:ext cx="158400" cy="166419"/>
            <a:chOff x="4068263" y="1628190"/>
            <a:chExt cx="218924" cy="230008"/>
          </a:xfrm>
        </p:grpSpPr>
        <p:sp>
          <p:nvSpPr>
            <p:cNvPr id="23" name="Oval 22">
              <a:extLst>
                <a:ext uri="{FF2B5EF4-FFF2-40B4-BE49-F238E27FC236}">
                  <a16:creationId xmlns:a16="http://schemas.microsoft.com/office/drawing/2014/main" id="{3EADB9AB-B0BA-2A8A-9275-D99CE4A83C9D}"/>
                </a:ext>
              </a:extLst>
            </p:cNvPr>
            <p:cNvSpPr/>
            <p:nvPr/>
          </p:nvSpPr>
          <p:spPr>
            <a:xfrm>
              <a:off x="4068263" y="1628190"/>
              <a:ext cx="218924" cy="21892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Helvetica"/>
                <a:ea typeface="+mn-ea"/>
                <a:cs typeface="+mn-cs"/>
              </a:endParaRPr>
            </a:p>
          </p:txBody>
        </p:sp>
        <p:sp>
          <p:nvSpPr>
            <p:cNvPr id="24" name="Rektangel 72">
              <a:extLst>
                <a:ext uri="{FF2B5EF4-FFF2-40B4-BE49-F238E27FC236}">
                  <a16:creationId xmlns:a16="http://schemas.microsoft.com/office/drawing/2014/main" id="{9BE1C07A-984D-15A4-F8AA-C6D13B5CBE00}"/>
                </a:ext>
              </a:extLst>
            </p:cNvPr>
            <p:cNvSpPr/>
            <p:nvPr/>
          </p:nvSpPr>
          <p:spPr>
            <a:xfrm>
              <a:off x="4073533" y="1634874"/>
              <a:ext cx="213654" cy="22332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Helvetica" pitchFamily="2" charset="0"/>
                  <a:ea typeface="+mn-ea"/>
                  <a:cs typeface="Arial" panose="020B0604020202020204" pitchFamily="34" charset="0"/>
                </a:rPr>
                <a:t>6</a:t>
              </a:r>
            </a:p>
          </p:txBody>
        </p:sp>
      </p:grpSp>
      <p:pic>
        <p:nvPicPr>
          <p:cNvPr id="25" name="Graphic 15">
            <a:extLst>
              <a:ext uri="{FF2B5EF4-FFF2-40B4-BE49-F238E27FC236}">
                <a16:creationId xmlns:a16="http://schemas.microsoft.com/office/drawing/2014/main" id="{F0045CEE-1EEB-1972-9423-4D75BC65FE51}"/>
              </a:ext>
            </a:extLst>
          </p:cNvPr>
          <p:cNvPicPr>
            <a:picLocks noChangeAspect="1"/>
          </p:cNvPicPr>
          <p:nvPr/>
        </p:nvPicPr>
        <p:blipFill>
          <a:blip r:embed="rId39" cstate="email">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1904814" y="2601766"/>
            <a:ext cx="224901" cy="177050"/>
          </a:xfrm>
          <a:prstGeom prst="rect">
            <a:avLst/>
          </a:prstGeom>
        </p:spPr>
      </p:pic>
    </p:spTree>
    <p:extLst>
      <p:ext uri="{BB962C8B-B14F-4D97-AF65-F5344CB8AC3E}">
        <p14:creationId xmlns:p14="http://schemas.microsoft.com/office/powerpoint/2010/main" val="3160728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F59E1431-AE37-AA1A-0EE6-8ED405B4B960}"/>
              </a:ext>
            </a:extLst>
          </p:cNvPr>
          <p:cNvGrpSpPr/>
          <p:nvPr/>
        </p:nvGrpSpPr>
        <p:grpSpPr>
          <a:xfrm>
            <a:off x="6563488" y="1487474"/>
            <a:ext cx="4380737" cy="4565145"/>
            <a:chOff x="839788" y="1487474"/>
            <a:chExt cx="5524499" cy="4565145"/>
          </a:xfrm>
        </p:grpSpPr>
        <p:sp>
          <p:nvSpPr>
            <p:cNvPr id="19" name="Rectangle 18">
              <a:extLst>
                <a:ext uri="{FF2B5EF4-FFF2-40B4-BE49-F238E27FC236}">
                  <a16:creationId xmlns:a16="http://schemas.microsoft.com/office/drawing/2014/main" id="{240C2AC5-94AC-2DBF-C06D-D9970D0D495E}"/>
                </a:ext>
              </a:extLst>
            </p:cNvPr>
            <p:cNvSpPr/>
            <p:nvPr/>
          </p:nvSpPr>
          <p:spPr>
            <a:xfrm>
              <a:off x="839788" y="2121240"/>
              <a:ext cx="5524499" cy="3931379"/>
            </a:xfrm>
            <a:prstGeom prst="rect">
              <a:avLst/>
            </a:prstGeom>
            <a:solidFill>
              <a:schemeClr val="accent4">
                <a:lumMod val="20000"/>
                <a:lumOff val="80000"/>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cxnSp>
          <p:nvCxnSpPr>
            <p:cNvPr id="20" name="Straight Connector 19">
              <a:extLst>
                <a:ext uri="{FF2B5EF4-FFF2-40B4-BE49-F238E27FC236}">
                  <a16:creationId xmlns:a16="http://schemas.microsoft.com/office/drawing/2014/main" id="{DFA6750B-7735-B1FD-FFB1-14065E8F2426}"/>
                </a:ext>
              </a:extLst>
            </p:cNvPr>
            <p:cNvCxnSpPr>
              <a:cxnSpLocks/>
            </p:cNvCxnSpPr>
            <p:nvPr/>
          </p:nvCxnSpPr>
          <p:spPr>
            <a:xfrm>
              <a:off x="839789" y="1487474"/>
              <a:ext cx="5519117"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21" name="Straight Connector 20">
              <a:extLst>
                <a:ext uri="{FF2B5EF4-FFF2-40B4-BE49-F238E27FC236}">
                  <a16:creationId xmlns:a16="http://schemas.microsoft.com/office/drawing/2014/main" id="{73ECA5DD-11E7-BD11-C330-02774B7A27BD}"/>
                </a:ext>
              </a:extLst>
            </p:cNvPr>
            <p:cNvCxnSpPr>
              <a:cxnSpLocks/>
            </p:cNvCxnSpPr>
            <p:nvPr/>
          </p:nvCxnSpPr>
          <p:spPr>
            <a:xfrm>
              <a:off x="839789" y="2091294"/>
              <a:ext cx="5519117" cy="0"/>
            </a:xfrm>
            <a:prstGeom prst="line">
              <a:avLst/>
            </a:prstGeom>
            <a:ln w="12700"/>
          </p:spPr>
          <p:style>
            <a:lnRef idx="1">
              <a:schemeClr val="accent2"/>
            </a:lnRef>
            <a:fillRef idx="0">
              <a:schemeClr val="accent2"/>
            </a:fillRef>
            <a:effectRef idx="0">
              <a:schemeClr val="accent2"/>
            </a:effectRef>
            <a:fontRef idx="minor">
              <a:schemeClr val="tx1"/>
            </a:fontRef>
          </p:style>
        </p:cxnSp>
      </p:grpSp>
      <p:grpSp>
        <p:nvGrpSpPr>
          <p:cNvPr id="17" name="Group 16">
            <a:extLst>
              <a:ext uri="{FF2B5EF4-FFF2-40B4-BE49-F238E27FC236}">
                <a16:creationId xmlns:a16="http://schemas.microsoft.com/office/drawing/2014/main" id="{A09D1A31-94B0-0929-48EF-73CB76EFC908}"/>
              </a:ext>
            </a:extLst>
          </p:cNvPr>
          <p:cNvGrpSpPr/>
          <p:nvPr/>
        </p:nvGrpSpPr>
        <p:grpSpPr>
          <a:xfrm>
            <a:off x="812800" y="1487474"/>
            <a:ext cx="5559425" cy="4565145"/>
            <a:chOff x="812800" y="1487474"/>
            <a:chExt cx="5551487" cy="4565145"/>
          </a:xfrm>
        </p:grpSpPr>
        <p:sp>
          <p:nvSpPr>
            <p:cNvPr id="3" name="Rectangle 2">
              <a:extLst>
                <a:ext uri="{FF2B5EF4-FFF2-40B4-BE49-F238E27FC236}">
                  <a16:creationId xmlns:a16="http://schemas.microsoft.com/office/drawing/2014/main" id="{D067E5EF-7064-1FB0-7CD9-E974F70EE97D}"/>
                </a:ext>
              </a:extLst>
            </p:cNvPr>
            <p:cNvSpPr/>
            <p:nvPr/>
          </p:nvSpPr>
          <p:spPr>
            <a:xfrm>
              <a:off x="839788" y="2121240"/>
              <a:ext cx="5524499" cy="3931379"/>
            </a:xfrm>
            <a:prstGeom prst="rect">
              <a:avLst/>
            </a:prstGeom>
            <a:solidFill>
              <a:schemeClr val="accent4">
                <a:lumMod val="20000"/>
                <a:lumOff val="80000"/>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cxnSp>
          <p:nvCxnSpPr>
            <p:cNvPr id="10" name="Straight Connector 9">
              <a:extLst>
                <a:ext uri="{FF2B5EF4-FFF2-40B4-BE49-F238E27FC236}">
                  <a16:creationId xmlns:a16="http://schemas.microsoft.com/office/drawing/2014/main" id="{3D3D3251-3FE7-195D-57F0-43DC3481B81E}"/>
                </a:ext>
              </a:extLst>
            </p:cNvPr>
            <p:cNvCxnSpPr>
              <a:cxnSpLocks/>
            </p:cNvCxnSpPr>
            <p:nvPr/>
          </p:nvCxnSpPr>
          <p:spPr>
            <a:xfrm>
              <a:off x="812800" y="1487474"/>
              <a:ext cx="5546106"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12" name="Straight Connector 11">
              <a:extLst>
                <a:ext uri="{FF2B5EF4-FFF2-40B4-BE49-F238E27FC236}">
                  <a16:creationId xmlns:a16="http://schemas.microsoft.com/office/drawing/2014/main" id="{2AB14CB2-4433-4169-304C-9F6D6CF40493}"/>
                </a:ext>
              </a:extLst>
            </p:cNvPr>
            <p:cNvCxnSpPr>
              <a:cxnSpLocks/>
            </p:cNvCxnSpPr>
            <p:nvPr/>
          </p:nvCxnSpPr>
          <p:spPr>
            <a:xfrm>
              <a:off x="812800" y="2091294"/>
              <a:ext cx="5546106" cy="0"/>
            </a:xfrm>
            <a:prstGeom prst="line">
              <a:avLst/>
            </a:prstGeom>
            <a:ln w="12700"/>
          </p:spPr>
          <p:style>
            <a:lnRef idx="1">
              <a:schemeClr val="accent2"/>
            </a:lnRef>
            <a:fillRef idx="0">
              <a:schemeClr val="accent2"/>
            </a:fillRef>
            <a:effectRef idx="0">
              <a:schemeClr val="accent2"/>
            </a:effectRef>
            <a:fontRef idx="minor">
              <a:schemeClr val="tx1"/>
            </a:fontRef>
          </p:style>
        </p:cxnSp>
      </p:grpSp>
      <p:graphicFrame>
        <p:nvGraphicFramePr>
          <p:cNvPr id="4" name="think-cell data - do not delete" hidden="1">
            <a:extLst>
              <a:ext uri="{FF2B5EF4-FFF2-40B4-BE49-F238E27FC236}">
                <a16:creationId xmlns:a16="http://schemas.microsoft.com/office/drawing/2014/main" id="{6E8827E0-1DA4-039D-9058-31CCBA5BF21A}"/>
              </a:ext>
            </a:extLst>
          </p:cNvPr>
          <p:cNvGraphicFramePr>
            <a:graphicFrameLocks noChangeAspect="1"/>
          </p:cNvGraphicFramePr>
          <p:nvPr>
            <p:custDataLst>
              <p:tags r:id="rId1"/>
            </p:custDataLst>
            <p:extLst>
              <p:ext uri="{D42A27DB-BD31-4B8C-83A1-F6EECF244321}">
                <p14:modId xmlns:p14="http://schemas.microsoft.com/office/powerpoint/2010/main" val="14768758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6E8827E0-1DA4-039D-9058-31CCBA5BF21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F85F4BE-40FC-0275-12E7-D798330B4A70}"/>
              </a:ext>
            </a:extLst>
          </p:cNvPr>
          <p:cNvSpPr>
            <a:spLocks noGrp="1"/>
          </p:cNvSpPr>
          <p:nvPr>
            <p:ph type="title"/>
          </p:nvPr>
        </p:nvSpPr>
        <p:spPr>
          <a:xfrm>
            <a:off x="741777" y="522658"/>
            <a:ext cx="10671895" cy="763304"/>
          </a:xfrm>
        </p:spPr>
        <p:txBody>
          <a:bodyPr vert="horz">
            <a:normAutofit/>
          </a:bodyPr>
          <a:lstStyle/>
          <a:p>
            <a:r>
              <a:rPr lang="en-GB" sz="4400"/>
              <a:t>M&amp;A update</a:t>
            </a:r>
          </a:p>
        </p:txBody>
      </p:sp>
      <p:sp>
        <p:nvSpPr>
          <p:cNvPr id="7" name="TextBox 31">
            <a:extLst>
              <a:ext uri="{FF2B5EF4-FFF2-40B4-BE49-F238E27FC236}">
                <a16:creationId xmlns:a16="http://schemas.microsoft.com/office/drawing/2014/main" id="{29989AAE-FD21-CBB7-853D-A75BA7A72EBA}"/>
              </a:ext>
            </a:extLst>
          </p:cNvPr>
          <p:cNvSpPr txBox="1"/>
          <p:nvPr/>
        </p:nvSpPr>
        <p:spPr>
          <a:xfrm>
            <a:off x="984236" y="2359462"/>
            <a:ext cx="5173748" cy="329320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141E50"/>
                </a:solidFill>
                <a:effectLst/>
                <a:uLnTx/>
                <a:uFillTx/>
                <a:latin typeface="Helvetica" pitchFamily="2" charset="0"/>
                <a:ea typeface="+mn-ea"/>
                <a:cs typeface="+mn-cs"/>
              </a:rPr>
              <a:t>StrongPoint ALS (UK and Ireland) – June 2022</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Revenue of MNOK 283 in 2023</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Stand-alone first year (Shopfitt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Integration completed ~summer 2024 with new leadership team</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Expanded offerings, e.g. ESL, </a:t>
            </a:r>
            <a:r>
              <a:rPr kumimoji="0" lang="en-GB" sz="1600" b="0" i="0" u="none" strike="noStrike" kern="1200" cap="none" spc="0" normalizeH="0" baseline="0" noProof="0" err="1">
                <a:ln>
                  <a:noFill/>
                </a:ln>
                <a:solidFill>
                  <a:srgbClr val="141E50"/>
                </a:solidFill>
                <a:effectLst/>
                <a:uLnTx/>
                <a:uFillTx/>
                <a:latin typeface="Helvetica Light" panose="020B0403020202020204" pitchFamily="34" charset="0"/>
                <a:ea typeface="+mn-ea"/>
                <a:cs typeface="+mn-cs"/>
              </a:rPr>
              <a:t>Vensafe</a:t>
            </a:r>
            <a:r>
              <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 Order Pick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141E50"/>
                </a:solidFill>
                <a:effectLst/>
                <a:uLnTx/>
                <a:uFillTx/>
                <a:latin typeface="Helvetica" pitchFamily="2" charset="0"/>
                <a:ea typeface="+mn-ea"/>
                <a:cs typeface="+mn-cs"/>
              </a:rPr>
              <a:t>StrongPoint </a:t>
            </a:r>
            <a:r>
              <a:rPr kumimoji="0" lang="en-GB" sz="1600" b="1" i="0" u="none" strike="noStrike" kern="1200" cap="none" spc="0" normalizeH="0" baseline="0" noProof="0" err="1">
                <a:ln>
                  <a:noFill/>
                </a:ln>
                <a:solidFill>
                  <a:srgbClr val="141E50"/>
                </a:solidFill>
                <a:effectLst/>
                <a:uLnTx/>
                <a:uFillTx/>
                <a:latin typeface="Helvetica" pitchFamily="2" charset="0"/>
                <a:ea typeface="+mn-ea"/>
                <a:cs typeface="+mn-cs"/>
              </a:rPr>
              <a:t>Hamari</a:t>
            </a:r>
            <a:r>
              <a:rPr kumimoji="0" lang="en-GB" sz="1600" b="1" i="0" u="none" strike="noStrike" kern="1200" cap="none" spc="0" normalizeH="0" baseline="0" noProof="0">
                <a:ln>
                  <a:noFill/>
                </a:ln>
                <a:solidFill>
                  <a:srgbClr val="141E50"/>
                </a:solidFill>
                <a:effectLst/>
                <a:uLnTx/>
                <a:uFillTx/>
                <a:latin typeface="Helvetica" pitchFamily="2" charset="0"/>
                <a:ea typeface="+mn-ea"/>
                <a:cs typeface="+mn-cs"/>
              </a:rPr>
              <a:t> (Finland) – October 2023</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Revenue of MNOK 14 in 2023</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Operating stand-alone, but included in the Baltics region, focusing on commercial synergi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p:txBody>
      </p:sp>
      <p:sp>
        <p:nvSpPr>
          <p:cNvPr id="6" name="TextBox 31">
            <a:extLst>
              <a:ext uri="{FF2B5EF4-FFF2-40B4-BE49-F238E27FC236}">
                <a16:creationId xmlns:a16="http://schemas.microsoft.com/office/drawing/2014/main" id="{B4ADCBBC-79BD-941E-37C8-DEF248124E60}"/>
              </a:ext>
            </a:extLst>
          </p:cNvPr>
          <p:cNvSpPr txBox="1"/>
          <p:nvPr/>
        </p:nvSpPr>
        <p:spPr>
          <a:xfrm>
            <a:off x="6717937" y="2371087"/>
            <a:ext cx="3819433" cy="3170099"/>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Short-term focus on improving current operations</a:t>
            </a:r>
            <a:endParaRPr lang="en-GB" sz="1600">
              <a:solidFill>
                <a:srgbClr val="141E50"/>
              </a:solidFill>
              <a:latin typeface="Helvetica Light" panose="020B0403020202020204" pitchFamily="34" charset="0"/>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M&amp;A could be important lever going forward at the right time and in the right condition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Complementary solutions which could add to our current offering and strengthen our USP</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endParaRPr>
          </a:p>
        </p:txBody>
      </p:sp>
      <p:sp>
        <p:nvSpPr>
          <p:cNvPr id="8" name="TextBox 7">
            <a:extLst>
              <a:ext uri="{FF2B5EF4-FFF2-40B4-BE49-F238E27FC236}">
                <a16:creationId xmlns:a16="http://schemas.microsoft.com/office/drawing/2014/main" id="{89EB11C2-6ECB-046B-96E9-10B8687ACD64}"/>
              </a:ext>
            </a:extLst>
          </p:cNvPr>
          <p:cNvSpPr txBox="1"/>
          <p:nvPr/>
        </p:nvSpPr>
        <p:spPr>
          <a:xfrm>
            <a:off x="984236" y="1606183"/>
            <a:ext cx="428897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141E50"/>
                </a:solidFill>
                <a:effectLst/>
                <a:uLnTx/>
                <a:uFillTx/>
                <a:latin typeface="Helvetica" pitchFamily="2" charset="0"/>
                <a:ea typeface="+mn-ea"/>
                <a:cs typeface="+mn-cs"/>
              </a:rPr>
              <a:t>Integration of completed acquisitions</a:t>
            </a:r>
          </a:p>
        </p:txBody>
      </p:sp>
      <p:sp>
        <p:nvSpPr>
          <p:cNvPr id="9" name="TextBox 8">
            <a:extLst>
              <a:ext uri="{FF2B5EF4-FFF2-40B4-BE49-F238E27FC236}">
                <a16:creationId xmlns:a16="http://schemas.microsoft.com/office/drawing/2014/main" id="{3253B351-E3BD-6AB9-2DF2-9970E445E71B}"/>
              </a:ext>
            </a:extLst>
          </p:cNvPr>
          <p:cNvSpPr txBox="1"/>
          <p:nvPr/>
        </p:nvSpPr>
        <p:spPr>
          <a:xfrm>
            <a:off x="6717938" y="1606183"/>
            <a:ext cx="428897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141E50"/>
                </a:solidFill>
                <a:effectLst/>
                <a:uLnTx/>
                <a:uFillTx/>
                <a:latin typeface="Helvetica" pitchFamily="2" charset="0"/>
                <a:ea typeface="+mn-ea"/>
                <a:cs typeface="+mn-cs"/>
              </a:rPr>
              <a:t>M&amp;A activities</a:t>
            </a:r>
            <a:r>
              <a:rPr lang="en-GB" b="1">
                <a:solidFill>
                  <a:srgbClr val="141E50"/>
                </a:solidFill>
                <a:latin typeface="Helvetica" pitchFamily="2" charset="0"/>
              </a:rPr>
              <a:t> and looking ahead</a:t>
            </a:r>
            <a:endParaRPr kumimoji="0" lang="en-GB" sz="1800" b="1" i="0" u="none" strike="noStrike" kern="1200" cap="none" spc="0" normalizeH="0" baseline="0" noProof="0">
              <a:ln>
                <a:noFill/>
              </a:ln>
              <a:solidFill>
                <a:srgbClr val="141E50"/>
              </a:solidFill>
              <a:effectLst/>
              <a:uLnTx/>
              <a:uFillTx/>
              <a:latin typeface="Helvetica" pitchFamily="2" charset="0"/>
              <a:ea typeface="+mn-ea"/>
              <a:cs typeface="+mn-cs"/>
            </a:endParaRPr>
          </a:p>
        </p:txBody>
      </p:sp>
    </p:spTree>
    <p:extLst>
      <p:ext uri="{BB962C8B-B14F-4D97-AF65-F5344CB8AC3E}">
        <p14:creationId xmlns:p14="http://schemas.microsoft.com/office/powerpoint/2010/main" val="3320656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E8827E0-1DA4-039D-9058-31CCBA5BF21A}"/>
              </a:ext>
            </a:extLst>
          </p:cNvPr>
          <p:cNvGraphicFramePr>
            <a:graphicFrameLocks noChangeAspect="1"/>
          </p:cNvGraphicFramePr>
          <p:nvPr>
            <p:custDataLst>
              <p:tags r:id="rId1"/>
            </p:custDataLst>
            <p:extLst>
              <p:ext uri="{D42A27DB-BD31-4B8C-83A1-F6EECF244321}">
                <p14:modId xmlns:p14="http://schemas.microsoft.com/office/powerpoint/2010/main" val="1907355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4" name="think-cell data - do not delete" hidden="1">
                        <a:extLst>
                          <a:ext uri="{FF2B5EF4-FFF2-40B4-BE49-F238E27FC236}">
                            <a16:creationId xmlns:a16="http://schemas.microsoft.com/office/drawing/2014/main" id="{6E8827E0-1DA4-039D-9058-31CCBA5BF21A}"/>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37" name="Rectangle 36">
            <a:extLst>
              <a:ext uri="{FF2B5EF4-FFF2-40B4-BE49-F238E27FC236}">
                <a16:creationId xmlns:a16="http://schemas.microsoft.com/office/drawing/2014/main" id="{17E2E876-1A15-4C10-C48D-D8C5EBE71B8F}"/>
              </a:ext>
            </a:extLst>
          </p:cNvPr>
          <p:cNvSpPr/>
          <p:nvPr/>
        </p:nvSpPr>
        <p:spPr>
          <a:xfrm>
            <a:off x="571500" y="1401746"/>
            <a:ext cx="6900021" cy="4417791"/>
          </a:xfrm>
          <a:prstGeom prst="rect">
            <a:avLst/>
          </a:prstGeom>
          <a:solidFill>
            <a:schemeClr val="accent4">
              <a:lumMod val="20000"/>
              <a:lumOff val="80000"/>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5" name="TextBox 31">
            <a:extLst>
              <a:ext uri="{FF2B5EF4-FFF2-40B4-BE49-F238E27FC236}">
                <a16:creationId xmlns:a16="http://schemas.microsoft.com/office/drawing/2014/main" id="{7074EC5B-64A3-29FC-C0E4-321D0E01EB8B}"/>
              </a:ext>
            </a:extLst>
          </p:cNvPr>
          <p:cNvSpPr txBox="1"/>
          <p:nvPr/>
        </p:nvSpPr>
        <p:spPr>
          <a:xfrm>
            <a:off x="7928318" y="1704248"/>
            <a:ext cx="3610875" cy="3970318"/>
          </a:xfrm>
          <a:prstGeom prst="rect">
            <a:avLst/>
          </a:prstGeom>
          <a:noFill/>
        </p:spPr>
        <p:txBody>
          <a:bodyPr wrap="square">
            <a:spAutoFit/>
          </a:bodyPr>
          <a:lstStyle/>
          <a:p>
            <a:pPr marL="285750" indent="-285750">
              <a:spcBef>
                <a:spcPts val="1800"/>
              </a:spcBef>
              <a:buFont typeface="Arial" panose="020B0604020202020204" pitchFamily="34" charset="0"/>
              <a:buChar char="•"/>
            </a:pPr>
            <a:r>
              <a:rPr lang="en-GB" sz="1600">
                <a:solidFill>
                  <a:srgbClr val="141E50"/>
                </a:solidFill>
                <a:latin typeface="Helvetica Light" panose="020B0403020202020204" pitchFamily="34" charset="0"/>
              </a:rPr>
              <a:t>Increase of (not interest-bearing) lease obligations in 2023 due to new premises in Norway</a:t>
            </a:r>
          </a:p>
          <a:p>
            <a:pPr marL="285750" indent="-285750">
              <a:spcBef>
                <a:spcPts val="1800"/>
              </a:spcBef>
              <a:buFont typeface="Arial" panose="020B0604020202020204" pitchFamily="34" charset="0"/>
              <a:buChar char="•"/>
            </a:pPr>
            <a:r>
              <a:rPr lang="en-GB" sz="1600">
                <a:solidFill>
                  <a:srgbClr val="141E50"/>
                </a:solidFill>
                <a:latin typeface="Helvetica Light" panose="020B0403020202020204" pitchFamily="34" charset="0"/>
              </a:rPr>
              <a:t>Gone from almost zero interest bearing debt to debt situation</a:t>
            </a:r>
          </a:p>
          <a:p>
            <a:pPr marL="285750" indent="-285750">
              <a:spcBef>
                <a:spcPts val="1800"/>
              </a:spcBef>
              <a:buFont typeface="Arial" panose="020B0604020202020204" pitchFamily="34" charset="0"/>
              <a:buChar char="•"/>
            </a:pPr>
            <a:r>
              <a:rPr lang="en-GB" sz="1600">
                <a:solidFill>
                  <a:srgbClr val="141E50"/>
                </a:solidFill>
                <a:latin typeface="Helvetica Light" panose="020B0403020202020204" pitchFamily="34" charset="0"/>
              </a:rPr>
              <a:t>Secured new financing better suited to our growth ambitions in UK and Spain with bigger, more demanding customers</a:t>
            </a:r>
          </a:p>
          <a:p>
            <a:pPr marL="285750" indent="-285750">
              <a:spcBef>
                <a:spcPts val="1800"/>
              </a:spcBef>
              <a:buFont typeface="Arial" panose="020B0604020202020204" pitchFamily="34" charset="0"/>
              <a:buChar char="•"/>
            </a:pPr>
            <a:r>
              <a:rPr lang="en-GB" sz="1600">
                <a:solidFill>
                  <a:srgbClr val="141E50"/>
                </a:solidFill>
                <a:latin typeface="Helvetica Light" panose="020B0403020202020204" pitchFamily="34" charset="0"/>
              </a:rPr>
              <a:t>Equity ratio covenant of 30%</a:t>
            </a:r>
          </a:p>
          <a:p>
            <a:pPr marL="285750" indent="-285750">
              <a:spcBef>
                <a:spcPts val="1800"/>
              </a:spcBef>
              <a:buFont typeface="Arial" panose="020B0604020202020204" pitchFamily="34" charset="0"/>
              <a:buChar char="•"/>
            </a:pPr>
            <a:r>
              <a:rPr lang="en-GB" sz="1600">
                <a:solidFill>
                  <a:srgbClr val="141E50"/>
                </a:solidFill>
                <a:latin typeface="Helvetica Light" panose="020B0403020202020204" pitchFamily="34" charset="0"/>
              </a:rPr>
              <a:t>Solid balance sheet with 46% equity ratio</a:t>
            </a:r>
          </a:p>
        </p:txBody>
      </p:sp>
      <p:sp>
        <p:nvSpPr>
          <p:cNvPr id="7" name="Title 1">
            <a:extLst>
              <a:ext uri="{FF2B5EF4-FFF2-40B4-BE49-F238E27FC236}">
                <a16:creationId xmlns:a16="http://schemas.microsoft.com/office/drawing/2014/main" id="{A5A646B2-592D-437C-FB5B-414B8038F3E5}"/>
              </a:ext>
            </a:extLst>
          </p:cNvPr>
          <p:cNvSpPr>
            <a:spLocks noGrp="1"/>
          </p:cNvSpPr>
          <p:nvPr>
            <p:ph type="title"/>
          </p:nvPr>
        </p:nvSpPr>
        <p:spPr>
          <a:xfrm>
            <a:off x="741777" y="522658"/>
            <a:ext cx="10671895" cy="1036620"/>
          </a:xfrm>
        </p:spPr>
        <p:txBody>
          <a:bodyPr vert="horz">
            <a:normAutofit/>
          </a:bodyPr>
          <a:lstStyle/>
          <a:p>
            <a:r>
              <a:rPr lang="en-GB" sz="4400"/>
              <a:t>Financing update</a:t>
            </a:r>
          </a:p>
        </p:txBody>
      </p:sp>
      <p:sp>
        <p:nvSpPr>
          <p:cNvPr id="2" name="Plassholder for innhold 3">
            <a:extLst>
              <a:ext uri="{FF2B5EF4-FFF2-40B4-BE49-F238E27FC236}">
                <a16:creationId xmlns:a16="http://schemas.microsoft.com/office/drawing/2014/main" id="{93E8E102-489D-EBDD-885E-8522ADC92FFD}"/>
              </a:ext>
            </a:extLst>
          </p:cNvPr>
          <p:cNvSpPr txBox="1">
            <a:spLocks/>
          </p:cNvSpPr>
          <p:nvPr/>
        </p:nvSpPr>
        <p:spPr>
          <a:xfrm>
            <a:off x="675534" y="1473375"/>
            <a:ext cx="6927008" cy="804229"/>
          </a:xfrm>
          <a:prstGeom prst="rect">
            <a:avLst/>
          </a:prstGeom>
          <a:no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1800" b="1">
                <a:solidFill>
                  <a:srgbClr val="1E1E50"/>
                </a:solidFill>
                <a:latin typeface="Helvetica" pitchFamily="2" charset="0"/>
                <a:cs typeface="Arial" panose="020B0604020202020204" pitchFamily="34" charset="0"/>
              </a:rPr>
              <a:t>Net interest-bearing debt and IFRS 16 lease obligations </a:t>
            </a:r>
            <a:r>
              <a:rPr lang="en-US" sz="1800">
                <a:solidFill>
                  <a:srgbClr val="1E1E50"/>
                </a:solidFill>
                <a:latin typeface="Helvetica" pitchFamily="2" charset="0"/>
                <a:cs typeface="Arial" panose="020B0604020202020204" pitchFamily="34" charset="0"/>
              </a:rPr>
              <a:t>(MNOK)</a:t>
            </a:r>
            <a:endParaRPr kumimoji="0" lang="en-US" sz="1800" i="0" u="none" strike="noStrike" kern="1200" cap="none" spc="0" normalizeH="0" baseline="0" noProof="0">
              <a:ln>
                <a:noFill/>
              </a:ln>
              <a:solidFill>
                <a:srgbClr val="1E1E50"/>
              </a:solidFill>
              <a:effectLst/>
              <a:uLnTx/>
              <a:uFillTx/>
              <a:latin typeface="Helvetica" pitchFamily="2" charset="0"/>
              <a:ea typeface="+mn-ea"/>
              <a:cs typeface="Arial" panose="020B0604020202020204" pitchFamily="34" charset="0"/>
            </a:endParaRPr>
          </a:p>
        </p:txBody>
      </p:sp>
      <p:cxnSp>
        <p:nvCxnSpPr>
          <p:cNvPr id="3" name="Straight Connector 2">
            <a:extLst>
              <a:ext uri="{FF2B5EF4-FFF2-40B4-BE49-F238E27FC236}">
                <a16:creationId xmlns:a16="http://schemas.microsoft.com/office/drawing/2014/main" id="{6516A3E0-B9C4-B835-BE87-5F50F7D549E1}"/>
              </a:ext>
            </a:extLst>
          </p:cNvPr>
          <p:cNvCxnSpPr>
            <a:cxnSpLocks/>
          </p:cNvCxnSpPr>
          <p:nvPr/>
        </p:nvCxnSpPr>
        <p:spPr>
          <a:xfrm>
            <a:off x="544513" y="1401746"/>
            <a:ext cx="6927008" cy="0"/>
          </a:xfrm>
          <a:prstGeom prst="line">
            <a:avLst/>
          </a:prstGeom>
          <a:ln w="12700"/>
        </p:spPr>
        <p:style>
          <a:lnRef idx="1">
            <a:schemeClr val="accent2"/>
          </a:lnRef>
          <a:fillRef idx="0">
            <a:schemeClr val="accent2"/>
          </a:fillRef>
          <a:effectRef idx="0">
            <a:schemeClr val="accent2"/>
          </a:effectRef>
          <a:fontRef idx="minor">
            <a:schemeClr val="tx1"/>
          </a:fontRef>
        </p:style>
      </p:cxnSp>
      <p:graphicFrame>
        <p:nvGraphicFramePr>
          <p:cNvPr id="8" name="Chart 7">
            <a:extLst>
              <a:ext uri="{FF2B5EF4-FFF2-40B4-BE49-F238E27FC236}">
                <a16:creationId xmlns:a16="http://schemas.microsoft.com/office/drawing/2014/main" id="{B17543B0-D92C-E0C3-9114-053A7284E5BF}"/>
              </a:ext>
            </a:extLst>
          </p:cNvPr>
          <p:cNvGraphicFramePr/>
          <p:nvPr>
            <p:custDataLst>
              <p:tags r:id="rId2"/>
            </p:custDataLst>
          </p:nvPr>
        </p:nvGraphicFramePr>
        <p:xfrm>
          <a:off x="652806" y="1971675"/>
          <a:ext cx="6588125" cy="3714750"/>
        </p:xfrm>
        <a:graphic>
          <a:graphicData uri="http://schemas.openxmlformats.org/drawingml/2006/chart">
            <c:chart xmlns:c="http://schemas.openxmlformats.org/drawingml/2006/chart" xmlns:r="http://schemas.openxmlformats.org/officeDocument/2006/relationships" r:id="rId17"/>
          </a:graphicData>
        </a:graphic>
      </p:graphicFrame>
      <p:sp>
        <p:nvSpPr>
          <p:cNvPr id="11" name="Rectangle 10">
            <a:extLst>
              <a:ext uri="{FF2B5EF4-FFF2-40B4-BE49-F238E27FC236}">
                <a16:creationId xmlns:a16="http://schemas.microsoft.com/office/drawing/2014/main" id="{EBFA2CF1-3ECF-0990-4860-CF6397353E11}"/>
              </a:ext>
            </a:extLst>
          </p:cNvPr>
          <p:cNvSpPr/>
          <p:nvPr>
            <p:custDataLst>
              <p:tags r:id="rId3"/>
            </p:custDataLst>
          </p:nvPr>
        </p:nvSpPr>
        <p:spPr bwMode="auto">
          <a:xfrm>
            <a:off x="1506881" y="5437188"/>
            <a:ext cx="598488" cy="2444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6E8B2154-92B1-4A28-A7C7-ADBAB454267A}" type="datetime'''2''0''''''''''''''2''''''2''''''A'''''''''''''">
              <a:rPr lang="en-GB" altLang="en-US" sz="1200" smtClean="0">
                <a:solidFill>
                  <a:schemeClr val="tx1"/>
                </a:solidFill>
                <a:latin typeface="Helvetica Light" panose="020B0403020202020204" pitchFamily="34" charset="0"/>
              </a:rPr>
              <a:pPr algn="ctr">
                <a:spcBef>
                  <a:spcPct val="0"/>
                </a:spcBef>
                <a:spcAft>
                  <a:spcPct val="0"/>
                </a:spcAft>
              </a:pPr>
              <a:t>2022A</a:t>
            </a:fld>
            <a:endParaRPr lang="en-GB" sz="1200">
              <a:solidFill>
                <a:schemeClr val="tx1"/>
              </a:solidFill>
              <a:latin typeface="Helvetica Light" panose="020B0403020202020204" pitchFamily="34" charset="0"/>
            </a:endParaRPr>
          </a:p>
        </p:txBody>
      </p:sp>
      <p:sp>
        <p:nvSpPr>
          <p:cNvPr id="41" name="Rectangle 40">
            <a:extLst>
              <a:ext uri="{FF2B5EF4-FFF2-40B4-BE49-F238E27FC236}">
                <a16:creationId xmlns:a16="http://schemas.microsoft.com/office/drawing/2014/main" id="{8E9191DB-06F7-1DFE-9557-82D5DBF8C97A}"/>
              </a:ext>
            </a:extLst>
          </p:cNvPr>
          <p:cNvSpPr/>
          <p:nvPr>
            <p:custDataLst>
              <p:tags r:id="rId4"/>
            </p:custDataLst>
          </p:nvPr>
        </p:nvSpPr>
        <p:spPr bwMode="auto">
          <a:xfrm>
            <a:off x="3646831" y="5437188"/>
            <a:ext cx="598488" cy="2444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AA715F68-A4C0-4B75-B2F1-C14FAEB0454F}" type="datetime'2''02''''''''''''''''3''''''''''''A'''''">
              <a:rPr lang="en-GB" altLang="en-US" sz="1200" smtClean="0">
                <a:solidFill>
                  <a:schemeClr val="tx1"/>
                </a:solidFill>
                <a:latin typeface="Helvetica Light" panose="020B0403020202020204" pitchFamily="34" charset="0"/>
              </a:rPr>
              <a:pPr algn="ctr">
                <a:spcBef>
                  <a:spcPct val="0"/>
                </a:spcBef>
                <a:spcAft>
                  <a:spcPct val="0"/>
                </a:spcAft>
              </a:pPr>
              <a:t>2023A</a:t>
            </a:fld>
            <a:endParaRPr lang="en-GB" sz="1200">
              <a:solidFill>
                <a:schemeClr val="tx1"/>
              </a:solidFill>
              <a:latin typeface="Helvetica Light" panose="020B0403020202020204" pitchFamily="34" charset="0"/>
            </a:endParaRPr>
          </a:p>
        </p:txBody>
      </p:sp>
      <p:sp>
        <p:nvSpPr>
          <p:cNvPr id="17" name="Rectangle 16">
            <a:extLst>
              <a:ext uri="{FF2B5EF4-FFF2-40B4-BE49-F238E27FC236}">
                <a16:creationId xmlns:a16="http://schemas.microsoft.com/office/drawing/2014/main" id="{58838500-1960-AA44-FC9F-3FEBEB174F43}"/>
              </a:ext>
            </a:extLst>
          </p:cNvPr>
          <p:cNvSpPr/>
          <p:nvPr>
            <p:custDataLst>
              <p:tags r:id="rId5"/>
            </p:custDataLst>
          </p:nvPr>
        </p:nvSpPr>
        <p:spPr bwMode="gray">
          <a:xfrm>
            <a:off x="1698969" y="5094288"/>
            <a:ext cx="214313" cy="274638"/>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36513" tIns="0" rIns="36513" bIns="0" rtlCol="0" anchor="ctr"/>
          <a:lstStyle/>
          <a:p>
            <a:pPr algn="ctr">
              <a:lnSpc>
                <a:spcPct val="90000"/>
              </a:lnSpc>
              <a:spcBef>
                <a:spcPct val="0"/>
              </a:spcBef>
              <a:spcAft>
                <a:spcPct val="0"/>
              </a:spcAft>
            </a:pPr>
            <a:fld id="{92D3E9B5-1B36-44F6-BCFB-2A71D50EDA93}" type="datetime'''''''''''''''''''''''''''''''''''3'''''''''''''">
              <a:rPr lang="en-GB" altLang="en-US" sz="2000" b="1" smtClean="0">
                <a:solidFill>
                  <a:schemeClr val="tx1"/>
                </a:solidFill>
                <a:latin typeface="Helvetica" pitchFamily="2" charset="0"/>
              </a:rPr>
              <a:pPr algn="ctr">
                <a:lnSpc>
                  <a:spcPct val="90000"/>
                </a:lnSpc>
                <a:spcBef>
                  <a:spcPct val="0"/>
                </a:spcBef>
                <a:spcAft>
                  <a:spcPct val="0"/>
                </a:spcAft>
              </a:pPr>
              <a:t>3</a:t>
            </a:fld>
            <a:endParaRPr lang="en-GB" sz="2000" b="1">
              <a:solidFill>
                <a:schemeClr val="tx1"/>
              </a:solidFill>
              <a:latin typeface="Helvetica" pitchFamily="2" charset="0"/>
            </a:endParaRPr>
          </a:p>
        </p:txBody>
      </p:sp>
      <p:sp>
        <p:nvSpPr>
          <p:cNvPr id="13" name="Rectangle 12">
            <a:extLst>
              <a:ext uri="{FF2B5EF4-FFF2-40B4-BE49-F238E27FC236}">
                <a16:creationId xmlns:a16="http://schemas.microsoft.com/office/drawing/2014/main" id="{35594AA5-0BA6-8D57-ED01-4F157BFFF392}"/>
              </a:ext>
            </a:extLst>
          </p:cNvPr>
          <p:cNvSpPr/>
          <p:nvPr>
            <p:custDataLst>
              <p:tags r:id="rId6"/>
            </p:custDataLst>
          </p:nvPr>
        </p:nvSpPr>
        <p:spPr bwMode="gray">
          <a:xfrm>
            <a:off x="5909019" y="4457700"/>
            <a:ext cx="355600" cy="2746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6513" tIns="0" rIns="36513" bIns="0" rtlCol="0" anchor="ctr"/>
          <a:lstStyle/>
          <a:p>
            <a:pPr algn="ctr">
              <a:lnSpc>
                <a:spcPct val="90000"/>
              </a:lnSpc>
              <a:spcBef>
                <a:spcPct val="0"/>
              </a:spcBef>
              <a:spcAft>
                <a:spcPct val="0"/>
              </a:spcAft>
            </a:pPr>
            <a:r>
              <a:rPr lang="en-GB" sz="2000" b="1">
                <a:solidFill>
                  <a:schemeClr val="tx1"/>
                </a:solidFill>
                <a:latin typeface="Helvetica" pitchFamily="2" charset="0"/>
              </a:rPr>
              <a:t>77</a:t>
            </a:r>
          </a:p>
        </p:txBody>
      </p:sp>
      <p:sp>
        <p:nvSpPr>
          <p:cNvPr id="14" name="Rectangle 13">
            <a:extLst>
              <a:ext uri="{FF2B5EF4-FFF2-40B4-BE49-F238E27FC236}">
                <a16:creationId xmlns:a16="http://schemas.microsoft.com/office/drawing/2014/main" id="{22C18331-0C80-AA6D-D7CD-75ED51E66C42}"/>
              </a:ext>
            </a:extLst>
          </p:cNvPr>
          <p:cNvSpPr/>
          <p:nvPr>
            <p:custDataLst>
              <p:tags r:id="rId7"/>
            </p:custDataLst>
          </p:nvPr>
        </p:nvSpPr>
        <p:spPr bwMode="auto">
          <a:xfrm>
            <a:off x="5623269" y="5437188"/>
            <a:ext cx="927100" cy="2444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1E5DF840-5694-4B50-9C7B-339E692DB862}" type="datetime'''Q''1 ''''''''''''''20''''''''24A'''''''''''''''''''">
              <a:rPr lang="en-GB" altLang="en-US" sz="1200" smtClean="0">
                <a:solidFill>
                  <a:schemeClr val="tx1"/>
                </a:solidFill>
                <a:latin typeface="Helvetica Light" panose="020B0403020202020204" pitchFamily="34" charset="0"/>
              </a:rPr>
              <a:pPr algn="ctr">
                <a:spcBef>
                  <a:spcPct val="0"/>
                </a:spcBef>
                <a:spcAft>
                  <a:spcPct val="0"/>
                </a:spcAft>
              </a:pPr>
              <a:t>Q1 2024A</a:t>
            </a:fld>
            <a:endParaRPr lang="en-GB" sz="1200">
              <a:solidFill>
                <a:schemeClr val="tx1"/>
              </a:solidFill>
              <a:latin typeface="Helvetica Light" panose="020B0403020202020204" pitchFamily="34" charset="0"/>
            </a:endParaRPr>
          </a:p>
        </p:txBody>
      </p:sp>
      <p:sp>
        <p:nvSpPr>
          <p:cNvPr id="12" name="Rectangle 11">
            <a:extLst>
              <a:ext uri="{FF2B5EF4-FFF2-40B4-BE49-F238E27FC236}">
                <a16:creationId xmlns:a16="http://schemas.microsoft.com/office/drawing/2014/main" id="{40693380-0BAE-3F71-5C75-2AFE41745E63}"/>
              </a:ext>
            </a:extLst>
          </p:cNvPr>
          <p:cNvSpPr/>
          <p:nvPr>
            <p:custDataLst>
              <p:tags r:id="rId8"/>
            </p:custDataLst>
          </p:nvPr>
        </p:nvSpPr>
        <p:spPr bwMode="gray">
          <a:xfrm>
            <a:off x="5945531" y="3073400"/>
            <a:ext cx="282575" cy="2190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8575" tIns="0" rIns="28575" bIns="0" rtlCol="0" anchor="ctr"/>
          <a:lstStyle/>
          <a:p>
            <a:pPr algn="ctr">
              <a:lnSpc>
                <a:spcPct val="90000"/>
              </a:lnSpc>
              <a:spcBef>
                <a:spcPct val="0"/>
              </a:spcBef>
              <a:spcAft>
                <a:spcPct val="0"/>
              </a:spcAft>
            </a:pPr>
            <a:r>
              <a:rPr lang="en-GB" sz="2000" b="1">
                <a:solidFill>
                  <a:schemeClr val="bg1"/>
                </a:solidFill>
                <a:latin typeface="Helvetica" pitchFamily="2" charset="0"/>
              </a:rPr>
              <a:t>87</a:t>
            </a:r>
          </a:p>
        </p:txBody>
      </p:sp>
      <p:sp>
        <p:nvSpPr>
          <p:cNvPr id="91" name="Rectangle 90">
            <a:extLst>
              <a:ext uri="{FF2B5EF4-FFF2-40B4-BE49-F238E27FC236}">
                <a16:creationId xmlns:a16="http://schemas.microsoft.com/office/drawing/2014/main" id="{8B9D13FF-866F-D89A-30A0-66C7FDE1CEA4}"/>
              </a:ext>
            </a:extLst>
          </p:cNvPr>
          <p:cNvSpPr/>
          <p:nvPr>
            <p:custDataLst>
              <p:tags r:id="rId9"/>
            </p:custDataLst>
          </p:nvPr>
        </p:nvSpPr>
        <p:spPr bwMode="auto">
          <a:xfrm>
            <a:off x="1172660" y="6044503"/>
            <a:ext cx="180000" cy="187325"/>
          </a:xfrm>
          <a:prstGeom prst="rect">
            <a:avLst/>
          </a:prstGeom>
          <a:solidFill>
            <a:schemeClr val="accent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2" name="Rectangle 91">
            <a:extLst>
              <a:ext uri="{FF2B5EF4-FFF2-40B4-BE49-F238E27FC236}">
                <a16:creationId xmlns:a16="http://schemas.microsoft.com/office/drawing/2014/main" id="{93C5CBA0-5984-C82B-32E4-DB1B04AFC58D}"/>
              </a:ext>
            </a:extLst>
          </p:cNvPr>
          <p:cNvSpPr/>
          <p:nvPr>
            <p:custDataLst>
              <p:tags r:id="rId10"/>
            </p:custDataLst>
          </p:nvPr>
        </p:nvSpPr>
        <p:spPr bwMode="auto">
          <a:xfrm>
            <a:off x="4441322" y="6044503"/>
            <a:ext cx="180000" cy="187325"/>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 name="Text Placeholder 4">
            <a:extLst>
              <a:ext uri="{FF2B5EF4-FFF2-40B4-BE49-F238E27FC236}">
                <a16:creationId xmlns:a16="http://schemas.microsoft.com/office/drawing/2014/main" id="{C1929986-A4C6-4AD3-89E3-B29BFA17B5A7}"/>
              </a:ext>
            </a:extLst>
          </p:cNvPr>
          <p:cNvSpPr>
            <a:spLocks noGrp="1"/>
          </p:cNvSpPr>
          <p:nvPr>
            <p:custDataLst>
              <p:tags r:id="rId11"/>
            </p:custDataLst>
          </p:nvPr>
        </p:nvSpPr>
        <p:spPr bwMode="auto">
          <a:xfrm>
            <a:off x="1414463" y="6059213"/>
            <a:ext cx="28654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400" b="0" i="0" kern="1200">
                <a:solidFill>
                  <a:schemeClr val="tx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Helvetica"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Helvetica"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Helvetica"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altLang="en-US" sz="1200">
                <a:effectLst/>
                <a:latin typeface="Helvetica Light" panose="020B0403020202020204" pitchFamily="34" charset="0"/>
              </a:rPr>
              <a:t>IFRS 16 Leases (not interest-bearing)</a:t>
            </a:r>
            <a:endParaRPr lang="en-GB" sz="1200" noProof="0">
              <a:latin typeface="Helvetica Light" panose="020B0403020202020204" pitchFamily="34" charset="0"/>
            </a:endParaRPr>
          </a:p>
        </p:txBody>
      </p:sp>
      <p:sp>
        <p:nvSpPr>
          <p:cNvPr id="87" name="Text Placeholder 4">
            <a:extLst>
              <a:ext uri="{FF2B5EF4-FFF2-40B4-BE49-F238E27FC236}">
                <a16:creationId xmlns:a16="http://schemas.microsoft.com/office/drawing/2014/main" id="{C1929986-A4C6-4AD3-89E3-B29BFA17B5A7}"/>
              </a:ext>
            </a:extLst>
          </p:cNvPr>
          <p:cNvSpPr>
            <a:spLocks noGrp="1"/>
          </p:cNvSpPr>
          <p:nvPr>
            <p:custDataLst>
              <p:tags r:id="rId12"/>
            </p:custDataLst>
          </p:nvPr>
        </p:nvSpPr>
        <p:spPr bwMode="auto">
          <a:xfrm>
            <a:off x="4683125" y="6059213"/>
            <a:ext cx="19494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400" b="0" i="0" kern="1200">
                <a:solidFill>
                  <a:schemeClr val="tx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Helvetica"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Helvetica"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Helvetica"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E79CAB93-BF07-4175-9BAD-9EB20269E809}" type="datetime'Ne''''t'' ''''''''int''erest-be''a''rin''g'''''' de''''bt'''">
              <a:rPr lang="en-GB" altLang="en-US" sz="1200" smtClean="0">
                <a:effectLst/>
                <a:latin typeface="Helvetica Light" panose="020B0403020202020204" pitchFamily="34" charset="0"/>
              </a:rPr>
              <a:pPr lvl="0">
                <a:spcBef>
                  <a:spcPct val="0"/>
                </a:spcBef>
                <a:spcAft>
                  <a:spcPct val="0"/>
                </a:spcAft>
              </a:pPr>
              <a:t>Net interest-bearing debt</a:t>
            </a:fld>
            <a:endParaRPr lang="en-GB" sz="1200" noProof="0">
              <a:latin typeface="Helvetica Light" panose="020B0403020202020204" pitchFamily="34" charset="0"/>
            </a:endParaRPr>
          </a:p>
        </p:txBody>
      </p:sp>
      <p:cxnSp>
        <p:nvCxnSpPr>
          <p:cNvPr id="6" name="Straight Connector 5">
            <a:extLst>
              <a:ext uri="{FF2B5EF4-FFF2-40B4-BE49-F238E27FC236}">
                <a16:creationId xmlns:a16="http://schemas.microsoft.com/office/drawing/2014/main" id="{21F5CA2E-DE49-964F-5A18-F8E26D2CBAA9}"/>
              </a:ext>
            </a:extLst>
          </p:cNvPr>
          <p:cNvCxnSpPr>
            <a:cxnSpLocks/>
          </p:cNvCxnSpPr>
          <p:nvPr/>
        </p:nvCxnSpPr>
        <p:spPr>
          <a:xfrm>
            <a:off x="7888994" y="1412892"/>
            <a:ext cx="3625673"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15" name="Straight Connector 14">
            <a:extLst>
              <a:ext uri="{FF2B5EF4-FFF2-40B4-BE49-F238E27FC236}">
                <a16:creationId xmlns:a16="http://schemas.microsoft.com/office/drawing/2014/main" id="{BAD221C7-86D8-EC49-9356-F80A4D3235AF}"/>
              </a:ext>
            </a:extLst>
          </p:cNvPr>
          <p:cNvCxnSpPr>
            <a:cxnSpLocks/>
          </p:cNvCxnSpPr>
          <p:nvPr/>
        </p:nvCxnSpPr>
        <p:spPr>
          <a:xfrm>
            <a:off x="7888994" y="5819537"/>
            <a:ext cx="3625673" cy="0"/>
          </a:xfrm>
          <a:prstGeom prst="line">
            <a:avLst/>
          </a:prstGeom>
          <a:ln w="1270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1127810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262EBA9-DFEF-E28E-51DB-A1BAEA1B07A4}"/>
              </a:ext>
            </a:extLst>
          </p:cNvPr>
          <p:cNvSpPr/>
          <p:nvPr/>
        </p:nvSpPr>
        <p:spPr>
          <a:xfrm>
            <a:off x="756368" y="1128370"/>
            <a:ext cx="8363882" cy="4828269"/>
          </a:xfrm>
          <a:prstGeom prst="rect">
            <a:avLst/>
          </a:prstGeom>
          <a:solidFill>
            <a:schemeClr val="accent4">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aphicFrame>
        <p:nvGraphicFramePr>
          <p:cNvPr id="38" name="Chart 37">
            <a:extLst>
              <a:ext uri="{FF2B5EF4-FFF2-40B4-BE49-F238E27FC236}">
                <a16:creationId xmlns:a16="http://schemas.microsoft.com/office/drawing/2014/main" id="{3E3B99A3-A4F7-F588-6F17-6110B711183F}"/>
              </a:ext>
            </a:extLst>
          </p:cNvPr>
          <p:cNvGraphicFramePr/>
          <p:nvPr/>
        </p:nvGraphicFramePr>
        <p:xfrm>
          <a:off x="874476" y="1844801"/>
          <a:ext cx="8245773" cy="401979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Objekt 8" hidden="1">
            <a:extLst>
              <a:ext uri="{FF2B5EF4-FFF2-40B4-BE49-F238E27FC236}">
                <a16:creationId xmlns:a16="http://schemas.microsoft.com/office/drawing/2014/main" id="{EB8D4E83-8BB9-401C-8180-51306DC6146B}"/>
              </a:ext>
            </a:extLst>
          </p:cNvPr>
          <p:cNvGraphicFramePr>
            <a:graphicFrameLocks noChangeAspect="1"/>
          </p:cNvGraphicFramePr>
          <p:nvPr>
            <p:custDataLst>
              <p:tags r:id="rId1"/>
            </p:custDataLst>
            <p:extLst>
              <p:ext uri="{D42A27DB-BD31-4B8C-83A1-F6EECF244321}">
                <p14:modId xmlns:p14="http://schemas.microsoft.com/office/powerpoint/2010/main" val="3353465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9" name="Objekt 8" hidden="1">
                        <a:extLst>
                          <a:ext uri="{FF2B5EF4-FFF2-40B4-BE49-F238E27FC236}">
                            <a16:creationId xmlns:a16="http://schemas.microsoft.com/office/drawing/2014/main" id="{EB8D4E83-8BB9-401C-8180-51306DC6146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A2F91251-CDCE-C7E5-B155-E1FF9EF62BF9}"/>
              </a:ext>
            </a:extLst>
          </p:cNvPr>
          <p:cNvSpPr>
            <a:spLocks noGrp="1"/>
          </p:cNvSpPr>
          <p:nvPr>
            <p:ph type="title"/>
          </p:nvPr>
        </p:nvSpPr>
        <p:spPr/>
        <p:txBody>
          <a:bodyPr vert="horz">
            <a:normAutofit/>
          </a:bodyPr>
          <a:lstStyle/>
          <a:p>
            <a:r>
              <a:rPr lang="en-US"/>
              <a:t>Strong history of dividend payment </a:t>
            </a:r>
          </a:p>
        </p:txBody>
      </p:sp>
      <p:sp>
        <p:nvSpPr>
          <p:cNvPr id="27" name="Text Placeholder 26">
            <a:extLst>
              <a:ext uri="{FF2B5EF4-FFF2-40B4-BE49-F238E27FC236}">
                <a16:creationId xmlns:a16="http://schemas.microsoft.com/office/drawing/2014/main" id="{767423C1-68F8-E971-E618-C45C34601FC3}"/>
              </a:ext>
            </a:extLst>
          </p:cNvPr>
          <p:cNvSpPr>
            <a:spLocks noGrp="1"/>
          </p:cNvSpPr>
          <p:nvPr>
            <p:ph type="body" sz="quarter" idx="15"/>
          </p:nvPr>
        </p:nvSpPr>
        <p:spPr>
          <a:xfrm>
            <a:off x="731837" y="1244441"/>
            <a:ext cx="10559013" cy="314610"/>
          </a:xfrm>
        </p:spPr>
        <p:txBody>
          <a:bodyPr>
            <a:normAutofit/>
          </a:bodyPr>
          <a:lstStyle/>
          <a:p>
            <a:endParaRPr lang="en-US" noProof="0"/>
          </a:p>
          <a:p>
            <a:endParaRPr lang="en-US"/>
          </a:p>
        </p:txBody>
      </p:sp>
      <p:sp>
        <p:nvSpPr>
          <p:cNvPr id="23" name="Text Placeholder 4">
            <a:extLst>
              <a:ext uri="{FF2B5EF4-FFF2-40B4-BE49-F238E27FC236}">
                <a16:creationId xmlns:a16="http://schemas.microsoft.com/office/drawing/2014/main" id="{ACAAAD05-E7F1-3339-07D7-880E0447AECE}"/>
              </a:ext>
            </a:extLst>
          </p:cNvPr>
          <p:cNvSpPr>
            <a:spLocks noGrp="1"/>
          </p:cNvSpPr>
          <p:nvPr/>
        </p:nvSpPr>
        <p:spPr bwMode="gray">
          <a:xfrm>
            <a:off x="3785308" y="1924159"/>
            <a:ext cx="46355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2CDA0B7-0B4E-4FD5-86E5-A467D93A2AAF}" type="datetime'''''''''''''''''''''''''''1''''.''''''''''50'''''''">
              <a:rPr kumimoji="0" lang="nb-NO" altLang="en-US" sz="1000" b="1" i="0" u="none" strike="noStrike" kern="1200" cap="none" spc="0" normalizeH="0" baseline="0" noProof="0" smtClean="0">
                <a:ln>
                  <a:noFill/>
                </a:ln>
                <a:solidFill>
                  <a:srgbClr val="1E1E50"/>
                </a:solidFill>
                <a:effectLst/>
                <a:uLnTx/>
                <a:uFillTx/>
                <a:latin typeface="Helvetica" pitchFamily="2" charset="0"/>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50</a:t>
            </a:fld>
            <a:endParaRPr kumimoji="0" lang="en-US" sz="1600" b="1" i="0" u="none" strike="noStrike" kern="1200" cap="none" spc="0" normalizeH="0" baseline="0" noProof="0">
              <a:ln>
                <a:noFill/>
              </a:ln>
              <a:solidFill>
                <a:srgbClr val="1E1E50"/>
              </a:solidFill>
              <a:effectLst/>
              <a:uLnTx/>
              <a:uFillTx/>
              <a:latin typeface="Helvetica" pitchFamily="2" charset="0"/>
              <a:ea typeface="+mn-ea"/>
              <a:cs typeface="+mn-cs"/>
              <a:sym typeface="Franklin Gothic Book" panose="020B0503020102020204" pitchFamily="34" charset="0"/>
            </a:endParaRPr>
          </a:p>
        </p:txBody>
      </p:sp>
      <p:sp>
        <p:nvSpPr>
          <p:cNvPr id="31" name="TekstSylinder 26">
            <a:extLst>
              <a:ext uri="{FF2B5EF4-FFF2-40B4-BE49-F238E27FC236}">
                <a16:creationId xmlns:a16="http://schemas.microsoft.com/office/drawing/2014/main" id="{8F3A6C26-E1EF-5EAB-9167-CA6B3D24A531}"/>
              </a:ext>
            </a:extLst>
          </p:cNvPr>
          <p:cNvSpPr txBox="1"/>
          <p:nvPr/>
        </p:nvSpPr>
        <p:spPr>
          <a:xfrm>
            <a:off x="4337495" y="2237281"/>
            <a:ext cx="1443037" cy="461665"/>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Extraordinary</a:t>
            </a:r>
            <a:r>
              <a:rPr kumimoji="0" lang="nb-NO" sz="1200" b="0" i="0" u="none" strike="noStrike" kern="1200" cap="none" spc="0" normalizeH="0" baseline="0" noProof="0">
                <a:ln>
                  <a:noFill/>
                </a:ln>
                <a:solidFill>
                  <a:srgbClr val="1E1E50"/>
                </a:solidFill>
                <a:effectLst/>
                <a:uLnTx/>
                <a:uFillTx/>
                <a:latin typeface="Helvetica Light" panose="020B0403020202020204" pitchFamily="34" charset="0"/>
                <a:ea typeface="+mn-ea"/>
                <a:cs typeface="Arial" panose="020B0604020202020204" pitchFamily="34" charset="0"/>
              </a:rPr>
              <a:t> dividend</a:t>
            </a:r>
          </a:p>
        </p:txBody>
      </p:sp>
      <p:sp>
        <p:nvSpPr>
          <p:cNvPr id="33" name="Text Placeholder 4">
            <a:extLst>
              <a:ext uri="{FF2B5EF4-FFF2-40B4-BE49-F238E27FC236}">
                <a16:creationId xmlns:a16="http://schemas.microsoft.com/office/drawing/2014/main" id="{7AA62F3C-CFE9-E0A8-A468-40D64C518EFC}"/>
              </a:ext>
            </a:extLst>
          </p:cNvPr>
          <p:cNvSpPr>
            <a:spLocks noGrp="1"/>
          </p:cNvSpPr>
          <p:nvPr>
            <p:custDataLst>
              <p:tags r:id="rId2"/>
            </p:custDataLst>
          </p:nvPr>
        </p:nvSpPr>
        <p:spPr bwMode="gray">
          <a:xfrm>
            <a:off x="7750811" y="3286644"/>
            <a:ext cx="46355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nb-NO" altLang="en-US" sz="1000" b="1" i="0" u="none" strike="noStrike" kern="1200" cap="none" spc="0" normalizeH="0" baseline="0" noProof="0">
                <a:ln>
                  <a:noFill/>
                </a:ln>
                <a:solidFill>
                  <a:srgbClr val="1E1E50"/>
                </a:solidFill>
                <a:effectLst/>
                <a:uLnTx/>
                <a:uFillTx/>
                <a:latin typeface="Helvetica" pitchFamily="2" charset="0"/>
                <a:ea typeface="+mn-ea"/>
                <a:cs typeface="+mn-cs"/>
              </a:rPr>
              <a:t>0.90</a:t>
            </a:r>
            <a:endParaRPr kumimoji="0" lang="en-US" sz="1000" b="1" i="0" u="none" strike="noStrike" kern="1200" cap="none" spc="0" normalizeH="0" baseline="0" noProof="0">
              <a:ln>
                <a:noFill/>
              </a:ln>
              <a:solidFill>
                <a:srgbClr val="1E1E50"/>
              </a:solidFill>
              <a:effectLst/>
              <a:uLnTx/>
              <a:uFillTx/>
              <a:latin typeface="Helvetica" pitchFamily="2" charset="0"/>
              <a:ea typeface="+mn-ea"/>
              <a:cs typeface="+mn-cs"/>
              <a:sym typeface="Franklin Gothic Book" panose="020B0503020102020204" pitchFamily="34" charset="0"/>
            </a:endParaRPr>
          </a:p>
        </p:txBody>
      </p:sp>
      <p:sp>
        <p:nvSpPr>
          <p:cNvPr id="7" name="TextBox 6">
            <a:extLst>
              <a:ext uri="{FF2B5EF4-FFF2-40B4-BE49-F238E27FC236}">
                <a16:creationId xmlns:a16="http://schemas.microsoft.com/office/drawing/2014/main" id="{0AC388BA-B821-1F80-81DA-484A6C8326AD}"/>
              </a:ext>
            </a:extLst>
          </p:cNvPr>
          <p:cNvSpPr txBox="1"/>
          <p:nvPr/>
        </p:nvSpPr>
        <p:spPr>
          <a:xfrm>
            <a:off x="4427594" y="4238400"/>
            <a:ext cx="47466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1E1E50"/>
                </a:solidFill>
                <a:effectLst/>
                <a:uLnTx/>
                <a:uFillTx/>
                <a:latin typeface="Helvetica" pitchFamily="2" charset="0"/>
                <a:ea typeface="+mn-ea"/>
                <a:cs typeface="+mn-cs"/>
              </a:rPr>
              <a:t>0.50</a:t>
            </a:r>
          </a:p>
        </p:txBody>
      </p:sp>
      <p:sp>
        <p:nvSpPr>
          <p:cNvPr id="2" name="Text Placeholder 4">
            <a:extLst>
              <a:ext uri="{FF2B5EF4-FFF2-40B4-BE49-F238E27FC236}">
                <a16:creationId xmlns:a16="http://schemas.microsoft.com/office/drawing/2014/main" id="{9EB344C2-C671-5812-0F14-B632D9A82334}"/>
              </a:ext>
            </a:extLst>
          </p:cNvPr>
          <p:cNvSpPr>
            <a:spLocks noGrp="1"/>
          </p:cNvSpPr>
          <p:nvPr/>
        </p:nvSpPr>
        <p:spPr bwMode="gray">
          <a:xfrm>
            <a:off x="1131523" y="4749852"/>
            <a:ext cx="46355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nb-NO" altLang="en-US" sz="1000" b="1" i="0" u="none" strike="noStrike" kern="1200" cap="none" spc="0" normalizeH="0" baseline="0" noProof="0">
                <a:ln>
                  <a:noFill/>
                </a:ln>
                <a:solidFill>
                  <a:srgbClr val="1E1E50"/>
                </a:solidFill>
                <a:effectLst/>
                <a:uLnTx/>
                <a:uFillTx/>
                <a:latin typeface="Helvetica" pitchFamily="2" charset="0"/>
                <a:ea typeface="+mn-ea"/>
                <a:cs typeface="+mn-cs"/>
              </a:rPr>
              <a:t>0.25</a:t>
            </a:r>
            <a:endParaRPr kumimoji="0" lang="en-US" sz="1600" b="1" i="0" u="none" strike="noStrike" kern="1200" cap="none" spc="0" normalizeH="0" baseline="0" noProof="0">
              <a:ln>
                <a:noFill/>
              </a:ln>
              <a:solidFill>
                <a:srgbClr val="1E1E50"/>
              </a:solidFill>
              <a:effectLst/>
              <a:uLnTx/>
              <a:uFillTx/>
              <a:latin typeface="Helvetica" pitchFamily="2" charset="0"/>
              <a:ea typeface="+mn-ea"/>
              <a:cs typeface="+mn-cs"/>
              <a:sym typeface="Franklin Gothic Book" panose="020B0503020102020204" pitchFamily="34" charset="0"/>
            </a:endParaRPr>
          </a:p>
        </p:txBody>
      </p:sp>
      <p:sp>
        <p:nvSpPr>
          <p:cNvPr id="3" name="Text Placeholder 4">
            <a:extLst>
              <a:ext uri="{FF2B5EF4-FFF2-40B4-BE49-F238E27FC236}">
                <a16:creationId xmlns:a16="http://schemas.microsoft.com/office/drawing/2014/main" id="{BE00896E-5568-5230-4275-361ED9A164BD}"/>
              </a:ext>
            </a:extLst>
          </p:cNvPr>
          <p:cNvSpPr>
            <a:spLocks noGrp="1"/>
          </p:cNvSpPr>
          <p:nvPr/>
        </p:nvSpPr>
        <p:spPr bwMode="gray">
          <a:xfrm>
            <a:off x="1785371" y="4652575"/>
            <a:ext cx="46355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nb-NO" altLang="en-US" sz="1000" b="1" i="0" u="none" strike="noStrike" kern="1200" cap="none" spc="0" normalizeH="0" baseline="0" noProof="0">
                <a:ln>
                  <a:noFill/>
                </a:ln>
                <a:solidFill>
                  <a:srgbClr val="1E1E50"/>
                </a:solidFill>
                <a:effectLst/>
                <a:uLnTx/>
                <a:uFillTx/>
                <a:latin typeface="Helvetica" pitchFamily="2" charset="0"/>
                <a:ea typeface="+mn-ea"/>
                <a:cs typeface="+mn-cs"/>
              </a:rPr>
              <a:t>0.30</a:t>
            </a:r>
            <a:endParaRPr kumimoji="0" lang="en-US" sz="1600" b="1" i="0" u="none" strike="noStrike" kern="1200" cap="none" spc="0" normalizeH="0" baseline="0" noProof="0">
              <a:ln>
                <a:noFill/>
              </a:ln>
              <a:solidFill>
                <a:srgbClr val="1E1E50"/>
              </a:solidFill>
              <a:effectLst/>
              <a:uLnTx/>
              <a:uFillTx/>
              <a:latin typeface="Helvetica" pitchFamily="2" charset="0"/>
              <a:ea typeface="+mn-ea"/>
              <a:cs typeface="+mn-cs"/>
              <a:sym typeface="Franklin Gothic Book" panose="020B0503020102020204" pitchFamily="34" charset="0"/>
            </a:endParaRPr>
          </a:p>
        </p:txBody>
      </p:sp>
      <p:sp>
        <p:nvSpPr>
          <p:cNvPr id="4" name="Text Placeholder 4">
            <a:extLst>
              <a:ext uri="{FF2B5EF4-FFF2-40B4-BE49-F238E27FC236}">
                <a16:creationId xmlns:a16="http://schemas.microsoft.com/office/drawing/2014/main" id="{32313E78-74D7-6B3F-837F-D207C6E86E0C}"/>
              </a:ext>
            </a:extLst>
          </p:cNvPr>
          <p:cNvSpPr>
            <a:spLocks noGrp="1"/>
          </p:cNvSpPr>
          <p:nvPr/>
        </p:nvSpPr>
        <p:spPr bwMode="gray">
          <a:xfrm>
            <a:off x="2451093" y="4535842"/>
            <a:ext cx="46355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nb-NO" altLang="en-US" sz="1000" b="1" i="0" u="none" strike="noStrike" kern="1200" cap="none" spc="0" normalizeH="0" baseline="0" noProof="0">
                <a:ln>
                  <a:noFill/>
                </a:ln>
                <a:solidFill>
                  <a:srgbClr val="1E1E50"/>
                </a:solidFill>
                <a:effectLst/>
                <a:uLnTx/>
                <a:uFillTx/>
                <a:latin typeface="Helvetica" pitchFamily="2" charset="0"/>
                <a:ea typeface="+mn-ea"/>
                <a:cs typeface="+mn-cs"/>
              </a:rPr>
              <a:t>0.35</a:t>
            </a:r>
            <a:endParaRPr kumimoji="0" lang="en-US" sz="1600" b="1" i="0" u="none" strike="noStrike" kern="1200" cap="none" spc="0" normalizeH="0" baseline="0" noProof="0">
              <a:ln>
                <a:noFill/>
              </a:ln>
              <a:solidFill>
                <a:srgbClr val="1E1E50"/>
              </a:solidFill>
              <a:effectLst/>
              <a:uLnTx/>
              <a:uFillTx/>
              <a:latin typeface="Helvetica" pitchFamily="2" charset="0"/>
              <a:ea typeface="+mn-ea"/>
              <a:cs typeface="+mn-cs"/>
              <a:sym typeface="Franklin Gothic Book" panose="020B0503020102020204" pitchFamily="34" charset="0"/>
            </a:endParaRPr>
          </a:p>
        </p:txBody>
      </p:sp>
      <p:sp>
        <p:nvSpPr>
          <p:cNvPr id="5" name="Text Placeholder 4">
            <a:extLst>
              <a:ext uri="{FF2B5EF4-FFF2-40B4-BE49-F238E27FC236}">
                <a16:creationId xmlns:a16="http://schemas.microsoft.com/office/drawing/2014/main" id="{9B4BC8AC-FF4D-A3E4-245B-3CF10D9E141A}"/>
              </a:ext>
            </a:extLst>
          </p:cNvPr>
          <p:cNvSpPr>
            <a:spLocks noGrp="1"/>
          </p:cNvSpPr>
          <p:nvPr/>
        </p:nvSpPr>
        <p:spPr bwMode="gray">
          <a:xfrm>
            <a:off x="3100646" y="4312105"/>
            <a:ext cx="46355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nb-NO" altLang="en-US" sz="1000" b="1" i="0" u="none" strike="noStrike" kern="1200" cap="none" spc="0" normalizeH="0" baseline="0" noProof="0">
                <a:ln>
                  <a:noFill/>
                </a:ln>
                <a:solidFill>
                  <a:srgbClr val="1E1E50"/>
                </a:solidFill>
                <a:effectLst/>
                <a:uLnTx/>
                <a:uFillTx/>
                <a:latin typeface="Helvetica" pitchFamily="2" charset="0"/>
                <a:ea typeface="+mn-ea"/>
                <a:cs typeface="+mn-cs"/>
              </a:rPr>
              <a:t>0.45</a:t>
            </a:r>
            <a:endParaRPr kumimoji="0" lang="en-US" sz="1600" b="1" i="0" u="none" strike="noStrike" kern="1200" cap="none" spc="0" normalizeH="0" baseline="0" noProof="0">
              <a:ln>
                <a:noFill/>
              </a:ln>
              <a:solidFill>
                <a:srgbClr val="1E1E50"/>
              </a:solidFill>
              <a:effectLst/>
              <a:uLnTx/>
              <a:uFillTx/>
              <a:latin typeface="Helvetica" pitchFamily="2" charset="0"/>
              <a:ea typeface="+mn-ea"/>
              <a:cs typeface="+mn-cs"/>
              <a:sym typeface="Franklin Gothic Book" panose="020B0503020102020204" pitchFamily="34" charset="0"/>
            </a:endParaRPr>
          </a:p>
        </p:txBody>
      </p:sp>
      <p:sp>
        <p:nvSpPr>
          <p:cNvPr id="6" name="Text Placeholder 4">
            <a:extLst>
              <a:ext uri="{FF2B5EF4-FFF2-40B4-BE49-F238E27FC236}">
                <a16:creationId xmlns:a16="http://schemas.microsoft.com/office/drawing/2014/main" id="{53D5A79E-82F0-2923-458D-95DCDF9D8FFC}"/>
              </a:ext>
            </a:extLst>
          </p:cNvPr>
          <p:cNvSpPr>
            <a:spLocks noGrp="1"/>
          </p:cNvSpPr>
          <p:nvPr/>
        </p:nvSpPr>
        <p:spPr bwMode="gray">
          <a:xfrm>
            <a:off x="3785308" y="3386137"/>
            <a:ext cx="46355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nb-NO" altLang="en-US" sz="1000" b="1" i="0" u="none" strike="noStrike" kern="1200" cap="none" spc="0" normalizeH="0" baseline="0" noProof="0">
                <a:ln>
                  <a:noFill/>
                </a:ln>
                <a:solidFill>
                  <a:srgbClr val="1E1E50"/>
                </a:solidFill>
                <a:effectLst/>
                <a:uLnTx/>
                <a:uFillTx/>
                <a:latin typeface="Helvetica" pitchFamily="2" charset="0"/>
                <a:ea typeface="+mn-ea"/>
                <a:cs typeface="+mn-cs"/>
              </a:rPr>
              <a:t>1.00</a:t>
            </a:r>
            <a:endParaRPr kumimoji="0" lang="en-US" sz="1600" b="1" i="0" u="none" strike="noStrike" kern="1200" cap="none" spc="0" normalizeH="0" baseline="0" noProof="0">
              <a:ln>
                <a:noFill/>
              </a:ln>
              <a:solidFill>
                <a:srgbClr val="1E1E50"/>
              </a:solidFill>
              <a:effectLst/>
              <a:uLnTx/>
              <a:uFillTx/>
              <a:latin typeface="Helvetica" pitchFamily="2" charset="0"/>
              <a:ea typeface="+mn-ea"/>
              <a:cs typeface="+mn-cs"/>
              <a:sym typeface="Franklin Gothic Book" panose="020B0503020102020204" pitchFamily="34" charset="0"/>
            </a:endParaRPr>
          </a:p>
        </p:txBody>
      </p:sp>
      <p:sp>
        <p:nvSpPr>
          <p:cNvPr id="11" name="Text Placeholder 4">
            <a:extLst>
              <a:ext uri="{FF2B5EF4-FFF2-40B4-BE49-F238E27FC236}">
                <a16:creationId xmlns:a16="http://schemas.microsoft.com/office/drawing/2014/main" id="{42A60A46-097C-EB9A-838F-D64398A50AFA}"/>
              </a:ext>
            </a:extLst>
          </p:cNvPr>
          <p:cNvSpPr>
            <a:spLocks noGrp="1"/>
          </p:cNvSpPr>
          <p:nvPr/>
        </p:nvSpPr>
        <p:spPr bwMode="gray">
          <a:xfrm>
            <a:off x="3785308" y="4859390"/>
            <a:ext cx="46355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nb-NO" altLang="en-US" sz="1000" b="1" i="0" u="none" strike="noStrike" kern="1200" cap="none" spc="0" normalizeH="0" baseline="0" noProof="0">
                <a:ln>
                  <a:noFill/>
                </a:ln>
                <a:solidFill>
                  <a:prstClr val="white"/>
                </a:solidFill>
                <a:effectLst/>
                <a:uLnTx/>
                <a:uFillTx/>
                <a:latin typeface="Helvetica" pitchFamily="2" charset="0"/>
                <a:ea typeface="+mn-ea"/>
                <a:cs typeface="+mn-cs"/>
              </a:rPr>
              <a:t>0.50</a:t>
            </a:r>
            <a:endParaRPr kumimoji="0" lang="en-US" sz="1600" b="1" i="0" u="none" strike="noStrike" kern="1200" cap="none" spc="0" normalizeH="0" baseline="0" noProof="0">
              <a:ln>
                <a:noFill/>
              </a:ln>
              <a:solidFill>
                <a:prstClr val="white"/>
              </a:solidFill>
              <a:effectLst/>
              <a:uLnTx/>
              <a:uFillTx/>
              <a:latin typeface="Helvetica" pitchFamily="2" charset="0"/>
              <a:ea typeface="+mn-ea"/>
              <a:cs typeface="+mn-cs"/>
              <a:sym typeface="Franklin Gothic Book" panose="020B0503020102020204" pitchFamily="34" charset="0"/>
            </a:endParaRPr>
          </a:p>
        </p:txBody>
      </p:sp>
      <p:sp>
        <p:nvSpPr>
          <p:cNvPr id="15" name="Text Placeholder 4">
            <a:extLst>
              <a:ext uri="{FF2B5EF4-FFF2-40B4-BE49-F238E27FC236}">
                <a16:creationId xmlns:a16="http://schemas.microsoft.com/office/drawing/2014/main" id="{A349135A-03C2-F7CF-C25D-0F8A3115DA93}"/>
              </a:ext>
            </a:extLst>
          </p:cNvPr>
          <p:cNvSpPr>
            <a:spLocks noGrp="1"/>
          </p:cNvSpPr>
          <p:nvPr/>
        </p:nvSpPr>
        <p:spPr bwMode="gray">
          <a:xfrm>
            <a:off x="5090348" y="4122683"/>
            <a:ext cx="46355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nb-NO" altLang="en-US" sz="1000" b="1" i="0" u="none" strike="noStrike" kern="1200" cap="none" spc="0" normalizeH="0" baseline="0" noProof="0">
                <a:ln>
                  <a:noFill/>
                </a:ln>
                <a:solidFill>
                  <a:srgbClr val="1E1E50"/>
                </a:solidFill>
                <a:effectLst/>
                <a:uLnTx/>
                <a:uFillTx/>
                <a:latin typeface="Helvetica" pitchFamily="2" charset="0"/>
                <a:ea typeface="+mn-ea"/>
                <a:cs typeface="+mn-cs"/>
              </a:rPr>
              <a:t>0.55</a:t>
            </a:r>
            <a:endParaRPr kumimoji="0" lang="en-US" sz="1600" b="1" i="0" u="none" strike="noStrike" kern="1200" cap="none" spc="0" normalizeH="0" baseline="0" noProof="0">
              <a:ln>
                <a:noFill/>
              </a:ln>
              <a:solidFill>
                <a:srgbClr val="1E1E50"/>
              </a:solidFill>
              <a:effectLst/>
              <a:uLnTx/>
              <a:uFillTx/>
              <a:latin typeface="Helvetica" pitchFamily="2" charset="0"/>
              <a:ea typeface="+mn-ea"/>
              <a:cs typeface="+mn-cs"/>
              <a:sym typeface="Franklin Gothic Book" panose="020B0503020102020204" pitchFamily="34" charset="0"/>
            </a:endParaRPr>
          </a:p>
        </p:txBody>
      </p:sp>
      <p:sp>
        <p:nvSpPr>
          <p:cNvPr id="16" name="Text Placeholder 4">
            <a:extLst>
              <a:ext uri="{FF2B5EF4-FFF2-40B4-BE49-F238E27FC236}">
                <a16:creationId xmlns:a16="http://schemas.microsoft.com/office/drawing/2014/main" id="{DE654920-4436-E1BD-AE16-960E95A9CC4E}"/>
              </a:ext>
            </a:extLst>
          </p:cNvPr>
          <p:cNvSpPr>
            <a:spLocks noGrp="1"/>
          </p:cNvSpPr>
          <p:nvPr/>
        </p:nvSpPr>
        <p:spPr bwMode="gray">
          <a:xfrm>
            <a:off x="5752204" y="3999219"/>
            <a:ext cx="46355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nb-NO" altLang="en-US" sz="1000" b="1" i="0" u="none" strike="noStrike" kern="1200" cap="none" spc="0" normalizeH="0" baseline="0" noProof="0">
                <a:ln>
                  <a:noFill/>
                </a:ln>
                <a:solidFill>
                  <a:srgbClr val="1E1E50"/>
                </a:solidFill>
                <a:effectLst/>
                <a:uLnTx/>
                <a:uFillTx/>
                <a:latin typeface="Helvetica" pitchFamily="2" charset="0"/>
                <a:ea typeface="+mn-ea"/>
                <a:cs typeface="+mn-cs"/>
              </a:rPr>
              <a:t>0.60</a:t>
            </a:r>
            <a:endParaRPr kumimoji="0" lang="en-US" sz="1600" b="1" i="0" u="none" strike="noStrike" kern="1200" cap="none" spc="0" normalizeH="0" baseline="0" noProof="0">
              <a:ln>
                <a:noFill/>
              </a:ln>
              <a:solidFill>
                <a:srgbClr val="1E1E50"/>
              </a:solidFill>
              <a:effectLst/>
              <a:uLnTx/>
              <a:uFillTx/>
              <a:latin typeface="Helvetica" pitchFamily="2" charset="0"/>
              <a:ea typeface="+mn-ea"/>
              <a:cs typeface="+mn-cs"/>
              <a:sym typeface="Franklin Gothic Book" panose="020B0503020102020204" pitchFamily="34" charset="0"/>
            </a:endParaRPr>
          </a:p>
        </p:txBody>
      </p:sp>
      <p:sp>
        <p:nvSpPr>
          <p:cNvPr id="17" name="Text Placeholder 4">
            <a:extLst>
              <a:ext uri="{FF2B5EF4-FFF2-40B4-BE49-F238E27FC236}">
                <a16:creationId xmlns:a16="http://schemas.microsoft.com/office/drawing/2014/main" id="{67F871A8-B7E4-CDFA-7689-9E8F7F1E25C2}"/>
              </a:ext>
            </a:extLst>
          </p:cNvPr>
          <p:cNvSpPr>
            <a:spLocks noGrp="1"/>
          </p:cNvSpPr>
          <p:nvPr/>
        </p:nvSpPr>
        <p:spPr bwMode="gray">
          <a:xfrm>
            <a:off x="6406333" y="3767206"/>
            <a:ext cx="46355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nb-NO" altLang="en-US" sz="1000" b="1" i="0" u="none" strike="noStrike" kern="1200" cap="none" spc="0" normalizeH="0" baseline="0" noProof="0">
                <a:ln>
                  <a:noFill/>
                </a:ln>
                <a:solidFill>
                  <a:srgbClr val="1E1E50"/>
                </a:solidFill>
                <a:effectLst/>
                <a:uLnTx/>
                <a:uFillTx/>
                <a:latin typeface="Helvetica" pitchFamily="2" charset="0"/>
                <a:ea typeface="+mn-ea"/>
                <a:cs typeface="+mn-cs"/>
              </a:rPr>
              <a:t>0.70</a:t>
            </a:r>
            <a:endParaRPr kumimoji="0" lang="en-US" sz="1600" b="1" i="0" u="none" strike="noStrike" kern="1200" cap="none" spc="0" normalizeH="0" baseline="0" noProof="0">
              <a:ln>
                <a:noFill/>
              </a:ln>
              <a:solidFill>
                <a:srgbClr val="1E1E50"/>
              </a:solidFill>
              <a:effectLst/>
              <a:uLnTx/>
              <a:uFillTx/>
              <a:latin typeface="Helvetica" pitchFamily="2" charset="0"/>
              <a:ea typeface="+mn-ea"/>
              <a:cs typeface="+mn-cs"/>
              <a:sym typeface="Franklin Gothic Book" panose="020B0503020102020204" pitchFamily="34" charset="0"/>
            </a:endParaRPr>
          </a:p>
        </p:txBody>
      </p:sp>
      <p:sp>
        <p:nvSpPr>
          <p:cNvPr id="20" name="Text Placeholder 4">
            <a:extLst>
              <a:ext uri="{FF2B5EF4-FFF2-40B4-BE49-F238E27FC236}">
                <a16:creationId xmlns:a16="http://schemas.microsoft.com/office/drawing/2014/main" id="{09A4A164-AFF4-7F11-3DD0-0AAE107439F0}"/>
              </a:ext>
            </a:extLst>
          </p:cNvPr>
          <p:cNvSpPr>
            <a:spLocks noGrp="1"/>
          </p:cNvSpPr>
          <p:nvPr/>
        </p:nvSpPr>
        <p:spPr bwMode="gray">
          <a:xfrm>
            <a:off x="7091940" y="3509645"/>
            <a:ext cx="46355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nb-NO" altLang="en-US" sz="1000" b="1" i="0" u="none" strike="noStrike" kern="1200" cap="none" spc="0" normalizeH="0" baseline="0" noProof="0">
                <a:ln>
                  <a:noFill/>
                </a:ln>
                <a:solidFill>
                  <a:srgbClr val="1E1E50"/>
                </a:solidFill>
                <a:effectLst/>
                <a:uLnTx/>
                <a:uFillTx/>
                <a:latin typeface="Helvetica" pitchFamily="2" charset="0"/>
                <a:ea typeface="+mn-ea"/>
                <a:cs typeface="+mn-cs"/>
              </a:rPr>
              <a:t>0.80</a:t>
            </a:r>
            <a:endParaRPr kumimoji="0" lang="en-US" sz="1600" b="1" i="0" u="none" strike="noStrike" kern="1200" cap="none" spc="0" normalizeH="0" baseline="0" noProof="0">
              <a:ln>
                <a:noFill/>
              </a:ln>
              <a:solidFill>
                <a:srgbClr val="1E1E50"/>
              </a:solidFill>
              <a:effectLst/>
              <a:uLnTx/>
              <a:uFillTx/>
              <a:latin typeface="Helvetica" pitchFamily="2" charset="0"/>
              <a:ea typeface="+mn-ea"/>
              <a:cs typeface="+mn-cs"/>
              <a:sym typeface="Franklin Gothic Book" panose="020B0503020102020204" pitchFamily="34" charset="0"/>
            </a:endParaRPr>
          </a:p>
        </p:txBody>
      </p:sp>
      <p:sp>
        <p:nvSpPr>
          <p:cNvPr id="12" name="TextBox 31">
            <a:extLst>
              <a:ext uri="{FF2B5EF4-FFF2-40B4-BE49-F238E27FC236}">
                <a16:creationId xmlns:a16="http://schemas.microsoft.com/office/drawing/2014/main" id="{947F8220-1331-CC0A-7203-4C0410AA7E32}"/>
              </a:ext>
            </a:extLst>
          </p:cNvPr>
          <p:cNvSpPr txBox="1"/>
          <p:nvPr/>
        </p:nvSpPr>
        <p:spPr>
          <a:xfrm>
            <a:off x="9174563" y="1488633"/>
            <a:ext cx="2405399" cy="187743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Policy continues to be to pay dividend and increase </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600">
                <a:solidFill>
                  <a:srgbClr val="141E50"/>
                </a:solidFill>
                <a:latin typeface="Helvetica Light" panose="020B0403020202020204" pitchFamily="34" charset="0"/>
              </a:rPr>
              <a:t>N</a:t>
            </a:r>
            <a:r>
              <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o dividend for 2023</a:t>
            </a:r>
            <a:r>
              <a:rPr lang="en-GB" sz="1600">
                <a:solidFill>
                  <a:srgbClr val="141E50"/>
                </a:solidFill>
                <a:latin typeface="Helvetica Light" panose="020B0403020202020204" pitchFamily="34" charset="0"/>
              </a:rPr>
              <a:t> </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600">
                <a:solidFill>
                  <a:srgbClr val="141E50"/>
                </a:solidFill>
                <a:latin typeface="Helvetica Light" panose="020B0403020202020204" pitchFamily="34" charset="0"/>
              </a:rPr>
              <a:t>F</a:t>
            </a:r>
            <a:r>
              <a:rPr kumimoji="0" lang="en-GB" sz="1600" b="0" i="0" u="none" strike="noStrike" kern="1200" cap="none" spc="0" normalizeH="0" baseline="0" noProof="0" err="1">
                <a:ln>
                  <a:noFill/>
                </a:ln>
                <a:solidFill>
                  <a:srgbClr val="141E50"/>
                </a:solidFill>
                <a:effectLst/>
                <a:uLnTx/>
                <a:uFillTx/>
                <a:latin typeface="Helvetica Light" panose="020B0403020202020204" pitchFamily="34" charset="0"/>
                <a:ea typeface="+mn-ea"/>
                <a:cs typeface="+mn-cs"/>
              </a:rPr>
              <a:t>ocus</a:t>
            </a:r>
            <a:r>
              <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 on </a:t>
            </a:r>
            <a:r>
              <a:rPr lang="en-GB" sz="1600">
                <a:solidFill>
                  <a:srgbClr val="141E50"/>
                </a:solidFill>
                <a:latin typeface="Helvetica Light" panose="020B0403020202020204" pitchFamily="34" charset="0"/>
              </a:rPr>
              <a:t>managing</a:t>
            </a:r>
            <a:r>
              <a:rPr kumimoji="0" lang="en-GB" sz="1600" b="0" i="0" u="none" strike="noStrike" kern="1200" cap="none" spc="0" normalizeH="0" baseline="0" noProof="0">
                <a:ln>
                  <a:noFill/>
                </a:ln>
                <a:solidFill>
                  <a:srgbClr val="141E50"/>
                </a:solidFill>
                <a:effectLst/>
                <a:uLnTx/>
                <a:uFillTx/>
                <a:latin typeface="Helvetica Light" panose="020B0403020202020204" pitchFamily="34" charset="0"/>
                <a:ea typeface="+mn-ea"/>
                <a:cs typeface="+mn-cs"/>
              </a:rPr>
              <a:t> debt</a:t>
            </a:r>
          </a:p>
        </p:txBody>
      </p:sp>
      <p:grpSp>
        <p:nvGrpSpPr>
          <p:cNvPr id="36" name="Group 35">
            <a:extLst>
              <a:ext uri="{FF2B5EF4-FFF2-40B4-BE49-F238E27FC236}">
                <a16:creationId xmlns:a16="http://schemas.microsoft.com/office/drawing/2014/main" id="{16AF9D15-330B-E516-C4C0-01A8AAE932F8}"/>
              </a:ext>
            </a:extLst>
          </p:cNvPr>
          <p:cNvGrpSpPr/>
          <p:nvPr/>
        </p:nvGrpSpPr>
        <p:grpSpPr>
          <a:xfrm>
            <a:off x="9238357" y="1128370"/>
            <a:ext cx="2276311" cy="4828268"/>
            <a:chOff x="7888994" y="1412892"/>
            <a:chExt cx="3625673" cy="4428386"/>
          </a:xfrm>
        </p:grpSpPr>
        <p:cxnSp>
          <p:nvCxnSpPr>
            <p:cNvPr id="13" name="Straight Connector 12">
              <a:extLst>
                <a:ext uri="{FF2B5EF4-FFF2-40B4-BE49-F238E27FC236}">
                  <a16:creationId xmlns:a16="http://schemas.microsoft.com/office/drawing/2014/main" id="{D75FF712-A14E-B56C-1C82-086BCAB1E192}"/>
                </a:ext>
              </a:extLst>
            </p:cNvPr>
            <p:cNvCxnSpPr>
              <a:cxnSpLocks/>
            </p:cNvCxnSpPr>
            <p:nvPr/>
          </p:nvCxnSpPr>
          <p:spPr>
            <a:xfrm>
              <a:off x="7888994" y="1412892"/>
              <a:ext cx="3625673"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34" name="Straight Connector 33">
              <a:extLst>
                <a:ext uri="{FF2B5EF4-FFF2-40B4-BE49-F238E27FC236}">
                  <a16:creationId xmlns:a16="http://schemas.microsoft.com/office/drawing/2014/main" id="{4D690331-2E5C-3ED2-2BAB-5D9AE27C4BCE}"/>
                </a:ext>
              </a:extLst>
            </p:cNvPr>
            <p:cNvCxnSpPr>
              <a:cxnSpLocks/>
            </p:cNvCxnSpPr>
            <p:nvPr/>
          </p:nvCxnSpPr>
          <p:spPr>
            <a:xfrm>
              <a:off x="7888994" y="5841278"/>
              <a:ext cx="3625673" cy="0"/>
            </a:xfrm>
            <a:prstGeom prst="line">
              <a:avLst/>
            </a:prstGeom>
            <a:ln w="12700"/>
          </p:spPr>
          <p:style>
            <a:lnRef idx="1">
              <a:schemeClr val="accent2"/>
            </a:lnRef>
            <a:fillRef idx="0">
              <a:schemeClr val="accent2"/>
            </a:fillRef>
            <a:effectRef idx="0">
              <a:schemeClr val="accent2"/>
            </a:effectRef>
            <a:fontRef idx="minor">
              <a:schemeClr val="tx1"/>
            </a:fontRef>
          </p:style>
        </p:cxnSp>
      </p:grpSp>
      <p:sp>
        <p:nvSpPr>
          <p:cNvPr id="46" name="TekstSylinder 59">
            <a:extLst>
              <a:ext uri="{FF2B5EF4-FFF2-40B4-BE49-F238E27FC236}">
                <a16:creationId xmlns:a16="http://schemas.microsoft.com/office/drawing/2014/main" id="{8A78934C-367A-C045-6C36-7EED6EB7E013}"/>
              </a:ext>
            </a:extLst>
          </p:cNvPr>
          <p:cNvSpPr txBox="1"/>
          <p:nvPr/>
        </p:nvSpPr>
        <p:spPr>
          <a:xfrm>
            <a:off x="896228" y="1324371"/>
            <a:ext cx="2831882" cy="46935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E1E50"/>
                </a:solidFill>
                <a:effectLst/>
                <a:uLnTx/>
                <a:uFillTx/>
                <a:latin typeface="Helvetica" pitchFamily="2" charset="0"/>
                <a:ea typeface="+mn-ea"/>
                <a:cs typeface="+mn-cs"/>
              </a:rPr>
              <a:t>Divide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Helvetica Light" panose="020B0403020202020204" pitchFamily="34" charset="0"/>
                <a:ea typeface="+mn-ea"/>
                <a:cs typeface="+mn-cs"/>
              </a:rPr>
              <a:t>NOK per share</a:t>
            </a:r>
          </a:p>
        </p:txBody>
      </p:sp>
    </p:spTree>
    <p:extLst>
      <p:ext uri="{BB962C8B-B14F-4D97-AF65-F5344CB8AC3E}">
        <p14:creationId xmlns:p14="http://schemas.microsoft.com/office/powerpoint/2010/main" val="25891041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671BB0A-FE7C-719D-597A-B4EB0C6E0219}"/>
              </a:ext>
            </a:extLst>
          </p:cNvPr>
          <p:cNvGraphicFramePr>
            <a:graphicFrameLocks noChangeAspect="1"/>
          </p:cNvGraphicFramePr>
          <p:nvPr>
            <p:custDataLst>
              <p:tags r:id="rId1"/>
            </p:custDataLst>
            <p:extLst>
              <p:ext uri="{D42A27DB-BD31-4B8C-83A1-F6EECF244321}">
                <p14:modId xmlns:p14="http://schemas.microsoft.com/office/powerpoint/2010/main" val="36139364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7671BB0A-FE7C-719D-597A-B4EB0C6E02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31F06077-752C-07E8-8179-979719D4AC4F}"/>
              </a:ext>
            </a:extLst>
          </p:cNvPr>
          <p:cNvSpPr>
            <a:spLocks noGrp="1"/>
          </p:cNvSpPr>
          <p:nvPr>
            <p:ph type="title"/>
          </p:nvPr>
        </p:nvSpPr>
        <p:spPr>
          <a:xfrm>
            <a:off x="1227692" y="3086098"/>
            <a:ext cx="8394291" cy="1886926"/>
          </a:xfrm>
          <a:prstGeom prst="rect">
            <a:avLst/>
          </a:prstGeom>
        </p:spPr>
        <p:txBody>
          <a:bodyPr vert="horz" lIns="91440" tIns="45720" rIns="91440" bIns="45720" anchor="b">
            <a:normAutofit fontScale="90000"/>
          </a:bodyPr>
          <a:lstStyle>
            <a:lvl1pPr>
              <a:defRPr sz="4000" b="0" i="0">
                <a:solidFill>
                  <a:schemeClr val="bg1"/>
                </a:solidFill>
                <a:latin typeface="Helvetica Light" panose="020B0403020202020204" pitchFamily="34" charset="0"/>
              </a:defRPr>
            </a:lvl1pPr>
          </a:lstStyle>
          <a:p>
            <a:r>
              <a:rPr lang="en-US" sz="6600"/>
              <a:t>Concluding comments</a:t>
            </a:r>
          </a:p>
        </p:txBody>
      </p:sp>
      <p:pic>
        <p:nvPicPr>
          <p:cNvPr id="5" name="Picture Placeholder 4" descr="A person shopping at a grocery store&#10;&#10;Description automatically generated with low confidence">
            <a:extLst>
              <a:ext uri="{FF2B5EF4-FFF2-40B4-BE49-F238E27FC236}">
                <a16:creationId xmlns:a16="http://schemas.microsoft.com/office/drawing/2014/main" id="{41777B7C-45E3-599D-AA0F-7D8A12730898}"/>
              </a:ext>
            </a:extLst>
          </p:cNvPr>
          <p:cNvPicPr>
            <a:picLocks noGrp="1" noChangeAspect="1"/>
          </p:cNvPicPr>
          <p:nvPr>
            <p:ph type="pic" sz="quarter" idx="4294967295"/>
          </p:nvPr>
        </p:nvPicPr>
        <p:blipFill rotWithShape="1">
          <a:blip r:embed="rId5" cstate="print">
            <a:alphaModFix amt="26000"/>
            <a:extLst>
              <a:ext uri="{28A0092B-C50C-407E-A947-70E740481C1C}">
                <a14:useLocalDpi xmlns:a14="http://schemas.microsoft.com/office/drawing/2010/main"/>
              </a:ext>
            </a:extLst>
          </a:blip>
          <a:srcRect/>
          <a:stretch/>
        </p:blipFill>
        <p:spPr>
          <a:xfrm>
            <a:off x="0" y="0"/>
            <a:ext cx="12192000" cy="6858000"/>
          </a:xfrm>
        </p:spPr>
      </p:pic>
      <p:cxnSp>
        <p:nvCxnSpPr>
          <p:cNvPr id="10" name="Straight Connector 9">
            <a:extLst>
              <a:ext uri="{FF2B5EF4-FFF2-40B4-BE49-F238E27FC236}">
                <a16:creationId xmlns:a16="http://schemas.microsoft.com/office/drawing/2014/main" id="{19C55B9A-411C-CCD2-7C44-86752FEDAFEE}"/>
              </a:ext>
            </a:extLst>
          </p:cNvPr>
          <p:cNvCxnSpPr>
            <a:cxnSpLocks/>
          </p:cNvCxnSpPr>
          <p:nvPr/>
        </p:nvCxnSpPr>
        <p:spPr>
          <a:xfrm>
            <a:off x="1315186" y="5260160"/>
            <a:ext cx="85977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Bilde 3">
            <a:extLst>
              <a:ext uri="{FF2B5EF4-FFF2-40B4-BE49-F238E27FC236}">
                <a16:creationId xmlns:a16="http://schemas.microsoft.com/office/drawing/2014/main" id="{1CFE7C1A-03C1-DA39-0257-9C11128F2B8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315186" y="5601342"/>
            <a:ext cx="2737020" cy="478520"/>
          </a:xfrm>
          <a:prstGeom prst="rect">
            <a:avLst/>
          </a:prstGeom>
        </p:spPr>
      </p:pic>
    </p:spTree>
    <p:extLst>
      <p:ext uri="{BB962C8B-B14F-4D97-AF65-F5344CB8AC3E}">
        <p14:creationId xmlns:p14="http://schemas.microsoft.com/office/powerpoint/2010/main" val="40562365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entagon 29">
            <a:extLst>
              <a:ext uri="{FF2B5EF4-FFF2-40B4-BE49-F238E27FC236}">
                <a16:creationId xmlns:a16="http://schemas.microsoft.com/office/drawing/2014/main" id="{20A4F910-C40F-D66B-A0A2-126FE515C707}"/>
              </a:ext>
            </a:extLst>
          </p:cNvPr>
          <p:cNvSpPr/>
          <p:nvPr/>
        </p:nvSpPr>
        <p:spPr>
          <a:xfrm flipH="1">
            <a:off x="1116486" y="1283630"/>
            <a:ext cx="4883899" cy="612971"/>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pSp>
        <p:nvGrpSpPr>
          <p:cNvPr id="62" name="Group 61">
            <a:extLst>
              <a:ext uri="{FF2B5EF4-FFF2-40B4-BE49-F238E27FC236}">
                <a16:creationId xmlns:a16="http://schemas.microsoft.com/office/drawing/2014/main" id="{3547CC31-70AB-28EA-4537-ADE78525042A}"/>
              </a:ext>
            </a:extLst>
          </p:cNvPr>
          <p:cNvGrpSpPr/>
          <p:nvPr/>
        </p:nvGrpSpPr>
        <p:grpSpPr>
          <a:xfrm flipH="1">
            <a:off x="6677635" y="2075688"/>
            <a:ext cx="4432805" cy="3880452"/>
            <a:chOff x="1105854" y="2088814"/>
            <a:chExt cx="4432805" cy="3162681"/>
          </a:xfrm>
        </p:grpSpPr>
        <p:sp>
          <p:nvSpPr>
            <p:cNvPr id="63" name="Rectangle: Top Corners Rounded 62">
              <a:extLst>
                <a:ext uri="{FF2B5EF4-FFF2-40B4-BE49-F238E27FC236}">
                  <a16:creationId xmlns:a16="http://schemas.microsoft.com/office/drawing/2014/main" id="{78D7A7D4-6BFE-2030-DBB1-2CFC0B4966C5}"/>
                </a:ext>
              </a:extLst>
            </p:cNvPr>
            <p:cNvSpPr/>
            <p:nvPr/>
          </p:nvSpPr>
          <p:spPr>
            <a:xfrm rot="16200000">
              <a:off x="3046572" y="148100"/>
              <a:ext cx="551373" cy="4432801"/>
            </a:xfrm>
            <a:prstGeom prst="round2SameRect">
              <a:avLst>
                <a:gd name="adj1" fmla="val 50000"/>
                <a:gd name="adj2" fmla="val 0"/>
              </a:avLst>
            </a:prstGeom>
            <a:solidFill>
              <a:schemeClr val="accent4">
                <a:lumMod val="20000"/>
                <a:lumOff val="80000"/>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64" name="Rectangle: Top Corners Rounded 63">
              <a:extLst>
                <a:ext uri="{FF2B5EF4-FFF2-40B4-BE49-F238E27FC236}">
                  <a16:creationId xmlns:a16="http://schemas.microsoft.com/office/drawing/2014/main" id="{BCB9A06A-71D6-F80D-A59D-55E0EC057306}"/>
                </a:ext>
              </a:extLst>
            </p:cNvPr>
            <p:cNvSpPr/>
            <p:nvPr/>
          </p:nvSpPr>
          <p:spPr>
            <a:xfrm rot="16200000">
              <a:off x="3046571" y="800927"/>
              <a:ext cx="551373" cy="4432801"/>
            </a:xfrm>
            <a:prstGeom prst="round2SameRect">
              <a:avLst>
                <a:gd name="adj1" fmla="val 50000"/>
                <a:gd name="adj2" fmla="val 0"/>
              </a:avLst>
            </a:prstGeom>
            <a:solidFill>
              <a:schemeClr val="accent4">
                <a:lumMod val="20000"/>
                <a:lumOff val="80000"/>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65" name="Rectangle: Top Corners Rounded 64">
              <a:extLst>
                <a:ext uri="{FF2B5EF4-FFF2-40B4-BE49-F238E27FC236}">
                  <a16:creationId xmlns:a16="http://schemas.microsoft.com/office/drawing/2014/main" id="{245F5D3E-4BF0-356B-2E3B-A812975DB6FA}"/>
                </a:ext>
              </a:extLst>
            </p:cNvPr>
            <p:cNvSpPr/>
            <p:nvPr/>
          </p:nvSpPr>
          <p:spPr>
            <a:xfrm rot="16200000">
              <a:off x="3046570" y="1453754"/>
              <a:ext cx="551373" cy="4432801"/>
            </a:xfrm>
            <a:prstGeom prst="round2SameRect">
              <a:avLst>
                <a:gd name="adj1" fmla="val 50000"/>
                <a:gd name="adj2" fmla="val 0"/>
              </a:avLst>
            </a:prstGeom>
            <a:solidFill>
              <a:schemeClr val="accent4">
                <a:lumMod val="20000"/>
                <a:lumOff val="80000"/>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66" name="Rectangle: Top Corners Rounded 65">
              <a:extLst>
                <a:ext uri="{FF2B5EF4-FFF2-40B4-BE49-F238E27FC236}">
                  <a16:creationId xmlns:a16="http://schemas.microsoft.com/office/drawing/2014/main" id="{5CAD5D6A-029A-C0D6-C07B-ED7A878F8583}"/>
                </a:ext>
              </a:extLst>
            </p:cNvPr>
            <p:cNvSpPr/>
            <p:nvPr/>
          </p:nvSpPr>
          <p:spPr>
            <a:xfrm rot="16200000">
              <a:off x="3046569" y="2106581"/>
              <a:ext cx="551373" cy="4432801"/>
            </a:xfrm>
            <a:prstGeom prst="round2SameRect">
              <a:avLst>
                <a:gd name="adj1" fmla="val 50000"/>
                <a:gd name="adj2" fmla="val 0"/>
              </a:avLst>
            </a:prstGeom>
            <a:solidFill>
              <a:schemeClr val="accent4">
                <a:lumMod val="20000"/>
                <a:lumOff val="80000"/>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68" name="Rectangle: Top Corners Rounded 67">
              <a:extLst>
                <a:ext uri="{FF2B5EF4-FFF2-40B4-BE49-F238E27FC236}">
                  <a16:creationId xmlns:a16="http://schemas.microsoft.com/office/drawing/2014/main" id="{695F1FF4-4C7E-2A7E-A0B9-49F0EC26BA8D}"/>
                </a:ext>
              </a:extLst>
            </p:cNvPr>
            <p:cNvSpPr/>
            <p:nvPr/>
          </p:nvSpPr>
          <p:spPr>
            <a:xfrm rot="16200000">
              <a:off x="3046568" y="2759408"/>
              <a:ext cx="551373" cy="4432801"/>
            </a:xfrm>
            <a:prstGeom prst="round2SameRect">
              <a:avLst>
                <a:gd name="adj1" fmla="val 50000"/>
                <a:gd name="adj2" fmla="val 0"/>
              </a:avLst>
            </a:prstGeom>
            <a:solidFill>
              <a:schemeClr val="accent4">
                <a:lumMod val="20000"/>
                <a:lumOff val="80000"/>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pSp>
      <p:grpSp>
        <p:nvGrpSpPr>
          <p:cNvPr id="37" name="Group 36">
            <a:extLst>
              <a:ext uri="{FF2B5EF4-FFF2-40B4-BE49-F238E27FC236}">
                <a16:creationId xmlns:a16="http://schemas.microsoft.com/office/drawing/2014/main" id="{F1BAC151-F440-49BC-DBA8-93BC965F2D09}"/>
              </a:ext>
            </a:extLst>
          </p:cNvPr>
          <p:cNvGrpSpPr/>
          <p:nvPr/>
        </p:nvGrpSpPr>
        <p:grpSpPr>
          <a:xfrm>
            <a:off x="1105854" y="2075688"/>
            <a:ext cx="4432805" cy="3880452"/>
            <a:chOff x="1105854" y="2088814"/>
            <a:chExt cx="4432805" cy="3162681"/>
          </a:xfrm>
        </p:grpSpPr>
        <p:sp>
          <p:nvSpPr>
            <p:cNvPr id="20" name="Rectangle: Top Corners Rounded 19">
              <a:extLst>
                <a:ext uri="{FF2B5EF4-FFF2-40B4-BE49-F238E27FC236}">
                  <a16:creationId xmlns:a16="http://schemas.microsoft.com/office/drawing/2014/main" id="{251F6146-3CA1-EEEA-1161-E26A63461F49}"/>
                </a:ext>
              </a:extLst>
            </p:cNvPr>
            <p:cNvSpPr/>
            <p:nvPr/>
          </p:nvSpPr>
          <p:spPr>
            <a:xfrm rot="16200000">
              <a:off x="3046572" y="148100"/>
              <a:ext cx="551373" cy="4432801"/>
            </a:xfrm>
            <a:prstGeom prst="round2SameRect">
              <a:avLst>
                <a:gd name="adj1" fmla="val 50000"/>
                <a:gd name="adj2" fmla="val 0"/>
              </a:avLst>
            </a:prstGeom>
            <a:solidFill>
              <a:schemeClr val="accent4">
                <a:lumMod val="20000"/>
                <a:lumOff val="80000"/>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33" name="Rectangle: Top Corners Rounded 32">
              <a:extLst>
                <a:ext uri="{FF2B5EF4-FFF2-40B4-BE49-F238E27FC236}">
                  <a16:creationId xmlns:a16="http://schemas.microsoft.com/office/drawing/2014/main" id="{FACCE18B-5DFE-D492-889A-5D2D9BB3230E}"/>
                </a:ext>
              </a:extLst>
            </p:cNvPr>
            <p:cNvSpPr/>
            <p:nvPr/>
          </p:nvSpPr>
          <p:spPr>
            <a:xfrm rot="16200000">
              <a:off x="3046571" y="800927"/>
              <a:ext cx="551373" cy="4432801"/>
            </a:xfrm>
            <a:prstGeom prst="round2SameRect">
              <a:avLst>
                <a:gd name="adj1" fmla="val 50000"/>
                <a:gd name="adj2" fmla="val 0"/>
              </a:avLst>
            </a:prstGeom>
            <a:solidFill>
              <a:schemeClr val="accent4">
                <a:lumMod val="20000"/>
                <a:lumOff val="80000"/>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34" name="Rectangle: Top Corners Rounded 33">
              <a:extLst>
                <a:ext uri="{FF2B5EF4-FFF2-40B4-BE49-F238E27FC236}">
                  <a16:creationId xmlns:a16="http://schemas.microsoft.com/office/drawing/2014/main" id="{4F341789-7D23-C1A5-3909-B48F2C05EACA}"/>
                </a:ext>
              </a:extLst>
            </p:cNvPr>
            <p:cNvSpPr/>
            <p:nvPr/>
          </p:nvSpPr>
          <p:spPr>
            <a:xfrm rot="16200000">
              <a:off x="3046570" y="1453754"/>
              <a:ext cx="551373" cy="4432801"/>
            </a:xfrm>
            <a:prstGeom prst="round2SameRect">
              <a:avLst>
                <a:gd name="adj1" fmla="val 50000"/>
                <a:gd name="adj2" fmla="val 0"/>
              </a:avLst>
            </a:prstGeom>
            <a:solidFill>
              <a:schemeClr val="accent4">
                <a:lumMod val="20000"/>
                <a:lumOff val="80000"/>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35" name="Rectangle: Top Corners Rounded 34">
              <a:extLst>
                <a:ext uri="{FF2B5EF4-FFF2-40B4-BE49-F238E27FC236}">
                  <a16:creationId xmlns:a16="http://schemas.microsoft.com/office/drawing/2014/main" id="{12956953-5615-D473-E9B6-B9C471E414C2}"/>
                </a:ext>
              </a:extLst>
            </p:cNvPr>
            <p:cNvSpPr/>
            <p:nvPr/>
          </p:nvSpPr>
          <p:spPr>
            <a:xfrm rot="16200000">
              <a:off x="3046569" y="2106581"/>
              <a:ext cx="551373" cy="4432801"/>
            </a:xfrm>
            <a:prstGeom prst="round2SameRect">
              <a:avLst>
                <a:gd name="adj1" fmla="val 50000"/>
                <a:gd name="adj2" fmla="val 0"/>
              </a:avLst>
            </a:prstGeom>
            <a:solidFill>
              <a:schemeClr val="accent4">
                <a:lumMod val="20000"/>
                <a:lumOff val="80000"/>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36" name="Rectangle: Top Corners Rounded 35">
              <a:extLst>
                <a:ext uri="{FF2B5EF4-FFF2-40B4-BE49-F238E27FC236}">
                  <a16:creationId xmlns:a16="http://schemas.microsoft.com/office/drawing/2014/main" id="{2B3F49EE-B659-2196-501A-5689FDB1317F}"/>
                </a:ext>
              </a:extLst>
            </p:cNvPr>
            <p:cNvSpPr/>
            <p:nvPr/>
          </p:nvSpPr>
          <p:spPr>
            <a:xfrm rot="16200000">
              <a:off x="3046568" y="2759408"/>
              <a:ext cx="551373" cy="4432801"/>
            </a:xfrm>
            <a:prstGeom prst="round2SameRect">
              <a:avLst>
                <a:gd name="adj1" fmla="val 50000"/>
                <a:gd name="adj2" fmla="val 0"/>
              </a:avLst>
            </a:prstGeom>
            <a:solidFill>
              <a:schemeClr val="accent4">
                <a:lumMod val="20000"/>
                <a:lumOff val="80000"/>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pSp>
      <p:sp>
        <p:nvSpPr>
          <p:cNvPr id="30" name="Pentagon 29">
            <a:extLst>
              <a:ext uri="{FF2B5EF4-FFF2-40B4-BE49-F238E27FC236}">
                <a16:creationId xmlns:a16="http://schemas.microsoft.com/office/drawing/2014/main" id="{CD2394D4-1AE1-2A64-0071-EA7ED910C59E}"/>
              </a:ext>
            </a:extLst>
          </p:cNvPr>
          <p:cNvSpPr/>
          <p:nvPr/>
        </p:nvSpPr>
        <p:spPr>
          <a:xfrm>
            <a:off x="6165451" y="1282453"/>
            <a:ext cx="4944985" cy="612971"/>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aphicFrame>
        <p:nvGraphicFramePr>
          <p:cNvPr id="9" name="think-cell data - do not delete" hidden="1">
            <a:extLst>
              <a:ext uri="{FF2B5EF4-FFF2-40B4-BE49-F238E27FC236}">
                <a16:creationId xmlns:a16="http://schemas.microsoft.com/office/drawing/2014/main" id="{826665A7-235F-0B5E-C8F0-9395378E517C}"/>
              </a:ext>
            </a:extLst>
          </p:cNvPr>
          <p:cNvGraphicFramePr>
            <a:graphicFrameLocks noChangeAspect="1"/>
          </p:cNvGraphicFramePr>
          <p:nvPr>
            <p:custDataLst>
              <p:tags r:id="rId1"/>
            </p:custDataLst>
            <p:extLst>
              <p:ext uri="{D42A27DB-BD31-4B8C-83A1-F6EECF244321}">
                <p14:modId xmlns:p14="http://schemas.microsoft.com/office/powerpoint/2010/main" val="2167115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826665A7-235F-0B5E-C8F0-9395378E517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DAFAA0-E1D3-88F1-4042-DD0F0674FE97}"/>
              </a:ext>
            </a:extLst>
          </p:cNvPr>
          <p:cNvSpPr>
            <a:spLocks noGrp="1"/>
          </p:cNvSpPr>
          <p:nvPr>
            <p:ph type="title"/>
          </p:nvPr>
        </p:nvSpPr>
        <p:spPr/>
        <p:txBody>
          <a:bodyPr vert="horz">
            <a:normAutofit/>
          </a:bodyPr>
          <a:lstStyle/>
          <a:p>
            <a:r>
              <a:rPr lang="en-US"/>
              <a:t>StrongPoint 2020 vs. 2024</a:t>
            </a:r>
          </a:p>
        </p:txBody>
      </p:sp>
      <p:sp>
        <p:nvSpPr>
          <p:cNvPr id="19" name="Freeform 18">
            <a:extLst>
              <a:ext uri="{FF2B5EF4-FFF2-40B4-BE49-F238E27FC236}">
                <a16:creationId xmlns:a16="http://schemas.microsoft.com/office/drawing/2014/main" id="{7FA2661B-119E-25E8-A288-61AC4B0D3254}"/>
              </a:ext>
            </a:extLst>
          </p:cNvPr>
          <p:cNvSpPr/>
          <p:nvPr/>
        </p:nvSpPr>
        <p:spPr>
          <a:xfrm rot="5400000">
            <a:off x="-7275316" y="-4309082"/>
            <a:ext cx="8595" cy="5115"/>
          </a:xfrm>
          <a:custGeom>
            <a:avLst/>
            <a:gdLst>
              <a:gd name="connsiteX0" fmla="*/ 0 w 8595"/>
              <a:gd name="connsiteY0" fmla="*/ 5115 h 5115"/>
              <a:gd name="connsiteX1" fmla="*/ 2967 w 8595"/>
              <a:gd name="connsiteY1" fmla="*/ 0 h 5115"/>
              <a:gd name="connsiteX2" fmla="*/ 8595 w 8595"/>
              <a:gd name="connsiteY2" fmla="*/ 5115 h 5115"/>
              <a:gd name="connsiteX3" fmla="*/ 0 w 8595"/>
              <a:gd name="connsiteY3" fmla="*/ 5115 h 5115"/>
            </a:gdLst>
            <a:ahLst/>
            <a:cxnLst>
              <a:cxn ang="0">
                <a:pos x="connsiteX0" y="connsiteY0"/>
              </a:cxn>
              <a:cxn ang="0">
                <a:pos x="connsiteX1" y="connsiteY1"/>
              </a:cxn>
              <a:cxn ang="0">
                <a:pos x="connsiteX2" y="connsiteY2"/>
              </a:cxn>
              <a:cxn ang="0">
                <a:pos x="connsiteX3" y="connsiteY3"/>
              </a:cxn>
            </a:cxnLst>
            <a:rect l="l" t="t" r="r" b="b"/>
            <a:pathLst>
              <a:path w="8595" h="5115">
                <a:moveTo>
                  <a:pt x="0" y="5115"/>
                </a:moveTo>
                <a:lnTo>
                  <a:pt x="2967" y="0"/>
                </a:lnTo>
                <a:lnTo>
                  <a:pt x="8595" y="5115"/>
                </a:lnTo>
                <a:lnTo>
                  <a:pt x="0" y="5115"/>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5" name="Text Placeholder 2">
            <a:extLst>
              <a:ext uri="{FF2B5EF4-FFF2-40B4-BE49-F238E27FC236}">
                <a16:creationId xmlns:a16="http://schemas.microsoft.com/office/drawing/2014/main" id="{3344EC8B-F259-6282-ECAF-416C18781B94}"/>
              </a:ext>
            </a:extLst>
          </p:cNvPr>
          <p:cNvSpPr txBox="1">
            <a:spLocks/>
          </p:cNvSpPr>
          <p:nvPr/>
        </p:nvSpPr>
        <p:spPr>
          <a:xfrm>
            <a:off x="6677637" y="1361092"/>
            <a:ext cx="2753441" cy="386244"/>
          </a:xfrm>
          <a:prstGeom prst="rect">
            <a:avLst/>
          </a:prstGeom>
        </p:spPr>
        <p:txBody>
          <a:bodyPr anchor="b">
            <a:normAutofit/>
          </a:bodyPr>
          <a:lstStyle>
            <a:lvl1pPr marL="0" indent="0" algn="l" defTabSz="914400" rtl="0" eaLnBrk="1" latinLnBrk="0" hangingPunct="1">
              <a:lnSpc>
                <a:spcPct val="90000"/>
              </a:lnSpc>
              <a:spcBef>
                <a:spcPts val="1000"/>
              </a:spcBef>
              <a:buFont typeface="Arial" panose="020B0604020202020204" pitchFamily="34" charset="0"/>
              <a:buNone/>
              <a:defRPr sz="1800" b="1" i="0" kern="1200">
                <a:solidFill>
                  <a:schemeClr val="accent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err="1">
                <a:ln>
                  <a:noFill/>
                </a:ln>
                <a:solidFill>
                  <a:srgbClr val="2832DC"/>
                </a:solidFill>
                <a:effectLst/>
                <a:uLnTx/>
                <a:uFillTx/>
                <a:latin typeface="Helvetica" pitchFamily="2" charset="0"/>
                <a:ea typeface="+mn-ea"/>
                <a:cs typeface="+mn-cs"/>
              </a:rPr>
              <a:t>StrongPoint</a:t>
            </a:r>
            <a:r>
              <a:rPr kumimoji="0" lang="en-GB" sz="1600" b="1" i="0" u="none" strike="noStrike" kern="1200" cap="none" spc="0" normalizeH="0" baseline="0" noProof="0">
                <a:ln>
                  <a:noFill/>
                </a:ln>
                <a:solidFill>
                  <a:srgbClr val="2832DC"/>
                </a:solidFill>
                <a:effectLst/>
                <a:uLnTx/>
                <a:uFillTx/>
                <a:latin typeface="Helvetica" pitchFamily="2" charset="0"/>
                <a:ea typeface="+mn-ea"/>
                <a:cs typeface="+mn-cs"/>
              </a:rPr>
              <a:t> in 2024</a:t>
            </a:r>
          </a:p>
        </p:txBody>
      </p:sp>
      <p:sp>
        <p:nvSpPr>
          <p:cNvPr id="8" name="Rectangle 7">
            <a:extLst>
              <a:ext uri="{FF2B5EF4-FFF2-40B4-BE49-F238E27FC236}">
                <a16:creationId xmlns:a16="http://schemas.microsoft.com/office/drawing/2014/main" id="{E2111B74-6843-FA57-12B9-70CEC6426909}"/>
              </a:ext>
            </a:extLst>
          </p:cNvPr>
          <p:cNvSpPr/>
          <p:nvPr/>
        </p:nvSpPr>
        <p:spPr>
          <a:xfrm>
            <a:off x="1203235" y="2120716"/>
            <a:ext cx="4125928" cy="5739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3 business areas, 16 offices incl. Russia and Malaysia</a:t>
            </a:r>
          </a:p>
        </p:txBody>
      </p:sp>
      <p:sp>
        <p:nvSpPr>
          <p:cNvPr id="46" name="Rectangle 45">
            <a:extLst>
              <a:ext uri="{FF2B5EF4-FFF2-40B4-BE49-F238E27FC236}">
                <a16:creationId xmlns:a16="http://schemas.microsoft.com/office/drawing/2014/main" id="{1CABCDB9-ED1B-8E7A-0970-5678E859F0ED}"/>
              </a:ext>
            </a:extLst>
          </p:cNvPr>
          <p:cNvSpPr/>
          <p:nvPr/>
        </p:nvSpPr>
        <p:spPr>
          <a:xfrm>
            <a:off x="1224503" y="2947022"/>
            <a:ext cx="3766459" cy="5563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Mainly selling hardware with some service agreements</a:t>
            </a:r>
          </a:p>
        </p:txBody>
      </p:sp>
      <p:sp>
        <p:nvSpPr>
          <p:cNvPr id="48" name="Rectangle 47">
            <a:extLst>
              <a:ext uri="{FF2B5EF4-FFF2-40B4-BE49-F238E27FC236}">
                <a16:creationId xmlns:a16="http://schemas.microsoft.com/office/drawing/2014/main" id="{143FF5C1-F89F-E167-1C71-9B5342A61BA8}"/>
              </a:ext>
            </a:extLst>
          </p:cNvPr>
          <p:cNvSpPr/>
          <p:nvPr/>
        </p:nvSpPr>
        <p:spPr>
          <a:xfrm>
            <a:off x="1239163" y="4521632"/>
            <a:ext cx="4249489" cy="5814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Serving leading Scandinavian and Baltic </a:t>
            </a:r>
            <a:br>
              <a:rPr kumimoji="0" lang="en-GB"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br>
            <a:r>
              <a:rPr kumimoji="0" lang="en-GB"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retailers only</a:t>
            </a:r>
          </a:p>
        </p:txBody>
      </p:sp>
      <p:sp>
        <p:nvSpPr>
          <p:cNvPr id="52" name="Rectangle 51">
            <a:extLst>
              <a:ext uri="{FF2B5EF4-FFF2-40B4-BE49-F238E27FC236}">
                <a16:creationId xmlns:a16="http://schemas.microsoft.com/office/drawing/2014/main" id="{C8A1C2C0-C9FE-9D90-A843-DDFEF95CD4AD}"/>
              </a:ext>
            </a:extLst>
          </p:cNvPr>
          <p:cNvSpPr/>
          <p:nvPr/>
        </p:nvSpPr>
        <p:spPr>
          <a:xfrm>
            <a:off x="1239163" y="5347424"/>
            <a:ext cx="3797110" cy="5814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Dependent on a few large customers in 2-3 countries </a:t>
            </a:r>
          </a:p>
        </p:txBody>
      </p:sp>
      <p:sp>
        <p:nvSpPr>
          <p:cNvPr id="11" name="Rectangle 10">
            <a:extLst>
              <a:ext uri="{FF2B5EF4-FFF2-40B4-BE49-F238E27FC236}">
                <a16:creationId xmlns:a16="http://schemas.microsoft.com/office/drawing/2014/main" id="{AB56C5A4-A97C-9244-C84B-0E581D5A8A1C}"/>
              </a:ext>
            </a:extLst>
          </p:cNvPr>
          <p:cNvSpPr/>
          <p:nvPr/>
        </p:nvSpPr>
        <p:spPr>
          <a:xfrm>
            <a:off x="6691434" y="2167279"/>
            <a:ext cx="4306101" cy="3523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Grocery retail tech focused with 9 priority countries</a:t>
            </a:r>
          </a:p>
        </p:txBody>
      </p:sp>
      <p:sp>
        <p:nvSpPr>
          <p:cNvPr id="67" name="Rectangle 66">
            <a:extLst>
              <a:ext uri="{FF2B5EF4-FFF2-40B4-BE49-F238E27FC236}">
                <a16:creationId xmlns:a16="http://schemas.microsoft.com/office/drawing/2014/main" id="{390188FA-E026-9899-C75A-D609AF96B408}"/>
              </a:ext>
            </a:extLst>
          </p:cNvPr>
          <p:cNvSpPr/>
          <p:nvPr/>
        </p:nvSpPr>
        <p:spPr>
          <a:xfrm>
            <a:off x="6677638" y="2349539"/>
            <a:ext cx="4432801" cy="3971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GB"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69" name="Rectangle 68">
            <a:extLst>
              <a:ext uri="{FF2B5EF4-FFF2-40B4-BE49-F238E27FC236}">
                <a16:creationId xmlns:a16="http://schemas.microsoft.com/office/drawing/2014/main" id="{7E4327D5-52E2-4A1E-1ADA-A8D676EC3F89}"/>
              </a:ext>
            </a:extLst>
          </p:cNvPr>
          <p:cNvSpPr/>
          <p:nvPr/>
        </p:nvSpPr>
        <p:spPr>
          <a:xfrm>
            <a:off x="6754852" y="2840849"/>
            <a:ext cx="4244544" cy="7111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Solution sales with high potential for additional recurring software income and professional services</a:t>
            </a:r>
          </a:p>
        </p:txBody>
      </p:sp>
      <p:sp>
        <p:nvSpPr>
          <p:cNvPr id="78" name="Rectangle 77">
            <a:extLst>
              <a:ext uri="{FF2B5EF4-FFF2-40B4-BE49-F238E27FC236}">
                <a16:creationId xmlns:a16="http://schemas.microsoft.com/office/drawing/2014/main" id="{868C3E80-B151-2E52-A19C-9645B1F1009A}"/>
              </a:ext>
            </a:extLst>
          </p:cNvPr>
          <p:cNvSpPr/>
          <p:nvPr/>
        </p:nvSpPr>
        <p:spPr>
          <a:xfrm>
            <a:off x="6812296" y="4597072"/>
            <a:ext cx="3984664" cy="4468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Started serving the very top tier-1 European grocery retailer clients </a:t>
            </a:r>
            <a:endParaRPr kumimoji="0" lang="en-GB" sz="1400" b="0" i="0" u="none" strike="noStrike" kern="1200" cap="none" spc="0" normalizeH="0" baseline="0" noProof="0">
              <a:ln>
                <a:noFill/>
              </a:ln>
              <a:solidFill>
                <a:srgbClr val="1E1E50"/>
              </a:solidFill>
              <a:effectLst/>
              <a:highlight>
                <a:srgbClr val="FFFF00"/>
              </a:highlight>
              <a:uLnTx/>
              <a:uFillTx/>
              <a:latin typeface="Helvetica Light" panose="020B0403020202020204" pitchFamily="34" charset="0"/>
              <a:ea typeface="+mn-ea"/>
              <a:cs typeface="+mn-cs"/>
            </a:endParaRPr>
          </a:p>
        </p:txBody>
      </p:sp>
      <p:sp>
        <p:nvSpPr>
          <p:cNvPr id="91" name="Rectangle 68">
            <a:extLst>
              <a:ext uri="{FF2B5EF4-FFF2-40B4-BE49-F238E27FC236}">
                <a16:creationId xmlns:a16="http://schemas.microsoft.com/office/drawing/2014/main" id="{4505490A-BBC8-44A7-B7B2-3E544ECCE6E1}"/>
              </a:ext>
            </a:extLst>
          </p:cNvPr>
          <p:cNvSpPr/>
          <p:nvPr/>
        </p:nvSpPr>
        <p:spPr>
          <a:xfrm>
            <a:off x="6808395" y="5299495"/>
            <a:ext cx="3837428" cy="5892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Platform for reduced risk profile: wider customer base across 9 priority countries</a:t>
            </a:r>
          </a:p>
        </p:txBody>
      </p:sp>
      <p:sp>
        <p:nvSpPr>
          <p:cNvPr id="93" name="Rectangle 51">
            <a:extLst>
              <a:ext uri="{FF2B5EF4-FFF2-40B4-BE49-F238E27FC236}">
                <a16:creationId xmlns:a16="http://schemas.microsoft.com/office/drawing/2014/main" id="{3BC273E5-9EFC-466F-87E2-C740F5E6D16D}"/>
              </a:ext>
            </a:extLst>
          </p:cNvPr>
          <p:cNvSpPr/>
          <p:nvPr/>
        </p:nvSpPr>
        <p:spPr>
          <a:xfrm>
            <a:off x="1241442" y="3718474"/>
            <a:ext cx="3893524" cy="5814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Organization with competence to serve retailers in general with legacy products </a:t>
            </a:r>
          </a:p>
        </p:txBody>
      </p:sp>
      <p:sp>
        <p:nvSpPr>
          <p:cNvPr id="97" name="Rectangle 69">
            <a:extLst>
              <a:ext uri="{FF2B5EF4-FFF2-40B4-BE49-F238E27FC236}">
                <a16:creationId xmlns:a16="http://schemas.microsoft.com/office/drawing/2014/main" id="{731018B4-DD36-494D-A6AD-5464D479FEB7}"/>
              </a:ext>
            </a:extLst>
          </p:cNvPr>
          <p:cNvSpPr/>
          <p:nvPr/>
        </p:nvSpPr>
        <p:spPr>
          <a:xfrm>
            <a:off x="6773334" y="3649239"/>
            <a:ext cx="4114717" cy="697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GB" sz="1400">
                <a:solidFill>
                  <a:srgbClr val="1E1E50"/>
                </a:solidFill>
                <a:latin typeface="Helvetica Light" panose="020B0403020202020204" pitchFamily="34" charset="0"/>
              </a:rPr>
              <a:t>Developed staff to serve grocery retailers with expanded portfolio of solutions </a:t>
            </a:r>
          </a:p>
        </p:txBody>
      </p:sp>
      <p:cxnSp>
        <p:nvCxnSpPr>
          <p:cNvPr id="32" name="Straight Connector 31">
            <a:extLst>
              <a:ext uri="{FF2B5EF4-FFF2-40B4-BE49-F238E27FC236}">
                <a16:creationId xmlns:a16="http://schemas.microsoft.com/office/drawing/2014/main" id="{7B2C0D9A-87C1-5229-EDBD-152838AA2037}"/>
              </a:ext>
            </a:extLst>
          </p:cNvPr>
          <p:cNvCxnSpPr>
            <a:cxnSpLocks/>
          </p:cNvCxnSpPr>
          <p:nvPr/>
        </p:nvCxnSpPr>
        <p:spPr>
          <a:xfrm>
            <a:off x="624981" y="6109290"/>
            <a:ext cx="10583209"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3" name="Rectangle 2">
            <a:extLst>
              <a:ext uri="{FF2B5EF4-FFF2-40B4-BE49-F238E27FC236}">
                <a16:creationId xmlns:a16="http://schemas.microsoft.com/office/drawing/2014/main" id="{38E093EE-182C-BA16-0673-3F6422CF032C}"/>
              </a:ext>
            </a:extLst>
          </p:cNvPr>
          <p:cNvSpPr/>
          <p:nvPr/>
        </p:nvSpPr>
        <p:spPr>
          <a:xfrm>
            <a:off x="5995475" y="1261460"/>
            <a:ext cx="201051" cy="4733586"/>
          </a:xfrm>
          <a:prstGeom prst="rect">
            <a:avLst/>
          </a:prstGeom>
          <a:solidFill>
            <a:srgbClr val="A8A8A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17" name="Text Placeholder 2">
            <a:extLst>
              <a:ext uri="{FF2B5EF4-FFF2-40B4-BE49-F238E27FC236}">
                <a16:creationId xmlns:a16="http://schemas.microsoft.com/office/drawing/2014/main" id="{B07BEE85-E8B7-FC10-E750-A1D4FBD92B21}"/>
              </a:ext>
            </a:extLst>
          </p:cNvPr>
          <p:cNvSpPr txBox="1">
            <a:spLocks/>
          </p:cNvSpPr>
          <p:nvPr/>
        </p:nvSpPr>
        <p:spPr>
          <a:xfrm>
            <a:off x="1434269" y="1305779"/>
            <a:ext cx="4375485" cy="581455"/>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800" b="1" i="0" kern="1200">
                <a:solidFill>
                  <a:schemeClr val="accent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err="1">
                <a:ln>
                  <a:noFill/>
                </a:ln>
                <a:solidFill>
                  <a:srgbClr val="2832DC"/>
                </a:solidFill>
                <a:effectLst/>
                <a:uLnTx/>
                <a:uFillTx/>
                <a:latin typeface="Helvetica" pitchFamily="2" charset="0"/>
                <a:ea typeface="+mn-ea"/>
                <a:cs typeface="+mn-cs"/>
              </a:rPr>
              <a:t>StrongPoint</a:t>
            </a:r>
            <a:r>
              <a:rPr kumimoji="0" lang="en-GB" sz="1600" b="1" i="0" u="none" strike="noStrike" kern="1200" cap="none" spc="0" normalizeH="0" baseline="0" noProof="0">
                <a:ln>
                  <a:noFill/>
                </a:ln>
                <a:solidFill>
                  <a:srgbClr val="2832DC"/>
                </a:solidFill>
                <a:effectLst/>
                <a:uLnTx/>
                <a:uFillTx/>
                <a:latin typeface="Helvetica" pitchFamily="2" charset="0"/>
                <a:ea typeface="+mn-ea"/>
                <a:cs typeface="+mn-cs"/>
              </a:rPr>
              <a:t> before new strategy released</a:t>
            </a:r>
          </a:p>
        </p:txBody>
      </p:sp>
      <p:grpSp>
        <p:nvGrpSpPr>
          <p:cNvPr id="81" name="Group 80">
            <a:extLst>
              <a:ext uri="{FF2B5EF4-FFF2-40B4-BE49-F238E27FC236}">
                <a16:creationId xmlns:a16="http://schemas.microsoft.com/office/drawing/2014/main" id="{676349DA-3C83-4EFF-F8E1-DB01D9D30714}"/>
              </a:ext>
            </a:extLst>
          </p:cNvPr>
          <p:cNvGrpSpPr/>
          <p:nvPr/>
        </p:nvGrpSpPr>
        <p:grpSpPr>
          <a:xfrm>
            <a:off x="5538653" y="1980760"/>
            <a:ext cx="1109330" cy="4101323"/>
            <a:chOff x="5538653" y="1980760"/>
            <a:chExt cx="1109330" cy="4101323"/>
          </a:xfrm>
        </p:grpSpPr>
        <p:grpSp>
          <p:nvGrpSpPr>
            <p:cNvPr id="38" name="Group 37">
              <a:extLst>
                <a:ext uri="{FF2B5EF4-FFF2-40B4-BE49-F238E27FC236}">
                  <a16:creationId xmlns:a16="http://schemas.microsoft.com/office/drawing/2014/main" id="{FB63C870-FF0D-3F96-10C2-15C96C988171}"/>
                </a:ext>
              </a:extLst>
            </p:cNvPr>
            <p:cNvGrpSpPr/>
            <p:nvPr/>
          </p:nvGrpSpPr>
          <p:grpSpPr>
            <a:xfrm>
              <a:off x="5538653" y="1980760"/>
              <a:ext cx="1109330" cy="719062"/>
              <a:chOff x="5538657" y="1980760"/>
              <a:chExt cx="1109330" cy="719062"/>
            </a:xfrm>
          </p:grpSpPr>
          <p:sp>
            <p:nvSpPr>
              <p:cNvPr id="18" name="Oval 17">
                <a:extLst>
                  <a:ext uri="{FF2B5EF4-FFF2-40B4-BE49-F238E27FC236}">
                    <a16:creationId xmlns:a16="http://schemas.microsoft.com/office/drawing/2014/main" id="{06A5F97D-EA2B-1AFB-E8FF-DCB18F00C6A9}"/>
                  </a:ext>
                </a:extLst>
              </p:cNvPr>
              <p:cNvSpPr/>
              <p:nvPr/>
            </p:nvSpPr>
            <p:spPr>
              <a:xfrm>
                <a:off x="5739585" y="1980760"/>
                <a:ext cx="719062" cy="719062"/>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21" name="Oval 20">
                <a:extLst>
                  <a:ext uri="{FF2B5EF4-FFF2-40B4-BE49-F238E27FC236}">
                    <a16:creationId xmlns:a16="http://schemas.microsoft.com/office/drawing/2014/main" id="{6FE30F8B-9C62-C983-F588-30FA9A1EE60E}"/>
                  </a:ext>
                </a:extLst>
              </p:cNvPr>
              <p:cNvSpPr/>
              <p:nvPr/>
            </p:nvSpPr>
            <p:spPr>
              <a:xfrm>
                <a:off x="5804471" y="2057132"/>
                <a:ext cx="583057" cy="583057"/>
              </a:xfrm>
              <a:prstGeom prst="ellipse">
                <a:avLst/>
              </a:prstGeom>
              <a:solidFill>
                <a:srgbClr val="2832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K"/>
              </a:p>
            </p:txBody>
          </p:sp>
          <p:cxnSp>
            <p:nvCxnSpPr>
              <p:cNvPr id="24" name="Straight Connector 23">
                <a:extLst>
                  <a:ext uri="{FF2B5EF4-FFF2-40B4-BE49-F238E27FC236}">
                    <a16:creationId xmlns:a16="http://schemas.microsoft.com/office/drawing/2014/main" id="{801DA473-C89C-F1DB-615D-E506D7CF0CE4}"/>
                  </a:ext>
                </a:extLst>
              </p:cNvPr>
              <p:cNvCxnSpPr/>
              <p:nvPr/>
            </p:nvCxnSpPr>
            <p:spPr>
              <a:xfrm flipH="1">
                <a:off x="5538657" y="2328273"/>
                <a:ext cx="265814" cy="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01C886B-F544-17C5-9329-ABEAA8643B0F}"/>
                  </a:ext>
                </a:extLst>
              </p:cNvPr>
              <p:cNvCxnSpPr/>
              <p:nvPr/>
            </p:nvCxnSpPr>
            <p:spPr>
              <a:xfrm flipH="1">
                <a:off x="6382173" y="2320927"/>
                <a:ext cx="265814" cy="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40F16B1C-C421-BF7B-A02E-B6A95CFBB156}"/>
                </a:ext>
              </a:extLst>
            </p:cNvPr>
            <p:cNvGrpSpPr/>
            <p:nvPr/>
          </p:nvGrpSpPr>
          <p:grpSpPr>
            <a:xfrm>
              <a:off x="5538653" y="2834300"/>
              <a:ext cx="1109330" cy="719062"/>
              <a:chOff x="5538657" y="1980760"/>
              <a:chExt cx="1109330" cy="719062"/>
            </a:xfrm>
          </p:grpSpPr>
          <p:sp>
            <p:nvSpPr>
              <p:cNvPr id="40" name="Oval 39">
                <a:extLst>
                  <a:ext uri="{FF2B5EF4-FFF2-40B4-BE49-F238E27FC236}">
                    <a16:creationId xmlns:a16="http://schemas.microsoft.com/office/drawing/2014/main" id="{0D76087E-B9E9-ED07-1CFA-D8926BA0FD3D}"/>
                  </a:ext>
                </a:extLst>
              </p:cNvPr>
              <p:cNvSpPr/>
              <p:nvPr/>
            </p:nvSpPr>
            <p:spPr>
              <a:xfrm>
                <a:off x="5739585" y="1980760"/>
                <a:ext cx="719062" cy="719062"/>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41" name="Oval 40">
                <a:extLst>
                  <a:ext uri="{FF2B5EF4-FFF2-40B4-BE49-F238E27FC236}">
                    <a16:creationId xmlns:a16="http://schemas.microsoft.com/office/drawing/2014/main" id="{0B998A5B-C74E-B351-BA73-3F2C9785FD4F}"/>
                  </a:ext>
                </a:extLst>
              </p:cNvPr>
              <p:cNvSpPr/>
              <p:nvPr/>
            </p:nvSpPr>
            <p:spPr>
              <a:xfrm>
                <a:off x="5804471" y="2057132"/>
                <a:ext cx="583057" cy="583057"/>
              </a:xfrm>
              <a:prstGeom prst="ellipse">
                <a:avLst/>
              </a:prstGeom>
              <a:solidFill>
                <a:srgbClr val="2832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K"/>
              </a:p>
            </p:txBody>
          </p:sp>
          <p:cxnSp>
            <p:nvCxnSpPr>
              <p:cNvPr id="42" name="Straight Connector 41">
                <a:extLst>
                  <a:ext uri="{FF2B5EF4-FFF2-40B4-BE49-F238E27FC236}">
                    <a16:creationId xmlns:a16="http://schemas.microsoft.com/office/drawing/2014/main" id="{58E69F7B-DE12-8995-45F6-F322BB0E1F39}"/>
                  </a:ext>
                </a:extLst>
              </p:cNvPr>
              <p:cNvCxnSpPr/>
              <p:nvPr/>
            </p:nvCxnSpPr>
            <p:spPr>
              <a:xfrm flipH="1">
                <a:off x="5538657" y="2328273"/>
                <a:ext cx="265814" cy="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9F63E78-7E6B-4651-1AEC-BEDF48EF3823}"/>
                  </a:ext>
                </a:extLst>
              </p:cNvPr>
              <p:cNvCxnSpPr/>
              <p:nvPr/>
            </p:nvCxnSpPr>
            <p:spPr>
              <a:xfrm flipH="1">
                <a:off x="6382173" y="2320927"/>
                <a:ext cx="265814" cy="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60F327AB-9FA8-289A-AB1B-8F5C91FFA16C}"/>
                </a:ext>
              </a:extLst>
            </p:cNvPr>
            <p:cNvGrpSpPr/>
            <p:nvPr/>
          </p:nvGrpSpPr>
          <p:grpSpPr>
            <a:xfrm>
              <a:off x="5538653" y="3687840"/>
              <a:ext cx="1109330" cy="719062"/>
              <a:chOff x="5538657" y="1980760"/>
              <a:chExt cx="1109330" cy="719062"/>
            </a:xfrm>
          </p:grpSpPr>
          <p:sp>
            <p:nvSpPr>
              <p:cNvPr id="45" name="Oval 44">
                <a:extLst>
                  <a:ext uri="{FF2B5EF4-FFF2-40B4-BE49-F238E27FC236}">
                    <a16:creationId xmlns:a16="http://schemas.microsoft.com/office/drawing/2014/main" id="{5DDEC973-4320-F949-DAEC-16AD8CDDA7E4}"/>
                  </a:ext>
                </a:extLst>
              </p:cNvPr>
              <p:cNvSpPr/>
              <p:nvPr/>
            </p:nvSpPr>
            <p:spPr>
              <a:xfrm>
                <a:off x="5739585" y="1980760"/>
                <a:ext cx="719062" cy="719062"/>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47" name="Oval 46">
                <a:extLst>
                  <a:ext uri="{FF2B5EF4-FFF2-40B4-BE49-F238E27FC236}">
                    <a16:creationId xmlns:a16="http://schemas.microsoft.com/office/drawing/2014/main" id="{1083E008-F967-30DA-0BAD-CDEFA9EDAD5B}"/>
                  </a:ext>
                </a:extLst>
              </p:cNvPr>
              <p:cNvSpPr/>
              <p:nvPr/>
            </p:nvSpPr>
            <p:spPr>
              <a:xfrm>
                <a:off x="5804471" y="2057132"/>
                <a:ext cx="583057" cy="583057"/>
              </a:xfrm>
              <a:prstGeom prst="ellipse">
                <a:avLst/>
              </a:prstGeom>
              <a:solidFill>
                <a:srgbClr val="2832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K"/>
              </a:p>
            </p:txBody>
          </p:sp>
          <p:cxnSp>
            <p:nvCxnSpPr>
              <p:cNvPr id="49" name="Straight Connector 48">
                <a:extLst>
                  <a:ext uri="{FF2B5EF4-FFF2-40B4-BE49-F238E27FC236}">
                    <a16:creationId xmlns:a16="http://schemas.microsoft.com/office/drawing/2014/main" id="{28F8564A-7117-22EB-4541-AA34172D804F}"/>
                  </a:ext>
                </a:extLst>
              </p:cNvPr>
              <p:cNvCxnSpPr/>
              <p:nvPr/>
            </p:nvCxnSpPr>
            <p:spPr>
              <a:xfrm flipH="1">
                <a:off x="5538657" y="2328273"/>
                <a:ext cx="265814" cy="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238072B-5130-6CAA-5751-E85363775F01}"/>
                  </a:ext>
                </a:extLst>
              </p:cNvPr>
              <p:cNvCxnSpPr/>
              <p:nvPr/>
            </p:nvCxnSpPr>
            <p:spPr>
              <a:xfrm flipH="1">
                <a:off x="6382173" y="2320927"/>
                <a:ext cx="265814" cy="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7FAB92FB-8B82-4065-208D-1D134B52C0FE}"/>
                </a:ext>
              </a:extLst>
            </p:cNvPr>
            <p:cNvGrpSpPr/>
            <p:nvPr/>
          </p:nvGrpSpPr>
          <p:grpSpPr>
            <a:xfrm>
              <a:off x="5538653" y="4520114"/>
              <a:ext cx="1109330" cy="719062"/>
              <a:chOff x="5538657" y="1980760"/>
              <a:chExt cx="1109330" cy="719062"/>
            </a:xfrm>
          </p:grpSpPr>
          <p:sp>
            <p:nvSpPr>
              <p:cNvPr id="53" name="Oval 52">
                <a:extLst>
                  <a:ext uri="{FF2B5EF4-FFF2-40B4-BE49-F238E27FC236}">
                    <a16:creationId xmlns:a16="http://schemas.microsoft.com/office/drawing/2014/main" id="{E53F0B8C-B200-A060-F560-E9198CE29273}"/>
                  </a:ext>
                </a:extLst>
              </p:cNvPr>
              <p:cNvSpPr/>
              <p:nvPr/>
            </p:nvSpPr>
            <p:spPr>
              <a:xfrm>
                <a:off x="5739585" y="1980760"/>
                <a:ext cx="719062" cy="719062"/>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54" name="Oval 53">
                <a:extLst>
                  <a:ext uri="{FF2B5EF4-FFF2-40B4-BE49-F238E27FC236}">
                    <a16:creationId xmlns:a16="http://schemas.microsoft.com/office/drawing/2014/main" id="{96C8961E-59A7-F4DB-1D40-0747F536234D}"/>
                  </a:ext>
                </a:extLst>
              </p:cNvPr>
              <p:cNvSpPr/>
              <p:nvPr/>
            </p:nvSpPr>
            <p:spPr>
              <a:xfrm>
                <a:off x="5804471" y="2057132"/>
                <a:ext cx="583057" cy="583057"/>
              </a:xfrm>
              <a:prstGeom prst="ellipse">
                <a:avLst/>
              </a:prstGeom>
              <a:solidFill>
                <a:srgbClr val="2832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K"/>
              </a:p>
            </p:txBody>
          </p:sp>
          <p:cxnSp>
            <p:nvCxnSpPr>
              <p:cNvPr id="55" name="Straight Connector 54">
                <a:extLst>
                  <a:ext uri="{FF2B5EF4-FFF2-40B4-BE49-F238E27FC236}">
                    <a16:creationId xmlns:a16="http://schemas.microsoft.com/office/drawing/2014/main" id="{AB74933A-71A1-5AA8-2351-06327880262F}"/>
                  </a:ext>
                </a:extLst>
              </p:cNvPr>
              <p:cNvCxnSpPr/>
              <p:nvPr/>
            </p:nvCxnSpPr>
            <p:spPr>
              <a:xfrm flipH="1">
                <a:off x="5538657" y="2328273"/>
                <a:ext cx="265814" cy="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1A644FA-A81E-40F8-4961-5EC367543568}"/>
                  </a:ext>
                </a:extLst>
              </p:cNvPr>
              <p:cNvCxnSpPr/>
              <p:nvPr/>
            </p:nvCxnSpPr>
            <p:spPr>
              <a:xfrm flipH="1">
                <a:off x="6382173" y="2320927"/>
                <a:ext cx="265814" cy="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5F478B51-0258-9F14-38CE-30CC03551B49}"/>
                </a:ext>
              </a:extLst>
            </p:cNvPr>
            <p:cNvGrpSpPr/>
            <p:nvPr/>
          </p:nvGrpSpPr>
          <p:grpSpPr>
            <a:xfrm>
              <a:off x="5538653" y="5363021"/>
              <a:ext cx="1109330" cy="719062"/>
              <a:chOff x="5538657" y="1980760"/>
              <a:chExt cx="1109330" cy="719062"/>
            </a:xfrm>
          </p:grpSpPr>
          <p:sp>
            <p:nvSpPr>
              <p:cNvPr id="58" name="Oval 57">
                <a:extLst>
                  <a:ext uri="{FF2B5EF4-FFF2-40B4-BE49-F238E27FC236}">
                    <a16:creationId xmlns:a16="http://schemas.microsoft.com/office/drawing/2014/main" id="{513FEE96-0124-72CF-08BB-8879E8FE5E22}"/>
                  </a:ext>
                </a:extLst>
              </p:cNvPr>
              <p:cNvSpPr/>
              <p:nvPr/>
            </p:nvSpPr>
            <p:spPr>
              <a:xfrm>
                <a:off x="5739585" y="1980760"/>
                <a:ext cx="719062" cy="719062"/>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59" name="Oval 58">
                <a:extLst>
                  <a:ext uri="{FF2B5EF4-FFF2-40B4-BE49-F238E27FC236}">
                    <a16:creationId xmlns:a16="http://schemas.microsoft.com/office/drawing/2014/main" id="{91F1106F-5D49-4A59-773B-D220D5E478D7}"/>
                  </a:ext>
                </a:extLst>
              </p:cNvPr>
              <p:cNvSpPr/>
              <p:nvPr/>
            </p:nvSpPr>
            <p:spPr>
              <a:xfrm>
                <a:off x="5804471" y="2057132"/>
                <a:ext cx="583057" cy="583057"/>
              </a:xfrm>
              <a:prstGeom prst="ellipse">
                <a:avLst/>
              </a:prstGeom>
              <a:solidFill>
                <a:srgbClr val="2832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K"/>
              </a:p>
            </p:txBody>
          </p:sp>
          <p:cxnSp>
            <p:nvCxnSpPr>
              <p:cNvPr id="60" name="Straight Connector 59">
                <a:extLst>
                  <a:ext uri="{FF2B5EF4-FFF2-40B4-BE49-F238E27FC236}">
                    <a16:creationId xmlns:a16="http://schemas.microsoft.com/office/drawing/2014/main" id="{D5A25C68-8AB6-2FBD-1B17-F4EB6EDC2517}"/>
                  </a:ext>
                </a:extLst>
              </p:cNvPr>
              <p:cNvCxnSpPr/>
              <p:nvPr/>
            </p:nvCxnSpPr>
            <p:spPr>
              <a:xfrm flipH="1">
                <a:off x="5538657" y="2328273"/>
                <a:ext cx="265814" cy="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ADD5F1F-81D2-FB6F-CFB2-858F2C099CA2}"/>
                  </a:ext>
                </a:extLst>
              </p:cNvPr>
              <p:cNvCxnSpPr/>
              <p:nvPr/>
            </p:nvCxnSpPr>
            <p:spPr>
              <a:xfrm flipH="1">
                <a:off x="6382173" y="2320927"/>
                <a:ext cx="265814" cy="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grpSp>
        <p:pic>
          <p:nvPicPr>
            <p:cNvPr id="71" name="Picture 70">
              <a:extLst>
                <a:ext uri="{FF2B5EF4-FFF2-40B4-BE49-F238E27FC236}">
                  <a16:creationId xmlns:a16="http://schemas.microsoft.com/office/drawing/2014/main" id="{B8118693-0E3C-4B1D-B910-65FDA9D7035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897758" y="2126708"/>
              <a:ext cx="422859" cy="422859"/>
            </a:xfrm>
            <a:prstGeom prst="rect">
              <a:avLst/>
            </a:prstGeom>
          </p:spPr>
        </p:pic>
        <p:pic>
          <p:nvPicPr>
            <p:cNvPr id="73" name="Picture 72">
              <a:extLst>
                <a:ext uri="{FF2B5EF4-FFF2-40B4-BE49-F238E27FC236}">
                  <a16:creationId xmlns:a16="http://schemas.microsoft.com/office/drawing/2014/main" id="{DE7EDBA4-5AA1-FF2C-63DD-EA3F9F856DB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918246" y="3060892"/>
              <a:ext cx="349866" cy="349866"/>
            </a:xfrm>
            <a:prstGeom prst="rect">
              <a:avLst/>
            </a:prstGeom>
          </p:spPr>
        </p:pic>
        <p:pic>
          <p:nvPicPr>
            <p:cNvPr id="80" name="Picture 79">
              <a:extLst>
                <a:ext uri="{FF2B5EF4-FFF2-40B4-BE49-F238E27FC236}">
                  <a16:creationId xmlns:a16="http://schemas.microsoft.com/office/drawing/2014/main" id="{8B652382-C752-9B1D-2A37-91DAADA6C07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900435" y="4678165"/>
              <a:ext cx="378923" cy="378923"/>
            </a:xfrm>
            <a:prstGeom prst="rect">
              <a:avLst/>
            </a:prstGeom>
          </p:spPr>
        </p:pic>
      </p:grpSp>
      <p:pic>
        <p:nvPicPr>
          <p:cNvPr id="12" name="Graphic 11" descr="Business Growth outline">
            <a:extLst>
              <a:ext uri="{FF2B5EF4-FFF2-40B4-BE49-F238E27FC236}">
                <a16:creationId xmlns:a16="http://schemas.microsoft.com/office/drawing/2014/main" id="{A4A6B72D-C5C1-8543-D79D-1A1685920AC8}"/>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854269" y="3801120"/>
            <a:ext cx="483461" cy="483461"/>
          </a:xfrm>
          <a:prstGeom prst="rect">
            <a:avLst/>
          </a:prstGeom>
        </p:spPr>
      </p:pic>
      <p:pic>
        <p:nvPicPr>
          <p:cNvPr id="23" name="Graphic 22" descr="Globe outline">
            <a:extLst>
              <a:ext uri="{FF2B5EF4-FFF2-40B4-BE49-F238E27FC236}">
                <a16:creationId xmlns:a16="http://schemas.microsoft.com/office/drawing/2014/main" id="{5C5D2046-DE9B-75C0-C00B-97BCF5659FB1}"/>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890634" y="5510537"/>
            <a:ext cx="410731" cy="410731"/>
          </a:xfrm>
          <a:prstGeom prst="rect">
            <a:avLst/>
          </a:prstGeom>
        </p:spPr>
      </p:pic>
    </p:spTree>
    <p:extLst>
      <p:ext uri="{BB962C8B-B14F-4D97-AF65-F5344CB8AC3E}">
        <p14:creationId xmlns:p14="http://schemas.microsoft.com/office/powerpoint/2010/main" val="9105913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0" name="Straight Connector 6"/>
          <p:cNvSpPr/>
          <p:nvPr/>
        </p:nvSpPr>
        <p:spPr>
          <a:xfrm>
            <a:off x="6232849" y="1576248"/>
            <a:ext cx="5121045" cy="1"/>
          </a:xfrm>
          <a:prstGeom prst="line">
            <a:avLst/>
          </a:prstGeom>
          <a:ln w="12700">
            <a:solidFill>
              <a:schemeClr val="accent2"/>
            </a:solidFill>
            <a:miter/>
          </a:ln>
        </p:spPr>
        <p:txBody>
          <a:bodyPr lIns="45719" rIns="45719"/>
          <a:lstStyle/>
          <a:p>
            <a:pPr>
              <a:defRPr>
                <a:latin typeface="Arial"/>
                <a:ea typeface="Arial"/>
                <a:cs typeface="Arial"/>
                <a:sym typeface="Arial"/>
              </a:defRPr>
            </a:pPr>
            <a:endParaRPr/>
          </a:p>
        </p:txBody>
      </p:sp>
      <p:sp>
        <p:nvSpPr>
          <p:cNvPr id="5751" name="Straight Connector 6"/>
          <p:cNvSpPr/>
          <p:nvPr/>
        </p:nvSpPr>
        <p:spPr>
          <a:xfrm>
            <a:off x="6247508" y="3641496"/>
            <a:ext cx="5121045" cy="1"/>
          </a:xfrm>
          <a:prstGeom prst="line">
            <a:avLst/>
          </a:prstGeom>
          <a:ln w="12700">
            <a:solidFill>
              <a:schemeClr val="accent2"/>
            </a:solidFill>
            <a:miter/>
          </a:ln>
        </p:spPr>
        <p:txBody>
          <a:bodyPr lIns="45719" rIns="45719"/>
          <a:lstStyle/>
          <a:p>
            <a:pPr>
              <a:defRPr>
                <a:latin typeface="Arial"/>
                <a:ea typeface="Arial"/>
                <a:cs typeface="Arial"/>
                <a:sym typeface="Arial"/>
              </a:defRPr>
            </a:pPr>
            <a:endParaRPr/>
          </a:p>
        </p:txBody>
      </p:sp>
      <p:sp>
        <p:nvSpPr>
          <p:cNvPr id="5752" name="Straight Connector 6"/>
          <p:cNvSpPr/>
          <p:nvPr/>
        </p:nvSpPr>
        <p:spPr>
          <a:xfrm>
            <a:off x="6232849" y="5678083"/>
            <a:ext cx="5121045" cy="1"/>
          </a:xfrm>
          <a:prstGeom prst="line">
            <a:avLst/>
          </a:prstGeom>
          <a:ln w="12700">
            <a:solidFill>
              <a:schemeClr val="accent2"/>
            </a:solidFill>
            <a:miter/>
          </a:ln>
        </p:spPr>
        <p:txBody>
          <a:bodyPr lIns="45719" rIns="45719"/>
          <a:lstStyle/>
          <a:p>
            <a:pPr>
              <a:defRPr>
                <a:latin typeface="Arial"/>
                <a:ea typeface="Arial"/>
                <a:cs typeface="Arial"/>
                <a:sym typeface="Arial"/>
              </a:defRPr>
            </a:pPr>
            <a:endParaRPr/>
          </a:p>
        </p:txBody>
      </p:sp>
      <p:pic>
        <p:nvPicPr>
          <p:cNvPr id="5753" name="Picture 4" descr="Picture 4"/>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822388" y="1570823"/>
            <a:ext cx="5425214" cy="4113590"/>
          </a:xfrm>
          <a:prstGeom prst="rect">
            <a:avLst/>
          </a:prstGeom>
          <a:ln w="12700">
            <a:miter lim="400000"/>
          </a:ln>
        </p:spPr>
      </p:pic>
      <p:sp>
        <p:nvSpPr>
          <p:cNvPr id="5754" name="Circle"/>
          <p:cNvSpPr/>
          <p:nvPr/>
        </p:nvSpPr>
        <p:spPr>
          <a:xfrm>
            <a:off x="5371637" y="3765949"/>
            <a:ext cx="1787228" cy="1787228"/>
          </a:xfrm>
          <a:prstGeom prst="ellipse">
            <a:avLst/>
          </a:prstGeom>
          <a:solidFill>
            <a:srgbClr val="FFFFFF"/>
          </a:solidFill>
          <a:ln w="12700">
            <a:miter lim="400000"/>
          </a:ln>
        </p:spPr>
        <p:txBody>
          <a:bodyPr lIns="45719" rIns="45719" anchor="ctr"/>
          <a:lstStyle/>
          <a:p>
            <a:pPr>
              <a:defRPr b="1"/>
            </a:pPr>
            <a:endParaRPr/>
          </a:p>
        </p:txBody>
      </p:sp>
      <p:sp>
        <p:nvSpPr>
          <p:cNvPr id="5755" name="Circle"/>
          <p:cNvSpPr/>
          <p:nvPr/>
        </p:nvSpPr>
        <p:spPr>
          <a:xfrm>
            <a:off x="5371637" y="1717671"/>
            <a:ext cx="1787228" cy="1787228"/>
          </a:xfrm>
          <a:prstGeom prst="ellipse">
            <a:avLst/>
          </a:prstGeom>
          <a:solidFill>
            <a:srgbClr val="FFFFFF"/>
          </a:solidFill>
          <a:ln w="12700">
            <a:miter lim="400000"/>
          </a:ln>
        </p:spPr>
        <p:txBody>
          <a:bodyPr lIns="45719" rIns="45719" anchor="ctr"/>
          <a:lstStyle/>
          <a:p>
            <a:pPr>
              <a:defRPr b="1"/>
            </a:pPr>
            <a:endParaRPr/>
          </a:p>
        </p:txBody>
      </p:sp>
      <p:sp>
        <p:nvSpPr>
          <p:cNvPr id="5756" name="Freeform 118"/>
          <p:cNvSpPr/>
          <p:nvPr/>
        </p:nvSpPr>
        <p:spPr>
          <a:xfrm>
            <a:off x="23110952" y="13112563"/>
            <a:ext cx="123628" cy="47763"/>
          </a:xfrm>
          <a:custGeom>
            <a:avLst/>
            <a:gdLst/>
            <a:ahLst/>
            <a:cxnLst>
              <a:cxn ang="0">
                <a:pos x="wd2" y="hd2"/>
              </a:cxn>
              <a:cxn ang="5400000">
                <a:pos x="wd2" y="hd2"/>
              </a:cxn>
              <a:cxn ang="10800000">
                <a:pos x="wd2" y="hd2"/>
              </a:cxn>
              <a:cxn ang="16200000">
                <a:pos x="wd2" y="hd2"/>
              </a:cxn>
            </a:cxnLst>
            <a:rect l="0" t="0" r="r" b="b"/>
            <a:pathLst>
              <a:path w="17091" h="13437" extrusionOk="0">
                <a:moveTo>
                  <a:pt x="297" y="9339"/>
                </a:moveTo>
                <a:cubicBezTo>
                  <a:pt x="3687" y="16294"/>
                  <a:pt x="15117" y="14219"/>
                  <a:pt x="16977" y="4457"/>
                </a:cubicBezTo>
                <a:cubicBezTo>
                  <a:pt x="18837" y="-5306"/>
                  <a:pt x="-2763" y="3114"/>
                  <a:pt x="297" y="9339"/>
                </a:cubicBezTo>
                <a:close/>
              </a:path>
            </a:pathLst>
          </a:custGeom>
          <a:solidFill>
            <a:srgbClr val="DEE3FF">
              <a:alpha val="43000"/>
            </a:srgbClr>
          </a:solidFill>
          <a:ln w="3484">
            <a:solidFill>
              <a:srgbClr val="FFFFFF"/>
            </a:solidFill>
            <a:miter/>
          </a:ln>
        </p:spPr>
        <p:txBody>
          <a:bodyPr lIns="45719" rIns="45719" anchor="ctr"/>
          <a:lstStyle/>
          <a:p>
            <a:endParaRPr/>
          </a:p>
        </p:txBody>
      </p:sp>
      <p:sp>
        <p:nvSpPr>
          <p:cNvPr id="5757" name="Freeform 130"/>
          <p:cNvSpPr/>
          <p:nvPr/>
        </p:nvSpPr>
        <p:spPr>
          <a:xfrm>
            <a:off x="25938560" y="11249062"/>
            <a:ext cx="294632" cy="231313"/>
          </a:xfrm>
          <a:custGeom>
            <a:avLst/>
            <a:gdLst/>
            <a:ahLst/>
            <a:cxnLst>
              <a:cxn ang="0">
                <a:pos x="wd2" y="hd2"/>
              </a:cxn>
              <a:cxn ang="5400000">
                <a:pos x="wd2" y="hd2"/>
              </a:cxn>
              <a:cxn ang="10800000">
                <a:pos x="wd2" y="hd2"/>
              </a:cxn>
              <a:cxn ang="16200000">
                <a:pos x="wd2" y="hd2"/>
              </a:cxn>
            </a:cxnLst>
            <a:rect l="0" t="0" r="r" b="b"/>
            <a:pathLst>
              <a:path w="19069" h="17115" extrusionOk="0">
                <a:moveTo>
                  <a:pt x="5" y="352"/>
                </a:moveTo>
                <a:cubicBezTo>
                  <a:pt x="-388" y="-2697"/>
                  <a:pt x="21212" y="15004"/>
                  <a:pt x="18895" y="16946"/>
                </a:cubicBezTo>
                <a:cubicBezTo>
                  <a:pt x="16577" y="18903"/>
                  <a:pt x="384" y="3289"/>
                  <a:pt x="5" y="352"/>
                </a:cubicBezTo>
                <a:close/>
              </a:path>
            </a:pathLst>
          </a:custGeom>
          <a:solidFill>
            <a:srgbClr val="DEE3FF">
              <a:alpha val="43000"/>
            </a:srgbClr>
          </a:solidFill>
          <a:ln w="3484">
            <a:solidFill>
              <a:srgbClr val="FFFFFF"/>
            </a:solidFill>
            <a:miter/>
          </a:ln>
        </p:spPr>
        <p:txBody>
          <a:bodyPr lIns="45719" rIns="45719" anchor="ctr"/>
          <a:lstStyle/>
          <a:p>
            <a:endParaRPr/>
          </a:p>
        </p:txBody>
      </p:sp>
      <p:sp>
        <p:nvSpPr>
          <p:cNvPr id="5758" name="Rektangel 2"/>
          <p:cNvSpPr/>
          <p:nvPr/>
        </p:nvSpPr>
        <p:spPr>
          <a:xfrm>
            <a:off x="0" y="6400800"/>
            <a:ext cx="12192000" cy="457200"/>
          </a:xfrm>
          <a:prstGeom prst="rect">
            <a:avLst/>
          </a:prstGeom>
          <a:solidFill>
            <a:schemeClr val="accent1"/>
          </a:solidFill>
          <a:ln w="12700">
            <a:miter lim="400000"/>
          </a:ln>
        </p:spPr>
        <p:txBody>
          <a:bodyPr lIns="45719" rIns="45719" anchor="ctr"/>
          <a:lstStyle/>
          <a:p>
            <a:pPr algn="ctr">
              <a:defRPr>
                <a:solidFill>
                  <a:srgbClr val="FFFFFF"/>
                </a:solidFill>
              </a:defRPr>
            </a:pPr>
            <a:endParaRPr/>
          </a:p>
        </p:txBody>
      </p:sp>
      <p:pic>
        <p:nvPicPr>
          <p:cNvPr id="5759" name="Bilde 3" descr="Bilde 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787063" y="6548217"/>
            <a:ext cx="1129877" cy="197540"/>
          </a:xfrm>
          <a:prstGeom prst="rect">
            <a:avLst/>
          </a:prstGeom>
          <a:ln w="12700">
            <a:miter lim="400000"/>
          </a:ln>
        </p:spPr>
      </p:pic>
      <p:sp>
        <p:nvSpPr>
          <p:cNvPr id="5764" name="Text Placeholder 2"/>
          <p:cNvSpPr txBox="1"/>
          <p:nvPr/>
        </p:nvSpPr>
        <p:spPr>
          <a:xfrm>
            <a:off x="7098014" y="1681039"/>
            <a:ext cx="4107899" cy="1756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p>
            <a:pPr>
              <a:lnSpc>
                <a:spcPct val="90000"/>
              </a:lnSpc>
              <a:spcBef>
                <a:spcPts val="1000"/>
              </a:spcBef>
              <a:defRPr sz="2400">
                <a:solidFill>
                  <a:schemeClr val="accent1"/>
                </a:solidFill>
                <a:latin typeface="Helvetica Light"/>
                <a:ea typeface="Helvetica Light"/>
                <a:cs typeface="Helvetica Light"/>
                <a:sym typeface="Helvetica Light"/>
              </a:defRPr>
            </a:pPr>
            <a:r>
              <a:rPr lang="en-GB" sz="2400" b="1">
                <a:solidFill>
                  <a:schemeClr val="accent1"/>
                </a:solidFill>
                <a:latin typeface="Helvetica" pitchFamily="2" charset="0"/>
                <a:sym typeface="Helvetica"/>
              </a:rPr>
              <a:t>Facing </a:t>
            </a:r>
            <a:r>
              <a:rPr lang="en-GB" b="1">
                <a:latin typeface="+mn-lt"/>
                <a:ea typeface="+mn-ea"/>
                <a:cs typeface="+mn-cs"/>
                <a:sym typeface="Helvetica"/>
              </a:rPr>
              <a:t>multiple challenges and working to overcome them:</a:t>
            </a:r>
            <a:r>
              <a:rPr lang="en-GB"/>
              <a:t> reduced costs, transformation program incl. operations and products</a:t>
            </a:r>
            <a:endParaRPr>
              <a:highlight>
                <a:srgbClr val="FFFF00"/>
              </a:highlight>
            </a:endParaRPr>
          </a:p>
        </p:txBody>
      </p:sp>
      <p:sp>
        <p:nvSpPr>
          <p:cNvPr id="5765" name="Title 1"/>
          <p:cNvSpPr txBox="1"/>
          <p:nvPr/>
        </p:nvSpPr>
        <p:spPr>
          <a:xfrm>
            <a:off x="741776" y="365125"/>
            <a:ext cx="10671897" cy="127024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lvl1pPr>
              <a:lnSpc>
                <a:spcPct val="90000"/>
              </a:lnSpc>
              <a:defRPr sz="4000">
                <a:solidFill>
                  <a:schemeClr val="accent1"/>
                </a:solidFill>
                <a:latin typeface="Helvetica Light"/>
                <a:ea typeface="Helvetica Light"/>
                <a:cs typeface="Helvetica Light"/>
                <a:sym typeface="Helvetica Light"/>
              </a:defRPr>
            </a:lvl1pPr>
          </a:lstStyle>
          <a:p>
            <a:r>
              <a:t>Challenges and opportunities </a:t>
            </a:r>
          </a:p>
        </p:txBody>
      </p:sp>
      <p:sp>
        <p:nvSpPr>
          <p:cNvPr id="5766" name="Text Placeholder 2"/>
          <p:cNvSpPr txBox="1"/>
          <p:nvPr/>
        </p:nvSpPr>
        <p:spPr>
          <a:xfrm>
            <a:off x="7158865" y="3884654"/>
            <a:ext cx="4107899" cy="1756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p>
            <a:pPr>
              <a:lnSpc>
                <a:spcPct val="90000"/>
              </a:lnSpc>
              <a:spcBef>
                <a:spcPts val="1000"/>
              </a:spcBef>
              <a:defRPr sz="2400">
                <a:solidFill>
                  <a:schemeClr val="accent1"/>
                </a:solidFill>
                <a:latin typeface="Helvetica Light"/>
                <a:ea typeface="Helvetica Light"/>
                <a:cs typeface="Helvetica Light"/>
                <a:sym typeface="Helvetica Light"/>
              </a:defRPr>
            </a:pPr>
            <a:r>
              <a:rPr lang="en-GB" sz="2400" b="1">
                <a:solidFill>
                  <a:schemeClr val="accent1"/>
                </a:solidFill>
                <a:latin typeface="Helvetica" pitchFamily="2" charset="0"/>
                <a:sym typeface="Helvetica"/>
              </a:rPr>
              <a:t>L</a:t>
            </a:r>
            <a:r>
              <a:rPr sz="2400" b="1" err="1">
                <a:solidFill>
                  <a:schemeClr val="accent1"/>
                </a:solidFill>
                <a:latin typeface="Helvetica" pitchFamily="2" charset="0"/>
                <a:sym typeface="Helvetica"/>
              </a:rPr>
              <a:t>ot</a:t>
            </a:r>
            <a:r>
              <a:rPr lang="en-GB" sz="2400" b="1">
                <a:solidFill>
                  <a:schemeClr val="accent1"/>
                </a:solidFill>
                <a:latin typeface="Helvetica" pitchFamily="2" charset="0"/>
                <a:sym typeface="Helvetica"/>
              </a:rPr>
              <a:t>s</a:t>
            </a:r>
            <a:r>
              <a:rPr sz="2400" b="1">
                <a:solidFill>
                  <a:schemeClr val="accent1"/>
                </a:solidFill>
                <a:latin typeface="Helvetica" pitchFamily="2" charset="0"/>
                <a:sym typeface="Helvetica"/>
              </a:rPr>
              <a:t> of </a:t>
            </a:r>
            <a:r>
              <a:rPr b="1">
                <a:latin typeface="+mn-lt"/>
                <a:ea typeface="+mn-ea"/>
                <a:cs typeface="+mn-cs"/>
                <a:sym typeface="Helvetica"/>
              </a:rPr>
              <a:t>opportunities</a:t>
            </a:r>
            <a:r>
              <a:rPr lang="en-GB" b="1">
                <a:latin typeface="+mn-lt"/>
                <a:ea typeface="+mn-ea"/>
                <a:cs typeface="+mn-cs"/>
                <a:sym typeface="Helvetica"/>
              </a:rPr>
              <a:t> in traditional and future key markets:</a:t>
            </a:r>
            <a:r>
              <a:t> and our investments are now starting to bear fruit </a:t>
            </a:r>
          </a:p>
        </p:txBody>
      </p:sp>
      <p:sp>
        <p:nvSpPr>
          <p:cNvPr id="5767" name="Oval 3"/>
          <p:cNvSpPr/>
          <p:nvPr/>
        </p:nvSpPr>
        <p:spPr>
          <a:xfrm>
            <a:off x="5604069" y="3998381"/>
            <a:ext cx="1322365" cy="1322365"/>
          </a:xfrm>
          <a:prstGeom prst="ellipse">
            <a:avLst/>
          </a:prstGeom>
          <a:solidFill>
            <a:schemeClr val="accent2"/>
          </a:solidFill>
          <a:ln w="12700">
            <a:miter lim="400000"/>
          </a:ln>
        </p:spPr>
        <p:txBody>
          <a:bodyPr lIns="45719" rIns="45719" anchor="ctr"/>
          <a:lstStyle/>
          <a:p>
            <a:pPr>
              <a:defRPr>
                <a:solidFill>
                  <a:srgbClr val="FFFFFF"/>
                </a:solidFill>
              </a:defRPr>
            </a:pPr>
            <a:endParaRPr/>
          </a:p>
        </p:txBody>
      </p:sp>
      <p:sp>
        <p:nvSpPr>
          <p:cNvPr id="5769" name="Oval 4"/>
          <p:cNvSpPr/>
          <p:nvPr/>
        </p:nvSpPr>
        <p:spPr>
          <a:xfrm>
            <a:off x="5604069" y="1950103"/>
            <a:ext cx="1322365" cy="1322365"/>
          </a:xfrm>
          <a:prstGeom prst="ellipse">
            <a:avLst/>
          </a:prstGeom>
          <a:solidFill>
            <a:schemeClr val="accent1"/>
          </a:solidFill>
          <a:ln w="12700">
            <a:miter lim="400000"/>
          </a:ln>
        </p:spPr>
        <p:txBody>
          <a:bodyPr lIns="45719" rIns="45719" anchor="ctr"/>
          <a:lstStyle/>
          <a:p>
            <a:pPr algn="ctr">
              <a:defRPr>
                <a:solidFill>
                  <a:srgbClr val="FFFFFF"/>
                </a:solidFill>
              </a:defRPr>
            </a:pPr>
            <a:endParaRPr/>
          </a:p>
        </p:txBody>
      </p:sp>
      <p:pic>
        <p:nvPicPr>
          <p:cNvPr id="3" name="Graphic 2" descr="Hurdle outline">
            <a:extLst>
              <a:ext uri="{FF2B5EF4-FFF2-40B4-BE49-F238E27FC236}">
                <a16:creationId xmlns:a16="http://schemas.microsoft.com/office/drawing/2014/main" id="{26F7F6A2-147C-8C7F-0BD4-385F2CA0844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75649" y="2153680"/>
            <a:ext cx="914400" cy="914400"/>
          </a:xfrm>
          <a:prstGeom prst="rect">
            <a:avLst/>
          </a:prstGeom>
        </p:spPr>
      </p:pic>
      <p:pic>
        <p:nvPicPr>
          <p:cNvPr id="5" name="Graphic 4" descr="Money outline">
            <a:extLst>
              <a:ext uri="{FF2B5EF4-FFF2-40B4-BE49-F238E27FC236}">
                <a16:creationId xmlns:a16="http://schemas.microsoft.com/office/drawing/2014/main" id="{9BE4C643-5879-9876-D038-3201979FCE3E}"/>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75649" y="4159806"/>
            <a:ext cx="914400" cy="914400"/>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39589DC-5ABC-1FF1-6C30-8E4BB6D9053A}"/>
              </a:ext>
            </a:extLst>
          </p:cNvPr>
          <p:cNvGrpSpPr/>
          <p:nvPr/>
        </p:nvGrpSpPr>
        <p:grpSpPr>
          <a:xfrm>
            <a:off x="1125698" y="2334844"/>
            <a:ext cx="3122653" cy="3068434"/>
            <a:chOff x="1125698" y="1867248"/>
            <a:chExt cx="3122653" cy="3857713"/>
          </a:xfrm>
        </p:grpSpPr>
        <p:cxnSp>
          <p:nvCxnSpPr>
            <p:cNvPr id="4" name="Straight Connector 3">
              <a:extLst>
                <a:ext uri="{FF2B5EF4-FFF2-40B4-BE49-F238E27FC236}">
                  <a16:creationId xmlns:a16="http://schemas.microsoft.com/office/drawing/2014/main" id="{FA96026C-E48F-89C7-F785-06591E6A5B7D}"/>
                </a:ext>
              </a:extLst>
            </p:cNvPr>
            <p:cNvCxnSpPr>
              <a:cxnSpLocks/>
            </p:cNvCxnSpPr>
            <p:nvPr/>
          </p:nvCxnSpPr>
          <p:spPr>
            <a:xfrm>
              <a:off x="1125698" y="1867248"/>
              <a:ext cx="3115808" cy="0"/>
            </a:xfrm>
            <a:prstGeom prst="line">
              <a:avLst/>
            </a:prstGeom>
            <a:ln w="9525">
              <a:solidFill>
                <a:srgbClr val="2832DC"/>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CD9E85B0-3337-B645-81D4-9E13EB2E8564}"/>
                </a:ext>
              </a:extLst>
            </p:cNvPr>
            <p:cNvSpPr/>
            <p:nvPr/>
          </p:nvSpPr>
          <p:spPr>
            <a:xfrm>
              <a:off x="1125698" y="1902466"/>
              <a:ext cx="3122653" cy="3822495"/>
            </a:xfrm>
            <a:prstGeom prst="rect">
              <a:avLst/>
            </a:prstGeom>
            <a:solidFill>
              <a:schemeClr val="accent4">
                <a:lumMod val="20000"/>
                <a:lumOff val="80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Helvetica"/>
                <a:ea typeface="+mn-ea"/>
                <a:cs typeface="+mn-cs"/>
              </a:endParaRPr>
            </a:p>
          </p:txBody>
        </p:sp>
      </p:grpSp>
      <p:sp>
        <p:nvSpPr>
          <p:cNvPr id="7" name="TextBox 6">
            <a:extLst>
              <a:ext uri="{FF2B5EF4-FFF2-40B4-BE49-F238E27FC236}">
                <a16:creationId xmlns:a16="http://schemas.microsoft.com/office/drawing/2014/main" id="{33AC17B7-3C0A-3C8B-4D62-451651925C13}"/>
              </a:ext>
            </a:extLst>
          </p:cNvPr>
          <p:cNvSpPr txBox="1"/>
          <p:nvPr/>
        </p:nvSpPr>
        <p:spPr>
          <a:xfrm>
            <a:off x="1125515" y="3493696"/>
            <a:ext cx="3115808"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1E1E50"/>
                </a:solidFill>
                <a:effectLst/>
                <a:uLnTx/>
                <a:uFillTx/>
                <a:latin typeface="Helvetica Light" panose="020B0403020202020204"/>
                <a:ea typeface="+mn-ea"/>
                <a:cs typeface="+mn-cs"/>
              </a:rPr>
              <a:t>Reven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1E1E50"/>
                </a:solidFill>
                <a:effectLst/>
                <a:uLnTx/>
                <a:uFillTx/>
                <a:latin typeface="Helvetica Light" panose="020B0403020202020204"/>
                <a:ea typeface="+mn-ea"/>
                <a:cs typeface="+mn-cs"/>
              </a:rPr>
              <a:t>growth</a:t>
            </a:r>
            <a:endParaRPr kumimoji="0" lang="en-GB" sz="1800" b="0" i="0" u="none" strike="noStrike" kern="1200" cap="none" spc="0" normalizeH="0" baseline="0" noProof="0">
              <a:ln>
                <a:noFill/>
              </a:ln>
              <a:solidFill>
                <a:srgbClr val="1E1E50"/>
              </a:solidFill>
              <a:effectLst/>
              <a:uLnTx/>
              <a:uFillTx/>
              <a:latin typeface="Helvetica Light" panose="020B0403020202020204"/>
              <a:ea typeface="+mn-ea"/>
              <a:cs typeface="+mn-cs"/>
            </a:endParaRPr>
          </a:p>
        </p:txBody>
      </p:sp>
      <p:grpSp>
        <p:nvGrpSpPr>
          <p:cNvPr id="11" name="Group 10">
            <a:extLst>
              <a:ext uri="{FF2B5EF4-FFF2-40B4-BE49-F238E27FC236}">
                <a16:creationId xmlns:a16="http://schemas.microsoft.com/office/drawing/2014/main" id="{B9EE2A70-93CA-1513-7E82-9DEF504BB2AB}"/>
              </a:ext>
            </a:extLst>
          </p:cNvPr>
          <p:cNvGrpSpPr/>
          <p:nvPr/>
        </p:nvGrpSpPr>
        <p:grpSpPr>
          <a:xfrm>
            <a:off x="2003337" y="1616817"/>
            <a:ext cx="1436054" cy="1436054"/>
            <a:chOff x="2158745" y="2690425"/>
            <a:chExt cx="951737" cy="951737"/>
          </a:xfrm>
        </p:grpSpPr>
        <p:sp>
          <p:nvSpPr>
            <p:cNvPr id="12" name="Oval 11">
              <a:extLst>
                <a:ext uri="{FF2B5EF4-FFF2-40B4-BE49-F238E27FC236}">
                  <a16:creationId xmlns:a16="http://schemas.microsoft.com/office/drawing/2014/main" id="{B3141859-BC39-F957-5D47-44DD52C48AB8}"/>
                </a:ext>
              </a:extLst>
            </p:cNvPr>
            <p:cNvSpPr/>
            <p:nvPr/>
          </p:nvSpPr>
          <p:spPr>
            <a:xfrm>
              <a:off x="2158745" y="2690425"/>
              <a:ext cx="951737" cy="951737"/>
            </a:xfrm>
            <a:prstGeom prst="ellipse">
              <a:avLst/>
            </a:prstGeom>
            <a:solidFill>
              <a:srgbClr val="FFFFFF"/>
            </a:solidFill>
            <a:ln>
              <a:noFill/>
            </a:ln>
            <a:effectLst>
              <a:outerShdw blurRad="1905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Oval 12">
              <a:extLst>
                <a:ext uri="{FF2B5EF4-FFF2-40B4-BE49-F238E27FC236}">
                  <a16:creationId xmlns:a16="http://schemas.microsoft.com/office/drawing/2014/main" id="{9CAC0878-A3FF-02FA-7B00-8DC43653DC77}"/>
                </a:ext>
              </a:extLst>
            </p:cNvPr>
            <p:cNvSpPr/>
            <p:nvPr/>
          </p:nvSpPr>
          <p:spPr>
            <a:xfrm>
              <a:off x="2244955" y="2779800"/>
              <a:ext cx="779318" cy="779318"/>
            </a:xfrm>
            <a:prstGeom prst="ellipse">
              <a:avLst/>
            </a:prstGeom>
            <a:solidFill>
              <a:srgbClr val="ECE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2000" b="0" i="0" u="none" strike="noStrike" kern="1200" cap="none" spc="0" normalizeH="0" baseline="0" noProof="0">
                <a:ln>
                  <a:noFill/>
                </a:ln>
                <a:solidFill>
                  <a:prstClr val="white"/>
                </a:solidFill>
                <a:effectLst/>
                <a:uLnTx/>
                <a:uFillTx/>
                <a:latin typeface="Helvetica Light" panose="020B0403020202020204"/>
                <a:ea typeface="+mn-ea"/>
                <a:cs typeface="+mn-cs"/>
              </a:endParaRPr>
            </a:p>
          </p:txBody>
        </p:sp>
      </p:grpSp>
      <p:grpSp>
        <p:nvGrpSpPr>
          <p:cNvPr id="36" name="Group 35">
            <a:extLst>
              <a:ext uri="{FF2B5EF4-FFF2-40B4-BE49-F238E27FC236}">
                <a16:creationId xmlns:a16="http://schemas.microsoft.com/office/drawing/2014/main" id="{3ADDDE56-08BA-FA33-1C4F-1D3B0720CF2B}"/>
              </a:ext>
            </a:extLst>
          </p:cNvPr>
          <p:cNvGrpSpPr/>
          <p:nvPr/>
        </p:nvGrpSpPr>
        <p:grpSpPr>
          <a:xfrm>
            <a:off x="4503592" y="2334844"/>
            <a:ext cx="3122653" cy="3068434"/>
            <a:chOff x="4503592" y="1867248"/>
            <a:chExt cx="3122653" cy="3857713"/>
          </a:xfrm>
        </p:grpSpPr>
        <p:cxnSp>
          <p:nvCxnSpPr>
            <p:cNvPr id="16" name="Straight Connector 15">
              <a:extLst>
                <a:ext uri="{FF2B5EF4-FFF2-40B4-BE49-F238E27FC236}">
                  <a16:creationId xmlns:a16="http://schemas.microsoft.com/office/drawing/2014/main" id="{F201BD73-D73F-0283-267D-DAE7DA5C0BE6}"/>
                </a:ext>
              </a:extLst>
            </p:cNvPr>
            <p:cNvCxnSpPr>
              <a:cxnSpLocks/>
            </p:cNvCxnSpPr>
            <p:nvPr/>
          </p:nvCxnSpPr>
          <p:spPr>
            <a:xfrm>
              <a:off x="4503592" y="1867248"/>
              <a:ext cx="3115808" cy="0"/>
            </a:xfrm>
            <a:prstGeom prst="line">
              <a:avLst/>
            </a:prstGeom>
            <a:ln w="9525">
              <a:solidFill>
                <a:srgbClr val="2832DC"/>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3C8D480F-975F-017F-C3E2-A7599CDD2C96}"/>
                </a:ext>
              </a:extLst>
            </p:cNvPr>
            <p:cNvSpPr/>
            <p:nvPr/>
          </p:nvSpPr>
          <p:spPr>
            <a:xfrm>
              <a:off x="4503592" y="1902466"/>
              <a:ext cx="3122653" cy="3822495"/>
            </a:xfrm>
            <a:prstGeom prst="rect">
              <a:avLst/>
            </a:prstGeom>
            <a:solidFill>
              <a:schemeClr val="accent4">
                <a:lumMod val="20000"/>
                <a:lumOff val="80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Helvetica"/>
                <a:ea typeface="+mn-ea"/>
                <a:cs typeface="+mn-cs"/>
              </a:endParaRPr>
            </a:p>
          </p:txBody>
        </p:sp>
      </p:grpSp>
      <p:sp>
        <p:nvSpPr>
          <p:cNvPr id="20" name="TextBox 19">
            <a:extLst>
              <a:ext uri="{FF2B5EF4-FFF2-40B4-BE49-F238E27FC236}">
                <a16:creationId xmlns:a16="http://schemas.microsoft.com/office/drawing/2014/main" id="{5D4A7B55-FD47-2C9A-4317-439C37E95C2E}"/>
              </a:ext>
            </a:extLst>
          </p:cNvPr>
          <p:cNvSpPr txBox="1"/>
          <p:nvPr/>
        </p:nvSpPr>
        <p:spPr>
          <a:xfrm>
            <a:off x="4503409" y="3472918"/>
            <a:ext cx="3115808"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1E1E50"/>
                </a:solidFill>
                <a:effectLst/>
                <a:uLnTx/>
                <a:uFillTx/>
                <a:latin typeface="Helvetica Light" panose="020B0403020202020204"/>
                <a:ea typeface="+mn-ea"/>
                <a:cs typeface="Helvetica" panose="020B0604020202020204" pitchFamily="34" charset="0"/>
              </a:rPr>
              <a:t>EBITD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1E1E50"/>
                </a:solidFill>
                <a:effectLst/>
                <a:uLnTx/>
                <a:uFillTx/>
                <a:latin typeface="Helvetica Light" panose="020B0403020202020204"/>
                <a:ea typeface="+mn-ea"/>
                <a:cs typeface="+mn-cs"/>
              </a:rPr>
              <a:t>&gt;10%</a:t>
            </a:r>
            <a:endParaRPr kumimoji="0" lang="en-GB" sz="1800" b="0" i="0" u="none" strike="noStrike" kern="1200" cap="none" spc="0" normalizeH="0" baseline="0" noProof="0">
              <a:ln>
                <a:noFill/>
              </a:ln>
              <a:solidFill>
                <a:srgbClr val="1E1E50"/>
              </a:solidFill>
              <a:effectLst/>
              <a:uLnTx/>
              <a:uFillTx/>
              <a:latin typeface="Helvetica Light" panose="020B0403020202020204"/>
              <a:ea typeface="+mn-ea"/>
              <a:cs typeface="+mn-cs"/>
            </a:endParaRPr>
          </a:p>
        </p:txBody>
      </p:sp>
      <p:grpSp>
        <p:nvGrpSpPr>
          <p:cNvPr id="21" name="Group 20">
            <a:extLst>
              <a:ext uri="{FF2B5EF4-FFF2-40B4-BE49-F238E27FC236}">
                <a16:creationId xmlns:a16="http://schemas.microsoft.com/office/drawing/2014/main" id="{0F807154-14F8-A9D3-F15B-E372C598EE84}"/>
              </a:ext>
            </a:extLst>
          </p:cNvPr>
          <p:cNvGrpSpPr/>
          <p:nvPr/>
        </p:nvGrpSpPr>
        <p:grpSpPr>
          <a:xfrm>
            <a:off x="5381231" y="1616817"/>
            <a:ext cx="1436054" cy="1436054"/>
            <a:chOff x="2158745" y="2690425"/>
            <a:chExt cx="951737" cy="951737"/>
          </a:xfrm>
        </p:grpSpPr>
        <p:sp>
          <p:nvSpPr>
            <p:cNvPr id="22" name="Oval 21">
              <a:extLst>
                <a:ext uri="{FF2B5EF4-FFF2-40B4-BE49-F238E27FC236}">
                  <a16:creationId xmlns:a16="http://schemas.microsoft.com/office/drawing/2014/main" id="{3783C344-0DDF-EC03-D4EF-4B4DC119A087}"/>
                </a:ext>
              </a:extLst>
            </p:cNvPr>
            <p:cNvSpPr/>
            <p:nvPr/>
          </p:nvSpPr>
          <p:spPr>
            <a:xfrm>
              <a:off x="2158745" y="2690425"/>
              <a:ext cx="951737" cy="951737"/>
            </a:xfrm>
            <a:prstGeom prst="ellipse">
              <a:avLst/>
            </a:prstGeom>
            <a:solidFill>
              <a:srgbClr val="FFFFFF"/>
            </a:solidFill>
            <a:ln>
              <a:noFill/>
            </a:ln>
            <a:effectLst>
              <a:outerShdw blurRad="1905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23" name="Oval 22">
              <a:extLst>
                <a:ext uri="{FF2B5EF4-FFF2-40B4-BE49-F238E27FC236}">
                  <a16:creationId xmlns:a16="http://schemas.microsoft.com/office/drawing/2014/main" id="{92843CFE-F959-8516-B8AD-948DD314FD61}"/>
                </a:ext>
              </a:extLst>
            </p:cNvPr>
            <p:cNvSpPr/>
            <p:nvPr/>
          </p:nvSpPr>
          <p:spPr>
            <a:xfrm>
              <a:off x="2244955" y="2779800"/>
              <a:ext cx="779318" cy="779318"/>
            </a:xfrm>
            <a:prstGeom prst="ellipse">
              <a:avLst/>
            </a:prstGeom>
            <a:solidFill>
              <a:srgbClr val="ECE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2000" b="0" i="0" u="none" strike="noStrike" kern="1200" cap="none" spc="0" normalizeH="0" baseline="0" noProof="0">
                <a:ln>
                  <a:noFill/>
                </a:ln>
                <a:solidFill>
                  <a:prstClr val="white"/>
                </a:solidFill>
                <a:effectLst/>
                <a:uLnTx/>
                <a:uFillTx/>
                <a:latin typeface="Helvetica Light" panose="020B0403020202020204"/>
                <a:ea typeface="+mn-ea"/>
                <a:cs typeface="+mn-cs"/>
              </a:endParaRPr>
            </a:p>
          </p:txBody>
        </p:sp>
      </p:grpSp>
      <p:grpSp>
        <p:nvGrpSpPr>
          <p:cNvPr id="37" name="Group 36">
            <a:extLst>
              <a:ext uri="{FF2B5EF4-FFF2-40B4-BE49-F238E27FC236}">
                <a16:creationId xmlns:a16="http://schemas.microsoft.com/office/drawing/2014/main" id="{3082C372-261B-AB95-D22C-40EB4A4F5C70}"/>
              </a:ext>
            </a:extLst>
          </p:cNvPr>
          <p:cNvGrpSpPr/>
          <p:nvPr/>
        </p:nvGrpSpPr>
        <p:grpSpPr>
          <a:xfrm>
            <a:off x="7889870" y="2334844"/>
            <a:ext cx="3122653" cy="3068434"/>
            <a:chOff x="7889870" y="1867248"/>
            <a:chExt cx="3122653" cy="3857713"/>
          </a:xfrm>
        </p:grpSpPr>
        <p:cxnSp>
          <p:nvCxnSpPr>
            <p:cNvPr id="26" name="Straight Connector 25">
              <a:extLst>
                <a:ext uri="{FF2B5EF4-FFF2-40B4-BE49-F238E27FC236}">
                  <a16:creationId xmlns:a16="http://schemas.microsoft.com/office/drawing/2014/main" id="{1C23787C-3155-C802-F8FC-5B58F795FA68}"/>
                </a:ext>
              </a:extLst>
            </p:cNvPr>
            <p:cNvCxnSpPr>
              <a:cxnSpLocks/>
            </p:cNvCxnSpPr>
            <p:nvPr/>
          </p:nvCxnSpPr>
          <p:spPr>
            <a:xfrm>
              <a:off x="7889870" y="1867248"/>
              <a:ext cx="3115808" cy="0"/>
            </a:xfrm>
            <a:prstGeom prst="line">
              <a:avLst/>
            </a:prstGeom>
            <a:ln w="9525">
              <a:solidFill>
                <a:srgbClr val="2832DC"/>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2F83344F-6950-775B-7DC2-1EE8D623BEEF}"/>
                </a:ext>
              </a:extLst>
            </p:cNvPr>
            <p:cNvSpPr/>
            <p:nvPr/>
          </p:nvSpPr>
          <p:spPr>
            <a:xfrm>
              <a:off x="7889870" y="1902466"/>
              <a:ext cx="3122653" cy="3822495"/>
            </a:xfrm>
            <a:prstGeom prst="rect">
              <a:avLst/>
            </a:prstGeom>
            <a:solidFill>
              <a:schemeClr val="accent4">
                <a:lumMod val="20000"/>
                <a:lumOff val="80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Helvetica"/>
                <a:ea typeface="+mn-ea"/>
                <a:cs typeface="+mn-cs"/>
              </a:endParaRPr>
            </a:p>
          </p:txBody>
        </p:sp>
      </p:grpSp>
      <p:grpSp>
        <p:nvGrpSpPr>
          <p:cNvPr id="30" name="Group 29">
            <a:extLst>
              <a:ext uri="{FF2B5EF4-FFF2-40B4-BE49-F238E27FC236}">
                <a16:creationId xmlns:a16="http://schemas.microsoft.com/office/drawing/2014/main" id="{EBF4DE1A-052D-8030-45EC-84050ABD9DC6}"/>
              </a:ext>
            </a:extLst>
          </p:cNvPr>
          <p:cNvGrpSpPr/>
          <p:nvPr/>
        </p:nvGrpSpPr>
        <p:grpSpPr>
          <a:xfrm>
            <a:off x="8767509" y="1616817"/>
            <a:ext cx="1436054" cy="1436054"/>
            <a:chOff x="2158745" y="2690425"/>
            <a:chExt cx="951737" cy="951737"/>
          </a:xfrm>
        </p:grpSpPr>
        <p:sp>
          <p:nvSpPr>
            <p:cNvPr id="31" name="Oval 30">
              <a:extLst>
                <a:ext uri="{FF2B5EF4-FFF2-40B4-BE49-F238E27FC236}">
                  <a16:creationId xmlns:a16="http://schemas.microsoft.com/office/drawing/2014/main" id="{180E9C52-35C4-CC7A-CFA0-57C471DF091A}"/>
                </a:ext>
              </a:extLst>
            </p:cNvPr>
            <p:cNvSpPr/>
            <p:nvPr/>
          </p:nvSpPr>
          <p:spPr>
            <a:xfrm>
              <a:off x="2158745" y="2690425"/>
              <a:ext cx="951737" cy="951737"/>
            </a:xfrm>
            <a:prstGeom prst="ellipse">
              <a:avLst/>
            </a:prstGeom>
            <a:solidFill>
              <a:srgbClr val="FFFFFF"/>
            </a:solidFill>
            <a:ln>
              <a:noFill/>
            </a:ln>
            <a:effectLst>
              <a:outerShdw blurRad="1905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srgbClr val="1E1E50"/>
                </a:solidFill>
                <a:effectLst/>
                <a:uLnTx/>
                <a:uFillTx/>
                <a:latin typeface="Arial"/>
                <a:ea typeface="+mn-ea"/>
                <a:cs typeface="+mn-cs"/>
              </a:endParaRPr>
            </a:p>
          </p:txBody>
        </p:sp>
        <p:sp>
          <p:nvSpPr>
            <p:cNvPr id="32" name="Oval 31">
              <a:extLst>
                <a:ext uri="{FF2B5EF4-FFF2-40B4-BE49-F238E27FC236}">
                  <a16:creationId xmlns:a16="http://schemas.microsoft.com/office/drawing/2014/main" id="{6818C98B-2A1C-D4A3-4C8E-7447EACD7E91}"/>
                </a:ext>
              </a:extLst>
            </p:cNvPr>
            <p:cNvSpPr/>
            <p:nvPr/>
          </p:nvSpPr>
          <p:spPr>
            <a:xfrm>
              <a:off x="2244955" y="2779800"/>
              <a:ext cx="779318" cy="779318"/>
            </a:xfrm>
            <a:prstGeom prst="ellipse">
              <a:avLst/>
            </a:prstGeom>
            <a:solidFill>
              <a:srgbClr val="ECE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2000" b="0" i="0" u="none" strike="noStrike" kern="1200" cap="none" spc="0" normalizeH="0" baseline="0" noProof="0">
                <a:ln>
                  <a:noFill/>
                </a:ln>
                <a:solidFill>
                  <a:srgbClr val="1E1E50"/>
                </a:solidFill>
                <a:effectLst/>
                <a:uLnTx/>
                <a:uFillTx/>
                <a:latin typeface="Helvetica Light" panose="020B0403020202020204"/>
                <a:ea typeface="+mn-ea"/>
                <a:cs typeface="+mn-cs"/>
              </a:endParaRPr>
            </a:p>
          </p:txBody>
        </p:sp>
      </p:grpSp>
      <p:sp>
        <p:nvSpPr>
          <p:cNvPr id="10" name="TextBox 9">
            <a:extLst>
              <a:ext uri="{FF2B5EF4-FFF2-40B4-BE49-F238E27FC236}">
                <a16:creationId xmlns:a16="http://schemas.microsoft.com/office/drawing/2014/main" id="{6F78875A-B72E-AE38-FD11-5CD48B574A5F}"/>
              </a:ext>
            </a:extLst>
          </p:cNvPr>
          <p:cNvSpPr txBox="1"/>
          <p:nvPr/>
        </p:nvSpPr>
        <p:spPr>
          <a:xfrm>
            <a:off x="8096835" y="3382204"/>
            <a:ext cx="2701878" cy="147732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1E1E50"/>
                </a:solidFill>
                <a:effectLst/>
                <a:uLnTx/>
                <a:uFillTx/>
                <a:latin typeface="Helvetica Light" panose="020B0403020202020204"/>
                <a:ea typeface="+mn-ea"/>
                <a:cs typeface="+mn-cs"/>
              </a:rPr>
              <a:t> </a:t>
            </a:r>
            <a:r>
              <a:rPr kumimoji="0" lang="en-US" sz="2400" b="0" i="0" u="none" strike="noStrike" kern="1200" cap="none" spc="0" normalizeH="0" baseline="0" noProof="0">
                <a:ln>
                  <a:noFill/>
                </a:ln>
                <a:solidFill>
                  <a:srgbClr val="1E1E50"/>
                </a:solidFill>
                <a:effectLst/>
                <a:uLnTx/>
                <a:uFillTx/>
                <a:latin typeface="Helvetica Light" panose="020B0403020202020204"/>
                <a:ea typeface="+mn-ea"/>
                <a:cs typeface="+mn-cs"/>
              </a:rPr>
              <a:t>Continue to pay and increase the dividend forward</a:t>
            </a:r>
            <a:endParaRPr kumimoji="0" lang="en-GB" sz="2400" b="0" i="0" u="none" strike="noStrike" kern="1200" cap="none" spc="0" normalizeH="0" baseline="0" noProof="0">
              <a:ln>
                <a:noFill/>
              </a:ln>
              <a:solidFill>
                <a:srgbClr val="1E1E50"/>
              </a:solidFill>
              <a:effectLst/>
              <a:uLnTx/>
              <a:uFillTx/>
              <a:latin typeface="Helvetica Light" panose="020B0403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E1E50"/>
              </a:solidFill>
              <a:effectLst/>
              <a:uLnTx/>
              <a:uFillTx/>
              <a:latin typeface="Helvetica Light" panose="020B0403020202020204"/>
              <a:ea typeface="+mn-ea"/>
              <a:cs typeface="+mn-cs"/>
            </a:endParaRPr>
          </a:p>
        </p:txBody>
      </p:sp>
      <p:pic>
        <p:nvPicPr>
          <p:cNvPr id="39" name="Picture 38">
            <a:extLst>
              <a:ext uri="{FF2B5EF4-FFF2-40B4-BE49-F238E27FC236}">
                <a16:creationId xmlns:a16="http://schemas.microsoft.com/office/drawing/2014/main" id="{FA173DC7-A588-04E3-2B47-F1BAE8AF1FF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415751" y="1983229"/>
            <a:ext cx="590444" cy="590444"/>
          </a:xfrm>
          <a:prstGeom prst="rect">
            <a:avLst/>
          </a:prstGeom>
        </p:spPr>
      </p:pic>
      <p:pic>
        <p:nvPicPr>
          <p:cNvPr id="41" name="Picture 40">
            <a:extLst>
              <a:ext uri="{FF2B5EF4-FFF2-40B4-BE49-F238E27FC236}">
                <a16:creationId xmlns:a16="http://schemas.microsoft.com/office/drawing/2014/main" id="{54C5455D-7721-F386-EAFF-D2809493535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73332" y="2011306"/>
            <a:ext cx="652609" cy="652609"/>
          </a:xfrm>
          <a:prstGeom prst="rect">
            <a:avLst/>
          </a:prstGeom>
        </p:spPr>
      </p:pic>
      <p:sp>
        <p:nvSpPr>
          <p:cNvPr id="2" name="Title 1">
            <a:extLst>
              <a:ext uri="{FF2B5EF4-FFF2-40B4-BE49-F238E27FC236}">
                <a16:creationId xmlns:a16="http://schemas.microsoft.com/office/drawing/2014/main" id="{46FAFA1B-D36B-6040-15DE-3C1DA139D16A}"/>
              </a:ext>
            </a:extLst>
          </p:cNvPr>
          <p:cNvSpPr txBox="1">
            <a:spLocks/>
          </p:cNvSpPr>
          <p:nvPr/>
        </p:nvSpPr>
        <p:spPr>
          <a:xfrm>
            <a:off x="778328" y="362620"/>
            <a:ext cx="10615386" cy="1270244"/>
          </a:xfrm>
          <a:prstGeom prst="rect">
            <a:avLst/>
          </a:prstGeom>
        </p:spPr>
        <p:txBody>
          <a:bodyPr anchor="t">
            <a:normAutofit/>
          </a:bodyPr>
          <a:lstStyle>
            <a:lvl1pPr algn="l" defTabSz="914400" rtl="0" eaLnBrk="1" latinLnBrk="0" hangingPunct="1">
              <a:lnSpc>
                <a:spcPct val="90000"/>
              </a:lnSpc>
              <a:spcBef>
                <a:spcPct val="0"/>
              </a:spcBef>
              <a:buNone/>
              <a:defRPr sz="4000" b="0" i="0" kern="1200">
                <a:solidFill>
                  <a:schemeClr val="accent1"/>
                </a:solidFill>
                <a:latin typeface="Helvetica Light" panose="020B0403020202020204" pitchFamily="34" charset="0"/>
                <a:ea typeface="+mj-ea"/>
                <a:cs typeface="+mj-cs"/>
              </a:defRPr>
            </a:lvl1pPr>
          </a:lstStyle>
          <a:p>
            <a:r>
              <a:rPr lang="en-US"/>
              <a:t>Long-term financial aspirations</a:t>
            </a:r>
          </a:p>
        </p:txBody>
      </p:sp>
      <p:pic>
        <p:nvPicPr>
          <p:cNvPr id="8" name="Graphic 7" descr="Money outline">
            <a:extLst>
              <a:ext uri="{FF2B5EF4-FFF2-40B4-BE49-F238E27FC236}">
                <a16:creationId xmlns:a16="http://schemas.microsoft.com/office/drawing/2014/main" id="{23D36196-607E-40C0-82AC-D9C5B3A35257}"/>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090120" y="1905830"/>
            <a:ext cx="785655" cy="785655"/>
          </a:xfrm>
          <a:prstGeom prst="rect">
            <a:avLst/>
          </a:prstGeom>
        </p:spPr>
      </p:pic>
    </p:spTree>
    <p:extLst>
      <p:ext uri="{BB962C8B-B14F-4D97-AF65-F5344CB8AC3E}">
        <p14:creationId xmlns:p14="http://schemas.microsoft.com/office/powerpoint/2010/main" val="6867035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Group 57">
            <a:extLst>
              <a:ext uri="{FF2B5EF4-FFF2-40B4-BE49-F238E27FC236}">
                <a16:creationId xmlns:a16="http://schemas.microsoft.com/office/drawing/2014/main" id="{B6AF50F0-9B18-49F5-0749-6A0BD0889E42}"/>
              </a:ext>
            </a:extLst>
          </p:cNvPr>
          <p:cNvGrpSpPr/>
          <p:nvPr/>
        </p:nvGrpSpPr>
        <p:grpSpPr>
          <a:xfrm>
            <a:off x="6254376" y="3731712"/>
            <a:ext cx="5256521" cy="2335591"/>
            <a:chOff x="741777" y="3732245"/>
            <a:chExt cx="5256521" cy="2335591"/>
          </a:xfrm>
        </p:grpSpPr>
        <p:sp>
          <p:nvSpPr>
            <p:cNvPr id="59" name="Rectangle 58">
              <a:extLst>
                <a:ext uri="{FF2B5EF4-FFF2-40B4-BE49-F238E27FC236}">
                  <a16:creationId xmlns:a16="http://schemas.microsoft.com/office/drawing/2014/main" id="{7C5382AF-05BA-1784-C0A6-E8FCDAFBBC8F}"/>
                </a:ext>
              </a:extLst>
            </p:cNvPr>
            <p:cNvSpPr/>
            <p:nvPr/>
          </p:nvSpPr>
          <p:spPr>
            <a:xfrm>
              <a:off x="741777" y="3732245"/>
              <a:ext cx="5256521" cy="2306582"/>
            </a:xfrm>
            <a:prstGeom prst="rect">
              <a:avLst/>
            </a:prstGeom>
            <a:solidFill>
              <a:srgbClr val="F2F3FF"/>
            </a:solidFill>
            <a:ln w="3175">
              <a:no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60" name="Straight Connector 59">
              <a:extLst>
                <a:ext uri="{FF2B5EF4-FFF2-40B4-BE49-F238E27FC236}">
                  <a16:creationId xmlns:a16="http://schemas.microsoft.com/office/drawing/2014/main" id="{F08DC6B2-04E8-BEC5-99A1-2BE0263FCF7C}"/>
                </a:ext>
              </a:extLst>
            </p:cNvPr>
            <p:cNvCxnSpPr>
              <a:cxnSpLocks/>
            </p:cNvCxnSpPr>
            <p:nvPr/>
          </p:nvCxnSpPr>
          <p:spPr>
            <a:xfrm>
              <a:off x="742037" y="6067836"/>
              <a:ext cx="5256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5" name="think-cell data - do not delete" hidden="1">
            <a:extLst>
              <a:ext uri="{FF2B5EF4-FFF2-40B4-BE49-F238E27FC236}">
                <a16:creationId xmlns:a16="http://schemas.microsoft.com/office/drawing/2014/main" id="{23592D9D-789D-F141-B435-14EA02B7AEBE}"/>
              </a:ext>
            </a:extLst>
          </p:cNvPr>
          <p:cNvGraphicFramePr>
            <a:graphicFrameLocks noChangeAspect="1"/>
          </p:cNvGraphicFramePr>
          <p:nvPr>
            <p:custDataLst>
              <p:tags r:id="rId1"/>
            </p:custDataLst>
            <p:extLst>
              <p:ext uri="{D42A27DB-BD31-4B8C-83A1-F6EECF244321}">
                <p14:modId xmlns:p14="http://schemas.microsoft.com/office/powerpoint/2010/main" val="26779472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23592D9D-789D-F141-B435-14EA02B7AEB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E26A36F4-2AF0-F947-1A69-3D1D16FAC85C}"/>
              </a:ext>
            </a:extLst>
          </p:cNvPr>
          <p:cNvSpPr>
            <a:spLocks noGrp="1"/>
          </p:cNvSpPr>
          <p:nvPr>
            <p:ph type="title"/>
          </p:nvPr>
        </p:nvSpPr>
        <p:spPr>
          <a:xfrm>
            <a:off x="741777" y="365126"/>
            <a:ext cx="10671895" cy="1036620"/>
          </a:xfrm>
        </p:spPr>
        <p:txBody>
          <a:bodyPr vert="horz">
            <a:normAutofit/>
          </a:bodyPr>
          <a:lstStyle/>
          <a:p>
            <a:r>
              <a:rPr lang="en-GB"/>
              <a:t>Key priorities</a:t>
            </a:r>
          </a:p>
        </p:txBody>
      </p:sp>
      <p:sp>
        <p:nvSpPr>
          <p:cNvPr id="2" name="TextBox 1">
            <a:extLst>
              <a:ext uri="{FF2B5EF4-FFF2-40B4-BE49-F238E27FC236}">
                <a16:creationId xmlns:a16="http://schemas.microsoft.com/office/drawing/2014/main" id="{9C8CBA0A-48AD-F056-1B14-AD5AA33CE814}"/>
              </a:ext>
            </a:extLst>
          </p:cNvPr>
          <p:cNvSpPr txBox="1"/>
          <p:nvPr/>
        </p:nvSpPr>
        <p:spPr>
          <a:xfrm>
            <a:off x="7178093" y="4888365"/>
            <a:ext cx="3201725" cy="1015663"/>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GB" sz="2000">
                <a:solidFill>
                  <a:srgbClr val="1E1E50"/>
                </a:solidFill>
                <a:latin typeface="Helvetica Light" panose="020B0403020202020204" pitchFamily="34" charset="0"/>
              </a:rPr>
              <a:t>Build on initial success for large-scale operations in UK and Spain </a:t>
            </a:r>
          </a:p>
        </p:txBody>
      </p:sp>
      <p:grpSp>
        <p:nvGrpSpPr>
          <p:cNvPr id="3" name="Google Shape;11977;p276">
            <a:extLst>
              <a:ext uri="{FF2B5EF4-FFF2-40B4-BE49-F238E27FC236}">
                <a16:creationId xmlns:a16="http://schemas.microsoft.com/office/drawing/2014/main" id="{1669A857-4EFE-B003-04C1-93C0BA9302DC}"/>
              </a:ext>
            </a:extLst>
          </p:cNvPr>
          <p:cNvGrpSpPr/>
          <p:nvPr/>
        </p:nvGrpSpPr>
        <p:grpSpPr>
          <a:xfrm>
            <a:off x="8669053" y="1687259"/>
            <a:ext cx="1949130" cy="1453380"/>
            <a:chOff x="827396" y="-1"/>
            <a:chExt cx="4706025" cy="3509584"/>
          </a:xfrm>
          <a:solidFill>
            <a:srgbClr val="CCCDF1"/>
          </a:solidFill>
        </p:grpSpPr>
        <p:sp>
          <p:nvSpPr>
            <p:cNvPr id="6" name="Google Shape;11978;p276" descr="Freeform 149">
              <a:extLst>
                <a:ext uri="{FF2B5EF4-FFF2-40B4-BE49-F238E27FC236}">
                  <a16:creationId xmlns:a16="http://schemas.microsoft.com/office/drawing/2014/main" id="{A0F77CAC-754C-1727-E4F4-DA46F558E22E}"/>
                </a:ext>
              </a:extLst>
            </p:cNvPr>
            <p:cNvSpPr/>
            <p:nvPr/>
          </p:nvSpPr>
          <p:spPr>
            <a:xfrm>
              <a:off x="1594572" y="256777"/>
              <a:ext cx="1829801" cy="1463118"/>
            </a:xfrm>
            <a:custGeom>
              <a:avLst/>
              <a:gdLst/>
              <a:ahLst/>
              <a:cxnLst/>
              <a:rect l="l" t="t" r="r" b="b"/>
              <a:pathLst>
                <a:path w="21600" h="21537" extrusionOk="0">
                  <a:moveTo>
                    <a:pt x="17167" y="4208"/>
                  </a:moveTo>
                  <a:cubicBezTo>
                    <a:pt x="17033" y="4279"/>
                    <a:pt x="17033" y="4279"/>
                    <a:pt x="17033" y="4279"/>
                  </a:cubicBezTo>
                  <a:cubicBezTo>
                    <a:pt x="16956" y="4350"/>
                    <a:pt x="16900" y="4187"/>
                    <a:pt x="16826" y="4187"/>
                  </a:cubicBezTo>
                  <a:cubicBezTo>
                    <a:pt x="16770" y="4187"/>
                    <a:pt x="16693" y="4162"/>
                    <a:pt x="16653" y="4162"/>
                  </a:cubicBezTo>
                  <a:cubicBezTo>
                    <a:pt x="16596" y="4162"/>
                    <a:pt x="16559" y="4208"/>
                    <a:pt x="16523" y="4208"/>
                  </a:cubicBezTo>
                  <a:cubicBezTo>
                    <a:pt x="16446" y="4208"/>
                    <a:pt x="16353" y="4187"/>
                    <a:pt x="16296" y="4233"/>
                  </a:cubicBezTo>
                  <a:cubicBezTo>
                    <a:pt x="16276" y="4258"/>
                    <a:pt x="16353" y="4375"/>
                    <a:pt x="16369" y="4420"/>
                  </a:cubicBezTo>
                  <a:cubicBezTo>
                    <a:pt x="16389" y="4491"/>
                    <a:pt x="16296" y="4612"/>
                    <a:pt x="16276" y="4682"/>
                  </a:cubicBezTo>
                  <a:cubicBezTo>
                    <a:pt x="16239" y="4778"/>
                    <a:pt x="16106" y="4799"/>
                    <a:pt x="16106" y="4894"/>
                  </a:cubicBezTo>
                  <a:cubicBezTo>
                    <a:pt x="16106" y="4919"/>
                    <a:pt x="16106" y="4919"/>
                    <a:pt x="16106" y="4919"/>
                  </a:cubicBezTo>
                  <a:cubicBezTo>
                    <a:pt x="16239" y="4919"/>
                    <a:pt x="16333" y="4849"/>
                    <a:pt x="16296" y="5086"/>
                  </a:cubicBezTo>
                  <a:cubicBezTo>
                    <a:pt x="16296" y="5132"/>
                    <a:pt x="16219" y="5227"/>
                    <a:pt x="16239" y="5273"/>
                  </a:cubicBezTo>
                  <a:cubicBezTo>
                    <a:pt x="16256" y="5298"/>
                    <a:pt x="16369" y="5369"/>
                    <a:pt x="16389" y="5369"/>
                  </a:cubicBezTo>
                  <a:cubicBezTo>
                    <a:pt x="16409" y="5485"/>
                    <a:pt x="16409" y="5439"/>
                    <a:pt x="16389" y="5556"/>
                  </a:cubicBezTo>
                  <a:cubicBezTo>
                    <a:pt x="16353" y="5581"/>
                    <a:pt x="16389" y="5768"/>
                    <a:pt x="16389" y="5814"/>
                  </a:cubicBezTo>
                  <a:cubicBezTo>
                    <a:pt x="16409" y="5909"/>
                    <a:pt x="16369" y="6030"/>
                    <a:pt x="16313" y="5889"/>
                  </a:cubicBezTo>
                  <a:cubicBezTo>
                    <a:pt x="16296" y="5839"/>
                    <a:pt x="16239" y="5747"/>
                    <a:pt x="16199" y="5839"/>
                  </a:cubicBezTo>
                  <a:cubicBezTo>
                    <a:pt x="16179" y="5934"/>
                    <a:pt x="16389" y="6005"/>
                    <a:pt x="16256" y="6146"/>
                  </a:cubicBezTo>
                  <a:cubicBezTo>
                    <a:pt x="16179" y="6217"/>
                    <a:pt x="16162" y="6242"/>
                    <a:pt x="16199" y="6384"/>
                  </a:cubicBezTo>
                  <a:cubicBezTo>
                    <a:pt x="16219" y="6525"/>
                    <a:pt x="16199" y="6737"/>
                    <a:pt x="16199" y="6879"/>
                  </a:cubicBezTo>
                  <a:cubicBezTo>
                    <a:pt x="16199" y="6928"/>
                    <a:pt x="16199" y="7045"/>
                    <a:pt x="16179" y="7091"/>
                  </a:cubicBezTo>
                  <a:cubicBezTo>
                    <a:pt x="16142" y="7141"/>
                    <a:pt x="16086" y="7211"/>
                    <a:pt x="16086" y="7257"/>
                  </a:cubicBezTo>
                  <a:cubicBezTo>
                    <a:pt x="16122" y="7303"/>
                    <a:pt x="16219" y="7423"/>
                    <a:pt x="16239" y="7494"/>
                  </a:cubicBezTo>
                  <a:cubicBezTo>
                    <a:pt x="16256" y="7611"/>
                    <a:pt x="16353" y="7590"/>
                    <a:pt x="16369" y="7660"/>
                  </a:cubicBezTo>
                  <a:cubicBezTo>
                    <a:pt x="16426" y="7827"/>
                    <a:pt x="16446" y="7989"/>
                    <a:pt x="16636" y="7943"/>
                  </a:cubicBezTo>
                  <a:cubicBezTo>
                    <a:pt x="16770" y="7893"/>
                    <a:pt x="16843" y="7918"/>
                    <a:pt x="16883" y="8085"/>
                  </a:cubicBezTo>
                  <a:cubicBezTo>
                    <a:pt x="16900" y="8226"/>
                    <a:pt x="16956" y="8322"/>
                    <a:pt x="16996" y="8463"/>
                  </a:cubicBezTo>
                  <a:cubicBezTo>
                    <a:pt x="17070" y="8605"/>
                    <a:pt x="17203" y="8418"/>
                    <a:pt x="17280" y="8343"/>
                  </a:cubicBezTo>
                  <a:cubicBezTo>
                    <a:pt x="17373" y="8251"/>
                    <a:pt x="17413" y="8368"/>
                    <a:pt x="17450" y="8180"/>
                  </a:cubicBezTo>
                  <a:cubicBezTo>
                    <a:pt x="17470" y="8060"/>
                    <a:pt x="17507" y="7681"/>
                    <a:pt x="17660" y="7752"/>
                  </a:cubicBezTo>
                  <a:cubicBezTo>
                    <a:pt x="17754" y="7777"/>
                    <a:pt x="17830" y="7752"/>
                    <a:pt x="17790" y="7968"/>
                  </a:cubicBezTo>
                  <a:cubicBezTo>
                    <a:pt x="17754" y="8131"/>
                    <a:pt x="17544" y="8297"/>
                    <a:pt x="17620" y="8509"/>
                  </a:cubicBezTo>
                  <a:cubicBezTo>
                    <a:pt x="17660" y="8605"/>
                    <a:pt x="18001" y="8605"/>
                    <a:pt x="18077" y="8559"/>
                  </a:cubicBezTo>
                  <a:cubicBezTo>
                    <a:pt x="18284" y="8509"/>
                    <a:pt x="18304" y="8700"/>
                    <a:pt x="18438" y="8368"/>
                  </a:cubicBezTo>
                  <a:cubicBezTo>
                    <a:pt x="18531" y="8155"/>
                    <a:pt x="18644" y="8085"/>
                    <a:pt x="18644" y="7802"/>
                  </a:cubicBezTo>
                  <a:cubicBezTo>
                    <a:pt x="18721" y="7777"/>
                    <a:pt x="18778" y="7848"/>
                    <a:pt x="18871" y="7752"/>
                  </a:cubicBezTo>
                  <a:cubicBezTo>
                    <a:pt x="19041" y="7565"/>
                    <a:pt x="19328" y="7590"/>
                    <a:pt x="19515" y="7660"/>
                  </a:cubicBezTo>
                  <a:cubicBezTo>
                    <a:pt x="19535" y="7706"/>
                    <a:pt x="19555" y="7918"/>
                    <a:pt x="19572" y="7968"/>
                  </a:cubicBezTo>
                  <a:cubicBezTo>
                    <a:pt x="19612" y="8014"/>
                    <a:pt x="19875" y="7873"/>
                    <a:pt x="19972" y="7873"/>
                  </a:cubicBezTo>
                  <a:cubicBezTo>
                    <a:pt x="20029" y="7873"/>
                    <a:pt x="20085" y="7873"/>
                    <a:pt x="20142" y="7893"/>
                  </a:cubicBezTo>
                  <a:cubicBezTo>
                    <a:pt x="20179" y="7893"/>
                    <a:pt x="20276" y="8014"/>
                    <a:pt x="20179" y="8039"/>
                  </a:cubicBezTo>
                  <a:cubicBezTo>
                    <a:pt x="20179" y="8060"/>
                    <a:pt x="20065" y="8110"/>
                    <a:pt x="20029" y="8155"/>
                  </a:cubicBezTo>
                  <a:cubicBezTo>
                    <a:pt x="20029" y="8155"/>
                    <a:pt x="20162" y="8393"/>
                    <a:pt x="20199" y="8418"/>
                  </a:cubicBezTo>
                  <a:cubicBezTo>
                    <a:pt x="20276" y="8534"/>
                    <a:pt x="20199" y="8559"/>
                    <a:pt x="20219" y="8700"/>
                  </a:cubicBezTo>
                  <a:cubicBezTo>
                    <a:pt x="20292" y="8888"/>
                    <a:pt x="20256" y="8863"/>
                    <a:pt x="20426" y="8912"/>
                  </a:cubicBezTo>
                  <a:cubicBezTo>
                    <a:pt x="20502" y="8933"/>
                    <a:pt x="20579" y="8933"/>
                    <a:pt x="20636" y="8983"/>
                  </a:cubicBezTo>
                  <a:cubicBezTo>
                    <a:pt x="20766" y="9079"/>
                    <a:pt x="20749" y="9195"/>
                    <a:pt x="20939" y="9100"/>
                  </a:cubicBezTo>
                  <a:cubicBezTo>
                    <a:pt x="21053" y="9029"/>
                    <a:pt x="21166" y="8912"/>
                    <a:pt x="21300" y="8888"/>
                  </a:cubicBezTo>
                  <a:cubicBezTo>
                    <a:pt x="21300" y="9125"/>
                    <a:pt x="21300" y="9125"/>
                    <a:pt x="21300" y="9125"/>
                  </a:cubicBezTo>
                  <a:cubicBezTo>
                    <a:pt x="21300" y="9266"/>
                    <a:pt x="21316" y="9291"/>
                    <a:pt x="21393" y="9383"/>
                  </a:cubicBezTo>
                  <a:cubicBezTo>
                    <a:pt x="21543" y="9595"/>
                    <a:pt x="21353" y="9857"/>
                    <a:pt x="21353" y="10044"/>
                  </a:cubicBezTo>
                  <a:cubicBezTo>
                    <a:pt x="21507" y="10094"/>
                    <a:pt x="21413" y="10377"/>
                    <a:pt x="21600" y="10422"/>
                  </a:cubicBezTo>
                  <a:cubicBezTo>
                    <a:pt x="21600" y="10589"/>
                    <a:pt x="21487" y="10614"/>
                    <a:pt x="21487" y="10730"/>
                  </a:cubicBezTo>
                  <a:cubicBezTo>
                    <a:pt x="21487" y="11013"/>
                    <a:pt x="21450" y="10851"/>
                    <a:pt x="21300" y="10922"/>
                  </a:cubicBezTo>
                  <a:cubicBezTo>
                    <a:pt x="21280" y="11013"/>
                    <a:pt x="21260" y="11063"/>
                    <a:pt x="21183" y="11063"/>
                  </a:cubicBezTo>
                  <a:cubicBezTo>
                    <a:pt x="21146" y="11063"/>
                    <a:pt x="21110" y="11204"/>
                    <a:pt x="21053" y="11250"/>
                  </a:cubicBezTo>
                  <a:cubicBezTo>
                    <a:pt x="21053" y="11416"/>
                    <a:pt x="20823" y="11204"/>
                    <a:pt x="20749" y="11321"/>
                  </a:cubicBezTo>
                  <a:cubicBezTo>
                    <a:pt x="20653" y="11441"/>
                    <a:pt x="20863" y="11583"/>
                    <a:pt x="20823" y="11699"/>
                  </a:cubicBezTo>
                  <a:cubicBezTo>
                    <a:pt x="20786" y="11795"/>
                    <a:pt x="20749" y="11982"/>
                    <a:pt x="20806" y="12053"/>
                  </a:cubicBezTo>
                  <a:cubicBezTo>
                    <a:pt x="20863" y="12173"/>
                    <a:pt x="20976" y="12527"/>
                    <a:pt x="20879" y="12598"/>
                  </a:cubicBezTo>
                  <a:cubicBezTo>
                    <a:pt x="20693" y="12764"/>
                    <a:pt x="20693" y="12764"/>
                    <a:pt x="20693" y="12764"/>
                  </a:cubicBezTo>
                  <a:cubicBezTo>
                    <a:pt x="20559" y="12881"/>
                    <a:pt x="20559" y="12623"/>
                    <a:pt x="20502" y="12502"/>
                  </a:cubicBezTo>
                  <a:cubicBezTo>
                    <a:pt x="20482" y="12456"/>
                    <a:pt x="20332" y="12361"/>
                    <a:pt x="20292" y="12386"/>
                  </a:cubicBezTo>
                  <a:cubicBezTo>
                    <a:pt x="20219" y="12411"/>
                    <a:pt x="20256" y="12810"/>
                    <a:pt x="20162" y="12931"/>
                  </a:cubicBezTo>
                  <a:cubicBezTo>
                    <a:pt x="20122" y="12976"/>
                    <a:pt x="19989" y="12976"/>
                    <a:pt x="20029" y="13047"/>
                  </a:cubicBezTo>
                  <a:cubicBezTo>
                    <a:pt x="20065" y="13143"/>
                    <a:pt x="19989" y="13213"/>
                    <a:pt x="19989" y="13305"/>
                  </a:cubicBezTo>
                  <a:cubicBezTo>
                    <a:pt x="20009" y="13450"/>
                    <a:pt x="20065" y="13613"/>
                    <a:pt x="20106" y="13754"/>
                  </a:cubicBezTo>
                  <a:cubicBezTo>
                    <a:pt x="20122" y="13825"/>
                    <a:pt x="20106" y="13920"/>
                    <a:pt x="20106" y="13991"/>
                  </a:cubicBezTo>
                  <a:lnTo>
                    <a:pt x="20106" y="14133"/>
                  </a:lnTo>
                  <a:cubicBezTo>
                    <a:pt x="20122" y="14158"/>
                    <a:pt x="20236" y="14183"/>
                    <a:pt x="20256" y="14183"/>
                  </a:cubicBezTo>
                  <a:cubicBezTo>
                    <a:pt x="20292" y="14203"/>
                    <a:pt x="20369" y="14228"/>
                    <a:pt x="20426" y="14274"/>
                  </a:cubicBezTo>
                  <a:cubicBezTo>
                    <a:pt x="20502" y="14349"/>
                    <a:pt x="20502" y="14349"/>
                    <a:pt x="20502" y="14349"/>
                  </a:cubicBezTo>
                  <a:cubicBezTo>
                    <a:pt x="20482" y="14440"/>
                    <a:pt x="20502" y="14511"/>
                    <a:pt x="20482" y="14607"/>
                  </a:cubicBezTo>
                  <a:cubicBezTo>
                    <a:pt x="20466" y="14653"/>
                    <a:pt x="20426" y="14723"/>
                    <a:pt x="20466" y="14794"/>
                  </a:cubicBezTo>
                  <a:cubicBezTo>
                    <a:pt x="20466" y="14819"/>
                    <a:pt x="20482" y="14940"/>
                    <a:pt x="20446" y="14940"/>
                  </a:cubicBezTo>
                  <a:cubicBezTo>
                    <a:pt x="20426" y="14940"/>
                    <a:pt x="20349" y="14844"/>
                    <a:pt x="20332" y="14844"/>
                  </a:cubicBezTo>
                  <a:cubicBezTo>
                    <a:pt x="20292" y="14773"/>
                    <a:pt x="20256" y="14702"/>
                    <a:pt x="20199" y="14653"/>
                  </a:cubicBezTo>
                  <a:cubicBezTo>
                    <a:pt x="20085" y="14561"/>
                    <a:pt x="20085" y="14773"/>
                    <a:pt x="19989" y="14794"/>
                  </a:cubicBezTo>
                  <a:cubicBezTo>
                    <a:pt x="19915" y="14865"/>
                    <a:pt x="19859" y="14773"/>
                    <a:pt x="19782" y="14773"/>
                  </a:cubicBezTo>
                  <a:cubicBezTo>
                    <a:pt x="19745" y="14773"/>
                    <a:pt x="19685" y="14890"/>
                    <a:pt x="19648" y="14940"/>
                  </a:cubicBezTo>
                  <a:cubicBezTo>
                    <a:pt x="19515" y="15056"/>
                    <a:pt x="19345" y="14960"/>
                    <a:pt x="19232" y="14890"/>
                  </a:cubicBezTo>
                  <a:cubicBezTo>
                    <a:pt x="19118" y="14819"/>
                    <a:pt x="19081" y="15056"/>
                    <a:pt x="18985" y="15031"/>
                  </a:cubicBezTo>
                  <a:cubicBezTo>
                    <a:pt x="18911" y="15006"/>
                    <a:pt x="18758" y="14844"/>
                    <a:pt x="18738" y="14748"/>
                  </a:cubicBezTo>
                  <a:cubicBezTo>
                    <a:pt x="18721" y="14702"/>
                    <a:pt x="18721" y="14607"/>
                    <a:pt x="18701" y="14582"/>
                  </a:cubicBezTo>
                  <a:cubicBezTo>
                    <a:pt x="18644" y="14511"/>
                    <a:pt x="18588" y="14561"/>
                    <a:pt x="18588" y="14440"/>
                  </a:cubicBezTo>
                  <a:cubicBezTo>
                    <a:pt x="18588" y="14087"/>
                    <a:pt x="18227" y="14677"/>
                    <a:pt x="18321" y="14253"/>
                  </a:cubicBezTo>
                  <a:cubicBezTo>
                    <a:pt x="18361" y="14016"/>
                    <a:pt x="18191" y="14228"/>
                    <a:pt x="18207" y="14112"/>
                  </a:cubicBezTo>
                  <a:cubicBezTo>
                    <a:pt x="18207" y="14062"/>
                    <a:pt x="18264" y="14016"/>
                    <a:pt x="18284" y="14016"/>
                  </a:cubicBezTo>
                  <a:cubicBezTo>
                    <a:pt x="18438" y="13900"/>
                    <a:pt x="18134" y="13850"/>
                    <a:pt x="18094" y="13825"/>
                  </a:cubicBezTo>
                  <a:cubicBezTo>
                    <a:pt x="18017" y="13754"/>
                    <a:pt x="17964" y="13804"/>
                    <a:pt x="17887" y="13754"/>
                  </a:cubicBezTo>
                  <a:cubicBezTo>
                    <a:pt x="17847" y="13708"/>
                    <a:pt x="17790" y="13567"/>
                    <a:pt x="17774" y="13542"/>
                  </a:cubicBezTo>
                  <a:cubicBezTo>
                    <a:pt x="17584" y="13450"/>
                    <a:pt x="17527" y="13804"/>
                    <a:pt x="17357" y="13663"/>
                  </a:cubicBezTo>
                  <a:cubicBezTo>
                    <a:pt x="17260" y="13567"/>
                    <a:pt x="17147" y="13496"/>
                    <a:pt x="17147" y="13330"/>
                  </a:cubicBezTo>
                  <a:cubicBezTo>
                    <a:pt x="17147" y="13093"/>
                    <a:pt x="16956" y="13234"/>
                    <a:pt x="16863" y="13330"/>
                  </a:cubicBezTo>
                  <a:cubicBezTo>
                    <a:pt x="16710" y="13471"/>
                    <a:pt x="16389" y="13567"/>
                    <a:pt x="16199" y="13496"/>
                  </a:cubicBezTo>
                  <a:cubicBezTo>
                    <a:pt x="16009" y="13471"/>
                    <a:pt x="15705" y="13143"/>
                    <a:pt x="15612" y="13542"/>
                  </a:cubicBezTo>
                  <a:cubicBezTo>
                    <a:pt x="15575" y="13663"/>
                    <a:pt x="15555" y="13496"/>
                    <a:pt x="15555" y="13471"/>
                  </a:cubicBezTo>
                  <a:cubicBezTo>
                    <a:pt x="15555" y="13330"/>
                    <a:pt x="15442" y="13450"/>
                    <a:pt x="15442" y="13471"/>
                  </a:cubicBezTo>
                  <a:cubicBezTo>
                    <a:pt x="15442" y="13496"/>
                    <a:pt x="15479" y="13567"/>
                    <a:pt x="15462" y="13567"/>
                  </a:cubicBezTo>
                  <a:cubicBezTo>
                    <a:pt x="15462" y="13592"/>
                    <a:pt x="15462" y="13592"/>
                    <a:pt x="15462" y="13592"/>
                  </a:cubicBezTo>
                  <a:cubicBezTo>
                    <a:pt x="15328" y="13638"/>
                    <a:pt x="15252" y="13683"/>
                    <a:pt x="15102" y="13638"/>
                  </a:cubicBezTo>
                  <a:cubicBezTo>
                    <a:pt x="14932" y="13592"/>
                    <a:pt x="14985" y="13683"/>
                    <a:pt x="14985" y="13850"/>
                  </a:cubicBezTo>
                  <a:cubicBezTo>
                    <a:pt x="14985" y="13970"/>
                    <a:pt x="14891" y="13920"/>
                    <a:pt x="14835" y="13945"/>
                  </a:cubicBezTo>
                  <a:cubicBezTo>
                    <a:pt x="14721" y="13945"/>
                    <a:pt x="14721" y="14203"/>
                    <a:pt x="14571" y="14228"/>
                  </a:cubicBezTo>
                  <a:cubicBezTo>
                    <a:pt x="14418" y="14299"/>
                    <a:pt x="14418" y="14299"/>
                    <a:pt x="14418" y="14299"/>
                  </a:cubicBezTo>
                  <a:cubicBezTo>
                    <a:pt x="14398" y="14299"/>
                    <a:pt x="14361" y="14274"/>
                    <a:pt x="14341" y="14274"/>
                  </a:cubicBezTo>
                  <a:cubicBezTo>
                    <a:pt x="14324" y="14274"/>
                    <a:pt x="14304" y="14299"/>
                    <a:pt x="14284" y="14299"/>
                  </a:cubicBezTo>
                  <a:cubicBezTo>
                    <a:pt x="14248" y="14299"/>
                    <a:pt x="14191" y="14349"/>
                    <a:pt x="14171" y="14370"/>
                  </a:cubicBezTo>
                  <a:cubicBezTo>
                    <a:pt x="14151" y="14415"/>
                    <a:pt x="14134" y="14440"/>
                    <a:pt x="14098" y="14465"/>
                  </a:cubicBezTo>
                  <a:cubicBezTo>
                    <a:pt x="13907" y="14773"/>
                    <a:pt x="13907" y="14773"/>
                    <a:pt x="13907" y="14773"/>
                  </a:cubicBezTo>
                  <a:cubicBezTo>
                    <a:pt x="13834" y="14865"/>
                    <a:pt x="13757" y="14865"/>
                    <a:pt x="13681" y="14960"/>
                  </a:cubicBezTo>
                  <a:cubicBezTo>
                    <a:pt x="13567" y="15102"/>
                    <a:pt x="13494" y="15434"/>
                    <a:pt x="13304" y="15480"/>
                  </a:cubicBezTo>
                  <a:cubicBezTo>
                    <a:pt x="13170" y="15530"/>
                    <a:pt x="13077" y="15530"/>
                    <a:pt x="12980" y="15647"/>
                  </a:cubicBezTo>
                  <a:cubicBezTo>
                    <a:pt x="12887" y="15763"/>
                    <a:pt x="12790" y="15979"/>
                    <a:pt x="12753" y="16167"/>
                  </a:cubicBezTo>
                  <a:cubicBezTo>
                    <a:pt x="12753" y="16262"/>
                    <a:pt x="12773" y="16333"/>
                    <a:pt x="12716" y="16404"/>
                  </a:cubicBezTo>
                  <a:cubicBezTo>
                    <a:pt x="12676" y="16495"/>
                    <a:pt x="12716" y="16520"/>
                    <a:pt x="12696" y="16616"/>
                  </a:cubicBezTo>
                  <a:cubicBezTo>
                    <a:pt x="12676" y="16662"/>
                    <a:pt x="12620" y="16662"/>
                    <a:pt x="12620" y="16707"/>
                  </a:cubicBezTo>
                  <a:cubicBezTo>
                    <a:pt x="12583" y="16924"/>
                    <a:pt x="12393" y="16828"/>
                    <a:pt x="12259" y="16828"/>
                  </a:cubicBezTo>
                  <a:cubicBezTo>
                    <a:pt x="12243" y="16828"/>
                    <a:pt x="12109" y="17111"/>
                    <a:pt x="12073" y="17157"/>
                  </a:cubicBezTo>
                  <a:cubicBezTo>
                    <a:pt x="11976" y="17323"/>
                    <a:pt x="11919" y="17514"/>
                    <a:pt x="11842" y="17681"/>
                  </a:cubicBezTo>
                  <a:cubicBezTo>
                    <a:pt x="11842" y="17751"/>
                    <a:pt x="11826" y="17843"/>
                    <a:pt x="11862" y="17914"/>
                  </a:cubicBezTo>
                  <a:cubicBezTo>
                    <a:pt x="11899" y="17984"/>
                    <a:pt x="11826" y="18009"/>
                    <a:pt x="11786" y="18009"/>
                  </a:cubicBezTo>
                  <a:cubicBezTo>
                    <a:pt x="11729" y="18034"/>
                    <a:pt x="11522" y="18126"/>
                    <a:pt x="11482" y="18034"/>
                  </a:cubicBezTo>
                  <a:cubicBezTo>
                    <a:pt x="11466" y="18009"/>
                    <a:pt x="11409" y="17843"/>
                    <a:pt x="11389" y="17868"/>
                  </a:cubicBezTo>
                  <a:cubicBezTo>
                    <a:pt x="11332" y="17963"/>
                    <a:pt x="11409" y="18055"/>
                    <a:pt x="11409" y="18126"/>
                  </a:cubicBezTo>
                  <a:cubicBezTo>
                    <a:pt x="11389" y="18221"/>
                    <a:pt x="11369" y="18433"/>
                    <a:pt x="11275" y="18458"/>
                  </a:cubicBezTo>
                  <a:cubicBezTo>
                    <a:pt x="11239" y="18483"/>
                    <a:pt x="11199" y="18504"/>
                    <a:pt x="11199" y="18529"/>
                  </a:cubicBezTo>
                  <a:cubicBezTo>
                    <a:pt x="11199" y="18600"/>
                    <a:pt x="11239" y="18671"/>
                    <a:pt x="11219" y="18720"/>
                  </a:cubicBezTo>
                  <a:cubicBezTo>
                    <a:pt x="11219" y="18837"/>
                    <a:pt x="11219" y="18908"/>
                    <a:pt x="11239" y="19003"/>
                  </a:cubicBezTo>
                  <a:cubicBezTo>
                    <a:pt x="11219" y="19049"/>
                    <a:pt x="11162" y="19120"/>
                    <a:pt x="11162" y="19170"/>
                  </a:cubicBezTo>
                  <a:cubicBezTo>
                    <a:pt x="11162" y="19215"/>
                    <a:pt x="11199" y="19236"/>
                    <a:pt x="11219" y="19286"/>
                  </a:cubicBezTo>
                  <a:cubicBezTo>
                    <a:pt x="11219" y="19403"/>
                    <a:pt x="11105" y="19332"/>
                    <a:pt x="11049" y="19357"/>
                  </a:cubicBezTo>
                  <a:cubicBezTo>
                    <a:pt x="10992" y="19382"/>
                    <a:pt x="10915" y="19357"/>
                    <a:pt x="10858" y="19382"/>
                  </a:cubicBezTo>
                  <a:cubicBezTo>
                    <a:pt x="10725" y="19473"/>
                    <a:pt x="10782" y="19523"/>
                    <a:pt x="10765" y="19685"/>
                  </a:cubicBezTo>
                  <a:cubicBezTo>
                    <a:pt x="10745" y="19806"/>
                    <a:pt x="10745" y="19781"/>
                    <a:pt x="10668" y="19852"/>
                  </a:cubicBezTo>
                  <a:cubicBezTo>
                    <a:pt x="10648" y="19877"/>
                    <a:pt x="10668" y="19923"/>
                    <a:pt x="10668" y="19972"/>
                  </a:cubicBezTo>
                  <a:cubicBezTo>
                    <a:pt x="10668" y="19972"/>
                    <a:pt x="10518" y="19993"/>
                    <a:pt x="10498" y="19993"/>
                  </a:cubicBezTo>
                  <a:cubicBezTo>
                    <a:pt x="10405" y="19993"/>
                    <a:pt x="10421" y="19877"/>
                    <a:pt x="10385" y="19806"/>
                  </a:cubicBezTo>
                  <a:cubicBezTo>
                    <a:pt x="10385" y="19781"/>
                    <a:pt x="10328" y="19781"/>
                    <a:pt x="10308" y="19806"/>
                  </a:cubicBezTo>
                  <a:cubicBezTo>
                    <a:pt x="10288" y="19877"/>
                    <a:pt x="10405" y="20135"/>
                    <a:pt x="10328" y="20185"/>
                  </a:cubicBezTo>
                  <a:cubicBezTo>
                    <a:pt x="10175" y="20326"/>
                    <a:pt x="10308" y="20563"/>
                    <a:pt x="10195" y="20680"/>
                  </a:cubicBezTo>
                  <a:cubicBezTo>
                    <a:pt x="10061" y="20680"/>
                    <a:pt x="9988" y="20821"/>
                    <a:pt x="9874" y="20796"/>
                  </a:cubicBezTo>
                  <a:cubicBezTo>
                    <a:pt x="9741" y="20796"/>
                    <a:pt x="9721" y="20584"/>
                    <a:pt x="9701" y="20492"/>
                  </a:cubicBezTo>
                  <a:cubicBezTo>
                    <a:pt x="9684" y="20422"/>
                    <a:pt x="9607" y="20347"/>
                    <a:pt x="9664" y="20276"/>
                  </a:cubicBezTo>
                  <a:cubicBezTo>
                    <a:pt x="9684" y="20205"/>
                    <a:pt x="9437" y="20326"/>
                    <a:pt x="9417" y="20326"/>
                  </a:cubicBezTo>
                  <a:cubicBezTo>
                    <a:pt x="9381" y="20326"/>
                    <a:pt x="9284" y="20255"/>
                    <a:pt x="9267" y="20255"/>
                  </a:cubicBezTo>
                  <a:cubicBezTo>
                    <a:pt x="9227" y="20276"/>
                    <a:pt x="9227" y="20467"/>
                    <a:pt x="9210" y="20513"/>
                  </a:cubicBezTo>
                  <a:cubicBezTo>
                    <a:pt x="9210" y="20584"/>
                    <a:pt x="9134" y="20796"/>
                    <a:pt x="9057" y="20725"/>
                  </a:cubicBezTo>
                  <a:cubicBezTo>
                    <a:pt x="9000" y="20775"/>
                    <a:pt x="8850" y="20871"/>
                    <a:pt x="8810" y="20937"/>
                  </a:cubicBezTo>
                  <a:cubicBezTo>
                    <a:pt x="8753" y="21033"/>
                    <a:pt x="8887" y="21154"/>
                    <a:pt x="8753" y="21199"/>
                  </a:cubicBezTo>
                  <a:cubicBezTo>
                    <a:pt x="8620" y="21245"/>
                    <a:pt x="8393" y="21507"/>
                    <a:pt x="8393" y="21199"/>
                  </a:cubicBezTo>
                  <a:cubicBezTo>
                    <a:pt x="8393" y="20987"/>
                    <a:pt x="8320" y="21033"/>
                    <a:pt x="8206" y="21104"/>
                  </a:cubicBezTo>
                  <a:cubicBezTo>
                    <a:pt x="8053" y="21199"/>
                    <a:pt x="7976" y="21507"/>
                    <a:pt x="7769" y="21532"/>
                  </a:cubicBezTo>
                  <a:cubicBezTo>
                    <a:pt x="7673" y="21532"/>
                    <a:pt x="7542" y="21578"/>
                    <a:pt x="7559" y="21387"/>
                  </a:cubicBezTo>
                  <a:cubicBezTo>
                    <a:pt x="7085" y="21341"/>
                    <a:pt x="7085" y="21341"/>
                    <a:pt x="7085" y="21341"/>
                  </a:cubicBezTo>
                  <a:cubicBezTo>
                    <a:pt x="7069" y="21245"/>
                    <a:pt x="7029" y="21199"/>
                    <a:pt x="6992" y="21129"/>
                  </a:cubicBezTo>
                  <a:cubicBezTo>
                    <a:pt x="6935" y="21012"/>
                    <a:pt x="6952" y="20962"/>
                    <a:pt x="6972" y="20846"/>
                  </a:cubicBezTo>
                  <a:cubicBezTo>
                    <a:pt x="6972" y="20775"/>
                    <a:pt x="6952" y="20705"/>
                    <a:pt x="6952" y="20634"/>
                  </a:cubicBezTo>
                  <a:cubicBezTo>
                    <a:pt x="6952" y="20538"/>
                    <a:pt x="7012" y="20467"/>
                    <a:pt x="7049" y="20372"/>
                  </a:cubicBezTo>
                  <a:cubicBezTo>
                    <a:pt x="7085" y="20276"/>
                    <a:pt x="6859" y="20422"/>
                    <a:pt x="6839" y="20422"/>
                  </a:cubicBezTo>
                  <a:cubicBezTo>
                    <a:pt x="6802" y="20422"/>
                    <a:pt x="6745" y="20422"/>
                    <a:pt x="6725" y="20442"/>
                  </a:cubicBezTo>
                  <a:cubicBezTo>
                    <a:pt x="6668" y="20492"/>
                    <a:pt x="6632" y="20563"/>
                    <a:pt x="6595" y="20634"/>
                  </a:cubicBezTo>
                  <a:cubicBezTo>
                    <a:pt x="6555" y="20705"/>
                    <a:pt x="6462" y="20750"/>
                    <a:pt x="6385" y="20750"/>
                  </a:cubicBezTo>
                  <a:cubicBezTo>
                    <a:pt x="6215" y="20846"/>
                    <a:pt x="6138" y="20725"/>
                    <a:pt x="6005" y="20655"/>
                  </a:cubicBezTo>
                  <a:cubicBezTo>
                    <a:pt x="5911" y="20584"/>
                    <a:pt x="5931" y="20422"/>
                    <a:pt x="5818" y="20422"/>
                  </a:cubicBezTo>
                  <a:cubicBezTo>
                    <a:pt x="5741" y="20422"/>
                    <a:pt x="5721" y="20347"/>
                    <a:pt x="5684" y="20276"/>
                  </a:cubicBezTo>
                  <a:cubicBezTo>
                    <a:pt x="5628" y="20205"/>
                    <a:pt x="5514" y="20135"/>
                    <a:pt x="5438" y="20185"/>
                  </a:cubicBezTo>
                  <a:cubicBezTo>
                    <a:pt x="5287" y="20255"/>
                    <a:pt x="5174" y="20205"/>
                    <a:pt x="5211" y="20018"/>
                  </a:cubicBezTo>
                  <a:cubicBezTo>
                    <a:pt x="5231" y="19923"/>
                    <a:pt x="5191" y="19827"/>
                    <a:pt x="5191" y="19735"/>
                  </a:cubicBezTo>
                  <a:cubicBezTo>
                    <a:pt x="5097" y="19756"/>
                    <a:pt x="5057" y="19898"/>
                    <a:pt x="4984" y="19923"/>
                  </a:cubicBezTo>
                  <a:cubicBezTo>
                    <a:pt x="4870" y="19947"/>
                    <a:pt x="4830" y="19947"/>
                    <a:pt x="4774" y="20089"/>
                  </a:cubicBezTo>
                  <a:cubicBezTo>
                    <a:pt x="4584" y="20422"/>
                    <a:pt x="4604" y="20114"/>
                    <a:pt x="4377" y="20064"/>
                  </a:cubicBezTo>
                  <a:cubicBezTo>
                    <a:pt x="4280" y="20043"/>
                    <a:pt x="4300" y="19898"/>
                    <a:pt x="4263" y="19827"/>
                  </a:cubicBezTo>
                  <a:cubicBezTo>
                    <a:pt x="4243" y="19827"/>
                    <a:pt x="4036" y="19781"/>
                    <a:pt x="3996" y="19756"/>
                  </a:cubicBezTo>
                  <a:cubicBezTo>
                    <a:pt x="3883" y="19685"/>
                    <a:pt x="4167" y="19428"/>
                    <a:pt x="3903" y="19332"/>
                  </a:cubicBezTo>
                  <a:cubicBezTo>
                    <a:pt x="3733" y="19286"/>
                    <a:pt x="3980" y="19120"/>
                    <a:pt x="3790" y="19145"/>
                  </a:cubicBezTo>
                  <a:cubicBezTo>
                    <a:pt x="3750" y="19170"/>
                    <a:pt x="3713" y="19170"/>
                    <a:pt x="3693" y="19120"/>
                  </a:cubicBezTo>
                  <a:cubicBezTo>
                    <a:pt x="3579" y="18953"/>
                    <a:pt x="3579" y="18953"/>
                    <a:pt x="3579" y="18953"/>
                  </a:cubicBezTo>
                  <a:cubicBezTo>
                    <a:pt x="3446" y="18741"/>
                    <a:pt x="3202" y="19074"/>
                    <a:pt x="3032" y="19145"/>
                  </a:cubicBezTo>
                  <a:cubicBezTo>
                    <a:pt x="2936" y="19170"/>
                    <a:pt x="2859" y="19428"/>
                    <a:pt x="2822" y="19428"/>
                  </a:cubicBezTo>
                  <a:cubicBezTo>
                    <a:pt x="2745" y="19453"/>
                    <a:pt x="2729" y="19453"/>
                    <a:pt x="2652" y="19473"/>
                  </a:cubicBezTo>
                  <a:cubicBezTo>
                    <a:pt x="2595" y="19594"/>
                    <a:pt x="2555" y="19640"/>
                    <a:pt x="2462" y="19640"/>
                  </a:cubicBezTo>
                  <a:cubicBezTo>
                    <a:pt x="2368" y="19640"/>
                    <a:pt x="2328" y="19710"/>
                    <a:pt x="2252" y="19756"/>
                  </a:cubicBezTo>
                  <a:cubicBezTo>
                    <a:pt x="2122" y="19806"/>
                    <a:pt x="2102" y="20018"/>
                    <a:pt x="2102" y="20160"/>
                  </a:cubicBezTo>
                  <a:cubicBezTo>
                    <a:pt x="2102" y="20230"/>
                    <a:pt x="1931" y="20301"/>
                    <a:pt x="1875" y="20326"/>
                  </a:cubicBezTo>
                  <a:cubicBezTo>
                    <a:pt x="1818" y="20347"/>
                    <a:pt x="1761" y="20301"/>
                    <a:pt x="1705" y="20326"/>
                  </a:cubicBezTo>
                  <a:cubicBezTo>
                    <a:pt x="1551" y="20397"/>
                    <a:pt x="1515" y="20563"/>
                    <a:pt x="1458" y="20301"/>
                  </a:cubicBezTo>
                  <a:cubicBezTo>
                    <a:pt x="1381" y="20276"/>
                    <a:pt x="1304" y="20467"/>
                    <a:pt x="1191" y="20467"/>
                  </a:cubicBezTo>
                  <a:cubicBezTo>
                    <a:pt x="1061" y="20467"/>
                    <a:pt x="1061" y="20467"/>
                    <a:pt x="944" y="20397"/>
                  </a:cubicBezTo>
                  <a:cubicBezTo>
                    <a:pt x="794" y="20326"/>
                    <a:pt x="794" y="20326"/>
                    <a:pt x="794" y="20326"/>
                  </a:cubicBezTo>
                  <a:cubicBezTo>
                    <a:pt x="814" y="20276"/>
                    <a:pt x="851" y="20114"/>
                    <a:pt x="887" y="20064"/>
                  </a:cubicBezTo>
                  <a:cubicBezTo>
                    <a:pt x="927" y="19972"/>
                    <a:pt x="1041" y="19972"/>
                    <a:pt x="1118" y="19877"/>
                  </a:cubicBezTo>
                  <a:cubicBezTo>
                    <a:pt x="1154" y="19852"/>
                    <a:pt x="1098" y="19756"/>
                    <a:pt x="1118" y="19710"/>
                  </a:cubicBezTo>
                  <a:cubicBezTo>
                    <a:pt x="1191" y="19569"/>
                    <a:pt x="1077" y="19594"/>
                    <a:pt x="1061" y="19523"/>
                  </a:cubicBezTo>
                  <a:cubicBezTo>
                    <a:pt x="1004" y="19498"/>
                    <a:pt x="907" y="19286"/>
                    <a:pt x="887" y="19215"/>
                  </a:cubicBezTo>
                  <a:cubicBezTo>
                    <a:pt x="871" y="19024"/>
                    <a:pt x="944" y="18953"/>
                    <a:pt x="1021" y="18812"/>
                  </a:cubicBezTo>
                  <a:cubicBezTo>
                    <a:pt x="1041" y="18720"/>
                    <a:pt x="1174" y="18646"/>
                    <a:pt x="1098" y="18554"/>
                  </a:cubicBezTo>
                  <a:cubicBezTo>
                    <a:pt x="1041" y="18483"/>
                    <a:pt x="1098" y="18388"/>
                    <a:pt x="1004" y="18363"/>
                  </a:cubicBezTo>
                  <a:cubicBezTo>
                    <a:pt x="831" y="18342"/>
                    <a:pt x="1021" y="17984"/>
                    <a:pt x="1041" y="17914"/>
                  </a:cubicBezTo>
                  <a:cubicBezTo>
                    <a:pt x="1098" y="17751"/>
                    <a:pt x="1118" y="17535"/>
                    <a:pt x="1061" y="17394"/>
                  </a:cubicBezTo>
                  <a:cubicBezTo>
                    <a:pt x="964" y="17157"/>
                    <a:pt x="944" y="17015"/>
                    <a:pt x="1004" y="16757"/>
                  </a:cubicBezTo>
                  <a:cubicBezTo>
                    <a:pt x="1061" y="16662"/>
                    <a:pt x="984" y="16566"/>
                    <a:pt x="1004" y="16495"/>
                  </a:cubicBezTo>
                  <a:cubicBezTo>
                    <a:pt x="1021" y="16449"/>
                    <a:pt x="1098" y="16449"/>
                    <a:pt x="1098" y="16379"/>
                  </a:cubicBezTo>
                  <a:cubicBezTo>
                    <a:pt x="1098" y="16192"/>
                    <a:pt x="927" y="16142"/>
                    <a:pt x="887" y="16025"/>
                  </a:cubicBezTo>
                  <a:cubicBezTo>
                    <a:pt x="871" y="15905"/>
                    <a:pt x="887" y="15763"/>
                    <a:pt x="831" y="15692"/>
                  </a:cubicBezTo>
                  <a:cubicBezTo>
                    <a:pt x="794" y="15647"/>
                    <a:pt x="757" y="15647"/>
                    <a:pt x="737" y="15576"/>
                  </a:cubicBezTo>
                  <a:cubicBezTo>
                    <a:pt x="661" y="15455"/>
                    <a:pt x="547" y="15339"/>
                    <a:pt x="567" y="15172"/>
                  </a:cubicBezTo>
                  <a:cubicBezTo>
                    <a:pt x="584" y="15172"/>
                    <a:pt x="604" y="15172"/>
                    <a:pt x="644" y="15172"/>
                  </a:cubicBezTo>
                  <a:cubicBezTo>
                    <a:pt x="757" y="15172"/>
                    <a:pt x="851" y="15243"/>
                    <a:pt x="964" y="15197"/>
                  </a:cubicBezTo>
                  <a:cubicBezTo>
                    <a:pt x="1061" y="15152"/>
                    <a:pt x="1098" y="15056"/>
                    <a:pt x="1134" y="14960"/>
                  </a:cubicBezTo>
                  <a:cubicBezTo>
                    <a:pt x="1211" y="14819"/>
                    <a:pt x="1268" y="14748"/>
                    <a:pt x="1231" y="14561"/>
                  </a:cubicBezTo>
                  <a:cubicBezTo>
                    <a:pt x="1191" y="14465"/>
                    <a:pt x="1211" y="14440"/>
                    <a:pt x="1288" y="14415"/>
                  </a:cubicBezTo>
                  <a:cubicBezTo>
                    <a:pt x="1364" y="14370"/>
                    <a:pt x="1418" y="14299"/>
                    <a:pt x="1478" y="14203"/>
                  </a:cubicBezTo>
                  <a:cubicBezTo>
                    <a:pt x="1535" y="14112"/>
                    <a:pt x="1494" y="13991"/>
                    <a:pt x="1591" y="13900"/>
                  </a:cubicBezTo>
                  <a:cubicBezTo>
                    <a:pt x="1648" y="13850"/>
                    <a:pt x="1685" y="13708"/>
                    <a:pt x="1741" y="13708"/>
                  </a:cubicBezTo>
                  <a:cubicBezTo>
                    <a:pt x="1818" y="13708"/>
                    <a:pt x="1818" y="13733"/>
                    <a:pt x="1911" y="13708"/>
                  </a:cubicBezTo>
                  <a:cubicBezTo>
                    <a:pt x="1931" y="13683"/>
                    <a:pt x="1988" y="13754"/>
                    <a:pt x="2008" y="13754"/>
                  </a:cubicBezTo>
                  <a:cubicBezTo>
                    <a:pt x="2122" y="13804"/>
                    <a:pt x="2102" y="13521"/>
                    <a:pt x="2235" y="13567"/>
                  </a:cubicBezTo>
                  <a:cubicBezTo>
                    <a:pt x="2252" y="13567"/>
                    <a:pt x="2442" y="13663"/>
                    <a:pt x="2385" y="13542"/>
                  </a:cubicBezTo>
                  <a:cubicBezTo>
                    <a:pt x="2385" y="13521"/>
                    <a:pt x="2348" y="13425"/>
                    <a:pt x="2385" y="13401"/>
                  </a:cubicBezTo>
                  <a:cubicBezTo>
                    <a:pt x="2405" y="13355"/>
                    <a:pt x="2462" y="13376"/>
                    <a:pt x="2519" y="13355"/>
                  </a:cubicBezTo>
                  <a:cubicBezTo>
                    <a:pt x="2555" y="13355"/>
                    <a:pt x="2539" y="13305"/>
                    <a:pt x="2575" y="13234"/>
                  </a:cubicBezTo>
                  <a:cubicBezTo>
                    <a:pt x="2612" y="13163"/>
                    <a:pt x="2632" y="13143"/>
                    <a:pt x="2632" y="13072"/>
                  </a:cubicBezTo>
                  <a:cubicBezTo>
                    <a:pt x="2632" y="12976"/>
                    <a:pt x="2842" y="13093"/>
                    <a:pt x="2785" y="12931"/>
                  </a:cubicBezTo>
                  <a:cubicBezTo>
                    <a:pt x="2745" y="12835"/>
                    <a:pt x="2765" y="12668"/>
                    <a:pt x="2859" y="12764"/>
                  </a:cubicBezTo>
                  <a:cubicBezTo>
                    <a:pt x="2936" y="12835"/>
                    <a:pt x="2916" y="12860"/>
                    <a:pt x="3032" y="12810"/>
                  </a:cubicBezTo>
                  <a:cubicBezTo>
                    <a:pt x="3146" y="12764"/>
                    <a:pt x="2916" y="12644"/>
                    <a:pt x="3012" y="12573"/>
                  </a:cubicBezTo>
                  <a:cubicBezTo>
                    <a:pt x="3049" y="12573"/>
                    <a:pt x="3086" y="12598"/>
                    <a:pt x="3126" y="12552"/>
                  </a:cubicBezTo>
                  <a:cubicBezTo>
                    <a:pt x="3162" y="12481"/>
                    <a:pt x="3126" y="12456"/>
                    <a:pt x="3126" y="12386"/>
                  </a:cubicBezTo>
                  <a:cubicBezTo>
                    <a:pt x="3146" y="12315"/>
                    <a:pt x="3126" y="12315"/>
                    <a:pt x="3162" y="12269"/>
                  </a:cubicBezTo>
                  <a:cubicBezTo>
                    <a:pt x="3219" y="12244"/>
                    <a:pt x="3202" y="12219"/>
                    <a:pt x="3219" y="12173"/>
                  </a:cubicBezTo>
                  <a:cubicBezTo>
                    <a:pt x="3239" y="12124"/>
                    <a:pt x="3316" y="12103"/>
                    <a:pt x="3333" y="12007"/>
                  </a:cubicBezTo>
                  <a:cubicBezTo>
                    <a:pt x="3353" y="11936"/>
                    <a:pt x="3389" y="11891"/>
                    <a:pt x="3429" y="11820"/>
                  </a:cubicBezTo>
                  <a:cubicBezTo>
                    <a:pt x="3466" y="11749"/>
                    <a:pt x="3466" y="11699"/>
                    <a:pt x="3486" y="11629"/>
                  </a:cubicBezTo>
                  <a:cubicBezTo>
                    <a:pt x="3506" y="11583"/>
                    <a:pt x="3543" y="11558"/>
                    <a:pt x="3563" y="11533"/>
                  </a:cubicBezTo>
                  <a:cubicBezTo>
                    <a:pt x="3579" y="11487"/>
                    <a:pt x="3579" y="11441"/>
                    <a:pt x="3599" y="11416"/>
                  </a:cubicBezTo>
                  <a:cubicBezTo>
                    <a:pt x="3409" y="11321"/>
                    <a:pt x="3276" y="10967"/>
                    <a:pt x="3086" y="10872"/>
                  </a:cubicBezTo>
                  <a:cubicBezTo>
                    <a:pt x="3012" y="10826"/>
                    <a:pt x="2575" y="10780"/>
                    <a:pt x="2555" y="10730"/>
                  </a:cubicBezTo>
                  <a:cubicBezTo>
                    <a:pt x="2499" y="10755"/>
                    <a:pt x="2442" y="11013"/>
                    <a:pt x="2328" y="10922"/>
                  </a:cubicBezTo>
                  <a:cubicBezTo>
                    <a:pt x="2252" y="10851"/>
                    <a:pt x="2178" y="10780"/>
                    <a:pt x="2102" y="10709"/>
                  </a:cubicBezTo>
                  <a:cubicBezTo>
                    <a:pt x="2045" y="10659"/>
                    <a:pt x="2138" y="10614"/>
                    <a:pt x="2122" y="10568"/>
                  </a:cubicBezTo>
                  <a:cubicBezTo>
                    <a:pt x="2102" y="10447"/>
                    <a:pt x="2045" y="10377"/>
                    <a:pt x="2065" y="10260"/>
                  </a:cubicBezTo>
                  <a:cubicBezTo>
                    <a:pt x="2102" y="10119"/>
                    <a:pt x="2158" y="10044"/>
                    <a:pt x="2158" y="9857"/>
                  </a:cubicBezTo>
                  <a:cubicBezTo>
                    <a:pt x="2178" y="9786"/>
                    <a:pt x="2235" y="9528"/>
                    <a:pt x="2235" y="9453"/>
                  </a:cubicBezTo>
                  <a:cubicBezTo>
                    <a:pt x="2045" y="9407"/>
                    <a:pt x="2045" y="9407"/>
                    <a:pt x="2045" y="9407"/>
                  </a:cubicBezTo>
                  <a:cubicBezTo>
                    <a:pt x="2045" y="9383"/>
                    <a:pt x="2045" y="9383"/>
                    <a:pt x="2045" y="9383"/>
                  </a:cubicBezTo>
                  <a:cubicBezTo>
                    <a:pt x="2025" y="9383"/>
                    <a:pt x="2065" y="9266"/>
                    <a:pt x="2065" y="9241"/>
                  </a:cubicBezTo>
                  <a:cubicBezTo>
                    <a:pt x="2082" y="9170"/>
                    <a:pt x="2102" y="9125"/>
                    <a:pt x="2102" y="9054"/>
                  </a:cubicBezTo>
                  <a:cubicBezTo>
                    <a:pt x="2102" y="9004"/>
                    <a:pt x="2025" y="8842"/>
                    <a:pt x="1968" y="8842"/>
                  </a:cubicBezTo>
                  <a:cubicBezTo>
                    <a:pt x="1911" y="9029"/>
                    <a:pt x="1591" y="9054"/>
                    <a:pt x="1438" y="9004"/>
                  </a:cubicBezTo>
                  <a:cubicBezTo>
                    <a:pt x="1211" y="8933"/>
                    <a:pt x="1288" y="8650"/>
                    <a:pt x="1061" y="8650"/>
                  </a:cubicBezTo>
                  <a:cubicBezTo>
                    <a:pt x="1004" y="8888"/>
                    <a:pt x="1041" y="8983"/>
                    <a:pt x="794" y="8983"/>
                  </a:cubicBezTo>
                  <a:cubicBezTo>
                    <a:pt x="661" y="8983"/>
                    <a:pt x="434" y="8958"/>
                    <a:pt x="397" y="8746"/>
                  </a:cubicBezTo>
                  <a:cubicBezTo>
                    <a:pt x="340" y="8605"/>
                    <a:pt x="340" y="8605"/>
                    <a:pt x="340" y="8605"/>
                  </a:cubicBezTo>
                  <a:cubicBezTo>
                    <a:pt x="397" y="8559"/>
                    <a:pt x="490" y="8251"/>
                    <a:pt x="377" y="8226"/>
                  </a:cubicBezTo>
                  <a:cubicBezTo>
                    <a:pt x="284" y="8226"/>
                    <a:pt x="227" y="8201"/>
                    <a:pt x="170" y="8131"/>
                  </a:cubicBezTo>
                  <a:cubicBezTo>
                    <a:pt x="93" y="8060"/>
                    <a:pt x="244" y="7989"/>
                    <a:pt x="284" y="7943"/>
                  </a:cubicBezTo>
                  <a:cubicBezTo>
                    <a:pt x="320" y="7893"/>
                    <a:pt x="300" y="7802"/>
                    <a:pt x="357" y="7777"/>
                  </a:cubicBezTo>
                  <a:cubicBezTo>
                    <a:pt x="434" y="7706"/>
                    <a:pt x="510" y="7681"/>
                    <a:pt x="510" y="7540"/>
                  </a:cubicBezTo>
                  <a:cubicBezTo>
                    <a:pt x="510" y="7398"/>
                    <a:pt x="567" y="7378"/>
                    <a:pt x="661" y="7303"/>
                  </a:cubicBezTo>
                  <a:cubicBezTo>
                    <a:pt x="737" y="7232"/>
                    <a:pt x="737" y="6999"/>
                    <a:pt x="871" y="6999"/>
                  </a:cubicBezTo>
                  <a:cubicBezTo>
                    <a:pt x="944" y="6999"/>
                    <a:pt x="1041" y="7091"/>
                    <a:pt x="1134" y="7091"/>
                  </a:cubicBezTo>
                  <a:cubicBezTo>
                    <a:pt x="1134" y="6999"/>
                    <a:pt x="1061" y="6974"/>
                    <a:pt x="1134" y="6854"/>
                  </a:cubicBezTo>
                  <a:cubicBezTo>
                    <a:pt x="1231" y="6737"/>
                    <a:pt x="1364" y="6596"/>
                    <a:pt x="1364" y="6409"/>
                  </a:cubicBezTo>
                  <a:cubicBezTo>
                    <a:pt x="1364" y="6288"/>
                    <a:pt x="1381" y="6171"/>
                    <a:pt x="1304" y="6076"/>
                  </a:cubicBezTo>
                  <a:cubicBezTo>
                    <a:pt x="1211" y="5980"/>
                    <a:pt x="1041" y="5959"/>
                    <a:pt x="964" y="5839"/>
                  </a:cubicBezTo>
                  <a:cubicBezTo>
                    <a:pt x="907" y="5768"/>
                    <a:pt x="984" y="5747"/>
                    <a:pt x="1021" y="5672"/>
                  </a:cubicBezTo>
                  <a:cubicBezTo>
                    <a:pt x="1061" y="5602"/>
                    <a:pt x="984" y="5556"/>
                    <a:pt x="1041" y="5439"/>
                  </a:cubicBezTo>
                  <a:cubicBezTo>
                    <a:pt x="1061" y="5369"/>
                    <a:pt x="1041" y="5298"/>
                    <a:pt x="1021" y="5227"/>
                  </a:cubicBezTo>
                  <a:cubicBezTo>
                    <a:pt x="984" y="5227"/>
                    <a:pt x="927" y="5227"/>
                    <a:pt x="871" y="5227"/>
                  </a:cubicBezTo>
                  <a:cubicBezTo>
                    <a:pt x="831" y="5227"/>
                    <a:pt x="661" y="5061"/>
                    <a:pt x="624" y="5011"/>
                  </a:cubicBezTo>
                  <a:cubicBezTo>
                    <a:pt x="567" y="4940"/>
                    <a:pt x="490" y="5011"/>
                    <a:pt x="454" y="5086"/>
                  </a:cubicBezTo>
                  <a:cubicBezTo>
                    <a:pt x="340" y="5298"/>
                    <a:pt x="397" y="5107"/>
                    <a:pt x="244" y="5152"/>
                  </a:cubicBezTo>
                  <a:cubicBezTo>
                    <a:pt x="227" y="5152"/>
                    <a:pt x="37" y="5086"/>
                    <a:pt x="0" y="5086"/>
                  </a:cubicBezTo>
                  <a:cubicBezTo>
                    <a:pt x="0" y="5061"/>
                    <a:pt x="0" y="5061"/>
                    <a:pt x="0" y="5061"/>
                  </a:cubicBezTo>
                  <a:cubicBezTo>
                    <a:pt x="53" y="5011"/>
                    <a:pt x="17" y="4753"/>
                    <a:pt x="73" y="4637"/>
                  </a:cubicBezTo>
                  <a:cubicBezTo>
                    <a:pt x="150" y="4516"/>
                    <a:pt x="53" y="4445"/>
                    <a:pt x="73" y="4329"/>
                  </a:cubicBezTo>
                  <a:cubicBezTo>
                    <a:pt x="113" y="4112"/>
                    <a:pt x="264" y="4187"/>
                    <a:pt x="130" y="3925"/>
                  </a:cubicBezTo>
                  <a:cubicBezTo>
                    <a:pt x="17" y="3642"/>
                    <a:pt x="284" y="3667"/>
                    <a:pt x="377" y="3618"/>
                  </a:cubicBezTo>
                  <a:cubicBezTo>
                    <a:pt x="377" y="3572"/>
                    <a:pt x="397" y="3501"/>
                    <a:pt x="414" y="3451"/>
                  </a:cubicBezTo>
                  <a:cubicBezTo>
                    <a:pt x="454" y="3310"/>
                    <a:pt x="454" y="3405"/>
                    <a:pt x="490" y="3451"/>
                  </a:cubicBezTo>
                  <a:cubicBezTo>
                    <a:pt x="547" y="3547"/>
                    <a:pt x="717" y="3239"/>
                    <a:pt x="757" y="3193"/>
                  </a:cubicBezTo>
                  <a:cubicBezTo>
                    <a:pt x="794" y="3123"/>
                    <a:pt x="907" y="2981"/>
                    <a:pt x="907" y="2910"/>
                  </a:cubicBezTo>
                  <a:cubicBezTo>
                    <a:pt x="907" y="2840"/>
                    <a:pt x="717" y="2507"/>
                    <a:pt x="871" y="2507"/>
                  </a:cubicBezTo>
                  <a:cubicBezTo>
                    <a:pt x="927" y="2507"/>
                    <a:pt x="984" y="2578"/>
                    <a:pt x="1004" y="2507"/>
                  </a:cubicBezTo>
                  <a:cubicBezTo>
                    <a:pt x="1041" y="2461"/>
                    <a:pt x="927" y="2411"/>
                    <a:pt x="927" y="2341"/>
                  </a:cubicBezTo>
                  <a:cubicBezTo>
                    <a:pt x="964" y="2249"/>
                    <a:pt x="964" y="2249"/>
                    <a:pt x="964" y="2249"/>
                  </a:cubicBezTo>
                  <a:cubicBezTo>
                    <a:pt x="1041" y="2249"/>
                    <a:pt x="1118" y="2295"/>
                    <a:pt x="1154" y="2390"/>
                  </a:cubicBezTo>
                  <a:cubicBezTo>
                    <a:pt x="1191" y="2461"/>
                    <a:pt x="1191" y="2507"/>
                    <a:pt x="1248" y="2461"/>
                  </a:cubicBezTo>
                  <a:cubicBezTo>
                    <a:pt x="1344" y="2366"/>
                    <a:pt x="1418" y="2270"/>
                    <a:pt x="1535" y="2249"/>
                  </a:cubicBezTo>
                  <a:cubicBezTo>
                    <a:pt x="1591" y="2224"/>
                    <a:pt x="1648" y="2224"/>
                    <a:pt x="1721" y="2224"/>
                  </a:cubicBezTo>
                  <a:cubicBezTo>
                    <a:pt x="1778" y="2224"/>
                    <a:pt x="1855" y="2249"/>
                    <a:pt x="1911" y="2249"/>
                  </a:cubicBezTo>
                  <a:cubicBezTo>
                    <a:pt x="1988" y="2249"/>
                    <a:pt x="2045" y="2295"/>
                    <a:pt x="2122" y="2270"/>
                  </a:cubicBezTo>
                  <a:cubicBezTo>
                    <a:pt x="2215" y="2249"/>
                    <a:pt x="2425" y="2178"/>
                    <a:pt x="2499" y="2128"/>
                  </a:cubicBezTo>
                  <a:cubicBezTo>
                    <a:pt x="2632" y="2012"/>
                    <a:pt x="2729" y="1704"/>
                    <a:pt x="2802" y="1517"/>
                  </a:cubicBezTo>
                  <a:cubicBezTo>
                    <a:pt x="2822" y="1446"/>
                    <a:pt x="2936" y="1305"/>
                    <a:pt x="2992" y="1396"/>
                  </a:cubicBezTo>
                  <a:cubicBezTo>
                    <a:pt x="3069" y="1467"/>
                    <a:pt x="3219" y="1492"/>
                    <a:pt x="3333" y="1588"/>
                  </a:cubicBezTo>
                  <a:cubicBezTo>
                    <a:pt x="3486" y="1679"/>
                    <a:pt x="3563" y="1089"/>
                    <a:pt x="3693" y="1446"/>
                  </a:cubicBezTo>
                  <a:cubicBezTo>
                    <a:pt x="3733" y="1538"/>
                    <a:pt x="3846" y="1517"/>
                    <a:pt x="3920" y="1467"/>
                  </a:cubicBezTo>
                  <a:cubicBezTo>
                    <a:pt x="4016" y="1446"/>
                    <a:pt x="3903" y="1184"/>
                    <a:pt x="4073" y="1184"/>
                  </a:cubicBezTo>
                  <a:cubicBezTo>
                    <a:pt x="4167" y="1209"/>
                    <a:pt x="4187" y="1255"/>
                    <a:pt x="4263" y="1280"/>
                  </a:cubicBezTo>
                  <a:cubicBezTo>
                    <a:pt x="4340" y="1326"/>
                    <a:pt x="4377" y="1230"/>
                    <a:pt x="4453" y="1230"/>
                  </a:cubicBezTo>
                  <a:cubicBezTo>
                    <a:pt x="4490" y="1421"/>
                    <a:pt x="4584" y="1633"/>
                    <a:pt x="4737" y="1729"/>
                  </a:cubicBezTo>
                  <a:cubicBezTo>
                    <a:pt x="4850" y="1800"/>
                    <a:pt x="5021" y="1891"/>
                    <a:pt x="5154" y="1916"/>
                  </a:cubicBezTo>
                  <a:cubicBezTo>
                    <a:pt x="5401" y="1966"/>
                    <a:pt x="5418" y="1326"/>
                    <a:pt x="5664" y="1305"/>
                  </a:cubicBezTo>
                  <a:cubicBezTo>
                    <a:pt x="5741" y="1305"/>
                    <a:pt x="5835" y="1396"/>
                    <a:pt x="5931" y="1421"/>
                  </a:cubicBezTo>
                  <a:cubicBezTo>
                    <a:pt x="6065" y="1446"/>
                    <a:pt x="6101" y="1588"/>
                    <a:pt x="6235" y="1538"/>
                  </a:cubicBezTo>
                  <a:cubicBezTo>
                    <a:pt x="6348" y="1517"/>
                    <a:pt x="6462" y="1588"/>
                    <a:pt x="6462" y="1396"/>
                  </a:cubicBezTo>
                  <a:cubicBezTo>
                    <a:pt x="6498" y="1068"/>
                    <a:pt x="6859" y="1588"/>
                    <a:pt x="6859" y="1255"/>
                  </a:cubicBezTo>
                  <a:cubicBezTo>
                    <a:pt x="6879" y="972"/>
                    <a:pt x="6992" y="1018"/>
                    <a:pt x="7125" y="1114"/>
                  </a:cubicBezTo>
                  <a:cubicBezTo>
                    <a:pt x="7276" y="1209"/>
                    <a:pt x="7312" y="1043"/>
                    <a:pt x="7409" y="1068"/>
                  </a:cubicBezTo>
                  <a:cubicBezTo>
                    <a:pt x="7636" y="1138"/>
                    <a:pt x="7673" y="901"/>
                    <a:pt x="7826" y="926"/>
                  </a:cubicBezTo>
                  <a:cubicBezTo>
                    <a:pt x="7883" y="926"/>
                    <a:pt x="7919" y="1068"/>
                    <a:pt x="7996" y="997"/>
                  </a:cubicBezTo>
                  <a:cubicBezTo>
                    <a:pt x="8053" y="972"/>
                    <a:pt x="8073" y="735"/>
                    <a:pt x="8110" y="664"/>
                  </a:cubicBezTo>
                  <a:cubicBezTo>
                    <a:pt x="8146" y="594"/>
                    <a:pt x="8130" y="477"/>
                    <a:pt x="8166" y="406"/>
                  </a:cubicBezTo>
                  <a:cubicBezTo>
                    <a:pt x="8263" y="311"/>
                    <a:pt x="8393" y="477"/>
                    <a:pt x="8490" y="357"/>
                  </a:cubicBezTo>
                  <a:cubicBezTo>
                    <a:pt x="8567" y="286"/>
                    <a:pt x="8640" y="215"/>
                    <a:pt x="8697" y="144"/>
                  </a:cubicBezTo>
                  <a:cubicBezTo>
                    <a:pt x="8737" y="99"/>
                    <a:pt x="8793" y="-22"/>
                    <a:pt x="8830" y="3"/>
                  </a:cubicBezTo>
                  <a:cubicBezTo>
                    <a:pt x="8850" y="3"/>
                    <a:pt x="8980" y="144"/>
                    <a:pt x="9000" y="169"/>
                  </a:cubicBezTo>
                  <a:cubicBezTo>
                    <a:pt x="9040" y="215"/>
                    <a:pt x="9040" y="357"/>
                    <a:pt x="9077" y="427"/>
                  </a:cubicBezTo>
                  <a:cubicBezTo>
                    <a:pt x="9077" y="452"/>
                    <a:pt x="9134" y="594"/>
                    <a:pt x="9114" y="619"/>
                  </a:cubicBezTo>
                  <a:cubicBezTo>
                    <a:pt x="9057" y="689"/>
                    <a:pt x="9020" y="781"/>
                    <a:pt x="9057" y="876"/>
                  </a:cubicBezTo>
                  <a:cubicBezTo>
                    <a:pt x="9077" y="926"/>
                    <a:pt x="9114" y="972"/>
                    <a:pt x="9154" y="997"/>
                  </a:cubicBezTo>
                  <a:cubicBezTo>
                    <a:pt x="9190" y="1018"/>
                    <a:pt x="9267" y="1043"/>
                    <a:pt x="9304" y="1089"/>
                  </a:cubicBezTo>
                  <a:cubicBezTo>
                    <a:pt x="9397" y="1209"/>
                    <a:pt x="9381" y="1209"/>
                    <a:pt x="9494" y="1280"/>
                  </a:cubicBezTo>
                  <a:cubicBezTo>
                    <a:pt x="9551" y="1326"/>
                    <a:pt x="9474" y="1563"/>
                    <a:pt x="9571" y="1563"/>
                  </a:cubicBezTo>
                  <a:cubicBezTo>
                    <a:pt x="9607" y="1563"/>
                    <a:pt x="9664" y="1538"/>
                    <a:pt x="9701" y="1517"/>
                  </a:cubicBezTo>
                  <a:cubicBezTo>
                    <a:pt x="9798" y="1492"/>
                    <a:pt x="9834" y="1588"/>
                    <a:pt x="9948" y="1538"/>
                  </a:cubicBezTo>
                  <a:cubicBezTo>
                    <a:pt x="10004" y="1492"/>
                    <a:pt x="10061" y="1396"/>
                    <a:pt x="10138" y="1467"/>
                  </a:cubicBezTo>
                  <a:cubicBezTo>
                    <a:pt x="10328" y="1633"/>
                    <a:pt x="10271" y="1351"/>
                    <a:pt x="10405" y="1351"/>
                  </a:cubicBezTo>
                  <a:cubicBezTo>
                    <a:pt x="10498" y="1351"/>
                    <a:pt x="10498" y="1492"/>
                    <a:pt x="10592" y="1326"/>
                  </a:cubicBezTo>
                  <a:cubicBezTo>
                    <a:pt x="10668" y="1230"/>
                    <a:pt x="10822" y="1371"/>
                    <a:pt x="10915" y="1446"/>
                  </a:cubicBezTo>
                  <a:cubicBezTo>
                    <a:pt x="11029" y="1517"/>
                    <a:pt x="10992" y="1846"/>
                    <a:pt x="11162" y="1871"/>
                  </a:cubicBezTo>
                  <a:cubicBezTo>
                    <a:pt x="11239" y="1846"/>
                    <a:pt x="11369" y="1891"/>
                    <a:pt x="11445" y="1916"/>
                  </a:cubicBezTo>
                  <a:cubicBezTo>
                    <a:pt x="11559" y="1941"/>
                    <a:pt x="11579" y="2199"/>
                    <a:pt x="11599" y="2320"/>
                  </a:cubicBezTo>
                  <a:cubicBezTo>
                    <a:pt x="11616" y="2436"/>
                    <a:pt x="11599" y="2628"/>
                    <a:pt x="11652" y="2744"/>
                  </a:cubicBezTo>
                  <a:cubicBezTo>
                    <a:pt x="11692" y="2790"/>
                    <a:pt x="11692" y="2815"/>
                    <a:pt x="11729" y="2815"/>
                  </a:cubicBezTo>
                  <a:cubicBezTo>
                    <a:pt x="11806" y="2815"/>
                    <a:pt x="11826" y="3052"/>
                    <a:pt x="11919" y="3123"/>
                  </a:cubicBezTo>
                  <a:cubicBezTo>
                    <a:pt x="12073" y="3264"/>
                    <a:pt x="12073" y="2910"/>
                    <a:pt x="12146" y="3193"/>
                  </a:cubicBezTo>
                  <a:cubicBezTo>
                    <a:pt x="12203" y="3360"/>
                    <a:pt x="12259" y="3310"/>
                    <a:pt x="12336" y="3168"/>
                  </a:cubicBezTo>
                  <a:cubicBezTo>
                    <a:pt x="12356" y="3098"/>
                    <a:pt x="12393" y="3098"/>
                    <a:pt x="12433" y="3052"/>
                  </a:cubicBezTo>
                  <a:cubicBezTo>
                    <a:pt x="12433" y="3027"/>
                    <a:pt x="12486" y="2698"/>
                    <a:pt x="12526" y="2910"/>
                  </a:cubicBezTo>
                  <a:cubicBezTo>
                    <a:pt x="12563" y="3123"/>
                    <a:pt x="12563" y="3430"/>
                    <a:pt x="12773" y="3264"/>
                  </a:cubicBezTo>
                  <a:cubicBezTo>
                    <a:pt x="12847" y="3218"/>
                    <a:pt x="12887" y="3168"/>
                    <a:pt x="12923" y="3073"/>
                  </a:cubicBezTo>
                  <a:cubicBezTo>
                    <a:pt x="12960" y="3027"/>
                    <a:pt x="13113" y="3239"/>
                    <a:pt x="13227" y="3073"/>
                  </a:cubicBezTo>
                  <a:cubicBezTo>
                    <a:pt x="13304" y="2981"/>
                    <a:pt x="13207" y="2885"/>
                    <a:pt x="13227" y="2790"/>
                  </a:cubicBezTo>
                  <a:cubicBezTo>
                    <a:pt x="13247" y="2744"/>
                    <a:pt x="13284" y="2648"/>
                    <a:pt x="13247" y="2578"/>
                  </a:cubicBezTo>
                  <a:cubicBezTo>
                    <a:pt x="13207" y="2557"/>
                    <a:pt x="13190" y="2482"/>
                    <a:pt x="13150" y="2482"/>
                  </a:cubicBezTo>
                  <a:cubicBezTo>
                    <a:pt x="13093" y="2482"/>
                    <a:pt x="13170" y="2673"/>
                    <a:pt x="13020" y="2673"/>
                  </a:cubicBezTo>
                  <a:cubicBezTo>
                    <a:pt x="12960" y="2673"/>
                    <a:pt x="12943" y="2482"/>
                    <a:pt x="12960" y="2482"/>
                  </a:cubicBezTo>
                  <a:cubicBezTo>
                    <a:pt x="12887" y="2482"/>
                    <a:pt x="12830" y="2411"/>
                    <a:pt x="12887" y="2341"/>
                  </a:cubicBezTo>
                  <a:cubicBezTo>
                    <a:pt x="12943" y="2270"/>
                    <a:pt x="13057" y="2507"/>
                    <a:pt x="13133" y="2295"/>
                  </a:cubicBezTo>
                  <a:cubicBezTo>
                    <a:pt x="13190" y="2178"/>
                    <a:pt x="13190" y="2224"/>
                    <a:pt x="13150" y="2083"/>
                  </a:cubicBezTo>
                  <a:cubicBezTo>
                    <a:pt x="13113" y="1916"/>
                    <a:pt x="12943" y="2178"/>
                    <a:pt x="12887" y="2224"/>
                  </a:cubicBezTo>
                  <a:cubicBezTo>
                    <a:pt x="12716" y="2390"/>
                    <a:pt x="12603" y="2341"/>
                    <a:pt x="12583" y="2083"/>
                  </a:cubicBezTo>
                  <a:cubicBezTo>
                    <a:pt x="12660" y="2012"/>
                    <a:pt x="12620" y="1775"/>
                    <a:pt x="12733" y="1704"/>
                  </a:cubicBezTo>
                  <a:cubicBezTo>
                    <a:pt x="12867" y="1609"/>
                    <a:pt x="12980" y="1446"/>
                    <a:pt x="13133" y="1326"/>
                  </a:cubicBezTo>
                  <a:cubicBezTo>
                    <a:pt x="13247" y="1230"/>
                    <a:pt x="13320" y="1326"/>
                    <a:pt x="13437" y="1159"/>
                  </a:cubicBezTo>
                  <a:cubicBezTo>
                    <a:pt x="13510" y="1068"/>
                    <a:pt x="13624" y="997"/>
                    <a:pt x="13701" y="926"/>
                  </a:cubicBezTo>
                  <a:cubicBezTo>
                    <a:pt x="13814" y="806"/>
                    <a:pt x="13851" y="523"/>
                    <a:pt x="13964" y="452"/>
                  </a:cubicBezTo>
                  <a:cubicBezTo>
                    <a:pt x="13981" y="427"/>
                    <a:pt x="14134" y="477"/>
                    <a:pt x="14151" y="498"/>
                  </a:cubicBezTo>
                  <a:cubicBezTo>
                    <a:pt x="14191" y="664"/>
                    <a:pt x="14171" y="619"/>
                    <a:pt x="14304" y="619"/>
                  </a:cubicBezTo>
                  <a:cubicBezTo>
                    <a:pt x="14398" y="619"/>
                    <a:pt x="14495" y="689"/>
                    <a:pt x="14571" y="710"/>
                  </a:cubicBezTo>
                  <a:cubicBezTo>
                    <a:pt x="14685" y="760"/>
                    <a:pt x="14798" y="735"/>
                    <a:pt x="14912" y="735"/>
                  </a:cubicBezTo>
                  <a:cubicBezTo>
                    <a:pt x="15118" y="639"/>
                    <a:pt x="15118" y="639"/>
                    <a:pt x="15118" y="639"/>
                  </a:cubicBezTo>
                  <a:cubicBezTo>
                    <a:pt x="15195" y="619"/>
                    <a:pt x="15288" y="498"/>
                    <a:pt x="15365" y="452"/>
                  </a:cubicBezTo>
                  <a:cubicBezTo>
                    <a:pt x="15422" y="427"/>
                    <a:pt x="15442" y="311"/>
                    <a:pt x="15519" y="286"/>
                  </a:cubicBezTo>
                  <a:cubicBezTo>
                    <a:pt x="15575" y="240"/>
                    <a:pt x="15649" y="427"/>
                    <a:pt x="15705" y="477"/>
                  </a:cubicBezTo>
                  <a:cubicBezTo>
                    <a:pt x="15802" y="523"/>
                    <a:pt x="15916" y="477"/>
                    <a:pt x="16009" y="477"/>
                  </a:cubicBezTo>
                  <a:cubicBezTo>
                    <a:pt x="16009" y="477"/>
                    <a:pt x="16009" y="477"/>
                    <a:pt x="16029" y="477"/>
                  </a:cubicBezTo>
                  <a:cubicBezTo>
                    <a:pt x="16029" y="498"/>
                    <a:pt x="16029" y="523"/>
                    <a:pt x="16009" y="523"/>
                  </a:cubicBezTo>
                  <a:cubicBezTo>
                    <a:pt x="16009" y="594"/>
                    <a:pt x="15879" y="735"/>
                    <a:pt x="15879" y="831"/>
                  </a:cubicBezTo>
                  <a:cubicBezTo>
                    <a:pt x="15879" y="947"/>
                    <a:pt x="16029" y="947"/>
                    <a:pt x="16106" y="972"/>
                  </a:cubicBezTo>
                  <a:cubicBezTo>
                    <a:pt x="16106" y="1043"/>
                    <a:pt x="16009" y="1068"/>
                    <a:pt x="16009" y="1159"/>
                  </a:cubicBezTo>
                  <a:cubicBezTo>
                    <a:pt x="16066" y="1351"/>
                    <a:pt x="16066" y="1446"/>
                    <a:pt x="15916" y="1492"/>
                  </a:cubicBezTo>
                  <a:cubicBezTo>
                    <a:pt x="15916" y="1588"/>
                    <a:pt x="16122" y="1609"/>
                    <a:pt x="16162" y="1633"/>
                  </a:cubicBezTo>
                  <a:cubicBezTo>
                    <a:pt x="16239" y="1679"/>
                    <a:pt x="16239" y="1679"/>
                    <a:pt x="16333" y="1633"/>
                  </a:cubicBezTo>
                  <a:cubicBezTo>
                    <a:pt x="16389" y="1633"/>
                    <a:pt x="16426" y="1800"/>
                    <a:pt x="16446" y="1871"/>
                  </a:cubicBezTo>
                  <a:cubicBezTo>
                    <a:pt x="16466" y="1916"/>
                    <a:pt x="16503" y="1941"/>
                    <a:pt x="16539" y="1966"/>
                  </a:cubicBezTo>
                  <a:cubicBezTo>
                    <a:pt x="16559" y="1987"/>
                    <a:pt x="16673" y="2012"/>
                    <a:pt x="16673" y="2033"/>
                  </a:cubicBezTo>
                  <a:cubicBezTo>
                    <a:pt x="16730" y="2058"/>
                    <a:pt x="16559" y="2249"/>
                    <a:pt x="16539" y="2270"/>
                  </a:cubicBezTo>
                  <a:cubicBezTo>
                    <a:pt x="16539" y="2320"/>
                    <a:pt x="16256" y="2507"/>
                    <a:pt x="16219" y="2482"/>
                  </a:cubicBezTo>
                  <a:cubicBezTo>
                    <a:pt x="16162" y="2461"/>
                    <a:pt x="16066" y="2390"/>
                    <a:pt x="16029" y="2341"/>
                  </a:cubicBezTo>
                  <a:cubicBezTo>
                    <a:pt x="15992" y="2270"/>
                    <a:pt x="16029" y="2178"/>
                    <a:pt x="16009" y="2108"/>
                  </a:cubicBezTo>
                  <a:cubicBezTo>
                    <a:pt x="15936" y="2083"/>
                    <a:pt x="15839" y="2058"/>
                    <a:pt x="15782" y="2058"/>
                  </a:cubicBezTo>
                  <a:cubicBezTo>
                    <a:pt x="15689" y="2033"/>
                    <a:pt x="15689" y="2012"/>
                    <a:pt x="15649" y="2128"/>
                  </a:cubicBezTo>
                  <a:cubicBezTo>
                    <a:pt x="15632" y="2178"/>
                    <a:pt x="15612" y="2249"/>
                    <a:pt x="15555" y="2320"/>
                  </a:cubicBezTo>
                  <a:cubicBezTo>
                    <a:pt x="15462" y="2436"/>
                    <a:pt x="15442" y="2482"/>
                    <a:pt x="15555" y="2628"/>
                  </a:cubicBezTo>
                  <a:cubicBezTo>
                    <a:pt x="15612" y="2698"/>
                    <a:pt x="15612" y="2769"/>
                    <a:pt x="15649" y="2860"/>
                  </a:cubicBezTo>
                  <a:cubicBezTo>
                    <a:pt x="15705" y="2931"/>
                    <a:pt x="15782" y="2840"/>
                    <a:pt x="15819" y="2790"/>
                  </a:cubicBezTo>
                  <a:cubicBezTo>
                    <a:pt x="15859" y="2744"/>
                    <a:pt x="15896" y="2744"/>
                    <a:pt x="15936" y="2719"/>
                  </a:cubicBezTo>
                  <a:cubicBezTo>
                    <a:pt x="15972" y="2673"/>
                    <a:pt x="15992" y="2603"/>
                    <a:pt x="16049" y="2603"/>
                  </a:cubicBezTo>
                  <a:cubicBezTo>
                    <a:pt x="16162" y="2628"/>
                    <a:pt x="16162" y="2628"/>
                    <a:pt x="16162" y="2628"/>
                  </a:cubicBezTo>
                  <a:cubicBezTo>
                    <a:pt x="16162" y="2648"/>
                    <a:pt x="16162" y="2648"/>
                    <a:pt x="16162" y="2648"/>
                  </a:cubicBezTo>
                  <a:cubicBezTo>
                    <a:pt x="16106" y="2744"/>
                    <a:pt x="15972" y="2910"/>
                    <a:pt x="15972" y="3027"/>
                  </a:cubicBezTo>
                  <a:cubicBezTo>
                    <a:pt x="16009" y="3073"/>
                    <a:pt x="16066" y="3052"/>
                    <a:pt x="16086" y="3123"/>
                  </a:cubicBezTo>
                  <a:cubicBezTo>
                    <a:pt x="16066" y="3289"/>
                    <a:pt x="16066" y="3289"/>
                    <a:pt x="16066" y="3289"/>
                  </a:cubicBezTo>
                  <a:cubicBezTo>
                    <a:pt x="16219" y="3289"/>
                    <a:pt x="16369" y="3289"/>
                    <a:pt x="16369" y="3310"/>
                  </a:cubicBezTo>
                  <a:cubicBezTo>
                    <a:pt x="16426" y="3360"/>
                    <a:pt x="16523" y="3522"/>
                    <a:pt x="16653" y="3642"/>
                  </a:cubicBezTo>
                  <a:cubicBezTo>
                    <a:pt x="16806" y="3738"/>
                    <a:pt x="16976" y="3784"/>
                    <a:pt x="16996" y="3809"/>
                  </a:cubicBezTo>
                  <a:cubicBezTo>
                    <a:pt x="17013" y="3830"/>
                    <a:pt x="17070" y="3971"/>
                    <a:pt x="17070" y="3971"/>
                  </a:cubicBezTo>
                  <a:cubicBezTo>
                    <a:pt x="17130" y="4112"/>
                    <a:pt x="17130" y="4112"/>
                    <a:pt x="17130" y="4112"/>
                  </a:cubicBezTo>
                  <a:cubicBezTo>
                    <a:pt x="17167" y="4208"/>
                    <a:pt x="17167" y="4208"/>
                    <a:pt x="17167" y="4208"/>
                  </a:cubicBezTo>
                  <a:close/>
                  <a:moveTo>
                    <a:pt x="11466" y="17606"/>
                  </a:moveTo>
                  <a:cubicBezTo>
                    <a:pt x="11445" y="17560"/>
                    <a:pt x="11389" y="17535"/>
                    <a:pt x="11352" y="17585"/>
                  </a:cubicBezTo>
                  <a:cubicBezTo>
                    <a:pt x="11312" y="17606"/>
                    <a:pt x="11295" y="17606"/>
                    <a:pt x="11255" y="17656"/>
                  </a:cubicBezTo>
                  <a:cubicBezTo>
                    <a:pt x="11219" y="17701"/>
                    <a:pt x="11255" y="17797"/>
                    <a:pt x="11312" y="17751"/>
                  </a:cubicBezTo>
                  <a:cubicBezTo>
                    <a:pt x="11352" y="17751"/>
                    <a:pt x="11369" y="17726"/>
                    <a:pt x="11409" y="17751"/>
                  </a:cubicBezTo>
                  <a:cubicBezTo>
                    <a:pt x="11425" y="17751"/>
                    <a:pt x="11445" y="17751"/>
                    <a:pt x="11445" y="17751"/>
                  </a:cubicBezTo>
                  <a:cubicBezTo>
                    <a:pt x="11466" y="17726"/>
                    <a:pt x="11466" y="17681"/>
                    <a:pt x="11466" y="17656"/>
                  </a:cubicBezTo>
                  <a:cubicBezTo>
                    <a:pt x="11466" y="17606"/>
                    <a:pt x="11466" y="17606"/>
                    <a:pt x="11466" y="17606"/>
                  </a:cubicBezTo>
                  <a:close/>
                  <a:moveTo>
                    <a:pt x="18341" y="3642"/>
                  </a:moveTo>
                  <a:cubicBezTo>
                    <a:pt x="18418" y="3572"/>
                    <a:pt x="18398" y="3451"/>
                    <a:pt x="18438" y="3380"/>
                  </a:cubicBezTo>
                  <a:cubicBezTo>
                    <a:pt x="18398" y="3380"/>
                    <a:pt x="18361" y="3405"/>
                    <a:pt x="18321" y="3380"/>
                  </a:cubicBezTo>
                  <a:cubicBezTo>
                    <a:pt x="18227" y="3335"/>
                    <a:pt x="18247" y="3264"/>
                    <a:pt x="18114" y="3264"/>
                  </a:cubicBezTo>
                  <a:cubicBezTo>
                    <a:pt x="17964" y="3264"/>
                    <a:pt x="17774" y="3147"/>
                    <a:pt x="17640" y="3123"/>
                  </a:cubicBezTo>
                  <a:cubicBezTo>
                    <a:pt x="17527" y="3073"/>
                    <a:pt x="17413" y="2910"/>
                    <a:pt x="17357" y="3098"/>
                  </a:cubicBezTo>
                  <a:cubicBezTo>
                    <a:pt x="17317" y="3193"/>
                    <a:pt x="17260" y="3335"/>
                    <a:pt x="17203" y="3405"/>
                  </a:cubicBezTo>
                  <a:cubicBezTo>
                    <a:pt x="17183" y="3451"/>
                    <a:pt x="17373" y="3642"/>
                    <a:pt x="17413" y="3713"/>
                  </a:cubicBezTo>
                  <a:cubicBezTo>
                    <a:pt x="17487" y="3784"/>
                    <a:pt x="17544" y="3925"/>
                    <a:pt x="17604" y="3950"/>
                  </a:cubicBezTo>
                  <a:cubicBezTo>
                    <a:pt x="17717" y="4021"/>
                    <a:pt x="17717" y="4021"/>
                    <a:pt x="17830" y="3971"/>
                  </a:cubicBezTo>
                  <a:cubicBezTo>
                    <a:pt x="18001" y="3900"/>
                    <a:pt x="18001" y="4046"/>
                    <a:pt x="18114" y="4092"/>
                  </a:cubicBezTo>
                  <a:cubicBezTo>
                    <a:pt x="18207" y="4137"/>
                    <a:pt x="18341" y="4046"/>
                    <a:pt x="18418" y="4092"/>
                  </a:cubicBezTo>
                  <a:cubicBezTo>
                    <a:pt x="18454" y="4112"/>
                    <a:pt x="18568" y="4208"/>
                    <a:pt x="18588" y="4112"/>
                  </a:cubicBezTo>
                  <a:cubicBezTo>
                    <a:pt x="18588" y="4092"/>
                    <a:pt x="18568" y="3880"/>
                    <a:pt x="18551" y="3880"/>
                  </a:cubicBezTo>
                  <a:cubicBezTo>
                    <a:pt x="18531" y="3855"/>
                    <a:pt x="18494" y="3925"/>
                    <a:pt x="18474" y="3950"/>
                  </a:cubicBezTo>
                  <a:cubicBezTo>
                    <a:pt x="18321" y="3996"/>
                    <a:pt x="18134" y="3880"/>
                    <a:pt x="18284" y="3688"/>
                  </a:cubicBezTo>
                  <a:cubicBezTo>
                    <a:pt x="18341" y="3642"/>
                    <a:pt x="18341" y="3642"/>
                    <a:pt x="18341" y="3642"/>
                  </a:cubicBezTo>
                  <a:close/>
                  <a:moveTo>
                    <a:pt x="16693" y="4350"/>
                  </a:moveTo>
                  <a:cubicBezTo>
                    <a:pt x="16673" y="4350"/>
                    <a:pt x="16673" y="4350"/>
                    <a:pt x="16653" y="4350"/>
                  </a:cubicBezTo>
                  <a:cubicBezTo>
                    <a:pt x="16636" y="4350"/>
                    <a:pt x="16636" y="4350"/>
                    <a:pt x="16636" y="4375"/>
                  </a:cubicBezTo>
                  <a:cubicBezTo>
                    <a:pt x="16636" y="4375"/>
                    <a:pt x="16616" y="4420"/>
                    <a:pt x="16636" y="4420"/>
                  </a:cubicBezTo>
                  <a:lnTo>
                    <a:pt x="16653" y="4420"/>
                  </a:lnTo>
                  <a:cubicBezTo>
                    <a:pt x="16673" y="4399"/>
                    <a:pt x="16693" y="4399"/>
                    <a:pt x="16710" y="4399"/>
                  </a:cubicBezTo>
                  <a:cubicBezTo>
                    <a:pt x="16693" y="4350"/>
                    <a:pt x="16693" y="4350"/>
                    <a:pt x="16693" y="4350"/>
                  </a:cubicBezTo>
                  <a:close/>
                  <a:moveTo>
                    <a:pt x="16940" y="4470"/>
                  </a:moveTo>
                  <a:cubicBezTo>
                    <a:pt x="16940" y="4445"/>
                    <a:pt x="16940" y="4445"/>
                    <a:pt x="16940" y="4420"/>
                  </a:cubicBezTo>
                  <a:cubicBezTo>
                    <a:pt x="16940" y="4399"/>
                    <a:pt x="16920" y="4375"/>
                    <a:pt x="16900" y="4375"/>
                  </a:cubicBezTo>
                  <a:cubicBezTo>
                    <a:pt x="16900" y="4375"/>
                    <a:pt x="16883" y="4375"/>
                    <a:pt x="16863" y="4375"/>
                  </a:cubicBezTo>
                  <a:cubicBezTo>
                    <a:pt x="16843" y="4399"/>
                    <a:pt x="16826" y="4420"/>
                    <a:pt x="16843" y="4445"/>
                  </a:cubicBezTo>
                  <a:cubicBezTo>
                    <a:pt x="16863" y="4445"/>
                    <a:pt x="16843" y="4470"/>
                    <a:pt x="16843" y="4491"/>
                  </a:cubicBezTo>
                  <a:cubicBezTo>
                    <a:pt x="16863" y="4516"/>
                    <a:pt x="16883" y="4516"/>
                    <a:pt x="16900" y="4516"/>
                  </a:cubicBezTo>
                  <a:lnTo>
                    <a:pt x="16940" y="4470"/>
                  </a:lnTo>
                  <a:close/>
                </a:path>
              </a:pathLst>
            </a:custGeom>
            <a:grpFill/>
            <a:ln w="3175" cap="flat" cmpd="sng">
              <a:noFill/>
              <a:prstDash val="solid"/>
              <a:bevel/>
              <a:headEnd type="none" w="sm" len="sm"/>
              <a:tailEnd type="none" w="sm" len="sm"/>
            </a:ln>
          </p:spPr>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C2C2C"/>
                </a:solidFill>
                <a:effectLst/>
                <a:uLnTx/>
                <a:uFillTx/>
                <a:latin typeface="Open Sans"/>
                <a:ea typeface="Open Sans"/>
                <a:cs typeface="Open Sans"/>
                <a:sym typeface="Open Sans"/>
              </a:endParaRPr>
            </a:p>
          </p:txBody>
        </p:sp>
        <p:sp>
          <p:nvSpPr>
            <p:cNvPr id="7" name="Google Shape;11979;p276" descr="Freeform 150">
              <a:extLst>
                <a:ext uri="{FF2B5EF4-FFF2-40B4-BE49-F238E27FC236}">
                  <a16:creationId xmlns:a16="http://schemas.microsoft.com/office/drawing/2014/main" id="{D8568CAE-1844-39A1-E79F-FD7E5662251D}"/>
                </a:ext>
              </a:extLst>
            </p:cNvPr>
            <p:cNvSpPr/>
            <p:nvPr/>
          </p:nvSpPr>
          <p:spPr>
            <a:xfrm>
              <a:off x="2957479" y="539371"/>
              <a:ext cx="500531" cy="338257"/>
            </a:xfrm>
            <a:custGeom>
              <a:avLst/>
              <a:gdLst/>
              <a:ahLst/>
              <a:cxnLst/>
              <a:rect l="l" t="t" r="r" b="b"/>
              <a:pathLst>
                <a:path w="21600" h="21343" extrusionOk="0">
                  <a:moveTo>
                    <a:pt x="19042" y="20279"/>
                  </a:moveTo>
                  <a:cubicBezTo>
                    <a:pt x="18554" y="20386"/>
                    <a:pt x="18140" y="20886"/>
                    <a:pt x="17726" y="21189"/>
                  </a:cubicBezTo>
                  <a:cubicBezTo>
                    <a:pt x="17031" y="21600"/>
                    <a:pt x="17092" y="21100"/>
                    <a:pt x="16617" y="20690"/>
                  </a:cubicBezTo>
                  <a:cubicBezTo>
                    <a:pt x="16410" y="20475"/>
                    <a:pt x="16130" y="20475"/>
                    <a:pt x="15850" y="20386"/>
                  </a:cubicBezTo>
                  <a:cubicBezTo>
                    <a:pt x="15228" y="20172"/>
                    <a:pt x="15362" y="20279"/>
                    <a:pt x="15094" y="19476"/>
                  </a:cubicBezTo>
                  <a:cubicBezTo>
                    <a:pt x="15021" y="18869"/>
                    <a:pt x="15302" y="18762"/>
                    <a:pt x="15021" y="18262"/>
                  </a:cubicBezTo>
                  <a:cubicBezTo>
                    <a:pt x="14887" y="18155"/>
                    <a:pt x="14400" y="17137"/>
                    <a:pt x="14400" y="17137"/>
                  </a:cubicBezTo>
                  <a:cubicBezTo>
                    <a:pt x="14534" y="16941"/>
                    <a:pt x="14948" y="16727"/>
                    <a:pt x="14948" y="16637"/>
                  </a:cubicBezTo>
                  <a:cubicBezTo>
                    <a:pt x="15302" y="16530"/>
                    <a:pt x="14948" y="16013"/>
                    <a:pt x="14814" y="16013"/>
                  </a:cubicBezTo>
                  <a:cubicBezTo>
                    <a:pt x="14607" y="15923"/>
                    <a:pt x="14400" y="15923"/>
                    <a:pt x="14193" y="15923"/>
                  </a:cubicBezTo>
                  <a:cubicBezTo>
                    <a:pt x="13840" y="15923"/>
                    <a:pt x="12877" y="16530"/>
                    <a:pt x="12731" y="16334"/>
                  </a:cubicBezTo>
                  <a:cubicBezTo>
                    <a:pt x="12670" y="16120"/>
                    <a:pt x="12597" y="15209"/>
                    <a:pt x="12524" y="15013"/>
                  </a:cubicBezTo>
                  <a:cubicBezTo>
                    <a:pt x="11842" y="14709"/>
                    <a:pt x="10794" y="14602"/>
                    <a:pt x="10173" y="15406"/>
                  </a:cubicBezTo>
                  <a:cubicBezTo>
                    <a:pt x="9831" y="15816"/>
                    <a:pt x="9624" y="15513"/>
                    <a:pt x="9344" y="15620"/>
                  </a:cubicBezTo>
                  <a:cubicBezTo>
                    <a:pt x="9344" y="16834"/>
                    <a:pt x="8930" y="17137"/>
                    <a:pt x="8589" y="18048"/>
                  </a:cubicBezTo>
                  <a:cubicBezTo>
                    <a:pt x="8102" y="19476"/>
                    <a:pt x="8028" y="18655"/>
                    <a:pt x="7273" y="18869"/>
                  </a:cubicBezTo>
                  <a:cubicBezTo>
                    <a:pt x="6993" y="19065"/>
                    <a:pt x="5750" y="19065"/>
                    <a:pt x="5604" y="18655"/>
                  </a:cubicBezTo>
                  <a:cubicBezTo>
                    <a:pt x="5324" y="17744"/>
                    <a:pt x="6091" y="17030"/>
                    <a:pt x="6225" y="16334"/>
                  </a:cubicBezTo>
                  <a:cubicBezTo>
                    <a:pt x="6372" y="15406"/>
                    <a:pt x="6091" y="15513"/>
                    <a:pt x="5750" y="15406"/>
                  </a:cubicBezTo>
                  <a:cubicBezTo>
                    <a:pt x="5190" y="15102"/>
                    <a:pt x="5056" y="16727"/>
                    <a:pt x="4983" y="17244"/>
                  </a:cubicBezTo>
                  <a:cubicBezTo>
                    <a:pt x="4849" y="18048"/>
                    <a:pt x="4703" y="17548"/>
                    <a:pt x="4361" y="17940"/>
                  </a:cubicBezTo>
                  <a:cubicBezTo>
                    <a:pt x="4081" y="18262"/>
                    <a:pt x="3594" y="19065"/>
                    <a:pt x="3326" y="18458"/>
                  </a:cubicBezTo>
                  <a:cubicBezTo>
                    <a:pt x="3180" y="17851"/>
                    <a:pt x="2973" y="17441"/>
                    <a:pt x="2912" y="16834"/>
                  </a:cubicBezTo>
                  <a:cubicBezTo>
                    <a:pt x="2765" y="16120"/>
                    <a:pt x="2497" y="16013"/>
                    <a:pt x="2010" y="16227"/>
                  </a:cubicBezTo>
                  <a:cubicBezTo>
                    <a:pt x="1316" y="16423"/>
                    <a:pt x="1243" y="15727"/>
                    <a:pt x="1036" y="15013"/>
                  </a:cubicBezTo>
                  <a:cubicBezTo>
                    <a:pt x="975" y="14709"/>
                    <a:pt x="621" y="14799"/>
                    <a:pt x="560" y="14299"/>
                  </a:cubicBezTo>
                  <a:cubicBezTo>
                    <a:pt x="487" y="13995"/>
                    <a:pt x="134" y="13478"/>
                    <a:pt x="0" y="13281"/>
                  </a:cubicBezTo>
                  <a:cubicBezTo>
                    <a:pt x="0" y="13085"/>
                    <a:pt x="207" y="12781"/>
                    <a:pt x="341" y="12567"/>
                  </a:cubicBezTo>
                  <a:cubicBezTo>
                    <a:pt x="414" y="12371"/>
                    <a:pt x="414" y="11871"/>
                    <a:pt x="414" y="11657"/>
                  </a:cubicBezTo>
                  <a:cubicBezTo>
                    <a:pt x="414" y="11050"/>
                    <a:pt x="487" y="10140"/>
                    <a:pt x="414" y="9533"/>
                  </a:cubicBezTo>
                  <a:cubicBezTo>
                    <a:pt x="280" y="8926"/>
                    <a:pt x="341" y="8819"/>
                    <a:pt x="621" y="8515"/>
                  </a:cubicBezTo>
                  <a:cubicBezTo>
                    <a:pt x="1109" y="7908"/>
                    <a:pt x="341" y="7605"/>
                    <a:pt x="414" y="7194"/>
                  </a:cubicBezTo>
                  <a:cubicBezTo>
                    <a:pt x="560" y="6801"/>
                    <a:pt x="768" y="7194"/>
                    <a:pt x="828" y="7408"/>
                  </a:cubicBezTo>
                  <a:cubicBezTo>
                    <a:pt x="1036" y="8015"/>
                    <a:pt x="1182" y="7498"/>
                    <a:pt x="1109" y="7087"/>
                  </a:cubicBezTo>
                  <a:cubicBezTo>
                    <a:pt x="1109" y="6891"/>
                    <a:pt x="975" y="6087"/>
                    <a:pt x="1109" y="5980"/>
                  </a:cubicBezTo>
                  <a:cubicBezTo>
                    <a:pt x="1182" y="5480"/>
                    <a:pt x="1182" y="5677"/>
                    <a:pt x="1109" y="5177"/>
                  </a:cubicBezTo>
                  <a:cubicBezTo>
                    <a:pt x="1036" y="5177"/>
                    <a:pt x="621" y="4873"/>
                    <a:pt x="560" y="4766"/>
                  </a:cubicBezTo>
                  <a:cubicBezTo>
                    <a:pt x="487" y="4570"/>
                    <a:pt x="768" y="4159"/>
                    <a:pt x="768" y="3963"/>
                  </a:cubicBezTo>
                  <a:cubicBezTo>
                    <a:pt x="902" y="2945"/>
                    <a:pt x="560" y="3249"/>
                    <a:pt x="73" y="3249"/>
                  </a:cubicBezTo>
                  <a:cubicBezTo>
                    <a:pt x="73" y="3142"/>
                    <a:pt x="73" y="3142"/>
                    <a:pt x="73" y="3142"/>
                  </a:cubicBezTo>
                  <a:cubicBezTo>
                    <a:pt x="73" y="2731"/>
                    <a:pt x="560" y="2642"/>
                    <a:pt x="694" y="2231"/>
                  </a:cubicBezTo>
                  <a:cubicBezTo>
                    <a:pt x="768" y="1928"/>
                    <a:pt x="1109" y="1410"/>
                    <a:pt x="1036" y="1107"/>
                  </a:cubicBezTo>
                  <a:cubicBezTo>
                    <a:pt x="975" y="910"/>
                    <a:pt x="694" y="411"/>
                    <a:pt x="768" y="303"/>
                  </a:cubicBezTo>
                  <a:cubicBezTo>
                    <a:pt x="975" y="107"/>
                    <a:pt x="1316" y="196"/>
                    <a:pt x="1596" y="196"/>
                  </a:cubicBezTo>
                  <a:cubicBezTo>
                    <a:pt x="1730" y="196"/>
                    <a:pt x="1864" y="0"/>
                    <a:pt x="2071" y="0"/>
                  </a:cubicBezTo>
                  <a:cubicBezTo>
                    <a:pt x="2217" y="0"/>
                    <a:pt x="2497" y="107"/>
                    <a:pt x="2705" y="107"/>
                  </a:cubicBezTo>
                  <a:cubicBezTo>
                    <a:pt x="2973" y="107"/>
                    <a:pt x="3180" y="803"/>
                    <a:pt x="3460" y="500"/>
                  </a:cubicBezTo>
                  <a:cubicBezTo>
                    <a:pt x="3947" y="196"/>
                    <a:pt x="3947" y="196"/>
                    <a:pt x="3947" y="196"/>
                  </a:cubicBezTo>
                  <a:cubicBezTo>
                    <a:pt x="4288" y="411"/>
                    <a:pt x="4288" y="411"/>
                    <a:pt x="4288" y="411"/>
                  </a:cubicBezTo>
                  <a:cubicBezTo>
                    <a:pt x="4288" y="714"/>
                    <a:pt x="4227" y="1018"/>
                    <a:pt x="4569" y="1018"/>
                  </a:cubicBezTo>
                  <a:cubicBezTo>
                    <a:pt x="4569" y="1517"/>
                    <a:pt x="4288" y="1928"/>
                    <a:pt x="4495" y="2231"/>
                  </a:cubicBezTo>
                  <a:cubicBezTo>
                    <a:pt x="4776" y="2642"/>
                    <a:pt x="5397" y="1624"/>
                    <a:pt x="5397" y="1214"/>
                  </a:cubicBezTo>
                  <a:cubicBezTo>
                    <a:pt x="5470" y="714"/>
                    <a:pt x="5750" y="500"/>
                    <a:pt x="6018" y="1018"/>
                  </a:cubicBezTo>
                  <a:cubicBezTo>
                    <a:pt x="6164" y="1214"/>
                    <a:pt x="6579" y="1214"/>
                    <a:pt x="6579" y="1714"/>
                  </a:cubicBezTo>
                  <a:cubicBezTo>
                    <a:pt x="6579" y="2838"/>
                    <a:pt x="6579" y="2838"/>
                    <a:pt x="6579" y="2838"/>
                  </a:cubicBezTo>
                  <a:cubicBezTo>
                    <a:pt x="6579" y="3552"/>
                    <a:pt x="6993" y="3749"/>
                    <a:pt x="7200" y="4463"/>
                  </a:cubicBezTo>
                  <a:cubicBezTo>
                    <a:pt x="7334" y="4873"/>
                    <a:pt x="7541" y="4052"/>
                    <a:pt x="7821" y="4356"/>
                  </a:cubicBezTo>
                  <a:cubicBezTo>
                    <a:pt x="8309" y="4873"/>
                    <a:pt x="8102" y="5784"/>
                    <a:pt x="8723" y="4463"/>
                  </a:cubicBezTo>
                  <a:cubicBezTo>
                    <a:pt x="9271" y="3249"/>
                    <a:pt x="9758" y="4766"/>
                    <a:pt x="10380" y="4463"/>
                  </a:cubicBezTo>
                  <a:cubicBezTo>
                    <a:pt x="10587" y="4463"/>
                    <a:pt x="10794" y="4766"/>
                    <a:pt x="11001" y="4873"/>
                  </a:cubicBezTo>
                  <a:cubicBezTo>
                    <a:pt x="11695" y="5177"/>
                    <a:pt x="12463" y="5784"/>
                    <a:pt x="13011" y="6087"/>
                  </a:cubicBezTo>
                  <a:cubicBezTo>
                    <a:pt x="13572" y="6480"/>
                    <a:pt x="15302" y="6177"/>
                    <a:pt x="15436" y="7194"/>
                  </a:cubicBezTo>
                  <a:cubicBezTo>
                    <a:pt x="15777" y="8819"/>
                    <a:pt x="16057" y="8104"/>
                    <a:pt x="17031" y="8622"/>
                  </a:cubicBezTo>
                  <a:cubicBezTo>
                    <a:pt x="17507" y="8926"/>
                    <a:pt x="17787" y="10032"/>
                    <a:pt x="18067" y="10550"/>
                  </a:cubicBezTo>
                  <a:cubicBezTo>
                    <a:pt x="18761" y="11657"/>
                    <a:pt x="19931" y="12067"/>
                    <a:pt x="20832" y="12781"/>
                  </a:cubicBezTo>
                  <a:cubicBezTo>
                    <a:pt x="20979" y="12871"/>
                    <a:pt x="21247" y="13174"/>
                    <a:pt x="21600" y="13478"/>
                  </a:cubicBezTo>
                  <a:cubicBezTo>
                    <a:pt x="21186" y="14709"/>
                    <a:pt x="21186" y="14709"/>
                    <a:pt x="21186" y="14709"/>
                  </a:cubicBezTo>
                  <a:cubicBezTo>
                    <a:pt x="21186" y="15316"/>
                    <a:pt x="20906" y="14799"/>
                    <a:pt x="20698" y="14709"/>
                  </a:cubicBezTo>
                  <a:cubicBezTo>
                    <a:pt x="20418" y="14495"/>
                    <a:pt x="20345" y="14906"/>
                    <a:pt x="20138" y="14799"/>
                  </a:cubicBezTo>
                  <a:cubicBezTo>
                    <a:pt x="19456" y="14102"/>
                    <a:pt x="19663" y="14709"/>
                    <a:pt x="19237" y="15209"/>
                  </a:cubicBezTo>
                  <a:cubicBezTo>
                    <a:pt x="18895" y="15727"/>
                    <a:pt x="18140" y="16834"/>
                    <a:pt x="18274" y="17548"/>
                  </a:cubicBezTo>
                  <a:cubicBezTo>
                    <a:pt x="18347" y="18048"/>
                    <a:pt x="18408" y="18262"/>
                    <a:pt x="18688" y="18458"/>
                  </a:cubicBezTo>
                  <a:cubicBezTo>
                    <a:pt x="19042" y="18655"/>
                    <a:pt x="19237" y="18565"/>
                    <a:pt x="19310" y="19172"/>
                  </a:cubicBezTo>
                  <a:cubicBezTo>
                    <a:pt x="19176" y="19369"/>
                    <a:pt x="19176" y="19369"/>
                    <a:pt x="19176" y="19369"/>
                  </a:cubicBezTo>
                  <a:cubicBezTo>
                    <a:pt x="19103" y="19476"/>
                    <a:pt x="18969" y="19672"/>
                    <a:pt x="18969" y="19868"/>
                  </a:cubicBezTo>
                  <a:cubicBezTo>
                    <a:pt x="18969" y="19976"/>
                    <a:pt x="19042" y="20172"/>
                    <a:pt x="19042" y="20279"/>
                  </a:cubicBezTo>
                  <a:close/>
                  <a:moveTo>
                    <a:pt x="3119" y="1321"/>
                  </a:moveTo>
                  <a:cubicBezTo>
                    <a:pt x="3119" y="1214"/>
                    <a:pt x="3119" y="1214"/>
                    <a:pt x="3119" y="1107"/>
                  </a:cubicBezTo>
                  <a:cubicBezTo>
                    <a:pt x="3119" y="1018"/>
                    <a:pt x="3046" y="910"/>
                    <a:pt x="2973" y="910"/>
                  </a:cubicBezTo>
                  <a:cubicBezTo>
                    <a:pt x="2973" y="910"/>
                    <a:pt x="2912" y="910"/>
                    <a:pt x="2839" y="910"/>
                  </a:cubicBezTo>
                  <a:cubicBezTo>
                    <a:pt x="2765" y="1018"/>
                    <a:pt x="2705" y="1107"/>
                    <a:pt x="2765" y="1214"/>
                  </a:cubicBezTo>
                  <a:cubicBezTo>
                    <a:pt x="2839" y="1214"/>
                    <a:pt x="2765" y="1321"/>
                    <a:pt x="2765" y="1410"/>
                  </a:cubicBezTo>
                  <a:cubicBezTo>
                    <a:pt x="2839" y="1517"/>
                    <a:pt x="2912" y="1517"/>
                    <a:pt x="2973" y="1517"/>
                  </a:cubicBezTo>
                  <a:cubicBezTo>
                    <a:pt x="3119" y="1321"/>
                    <a:pt x="3119" y="1321"/>
                    <a:pt x="3119" y="1321"/>
                  </a:cubicBezTo>
                  <a:close/>
                  <a:moveTo>
                    <a:pt x="2217" y="803"/>
                  </a:moveTo>
                  <a:cubicBezTo>
                    <a:pt x="2144" y="803"/>
                    <a:pt x="2144" y="803"/>
                    <a:pt x="2071" y="803"/>
                  </a:cubicBezTo>
                  <a:cubicBezTo>
                    <a:pt x="2010" y="803"/>
                    <a:pt x="2010" y="803"/>
                    <a:pt x="2010" y="910"/>
                  </a:cubicBezTo>
                  <a:cubicBezTo>
                    <a:pt x="2010" y="910"/>
                    <a:pt x="1937" y="1107"/>
                    <a:pt x="2010" y="1107"/>
                  </a:cubicBezTo>
                  <a:lnTo>
                    <a:pt x="2071" y="1107"/>
                  </a:lnTo>
                  <a:cubicBezTo>
                    <a:pt x="2144" y="1018"/>
                    <a:pt x="2217" y="1018"/>
                    <a:pt x="2278" y="1018"/>
                  </a:cubicBezTo>
                  <a:lnTo>
                    <a:pt x="2217" y="803"/>
                  </a:lnTo>
                  <a:close/>
                </a:path>
              </a:pathLst>
            </a:custGeom>
            <a:grpFill/>
            <a:ln w="3175" cap="flat" cmpd="sng">
              <a:noFill/>
              <a:prstDash val="solid"/>
              <a:bevel/>
              <a:headEnd type="none" w="sm" len="sm"/>
              <a:tailEnd type="none" w="sm" len="sm"/>
            </a:ln>
          </p:spPr>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C2C2C"/>
                </a:solidFill>
                <a:effectLst/>
                <a:uLnTx/>
                <a:uFillTx/>
                <a:latin typeface="Open Sans"/>
                <a:ea typeface="Open Sans"/>
                <a:cs typeface="Open Sans"/>
                <a:sym typeface="Open Sans"/>
              </a:endParaRPr>
            </a:p>
          </p:txBody>
        </p:sp>
        <p:sp>
          <p:nvSpPr>
            <p:cNvPr id="9" name="Google Shape;11980;p276" descr="Freeform 151">
              <a:extLst>
                <a:ext uri="{FF2B5EF4-FFF2-40B4-BE49-F238E27FC236}">
                  <a16:creationId xmlns:a16="http://schemas.microsoft.com/office/drawing/2014/main" id="{49858327-AD4D-93A6-D926-AD92F87A4873}"/>
                </a:ext>
              </a:extLst>
            </p:cNvPr>
            <p:cNvSpPr/>
            <p:nvPr/>
          </p:nvSpPr>
          <p:spPr>
            <a:xfrm>
              <a:off x="3287616" y="409800"/>
              <a:ext cx="1018646" cy="1418778"/>
            </a:xfrm>
            <a:custGeom>
              <a:avLst/>
              <a:gdLst/>
              <a:ahLst/>
              <a:cxnLst/>
              <a:rect l="l" t="t" r="r" b="b"/>
              <a:pathLst>
                <a:path w="21544" h="21600" extrusionOk="0">
                  <a:moveTo>
                    <a:pt x="2480" y="6598"/>
                  </a:moveTo>
                  <a:cubicBezTo>
                    <a:pt x="2552" y="6598"/>
                    <a:pt x="2582" y="6598"/>
                    <a:pt x="2654" y="6598"/>
                  </a:cubicBezTo>
                  <a:cubicBezTo>
                    <a:pt x="2684" y="6598"/>
                    <a:pt x="2719" y="6598"/>
                    <a:pt x="2755" y="6619"/>
                  </a:cubicBezTo>
                  <a:cubicBezTo>
                    <a:pt x="2821" y="6671"/>
                    <a:pt x="2887" y="6619"/>
                    <a:pt x="2988" y="6619"/>
                  </a:cubicBezTo>
                  <a:cubicBezTo>
                    <a:pt x="3060" y="6619"/>
                    <a:pt x="3090" y="6645"/>
                    <a:pt x="3126" y="6692"/>
                  </a:cubicBezTo>
                  <a:cubicBezTo>
                    <a:pt x="3263" y="6938"/>
                    <a:pt x="3532" y="6817"/>
                    <a:pt x="3771" y="6817"/>
                  </a:cubicBezTo>
                  <a:cubicBezTo>
                    <a:pt x="4112" y="6817"/>
                    <a:pt x="4315" y="7282"/>
                    <a:pt x="4722" y="7157"/>
                  </a:cubicBezTo>
                  <a:cubicBezTo>
                    <a:pt x="5026" y="7084"/>
                    <a:pt x="5230" y="7037"/>
                    <a:pt x="5570" y="7037"/>
                  </a:cubicBezTo>
                  <a:cubicBezTo>
                    <a:pt x="5845" y="7037"/>
                    <a:pt x="5875" y="6817"/>
                    <a:pt x="5947" y="6645"/>
                  </a:cubicBezTo>
                  <a:cubicBezTo>
                    <a:pt x="5977" y="6598"/>
                    <a:pt x="6521" y="6060"/>
                    <a:pt x="6288" y="6082"/>
                  </a:cubicBezTo>
                  <a:cubicBezTo>
                    <a:pt x="5977" y="6108"/>
                    <a:pt x="6150" y="5961"/>
                    <a:pt x="5977" y="5862"/>
                  </a:cubicBezTo>
                  <a:cubicBezTo>
                    <a:pt x="5875" y="5815"/>
                    <a:pt x="5672" y="5669"/>
                    <a:pt x="5708" y="5570"/>
                  </a:cubicBezTo>
                  <a:cubicBezTo>
                    <a:pt x="5708" y="5449"/>
                    <a:pt x="5809" y="5325"/>
                    <a:pt x="5744" y="5226"/>
                  </a:cubicBezTo>
                  <a:cubicBezTo>
                    <a:pt x="5708" y="5153"/>
                    <a:pt x="5606" y="5105"/>
                    <a:pt x="5606" y="5032"/>
                  </a:cubicBezTo>
                  <a:cubicBezTo>
                    <a:pt x="5570" y="5006"/>
                    <a:pt x="5672" y="4912"/>
                    <a:pt x="5672" y="4860"/>
                  </a:cubicBezTo>
                  <a:cubicBezTo>
                    <a:pt x="5774" y="4692"/>
                    <a:pt x="5708" y="4568"/>
                    <a:pt x="5845" y="4396"/>
                  </a:cubicBezTo>
                  <a:cubicBezTo>
                    <a:pt x="5875" y="4348"/>
                    <a:pt x="6353" y="3957"/>
                    <a:pt x="6180" y="3931"/>
                  </a:cubicBezTo>
                  <a:cubicBezTo>
                    <a:pt x="6013" y="3931"/>
                    <a:pt x="5977" y="3858"/>
                    <a:pt x="6048" y="3785"/>
                  </a:cubicBezTo>
                  <a:cubicBezTo>
                    <a:pt x="6150" y="3686"/>
                    <a:pt x="6150" y="3540"/>
                    <a:pt x="6252" y="3467"/>
                  </a:cubicBezTo>
                  <a:cubicBezTo>
                    <a:pt x="6353" y="3346"/>
                    <a:pt x="6592" y="3346"/>
                    <a:pt x="6592" y="3174"/>
                  </a:cubicBezTo>
                  <a:cubicBezTo>
                    <a:pt x="6592" y="3101"/>
                    <a:pt x="6491" y="2981"/>
                    <a:pt x="6521" y="2908"/>
                  </a:cubicBezTo>
                  <a:cubicBezTo>
                    <a:pt x="6557" y="2834"/>
                    <a:pt x="6592" y="2662"/>
                    <a:pt x="6622" y="2615"/>
                  </a:cubicBezTo>
                  <a:cubicBezTo>
                    <a:pt x="6694" y="2563"/>
                    <a:pt x="6963" y="2809"/>
                    <a:pt x="7136" y="2615"/>
                  </a:cubicBezTo>
                  <a:cubicBezTo>
                    <a:pt x="7166" y="2563"/>
                    <a:pt x="7100" y="2516"/>
                    <a:pt x="7166" y="2443"/>
                  </a:cubicBezTo>
                  <a:cubicBezTo>
                    <a:pt x="7268" y="2370"/>
                    <a:pt x="7441" y="2370"/>
                    <a:pt x="7304" y="2245"/>
                  </a:cubicBezTo>
                  <a:cubicBezTo>
                    <a:pt x="7238" y="2151"/>
                    <a:pt x="7369" y="2172"/>
                    <a:pt x="7441" y="2172"/>
                  </a:cubicBezTo>
                  <a:cubicBezTo>
                    <a:pt x="7507" y="2198"/>
                    <a:pt x="7471" y="2004"/>
                    <a:pt x="7543" y="1953"/>
                  </a:cubicBezTo>
                  <a:cubicBezTo>
                    <a:pt x="7674" y="1905"/>
                    <a:pt x="7949" y="1978"/>
                    <a:pt x="8087" y="1953"/>
                  </a:cubicBezTo>
                  <a:cubicBezTo>
                    <a:pt x="8421" y="2052"/>
                    <a:pt x="8320" y="1806"/>
                    <a:pt x="8391" y="1686"/>
                  </a:cubicBezTo>
                  <a:cubicBezTo>
                    <a:pt x="8457" y="1488"/>
                    <a:pt x="8493" y="1587"/>
                    <a:pt x="8732" y="1561"/>
                  </a:cubicBezTo>
                  <a:cubicBezTo>
                    <a:pt x="8965" y="1540"/>
                    <a:pt x="9103" y="1316"/>
                    <a:pt x="9276" y="1243"/>
                  </a:cubicBezTo>
                  <a:cubicBezTo>
                    <a:pt x="9407" y="1196"/>
                    <a:pt x="9545" y="1148"/>
                    <a:pt x="9646" y="1097"/>
                  </a:cubicBezTo>
                  <a:cubicBezTo>
                    <a:pt x="9886" y="976"/>
                    <a:pt x="9646" y="976"/>
                    <a:pt x="9646" y="852"/>
                  </a:cubicBezTo>
                  <a:cubicBezTo>
                    <a:pt x="9712" y="804"/>
                    <a:pt x="9611" y="658"/>
                    <a:pt x="9682" y="585"/>
                  </a:cubicBezTo>
                  <a:cubicBezTo>
                    <a:pt x="9748" y="538"/>
                    <a:pt x="9814" y="486"/>
                    <a:pt x="9850" y="413"/>
                  </a:cubicBezTo>
                  <a:cubicBezTo>
                    <a:pt x="9951" y="318"/>
                    <a:pt x="9951" y="168"/>
                    <a:pt x="10089" y="95"/>
                  </a:cubicBezTo>
                  <a:cubicBezTo>
                    <a:pt x="10226" y="0"/>
                    <a:pt x="10429" y="0"/>
                    <a:pt x="10633" y="0"/>
                  </a:cubicBezTo>
                  <a:cubicBezTo>
                    <a:pt x="10633" y="22"/>
                    <a:pt x="10597" y="47"/>
                    <a:pt x="10597" y="95"/>
                  </a:cubicBezTo>
                  <a:cubicBezTo>
                    <a:pt x="10597" y="168"/>
                    <a:pt x="10698" y="194"/>
                    <a:pt x="10734" y="241"/>
                  </a:cubicBezTo>
                  <a:cubicBezTo>
                    <a:pt x="10770" y="241"/>
                    <a:pt x="11039" y="241"/>
                    <a:pt x="11039" y="292"/>
                  </a:cubicBezTo>
                  <a:cubicBezTo>
                    <a:pt x="11105" y="292"/>
                    <a:pt x="11206" y="512"/>
                    <a:pt x="11344" y="538"/>
                  </a:cubicBezTo>
                  <a:lnTo>
                    <a:pt x="11410" y="559"/>
                  </a:lnTo>
                  <a:cubicBezTo>
                    <a:pt x="11511" y="585"/>
                    <a:pt x="11511" y="731"/>
                    <a:pt x="11547" y="783"/>
                  </a:cubicBezTo>
                  <a:cubicBezTo>
                    <a:pt x="11619" y="929"/>
                    <a:pt x="11720" y="684"/>
                    <a:pt x="11822" y="830"/>
                  </a:cubicBezTo>
                  <a:cubicBezTo>
                    <a:pt x="11685" y="1148"/>
                    <a:pt x="12055" y="951"/>
                    <a:pt x="12091" y="852"/>
                  </a:cubicBezTo>
                  <a:cubicBezTo>
                    <a:pt x="12157" y="757"/>
                    <a:pt x="12157" y="757"/>
                    <a:pt x="12157" y="757"/>
                  </a:cubicBezTo>
                  <a:cubicBezTo>
                    <a:pt x="12228" y="585"/>
                    <a:pt x="12330" y="783"/>
                    <a:pt x="12497" y="783"/>
                  </a:cubicBezTo>
                  <a:cubicBezTo>
                    <a:pt x="12569" y="951"/>
                    <a:pt x="12838" y="783"/>
                    <a:pt x="12940" y="804"/>
                  </a:cubicBezTo>
                  <a:cubicBezTo>
                    <a:pt x="12976" y="951"/>
                    <a:pt x="13448" y="611"/>
                    <a:pt x="13519" y="585"/>
                  </a:cubicBezTo>
                  <a:cubicBezTo>
                    <a:pt x="13956" y="465"/>
                    <a:pt x="14165" y="877"/>
                    <a:pt x="14470" y="903"/>
                  </a:cubicBezTo>
                  <a:cubicBezTo>
                    <a:pt x="14535" y="903"/>
                    <a:pt x="14739" y="852"/>
                    <a:pt x="14739" y="877"/>
                  </a:cubicBezTo>
                  <a:cubicBezTo>
                    <a:pt x="14840" y="903"/>
                    <a:pt x="15181" y="1342"/>
                    <a:pt x="15181" y="1342"/>
                  </a:cubicBezTo>
                  <a:cubicBezTo>
                    <a:pt x="15217" y="1415"/>
                    <a:pt x="15420" y="1514"/>
                    <a:pt x="15522" y="1540"/>
                  </a:cubicBezTo>
                  <a:cubicBezTo>
                    <a:pt x="15587" y="1561"/>
                    <a:pt x="15892" y="1686"/>
                    <a:pt x="15964" y="1634"/>
                  </a:cubicBezTo>
                  <a:cubicBezTo>
                    <a:pt x="16095" y="1514"/>
                    <a:pt x="16030" y="1561"/>
                    <a:pt x="16203" y="1587"/>
                  </a:cubicBezTo>
                  <a:cubicBezTo>
                    <a:pt x="16406" y="1613"/>
                    <a:pt x="16436" y="1540"/>
                    <a:pt x="16508" y="1467"/>
                  </a:cubicBezTo>
                  <a:cubicBezTo>
                    <a:pt x="16574" y="1394"/>
                    <a:pt x="16711" y="1441"/>
                    <a:pt x="16777" y="1467"/>
                  </a:cubicBezTo>
                  <a:cubicBezTo>
                    <a:pt x="16843" y="1488"/>
                    <a:pt x="17183" y="1368"/>
                    <a:pt x="17255" y="1342"/>
                  </a:cubicBezTo>
                  <a:cubicBezTo>
                    <a:pt x="17422" y="1269"/>
                    <a:pt x="17524" y="1441"/>
                    <a:pt x="17661" y="1415"/>
                  </a:cubicBezTo>
                  <a:cubicBezTo>
                    <a:pt x="17966" y="1394"/>
                    <a:pt x="17865" y="1686"/>
                    <a:pt x="18133" y="1759"/>
                  </a:cubicBezTo>
                  <a:cubicBezTo>
                    <a:pt x="18235" y="1781"/>
                    <a:pt x="18373" y="1733"/>
                    <a:pt x="18337" y="1634"/>
                  </a:cubicBezTo>
                  <a:cubicBezTo>
                    <a:pt x="18307" y="1540"/>
                    <a:pt x="18408" y="1514"/>
                    <a:pt x="18474" y="1441"/>
                  </a:cubicBezTo>
                  <a:cubicBezTo>
                    <a:pt x="18713" y="1394"/>
                    <a:pt x="18612" y="1467"/>
                    <a:pt x="18749" y="1488"/>
                  </a:cubicBezTo>
                  <a:lnTo>
                    <a:pt x="18779" y="1514"/>
                  </a:lnTo>
                  <a:cubicBezTo>
                    <a:pt x="18779" y="1587"/>
                    <a:pt x="19084" y="1660"/>
                    <a:pt x="19156" y="1634"/>
                  </a:cubicBezTo>
                  <a:cubicBezTo>
                    <a:pt x="19257" y="1613"/>
                    <a:pt x="19424" y="1587"/>
                    <a:pt x="19526" y="1587"/>
                  </a:cubicBezTo>
                  <a:cubicBezTo>
                    <a:pt x="19729" y="1634"/>
                    <a:pt x="19903" y="1540"/>
                    <a:pt x="20106" y="1587"/>
                  </a:cubicBezTo>
                  <a:cubicBezTo>
                    <a:pt x="20172" y="1587"/>
                    <a:pt x="20273" y="1587"/>
                    <a:pt x="20345" y="1613"/>
                  </a:cubicBezTo>
                  <a:cubicBezTo>
                    <a:pt x="20446" y="1634"/>
                    <a:pt x="20548" y="1660"/>
                    <a:pt x="20650" y="1660"/>
                  </a:cubicBezTo>
                  <a:cubicBezTo>
                    <a:pt x="20715" y="1634"/>
                    <a:pt x="20751" y="1634"/>
                    <a:pt x="20781" y="1634"/>
                  </a:cubicBezTo>
                  <a:cubicBezTo>
                    <a:pt x="20889" y="1781"/>
                    <a:pt x="20889" y="1781"/>
                    <a:pt x="20889" y="1781"/>
                  </a:cubicBezTo>
                  <a:cubicBezTo>
                    <a:pt x="21020" y="1880"/>
                    <a:pt x="21020" y="1905"/>
                    <a:pt x="21092" y="2052"/>
                  </a:cubicBezTo>
                  <a:cubicBezTo>
                    <a:pt x="21158" y="2172"/>
                    <a:pt x="21325" y="2198"/>
                    <a:pt x="21463" y="2198"/>
                  </a:cubicBezTo>
                  <a:cubicBezTo>
                    <a:pt x="21564" y="2344"/>
                    <a:pt x="21463" y="2490"/>
                    <a:pt x="21361" y="2637"/>
                  </a:cubicBezTo>
                  <a:cubicBezTo>
                    <a:pt x="21194" y="2856"/>
                    <a:pt x="21325" y="2761"/>
                    <a:pt x="21397" y="2955"/>
                  </a:cubicBezTo>
                  <a:cubicBezTo>
                    <a:pt x="21397" y="3028"/>
                    <a:pt x="21194" y="3054"/>
                    <a:pt x="21122" y="3080"/>
                  </a:cubicBezTo>
                  <a:cubicBezTo>
                    <a:pt x="21020" y="3101"/>
                    <a:pt x="21020" y="3174"/>
                    <a:pt x="21092" y="3226"/>
                  </a:cubicBezTo>
                  <a:cubicBezTo>
                    <a:pt x="21194" y="3320"/>
                    <a:pt x="21056" y="3394"/>
                    <a:pt x="21223" y="3467"/>
                  </a:cubicBezTo>
                  <a:cubicBezTo>
                    <a:pt x="21361" y="3518"/>
                    <a:pt x="21295" y="3617"/>
                    <a:pt x="21325" y="3738"/>
                  </a:cubicBezTo>
                  <a:cubicBezTo>
                    <a:pt x="21361" y="3811"/>
                    <a:pt x="21259" y="3931"/>
                    <a:pt x="21295" y="3957"/>
                  </a:cubicBezTo>
                  <a:cubicBezTo>
                    <a:pt x="21325" y="4004"/>
                    <a:pt x="21600" y="3983"/>
                    <a:pt x="21534" y="4056"/>
                  </a:cubicBezTo>
                  <a:cubicBezTo>
                    <a:pt x="21325" y="4275"/>
                    <a:pt x="21534" y="4202"/>
                    <a:pt x="21427" y="4396"/>
                  </a:cubicBezTo>
                  <a:cubicBezTo>
                    <a:pt x="21325" y="4641"/>
                    <a:pt x="21092" y="5006"/>
                    <a:pt x="21092" y="5277"/>
                  </a:cubicBezTo>
                  <a:cubicBezTo>
                    <a:pt x="21092" y="5544"/>
                    <a:pt x="21092" y="5789"/>
                    <a:pt x="20919" y="6034"/>
                  </a:cubicBezTo>
                  <a:cubicBezTo>
                    <a:pt x="20919" y="6082"/>
                    <a:pt x="20817" y="6155"/>
                    <a:pt x="20781" y="6206"/>
                  </a:cubicBezTo>
                  <a:cubicBezTo>
                    <a:pt x="20715" y="6327"/>
                    <a:pt x="20853" y="6452"/>
                    <a:pt x="20686" y="6598"/>
                  </a:cubicBezTo>
                  <a:cubicBezTo>
                    <a:pt x="20650" y="6619"/>
                    <a:pt x="20411" y="6791"/>
                    <a:pt x="20345" y="6817"/>
                  </a:cubicBezTo>
                  <a:cubicBezTo>
                    <a:pt x="20243" y="6817"/>
                    <a:pt x="20106" y="6890"/>
                    <a:pt x="20172" y="6985"/>
                  </a:cubicBezTo>
                  <a:cubicBezTo>
                    <a:pt x="20273" y="7084"/>
                    <a:pt x="20345" y="7329"/>
                    <a:pt x="20345" y="7449"/>
                  </a:cubicBezTo>
                  <a:cubicBezTo>
                    <a:pt x="20345" y="7596"/>
                    <a:pt x="20004" y="7574"/>
                    <a:pt x="20004" y="7673"/>
                  </a:cubicBezTo>
                  <a:cubicBezTo>
                    <a:pt x="19968" y="7819"/>
                    <a:pt x="19867" y="7841"/>
                    <a:pt x="19699" y="7841"/>
                  </a:cubicBezTo>
                  <a:cubicBezTo>
                    <a:pt x="19496" y="7841"/>
                    <a:pt x="19424" y="8039"/>
                    <a:pt x="19424" y="8159"/>
                  </a:cubicBezTo>
                  <a:cubicBezTo>
                    <a:pt x="19424" y="8331"/>
                    <a:pt x="19018" y="8211"/>
                    <a:pt x="18881" y="8305"/>
                  </a:cubicBezTo>
                  <a:cubicBezTo>
                    <a:pt x="18916" y="8284"/>
                    <a:pt x="18916" y="8284"/>
                    <a:pt x="18881" y="8284"/>
                  </a:cubicBezTo>
                  <a:cubicBezTo>
                    <a:pt x="18815" y="8525"/>
                    <a:pt x="18068" y="8770"/>
                    <a:pt x="18408" y="8989"/>
                  </a:cubicBezTo>
                  <a:cubicBezTo>
                    <a:pt x="18576" y="9135"/>
                    <a:pt x="18474" y="9161"/>
                    <a:pt x="18510" y="9333"/>
                  </a:cubicBezTo>
                  <a:cubicBezTo>
                    <a:pt x="18576" y="9505"/>
                    <a:pt x="18881" y="9381"/>
                    <a:pt x="19054" y="9381"/>
                  </a:cubicBezTo>
                  <a:cubicBezTo>
                    <a:pt x="19156" y="9553"/>
                    <a:pt x="19156" y="10090"/>
                    <a:pt x="18815" y="10163"/>
                  </a:cubicBezTo>
                  <a:cubicBezTo>
                    <a:pt x="18677" y="10189"/>
                    <a:pt x="18235" y="10163"/>
                    <a:pt x="18474" y="10383"/>
                  </a:cubicBezTo>
                  <a:cubicBezTo>
                    <a:pt x="18576" y="10482"/>
                    <a:pt x="18546" y="10654"/>
                    <a:pt x="18373" y="10701"/>
                  </a:cubicBezTo>
                  <a:cubicBezTo>
                    <a:pt x="18271" y="10873"/>
                    <a:pt x="18474" y="10920"/>
                    <a:pt x="18612" y="11045"/>
                  </a:cubicBezTo>
                  <a:cubicBezTo>
                    <a:pt x="18713" y="11118"/>
                    <a:pt x="18647" y="11166"/>
                    <a:pt x="18576" y="11213"/>
                  </a:cubicBezTo>
                  <a:cubicBezTo>
                    <a:pt x="18474" y="11286"/>
                    <a:pt x="18576" y="11338"/>
                    <a:pt x="18647" y="11385"/>
                  </a:cubicBezTo>
                  <a:cubicBezTo>
                    <a:pt x="18749" y="11432"/>
                    <a:pt x="18713" y="11776"/>
                    <a:pt x="18677" y="11875"/>
                  </a:cubicBezTo>
                  <a:cubicBezTo>
                    <a:pt x="18612" y="12047"/>
                    <a:pt x="18307" y="11970"/>
                    <a:pt x="18235" y="12142"/>
                  </a:cubicBezTo>
                  <a:cubicBezTo>
                    <a:pt x="18169" y="12241"/>
                    <a:pt x="18271" y="12387"/>
                    <a:pt x="18133" y="12460"/>
                  </a:cubicBezTo>
                  <a:cubicBezTo>
                    <a:pt x="18032" y="12533"/>
                    <a:pt x="17900" y="12533"/>
                    <a:pt x="17829" y="12581"/>
                  </a:cubicBezTo>
                  <a:cubicBezTo>
                    <a:pt x="17763" y="12632"/>
                    <a:pt x="17829" y="12680"/>
                    <a:pt x="17727" y="12705"/>
                  </a:cubicBezTo>
                  <a:cubicBezTo>
                    <a:pt x="17625" y="12753"/>
                    <a:pt x="17422" y="12658"/>
                    <a:pt x="17422" y="12804"/>
                  </a:cubicBezTo>
                  <a:cubicBezTo>
                    <a:pt x="17422" y="12877"/>
                    <a:pt x="17458" y="13071"/>
                    <a:pt x="17524" y="13123"/>
                  </a:cubicBezTo>
                  <a:cubicBezTo>
                    <a:pt x="17661" y="13269"/>
                    <a:pt x="17829" y="13342"/>
                    <a:pt x="17930" y="13535"/>
                  </a:cubicBezTo>
                  <a:cubicBezTo>
                    <a:pt x="18169" y="13927"/>
                    <a:pt x="17661" y="14073"/>
                    <a:pt x="17727" y="14391"/>
                  </a:cubicBezTo>
                  <a:cubicBezTo>
                    <a:pt x="17763" y="14538"/>
                    <a:pt x="17865" y="14684"/>
                    <a:pt x="17930" y="14804"/>
                  </a:cubicBezTo>
                  <a:cubicBezTo>
                    <a:pt x="17966" y="14903"/>
                    <a:pt x="17727" y="15028"/>
                    <a:pt x="17697" y="15123"/>
                  </a:cubicBezTo>
                  <a:cubicBezTo>
                    <a:pt x="17661" y="15196"/>
                    <a:pt x="17625" y="15222"/>
                    <a:pt x="17524" y="15269"/>
                  </a:cubicBezTo>
                  <a:cubicBezTo>
                    <a:pt x="17458" y="15295"/>
                    <a:pt x="17386" y="15295"/>
                    <a:pt x="17285" y="15320"/>
                  </a:cubicBezTo>
                  <a:cubicBezTo>
                    <a:pt x="17255" y="15320"/>
                    <a:pt x="17183" y="15320"/>
                    <a:pt x="17153" y="15346"/>
                  </a:cubicBezTo>
                  <a:cubicBezTo>
                    <a:pt x="17117" y="15368"/>
                    <a:pt x="17153" y="15441"/>
                    <a:pt x="17183" y="15492"/>
                  </a:cubicBezTo>
                  <a:cubicBezTo>
                    <a:pt x="17052" y="15540"/>
                    <a:pt x="17052" y="15540"/>
                    <a:pt x="17052" y="15540"/>
                  </a:cubicBezTo>
                  <a:cubicBezTo>
                    <a:pt x="16980" y="15566"/>
                    <a:pt x="16914" y="15587"/>
                    <a:pt x="16843" y="15566"/>
                  </a:cubicBezTo>
                  <a:cubicBezTo>
                    <a:pt x="16777" y="15540"/>
                    <a:pt x="16777" y="15514"/>
                    <a:pt x="16711" y="15514"/>
                  </a:cubicBezTo>
                  <a:cubicBezTo>
                    <a:pt x="16574" y="15540"/>
                    <a:pt x="16472" y="15639"/>
                    <a:pt x="16334" y="15686"/>
                  </a:cubicBezTo>
                  <a:cubicBezTo>
                    <a:pt x="16334" y="15733"/>
                    <a:pt x="16269" y="15733"/>
                    <a:pt x="16233" y="15733"/>
                  </a:cubicBezTo>
                  <a:cubicBezTo>
                    <a:pt x="16030" y="15540"/>
                    <a:pt x="16131" y="15492"/>
                    <a:pt x="15689" y="15492"/>
                  </a:cubicBezTo>
                  <a:cubicBezTo>
                    <a:pt x="15450" y="15492"/>
                    <a:pt x="15014" y="15368"/>
                    <a:pt x="14912" y="15196"/>
                  </a:cubicBezTo>
                  <a:cubicBezTo>
                    <a:pt x="14876" y="15174"/>
                    <a:pt x="14876" y="15075"/>
                    <a:pt x="14804" y="15075"/>
                  </a:cubicBezTo>
                  <a:cubicBezTo>
                    <a:pt x="14571" y="15075"/>
                    <a:pt x="14398" y="15174"/>
                    <a:pt x="14332" y="15346"/>
                  </a:cubicBezTo>
                  <a:cubicBezTo>
                    <a:pt x="14195" y="15587"/>
                    <a:pt x="14267" y="15733"/>
                    <a:pt x="13854" y="15880"/>
                  </a:cubicBezTo>
                  <a:cubicBezTo>
                    <a:pt x="13585" y="15978"/>
                    <a:pt x="13651" y="15905"/>
                    <a:pt x="13418" y="15858"/>
                  </a:cubicBezTo>
                  <a:cubicBezTo>
                    <a:pt x="13113" y="15785"/>
                    <a:pt x="13244" y="16052"/>
                    <a:pt x="13179" y="16151"/>
                  </a:cubicBezTo>
                  <a:cubicBezTo>
                    <a:pt x="13077" y="16297"/>
                    <a:pt x="13585" y="16323"/>
                    <a:pt x="13687" y="16323"/>
                  </a:cubicBezTo>
                  <a:lnTo>
                    <a:pt x="13788" y="16297"/>
                  </a:lnTo>
                  <a:cubicBezTo>
                    <a:pt x="13854" y="16297"/>
                    <a:pt x="13788" y="16542"/>
                    <a:pt x="13788" y="16568"/>
                  </a:cubicBezTo>
                  <a:cubicBezTo>
                    <a:pt x="13788" y="16641"/>
                    <a:pt x="13753" y="16981"/>
                    <a:pt x="13788" y="17006"/>
                  </a:cubicBezTo>
                  <a:cubicBezTo>
                    <a:pt x="13926" y="17032"/>
                    <a:pt x="14027" y="17178"/>
                    <a:pt x="13890" y="17252"/>
                  </a:cubicBezTo>
                  <a:cubicBezTo>
                    <a:pt x="13788" y="17325"/>
                    <a:pt x="13621" y="17299"/>
                    <a:pt x="13549" y="17346"/>
                  </a:cubicBezTo>
                  <a:cubicBezTo>
                    <a:pt x="13382" y="17471"/>
                    <a:pt x="13519" y="17544"/>
                    <a:pt x="13585" y="17643"/>
                  </a:cubicBezTo>
                  <a:cubicBezTo>
                    <a:pt x="13621" y="17716"/>
                    <a:pt x="13926" y="17910"/>
                    <a:pt x="13890" y="17957"/>
                  </a:cubicBezTo>
                  <a:cubicBezTo>
                    <a:pt x="13890" y="17983"/>
                    <a:pt x="13651" y="18082"/>
                    <a:pt x="13585" y="18103"/>
                  </a:cubicBezTo>
                  <a:cubicBezTo>
                    <a:pt x="13418" y="18228"/>
                    <a:pt x="13382" y="18348"/>
                    <a:pt x="13143" y="18400"/>
                  </a:cubicBezTo>
                  <a:cubicBezTo>
                    <a:pt x="12976" y="18447"/>
                    <a:pt x="13143" y="18594"/>
                    <a:pt x="13143" y="18667"/>
                  </a:cubicBezTo>
                  <a:cubicBezTo>
                    <a:pt x="13143" y="18839"/>
                    <a:pt x="12396" y="18959"/>
                    <a:pt x="12228" y="18912"/>
                  </a:cubicBezTo>
                  <a:cubicBezTo>
                    <a:pt x="12157" y="18886"/>
                    <a:pt x="12055" y="18813"/>
                    <a:pt x="11989" y="18813"/>
                  </a:cubicBezTo>
                  <a:cubicBezTo>
                    <a:pt x="11888" y="18959"/>
                    <a:pt x="11852" y="19157"/>
                    <a:pt x="11786" y="19325"/>
                  </a:cubicBezTo>
                  <a:cubicBezTo>
                    <a:pt x="11720" y="19548"/>
                    <a:pt x="11583" y="19596"/>
                    <a:pt x="11410" y="19768"/>
                  </a:cubicBezTo>
                  <a:cubicBezTo>
                    <a:pt x="11308" y="19888"/>
                    <a:pt x="11445" y="19961"/>
                    <a:pt x="11445" y="20060"/>
                  </a:cubicBezTo>
                  <a:cubicBezTo>
                    <a:pt x="11380" y="20060"/>
                    <a:pt x="11308" y="20060"/>
                    <a:pt x="11206" y="20060"/>
                  </a:cubicBezTo>
                  <a:cubicBezTo>
                    <a:pt x="10937" y="20331"/>
                    <a:pt x="10561" y="20159"/>
                    <a:pt x="10358" y="20400"/>
                  </a:cubicBezTo>
                  <a:cubicBezTo>
                    <a:pt x="10190" y="20598"/>
                    <a:pt x="9814" y="20624"/>
                    <a:pt x="9784" y="20770"/>
                  </a:cubicBezTo>
                  <a:cubicBezTo>
                    <a:pt x="9748" y="20890"/>
                    <a:pt x="9814" y="21135"/>
                    <a:pt x="9915" y="21209"/>
                  </a:cubicBezTo>
                  <a:cubicBezTo>
                    <a:pt x="9951" y="21234"/>
                    <a:pt x="10125" y="21329"/>
                    <a:pt x="10089" y="21355"/>
                  </a:cubicBezTo>
                  <a:cubicBezTo>
                    <a:pt x="10089" y="21355"/>
                    <a:pt x="10125" y="21355"/>
                    <a:pt x="10089" y="21355"/>
                  </a:cubicBezTo>
                  <a:cubicBezTo>
                    <a:pt x="10089" y="21381"/>
                    <a:pt x="9850" y="21428"/>
                    <a:pt x="9814" y="21454"/>
                  </a:cubicBezTo>
                  <a:cubicBezTo>
                    <a:pt x="9748" y="21501"/>
                    <a:pt x="9611" y="21600"/>
                    <a:pt x="9509" y="21600"/>
                  </a:cubicBezTo>
                  <a:cubicBezTo>
                    <a:pt x="9509" y="21553"/>
                    <a:pt x="9342" y="21454"/>
                    <a:pt x="9276" y="21406"/>
                  </a:cubicBezTo>
                  <a:cubicBezTo>
                    <a:pt x="9240" y="21355"/>
                    <a:pt x="9342" y="21234"/>
                    <a:pt x="9276" y="21183"/>
                  </a:cubicBezTo>
                  <a:cubicBezTo>
                    <a:pt x="9276" y="21088"/>
                    <a:pt x="9342" y="20942"/>
                    <a:pt x="9204" y="20843"/>
                  </a:cubicBezTo>
                  <a:cubicBezTo>
                    <a:pt x="9103" y="20770"/>
                    <a:pt x="8762" y="20770"/>
                    <a:pt x="8732" y="20671"/>
                  </a:cubicBezTo>
                  <a:cubicBezTo>
                    <a:pt x="8559" y="20645"/>
                    <a:pt x="8457" y="20718"/>
                    <a:pt x="8254" y="20697"/>
                  </a:cubicBezTo>
                  <a:cubicBezTo>
                    <a:pt x="8218" y="20598"/>
                    <a:pt x="7949" y="20718"/>
                    <a:pt x="7877" y="20744"/>
                  </a:cubicBezTo>
                  <a:cubicBezTo>
                    <a:pt x="7573" y="20718"/>
                    <a:pt x="7573" y="20718"/>
                    <a:pt x="7573" y="20718"/>
                  </a:cubicBezTo>
                  <a:cubicBezTo>
                    <a:pt x="7441" y="20477"/>
                    <a:pt x="7441" y="20477"/>
                    <a:pt x="7441" y="20477"/>
                  </a:cubicBezTo>
                  <a:cubicBezTo>
                    <a:pt x="7644" y="20426"/>
                    <a:pt x="8188" y="20280"/>
                    <a:pt x="8051" y="20086"/>
                  </a:cubicBezTo>
                  <a:cubicBezTo>
                    <a:pt x="7949" y="19914"/>
                    <a:pt x="7507" y="19695"/>
                    <a:pt x="7238" y="19716"/>
                  </a:cubicBezTo>
                  <a:cubicBezTo>
                    <a:pt x="6861" y="19768"/>
                    <a:pt x="6897" y="19695"/>
                    <a:pt x="6796" y="19497"/>
                  </a:cubicBezTo>
                  <a:cubicBezTo>
                    <a:pt x="6760" y="19424"/>
                    <a:pt x="6658" y="19402"/>
                    <a:pt x="6592" y="19325"/>
                  </a:cubicBezTo>
                  <a:cubicBezTo>
                    <a:pt x="6491" y="19256"/>
                    <a:pt x="6491" y="19178"/>
                    <a:pt x="6491" y="19058"/>
                  </a:cubicBezTo>
                  <a:cubicBezTo>
                    <a:pt x="6455" y="19058"/>
                    <a:pt x="6455" y="19058"/>
                    <a:pt x="6455" y="19058"/>
                  </a:cubicBezTo>
                  <a:cubicBezTo>
                    <a:pt x="5977" y="19157"/>
                    <a:pt x="6557" y="19716"/>
                    <a:pt x="5845" y="19596"/>
                  </a:cubicBezTo>
                  <a:cubicBezTo>
                    <a:pt x="5367" y="19548"/>
                    <a:pt x="5367" y="19548"/>
                    <a:pt x="5367" y="19548"/>
                  </a:cubicBezTo>
                  <a:cubicBezTo>
                    <a:pt x="5367" y="19497"/>
                    <a:pt x="5433" y="19178"/>
                    <a:pt x="5403" y="19157"/>
                  </a:cubicBezTo>
                  <a:cubicBezTo>
                    <a:pt x="5301" y="19131"/>
                    <a:pt x="5128" y="19256"/>
                    <a:pt x="4997" y="19204"/>
                  </a:cubicBezTo>
                  <a:cubicBezTo>
                    <a:pt x="4925" y="19157"/>
                    <a:pt x="4889" y="19131"/>
                    <a:pt x="4793" y="19157"/>
                  </a:cubicBezTo>
                  <a:cubicBezTo>
                    <a:pt x="4620" y="19204"/>
                    <a:pt x="4554" y="19178"/>
                    <a:pt x="4453" y="19084"/>
                  </a:cubicBezTo>
                  <a:cubicBezTo>
                    <a:pt x="4315" y="18959"/>
                    <a:pt x="4249" y="18865"/>
                    <a:pt x="4040" y="18813"/>
                  </a:cubicBezTo>
                  <a:cubicBezTo>
                    <a:pt x="3909" y="18766"/>
                    <a:pt x="3706" y="18374"/>
                    <a:pt x="3532" y="18400"/>
                  </a:cubicBezTo>
                  <a:cubicBezTo>
                    <a:pt x="3467" y="18422"/>
                    <a:pt x="3329" y="18641"/>
                    <a:pt x="3329" y="18594"/>
                  </a:cubicBezTo>
                  <a:cubicBezTo>
                    <a:pt x="3227" y="18594"/>
                    <a:pt x="3299" y="18301"/>
                    <a:pt x="3431" y="18301"/>
                  </a:cubicBezTo>
                  <a:cubicBezTo>
                    <a:pt x="3431" y="18249"/>
                    <a:pt x="3401" y="18202"/>
                    <a:pt x="3329" y="18176"/>
                  </a:cubicBezTo>
                  <a:cubicBezTo>
                    <a:pt x="2923" y="17811"/>
                    <a:pt x="2923" y="17811"/>
                    <a:pt x="2923" y="17811"/>
                  </a:cubicBezTo>
                  <a:cubicBezTo>
                    <a:pt x="2618" y="17789"/>
                    <a:pt x="2684" y="17665"/>
                    <a:pt x="2887" y="17591"/>
                  </a:cubicBezTo>
                  <a:cubicBezTo>
                    <a:pt x="2988" y="17566"/>
                    <a:pt x="3024" y="17419"/>
                    <a:pt x="3126" y="17372"/>
                  </a:cubicBezTo>
                  <a:cubicBezTo>
                    <a:pt x="3198" y="17325"/>
                    <a:pt x="3329" y="17445"/>
                    <a:pt x="3401" y="17325"/>
                  </a:cubicBezTo>
                  <a:cubicBezTo>
                    <a:pt x="3467" y="17200"/>
                    <a:pt x="3532" y="16443"/>
                    <a:pt x="3706" y="16443"/>
                  </a:cubicBezTo>
                  <a:cubicBezTo>
                    <a:pt x="3706" y="16469"/>
                    <a:pt x="4040" y="16568"/>
                    <a:pt x="4112" y="16568"/>
                  </a:cubicBezTo>
                  <a:cubicBezTo>
                    <a:pt x="4315" y="16615"/>
                    <a:pt x="4315" y="16589"/>
                    <a:pt x="4453" y="16490"/>
                  </a:cubicBezTo>
                  <a:cubicBezTo>
                    <a:pt x="4620" y="16396"/>
                    <a:pt x="4453" y="16077"/>
                    <a:pt x="4584" y="16077"/>
                  </a:cubicBezTo>
                  <a:cubicBezTo>
                    <a:pt x="4584" y="16052"/>
                    <a:pt x="4584" y="16052"/>
                    <a:pt x="4584" y="16052"/>
                  </a:cubicBezTo>
                  <a:cubicBezTo>
                    <a:pt x="4793" y="15978"/>
                    <a:pt x="4518" y="15492"/>
                    <a:pt x="4518" y="15368"/>
                  </a:cubicBezTo>
                  <a:cubicBezTo>
                    <a:pt x="4554" y="15196"/>
                    <a:pt x="4722" y="14903"/>
                    <a:pt x="4518" y="14804"/>
                  </a:cubicBezTo>
                  <a:cubicBezTo>
                    <a:pt x="4315" y="14684"/>
                    <a:pt x="3939" y="14465"/>
                    <a:pt x="4040" y="14245"/>
                  </a:cubicBezTo>
                  <a:cubicBezTo>
                    <a:pt x="4076" y="14073"/>
                    <a:pt x="4178" y="14026"/>
                    <a:pt x="3939" y="13901"/>
                  </a:cubicBezTo>
                  <a:cubicBezTo>
                    <a:pt x="3837" y="13854"/>
                    <a:pt x="3401" y="13587"/>
                    <a:pt x="3365" y="13488"/>
                  </a:cubicBezTo>
                  <a:cubicBezTo>
                    <a:pt x="3198" y="13415"/>
                    <a:pt x="2958" y="13217"/>
                    <a:pt x="2887" y="13097"/>
                  </a:cubicBezTo>
                  <a:cubicBezTo>
                    <a:pt x="2719" y="12852"/>
                    <a:pt x="2480" y="12972"/>
                    <a:pt x="2241" y="12852"/>
                  </a:cubicBezTo>
                  <a:cubicBezTo>
                    <a:pt x="2176" y="12804"/>
                    <a:pt x="2176" y="12705"/>
                    <a:pt x="2110" y="12658"/>
                  </a:cubicBezTo>
                  <a:cubicBezTo>
                    <a:pt x="1972" y="12559"/>
                    <a:pt x="1805" y="12804"/>
                    <a:pt x="1733" y="12533"/>
                  </a:cubicBezTo>
                  <a:cubicBezTo>
                    <a:pt x="1733" y="12512"/>
                    <a:pt x="1632" y="12434"/>
                    <a:pt x="1632" y="12413"/>
                  </a:cubicBezTo>
                  <a:cubicBezTo>
                    <a:pt x="1393" y="12413"/>
                    <a:pt x="1189" y="12559"/>
                    <a:pt x="920" y="12512"/>
                  </a:cubicBezTo>
                  <a:cubicBezTo>
                    <a:pt x="783" y="12434"/>
                    <a:pt x="783" y="12434"/>
                    <a:pt x="783" y="12434"/>
                  </a:cubicBezTo>
                  <a:cubicBezTo>
                    <a:pt x="681" y="12387"/>
                    <a:pt x="544" y="12361"/>
                    <a:pt x="478" y="12340"/>
                  </a:cubicBezTo>
                  <a:cubicBezTo>
                    <a:pt x="442" y="12340"/>
                    <a:pt x="239" y="12314"/>
                    <a:pt x="209" y="12288"/>
                  </a:cubicBezTo>
                  <a:lnTo>
                    <a:pt x="209" y="12142"/>
                  </a:lnTo>
                  <a:cubicBezTo>
                    <a:pt x="209" y="12069"/>
                    <a:pt x="239" y="11970"/>
                    <a:pt x="209" y="11897"/>
                  </a:cubicBezTo>
                  <a:cubicBezTo>
                    <a:pt x="137" y="11751"/>
                    <a:pt x="36" y="11583"/>
                    <a:pt x="0" y="11432"/>
                  </a:cubicBezTo>
                  <a:cubicBezTo>
                    <a:pt x="0" y="11338"/>
                    <a:pt x="137" y="11265"/>
                    <a:pt x="72" y="11166"/>
                  </a:cubicBezTo>
                  <a:cubicBezTo>
                    <a:pt x="0" y="11092"/>
                    <a:pt x="239" y="11092"/>
                    <a:pt x="311" y="11045"/>
                  </a:cubicBezTo>
                  <a:cubicBezTo>
                    <a:pt x="478" y="10920"/>
                    <a:pt x="412" y="10508"/>
                    <a:pt x="544" y="10482"/>
                  </a:cubicBezTo>
                  <a:cubicBezTo>
                    <a:pt x="616" y="10456"/>
                    <a:pt x="885" y="10555"/>
                    <a:pt x="920" y="10602"/>
                  </a:cubicBezTo>
                  <a:cubicBezTo>
                    <a:pt x="1022" y="10727"/>
                    <a:pt x="1022" y="10994"/>
                    <a:pt x="1261" y="10873"/>
                  </a:cubicBezTo>
                  <a:cubicBezTo>
                    <a:pt x="1596" y="10701"/>
                    <a:pt x="1596" y="10701"/>
                    <a:pt x="1596" y="10701"/>
                  </a:cubicBezTo>
                  <a:cubicBezTo>
                    <a:pt x="1769" y="10628"/>
                    <a:pt x="1566" y="10262"/>
                    <a:pt x="1464" y="10138"/>
                  </a:cubicBezTo>
                  <a:cubicBezTo>
                    <a:pt x="1363" y="10065"/>
                    <a:pt x="1428" y="9871"/>
                    <a:pt x="1494" y="9772"/>
                  </a:cubicBezTo>
                  <a:cubicBezTo>
                    <a:pt x="1566" y="9652"/>
                    <a:pt x="1189" y="9505"/>
                    <a:pt x="1363" y="9381"/>
                  </a:cubicBezTo>
                  <a:cubicBezTo>
                    <a:pt x="1494" y="9260"/>
                    <a:pt x="1907" y="9480"/>
                    <a:pt x="1907" y="9308"/>
                  </a:cubicBezTo>
                  <a:cubicBezTo>
                    <a:pt x="2008" y="9260"/>
                    <a:pt x="2074" y="9114"/>
                    <a:pt x="2140" y="9114"/>
                  </a:cubicBezTo>
                  <a:cubicBezTo>
                    <a:pt x="2277" y="9114"/>
                    <a:pt x="2313" y="9062"/>
                    <a:pt x="2349" y="8968"/>
                  </a:cubicBezTo>
                  <a:cubicBezTo>
                    <a:pt x="2618" y="8895"/>
                    <a:pt x="2684" y="9062"/>
                    <a:pt x="2684" y="8770"/>
                  </a:cubicBezTo>
                  <a:cubicBezTo>
                    <a:pt x="2684" y="8649"/>
                    <a:pt x="2887" y="8624"/>
                    <a:pt x="2887" y="8452"/>
                  </a:cubicBezTo>
                  <a:cubicBezTo>
                    <a:pt x="2552" y="8404"/>
                    <a:pt x="2719" y="8112"/>
                    <a:pt x="2444" y="8060"/>
                  </a:cubicBezTo>
                  <a:cubicBezTo>
                    <a:pt x="2444" y="7867"/>
                    <a:pt x="2785" y="7596"/>
                    <a:pt x="2516" y="7376"/>
                  </a:cubicBezTo>
                  <a:cubicBezTo>
                    <a:pt x="2379" y="7282"/>
                    <a:pt x="2349" y="7256"/>
                    <a:pt x="2349" y="7110"/>
                  </a:cubicBezTo>
                  <a:cubicBezTo>
                    <a:pt x="2349" y="6865"/>
                    <a:pt x="2349" y="6865"/>
                    <a:pt x="2349" y="6865"/>
                  </a:cubicBezTo>
                  <a:cubicBezTo>
                    <a:pt x="2349" y="6839"/>
                    <a:pt x="2313" y="6791"/>
                    <a:pt x="2313" y="6766"/>
                  </a:cubicBezTo>
                  <a:cubicBezTo>
                    <a:pt x="2313" y="6718"/>
                    <a:pt x="2379" y="6671"/>
                    <a:pt x="2415" y="6645"/>
                  </a:cubicBezTo>
                  <a:cubicBezTo>
                    <a:pt x="2480" y="6598"/>
                    <a:pt x="2480" y="6598"/>
                    <a:pt x="2480" y="6598"/>
                  </a:cubicBezTo>
                  <a:close/>
                  <a:moveTo>
                    <a:pt x="7507" y="3639"/>
                  </a:moveTo>
                  <a:cubicBezTo>
                    <a:pt x="7507" y="3591"/>
                    <a:pt x="7507" y="3566"/>
                    <a:pt x="7543" y="3540"/>
                  </a:cubicBezTo>
                  <a:cubicBezTo>
                    <a:pt x="7543" y="3518"/>
                    <a:pt x="7543" y="3492"/>
                    <a:pt x="7543" y="3445"/>
                  </a:cubicBezTo>
                  <a:cubicBezTo>
                    <a:pt x="7543" y="3372"/>
                    <a:pt x="7441" y="3445"/>
                    <a:pt x="7405" y="3467"/>
                  </a:cubicBezTo>
                  <a:cubicBezTo>
                    <a:pt x="7339" y="3518"/>
                    <a:pt x="7339" y="3591"/>
                    <a:pt x="7304" y="3639"/>
                  </a:cubicBezTo>
                  <a:cubicBezTo>
                    <a:pt x="7268" y="3665"/>
                    <a:pt x="7268" y="3712"/>
                    <a:pt x="7268" y="3712"/>
                  </a:cubicBezTo>
                  <a:cubicBezTo>
                    <a:pt x="7339" y="3738"/>
                    <a:pt x="7405" y="3686"/>
                    <a:pt x="7441" y="3665"/>
                  </a:cubicBezTo>
                  <a:cubicBezTo>
                    <a:pt x="7507" y="3639"/>
                    <a:pt x="7507" y="3639"/>
                    <a:pt x="7507" y="3639"/>
                  </a:cubicBezTo>
                  <a:close/>
                  <a:moveTo>
                    <a:pt x="8116" y="3200"/>
                  </a:moveTo>
                  <a:cubicBezTo>
                    <a:pt x="8015" y="3200"/>
                    <a:pt x="7949" y="3002"/>
                    <a:pt x="7847" y="3127"/>
                  </a:cubicBezTo>
                  <a:cubicBezTo>
                    <a:pt x="7812" y="3153"/>
                    <a:pt x="7812" y="3174"/>
                    <a:pt x="7812" y="3200"/>
                  </a:cubicBezTo>
                  <a:cubicBezTo>
                    <a:pt x="7782" y="3247"/>
                    <a:pt x="7674" y="3320"/>
                    <a:pt x="7746" y="3394"/>
                  </a:cubicBezTo>
                  <a:cubicBezTo>
                    <a:pt x="7812" y="3467"/>
                    <a:pt x="8015" y="3445"/>
                    <a:pt x="8152" y="3445"/>
                  </a:cubicBezTo>
                  <a:cubicBezTo>
                    <a:pt x="8391" y="3445"/>
                    <a:pt x="8116" y="3346"/>
                    <a:pt x="8116" y="3247"/>
                  </a:cubicBezTo>
                  <a:lnTo>
                    <a:pt x="8116" y="3200"/>
                  </a:lnTo>
                  <a:close/>
                </a:path>
              </a:pathLst>
            </a:custGeom>
            <a:grpFill/>
            <a:ln w="3175" cap="flat" cmpd="sng">
              <a:noFill/>
              <a:prstDash val="solid"/>
              <a:bevel/>
              <a:headEnd type="none" w="sm" len="sm"/>
              <a:tailEnd type="none" w="sm" len="sm"/>
            </a:ln>
          </p:spPr>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C2C2C"/>
                </a:solidFill>
                <a:effectLst/>
                <a:uLnTx/>
                <a:uFillTx/>
                <a:latin typeface="Open Sans"/>
                <a:ea typeface="Open Sans"/>
                <a:cs typeface="Open Sans"/>
                <a:sym typeface="Open Sans"/>
              </a:endParaRPr>
            </a:p>
          </p:txBody>
        </p:sp>
        <p:sp>
          <p:nvSpPr>
            <p:cNvPr id="10" name="Google Shape;11981;p276" descr="Freeform 152">
              <a:extLst>
                <a:ext uri="{FF2B5EF4-FFF2-40B4-BE49-F238E27FC236}">
                  <a16:creationId xmlns:a16="http://schemas.microsoft.com/office/drawing/2014/main" id="{0CB92381-BF70-2382-BDDE-CFB3557E92FB}"/>
                </a:ext>
              </a:extLst>
            </p:cNvPr>
            <p:cNvSpPr/>
            <p:nvPr/>
          </p:nvSpPr>
          <p:spPr>
            <a:xfrm>
              <a:off x="3180477" y="224163"/>
              <a:ext cx="610161" cy="658218"/>
            </a:xfrm>
            <a:custGeom>
              <a:avLst/>
              <a:gdLst/>
              <a:ahLst/>
              <a:cxnLst/>
              <a:rect l="l" t="t" r="r" b="b"/>
              <a:pathLst>
                <a:path w="21600" h="21379" extrusionOk="0">
                  <a:moveTo>
                    <a:pt x="21600" y="6052"/>
                  </a:moveTo>
                  <a:cubicBezTo>
                    <a:pt x="21600" y="5997"/>
                    <a:pt x="21540" y="5942"/>
                    <a:pt x="21540" y="5896"/>
                  </a:cubicBezTo>
                  <a:cubicBezTo>
                    <a:pt x="21540" y="5740"/>
                    <a:pt x="21430" y="5428"/>
                    <a:pt x="21310" y="5317"/>
                  </a:cubicBezTo>
                  <a:cubicBezTo>
                    <a:pt x="21090" y="5161"/>
                    <a:pt x="19719" y="5896"/>
                    <a:pt x="19609" y="5428"/>
                  </a:cubicBezTo>
                  <a:cubicBezTo>
                    <a:pt x="19489" y="5428"/>
                    <a:pt x="19209" y="5216"/>
                    <a:pt x="19149" y="5428"/>
                  </a:cubicBezTo>
                  <a:cubicBezTo>
                    <a:pt x="19149" y="5428"/>
                    <a:pt x="19149" y="5428"/>
                    <a:pt x="19099" y="5428"/>
                  </a:cubicBezTo>
                  <a:cubicBezTo>
                    <a:pt x="19099" y="5630"/>
                    <a:pt x="18699" y="5473"/>
                    <a:pt x="18639" y="5372"/>
                  </a:cubicBezTo>
                  <a:cubicBezTo>
                    <a:pt x="18589" y="5317"/>
                    <a:pt x="18188" y="5161"/>
                    <a:pt x="18128" y="5106"/>
                  </a:cubicBezTo>
                  <a:cubicBezTo>
                    <a:pt x="18068" y="5060"/>
                    <a:pt x="18128" y="4849"/>
                    <a:pt x="17958" y="4849"/>
                  </a:cubicBezTo>
                  <a:cubicBezTo>
                    <a:pt x="17848" y="4849"/>
                    <a:pt x="17728" y="4904"/>
                    <a:pt x="17618" y="4849"/>
                  </a:cubicBezTo>
                  <a:cubicBezTo>
                    <a:pt x="17338" y="4794"/>
                    <a:pt x="17278" y="4849"/>
                    <a:pt x="17168" y="4592"/>
                  </a:cubicBezTo>
                  <a:cubicBezTo>
                    <a:pt x="17168" y="4537"/>
                    <a:pt x="16938" y="4482"/>
                    <a:pt x="16878" y="4482"/>
                  </a:cubicBezTo>
                  <a:cubicBezTo>
                    <a:pt x="16598" y="4326"/>
                    <a:pt x="16768" y="4537"/>
                    <a:pt x="16538" y="4638"/>
                  </a:cubicBezTo>
                  <a:cubicBezTo>
                    <a:pt x="16428" y="4638"/>
                    <a:pt x="16428" y="4280"/>
                    <a:pt x="16137" y="4280"/>
                  </a:cubicBezTo>
                  <a:cubicBezTo>
                    <a:pt x="15857" y="4280"/>
                    <a:pt x="15627" y="3756"/>
                    <a:pt x="15347" y="4013"/>
                  </a:cubicBezTo>
                  <a:cubicBezTo>
                    <a:pt x="15117" y="4224"/>
                    <a:pt x="14487" y="3802"/>
                    <a:pt x="14487" y="3545"/>
                  </a:cubicBezTo>
                  <a:cubicBezTo>
                    <a:pt x="14487" y="3389"/>
                    <a:pt x="14717" y="3021"/>
                    <a:pt x="14837" y="3021"/>
                  </a:cubicBezTo>
                  <a:cubicBezTo>
                    <a:pt x="14437" y="3021"/>
                    <a:pt x="14327" y="3021"/>
                    <a:pt x="14097" y="3334"/>
                  </a:cubicBezTo>
                  <a:cubicBezTo>
                    <a:pt x="13976" y="3545"/>
                    <a:pt x="14097" y="4280"/>
                    <a:pt x="13866" y="4280"/>
                  </a:cubicBezTo>
                  <a:cubicBezTo>
                    <a:pt x="13466" y="4280"/>
                    <a:pt x="11875" y="3701"/>
                    <a:pt x="12616" y="3233"/>
                  </a:cubicBezTo>
                  <a:cubicBezTo>
                    <a:pt x="13066" y="2920"/>
                    <a:pt x="13126" y="2764"/>
                    <a:pt x="13296" y="2296"/>
                  </a:cubicBezTo>
                  <a:cubicBezTo>
                    <a:pt x="13296" y="1873"/>
                    <a:pt x="13756" y="1561"/>
                    <a:pt x="13586" y="1038"/>
                  </a:cubicBezTo>
                  <a:cubicBezTo>
                    <a:pt x="13416" y="514"/>
                    <a:pt x="12726" y="680"/>
                    <a:pt x="12336" y="514"/>
                  </a:cubicBezTo>
                  <a:cubicBezTo>
                    <a:pt x="12046" y="358"/>
                    <a:pt x="11705" y="202"/>
                    <a:pt x="11425" y="312"/>
                  </a:cubicBezTo>
                  <a:cubicBezTo>
                    <a:pt x="11425" y="358"/>
                    <a:pt x="11365" y="468"/>
                    <a:pt x="11425" y="514"/>
                  </a:cubicBezTo>
                  <a:cubicBezTo>
                    <a:pt x="11425" y="882"/>
                    <a:pt x="11135" y="1038"/>
                    <a:pt x="10795" y="781"/>
                  </a:cubicBezTo>
                  <a:cubicBezTo>
                    <a:pt x="10395" y="569"/>
                    <a:pt x="10625" y="358"/>
                    <a:pt x="10625" y="101"/>
                  </a:cubicBezTo>
                  <a:cubicBezTo>
                    <a:pt x="10625" y="101"/>
                    <a:pt x="10565" y="101"/>
                    <a:pt x="10565" y="46"/>
                  </a:cubicBezTo>
                  <a:cubicBezTo>
                    <a:pt x="10395" y="46"/>
                    <a:pt x="10225" y="0"/>
                    <a:pt x="10005" y="0"/>
                  </a:cubicBezTo>
                  <a:cubicBezTo>
                    <a:pt x="9714" y="0"/>
                    <a:pt x="9494" y="101"/>
                    <a:pt x="9264" y="101"/>
                  </a:cubicBezTo>
                  <a:cubicBezTo>
                    <a:pt x="8634" y="468"/>
                    <a:pt x="8634" y="468"/>
                    <a:pt x="8634" y="468"/>
                  </a:cubicBezTo>
                  <a:cubicBezTo>
                    <a:pt x="8464" y="836"/>
                    <a:pt x="8414" y="1038"/>
                    <a:pt x="8014" y="1304"/>
                  </a:cubicBezTo>
                  <a:cubicBezTo>
                    <a:pt x="7674" y="1460"/>
                    <a:pt x="7553" y="1460"/>
                    <a:pt x="7163" y="1460"/>
                  </a:cubicBezTo>
                  <a:cubicBezTo>
                    <a:pt x="7103" y="1460"/>
                    <a:pt x="6993" y="1929"/>
                    <a:pt x="6993" y="2030"/>
                  </a:cubicBezTo>
                  <a:cubicBezTo>
                    <a:pt x="6933" y="2397"/>
                    <a:pt x="7043" y="2296"/>
                    <a:pt x="7103" y="2553"/>
                  </a:cubicBezTo>
                  <a:cubicBezTo>
                    <a:pt x="7163" y="2654"/>
                    <a:pt x="6653" y="3233"/>
                    <a:pt x="6593" y="3334"/>
                  </a:cubicBezTo>
                  <a:cubicBezTo>
                    <a:pt x="6423" y="3490"/>
                    <a:pt x="6023" y="3545"/>
                    <a:pt x="5853" y="3701"/>
                  </a:cubicBezTo>
                  <a:cubicBezTo>
                    <a:pt x="5683" y="3912"/>
                    <a:pt x="5793" y="4013"/>
                    <a:pt x="5683" y="4169"/>
                  </a:cubicBezTo>
                  <a:cubicBezTo>
                    <a:pt x="5392" y="4537"/>
                    <a:pt x="5513" y="4326"/>
                    <a:pt x="5573" y="4794"/>
                  </a:cubicBezTo>
                  <a:cubicBezTo>
                    <a:pt x="5573" y="5216"/>
                    <a:pt x="5172" y="5060"/>
                    <a:pt x="4882" y="5262"/>
                  </a:cubicBezTo>
                  <a:cubicBezTo>
                    <a:pt x="4712" y="5529"/>
                    <a:pt x="4432" y="5740"/>
                    <a:pt x="4092" y="5786"/>
                  </a:cubicBezTo>
                  <a:cubicBezTo>
                    <a:pt x="3802" y="5786"/>
                    <a:pt x="3752" y="5574"/>
                    <a:pt x="3522" y="5574"/>
                  </a:cubicBezTo>
                  <a:cubicBezTo>
                    <a:pt x="3121" y="5630"/>
                    <a:pt x="2891" y="6309"/>
                    <a:pt x="3011" y="6621"/>
                  </a:cubicBezTo>
                  <a:cubicBezTo>
                    <a:pt x="3352" y="7356"/>
                    <a:pt x="2381" y="7558"/>
                    <a:pt x="2671" y="8293"/>
                  </a:cubicBezTo>
                  <a:cubicBezTo>
                    <a:pt x="2781" y="8660"/>
                    <a:pt x="2551" y="8816"/>
                    <a:pt x="2211" y="8862"/>
                  </a:cubicBezTo>
                  <a:cubicBezTo>
                    <a:pt x="1871" y="8917"/>
                    <a:pt x="2161" y="9386"/>
                    <a:pt x="2161" y="9652"/>
                  </a:cubicBezTo>
                  <a:cubicBezTo>
                    <a:pt x="2161" y="9909"/>
                    <a:pt x="2211" y="9753"/>
                    <a:pt x="2331" y="9698"/>
                  </a:cubicBezTo>
                  <a:cubicBezTo>
                    <a:pt x="2381" y="9698"/>
                    <a:pt x="2381" y="10019"/>
                    <a:pt x="2381" y="10065"/>
                  </a:cubicBezTo>
                  <a:cubicBezTo>
                    <a:pt x="2381" y="10221"/>
                    <a:pt x="2211" y="10120"/>
                    <a:pt x="2161" y="10166"/>
                  </a:cubicBezTo>
                  <a:cubicBezTo>
                    <a:pt x="2041" y="10166"/>
                    <a:pt x="1871" y="10332"/>
                    <a:pt x="1761" y="10332"/>
                  </a:cubicBezTo>
                  <a:cubicBezTo>
                    <a:pt x="1421" y="10433"/>
                    <a:pt x="1421" y="10332"/>
                    <a:pt x="1251" y="10120"/>
                  </a:cubicBezTo>
                  <a:cubicBezTo>
                    <a:pt x="1020" y="9698"/>
                    <a:pt x="510" y="10332"/>
                    <a:pt x="340" y="10534"/>
                  </a:cubicBezTo>
                  <a:cubicBezTo>
                    <a:pt x="230" y="10589"/>
                    <a:pt x="0" y="10589"/>
                    <a:pt x="0" y="10690"/>
                  </a:cubicBezTo>
                  <a:cubicBezTo>
                    <a:pt x="0" y="10745"/>
                    <a:pt x="50" y="11057"/>
                    <a:pt x="110" y="11057"/>
                  </a:cubicBezTo>
                  <a:cubicBezTo>
                    <a:pt x="230" y="11112"/>
                    <a:pt x="340" y="11057"/>
                    <a:pt x="340" y="11213"/>
                  </a:cubicBezTo>
                  <a:cubicBezTo>
                    <a:pt x="340" y="11213"/>
                    <a:pt x="280" y="11480"/>
                    <a:pt x="390" y="11424"/>
                  </a:cubicBezTo>
                  <a:cubicBezTo>
                    <a:pt x="620" y="11268"/>
                    <a:pt x="680" y="11057"/>
                    <a:pt x="850" y="10846"/>
                  </a:cubicBezTo>
                  <a:cubicBezTo>
                    <a:pt x="910" y="10800"/>
                    <a:pt x="1081" y="10956"/>
                    <a:pt x="1081" y="11002"/>
                  </a:cubicBezTo>
                  <a:cubicBezTo>
                    <a:pt x="1131" y="11057"/>
                    <a:pt x="1131" y="11526"/>
                    <a:pt x="1081" y="11636"/>
                  </a:cubicBezTo>
                  <a:cubicBezTo>
                    <a:pt x="960" y="12150"/>
                    <a:pt x="960" y="12150"/>
                    <a:pt x="960" y="12150"/>
                  </a:cubicBezTo>
                  <a:cubicBezTo>
                    <a:pt x="620" y="12572"/>
                    <a:pt x="620" y="12572"/>
                    <a:pt x="620" y="12572"/>
                  </a:cubicBezTo>
                  <a:cubicBezTo>
                    <a:pt x="790" y="12572"/>
                    <a:pt x="960" y="12729"/>
                    <a:pt x="1131" y="12784"/>
                  </a:cubicBezTo>
                  <a:cubicBezTo>
                    <a:pt x="1701" y="12940"/>
                    <a:pt x="2331" y="13252"/>
                    <a:pt x="2781" y="13408"/>
                  </a:cubicBezTo>
                  <a:cubicBezTo>
                    <a:pt x="3242" y="13610"/>
                    <a:pt x="4662" y="13454"/>
                    <a:pt x="4772" y="13978"/>
                  </a:cubicBezTo>
                  <a:cubicBezTo>
                    <a:pt x="5052" y="14813"/>
                    <a:pt x="5282" y="14446"/>
                    <a:pt x="6083" y="14712"/>
                  </a:cubicBezTo>
                  <a:cubicBezTo>
                    <a:pt x="6473" y="14868"/>
                    <a:pt x="6703" y="15438"/>
                    <a:pt x="6933" y="15704"/>
                  </a:cubicBezTo>
                  <a:cubicBezTo>
                    <a:pt x="7503" y="16273"/>
                    <a:pt x="8464" y="16485"/>
                    <a:pt x="9204" y="16852"/>
                  </a:cubicBezTo>
                  <a:cubicBezTo>
                    <a:pt x="9324" y="16898"/>
                    <a:pt x="9544" y="17054"/>
                    <a:pt x="9835" y="17210"/>
                  </a:cubicBezTo>
                  <a:cubicBezTo>
                    <a:pt x="9494" y="17844"/>
                    <a:pt x="9494" y="17844"/>
                    <a:pt x="9494" y="17844"/>
                  </a:cubicBezTo>
                  <a:cubicBezTo>
                    <a:pt x="9494" y="18156"/>
                    <a:pt x="9264" y="17890"/>
                    <a:pt x="9094" y="17844"/>
                  </a:cubicBezTo>
                  <a:cubicBezTo>
                    <a:pt x="8864" y="17734"/>
                    <a:pt x="8804" y="17945"/>
                    <a:pt x="8634" y="17890"/>
                  </a:cubicBezTo>
                  <a:cubicBezTo>
                    <a:pt x="8074" y="17532"/>
                    <a:pt x="8244" y="17844"/>
                    <a:pt x="7894" y="18101"/>
                  </a:cubicBezTo>
                  <a:cubicBezTo>
                    <a:pt x="7614" y="18367"/>
                    <a:pt x="6993" y="18937"/>
                    <a:pt x="7103" y="19304"/>
                  </a:cubicBezTo>
                  <a:cubicBezTo>
                    <a:pt x="7163" y="19561"/>
                    <a:pt x="7213" y="19671"/>
                    <a:pt x="7443" y="19772"/>
                  </a:cubicBezTo>
                  <a:cubicBezTo>
                    <a:pt x="7734" y="19873"/>
                    <a:pt x="7894" y="19828"/>
                    <a:pt x="7954" y="20140"/>
                  </a:cubicBezTo>
                  <a:cubicBezTo>
                    <a:pt x="8074" y="20140"/>
                    <a:pt x="8124" y="20140"/>
                    <a:pt x="8244" y="20140"/>
                  </a:cubicBezTo>
                  <a:cubicBezTo>
                    <a:pt x="8294" y="20140"/>
                    <a:pt x="8354" y="20140"/>
                    <a:pt x="8414" y="20186"/>
                  </a:cubicBezTo>
                  <a:cubicBezTo>
                    <a:pt x="8524" y="20296"/>
                    <a:pt x="8634" y="20186"/>
                    <a:pt x="8804" y="20186"/>
                  </a:cubicBezTo>
                  <a:cubicBezTo>
                    <a:pt x="8924" y="20186"/>
                    <a:pt x="8974" y="20241"/>
                    <a:pt x="9034" y="20342"/>
                  </a:cubicBezTo>
                  <a:cubicBezTo>
                    <a:pt x="9264" y="20865"/>
                    <a:pt x="9714" y="20608"/>
                    <a:pt x="10115" y="20608"/>
                  </a:cubicBezTo>
                  <a:cubicBezTo>
                    <a:pt x="10685" y="20608"/>
                    <a:pt x="11025" y="21600"/>
                    <a:pt x="11705" y="21334"/>
                  </a:cubicBezTo>
                  <a:cubicBezTo>
                    <a:pt x="12216" y="21178"/>
                    <a:pt x="12556" y="21077"/>
                    <a:pt x="13126" y="21077"/>
                  </a:cubicBezTo>
                  <a:cubicBezTo>
                    <a:pt x="13586" y="21077"/>
                    <a:pt x="13636" y="20608"/>
                    <a:pt x="13756" y="20241"/>
                  </a:cubicBezTo>
                  <a:cubicBezTo>
                    <a:pt x="13806" y="20140"/>
                    <a:pt x="14717" y="18992"/>
                    <a:pt x="14327" y="19038"/>
                  </a:cubicBezTo>
                  <a:cubicBezTo>
                    <a:pt x="13806" y="19093"/>
                    <a:pt x="14097" y="18781"/>
                    <a:pt x="13806" y="18569"/>
                  </a:cubicBezTo>
                  <a:cubicBezTo>
                    <a:pt x="13636" y="18468"/>
                    <a:pt x="13296" y="18156"/>
                    <a:pt x="13356" y="17945"/>
                  </a:cubicBezTo>
                  <a:cubicBezTo>
                    <a:pt x="13356" y="17688"/>
                    <a:pt x="13526" y="17421"/>
                    <a:pt x="13416" y="17210"/>
                  </a:cubicBezTo>
                  <a:cubicBezTo>
                    <a:pt x="13356" y="17054"/>
                    <a:pt x="13186" y="16953"/>
                    <a:pt x="13186" y="16797"/>
                  </a:cubicBezTo>
                  <a:cubicBezTo>
                    <a:pt x="13126" y="16742"/>
                    <a:pt x="13296" y="16540"/>
                    <a:pt x="13296" y="16430"/>
                  </a:cubicBezTo>
                  <a:cubicBezTo>
                    <a:pt x="13466" y="16071"/>
                    <a:pt x="13356" y="15805"/>
                    <a:pt x="13586" y="15438"/>
                  </a:cubicBezTo>
                  <a:cubicBezTo>
                    <a:pt x="13636" y="15337"/>
                    <a:pt x="14437" y="14501"/>
                    <a:pt x="14147" y="14446"/>
                  </a:cubicBezTo>
                  <a:cubicBezTo>
                    <a:pt x="13866" y="14446"/>
                    <a:pt x="13806" y="14290"/>
                    <a:pt x="13926" y="14134"/>
                  </a:cubicBezTo>
                  <a:cubicBezTo>
                    <a:pt x="14097" y="13922"/>
                    <a:pt x="14097" y="13610"/>
                    <a:pt x="14267" y="13454"/>
                  </a:cubicBezTo>
                  <a:cubicBezTo>
                    <a:pt x="14437" y="13197"/>
                    <a:pt x="14837" y="13197"/>
                    <a:pt x="14837" y="12830"/>
                  </a:cubicBezTo>
                  <a:cubicBezTo>
                    <a:pt x="14837" y="12673"/>
                    <a:pt x="14667" y="12416"/>
                    <a:pt x="14717" y="12260"/>
                  </a:cubicBezTo>
                  <a:cubicBezTo>
                    <a:pt x="14777" y="12104"/>
                    <a:pt x="14837" y="11737"/>
                    <a:pt x="14887" y="11636"/>
                  </a:cubicBezTo>
                  <a:cubicBezTo>
                    <a:pt x="15007" y="11526"/>
                    <a:pt x="15457" y="12049"/>
                    <a:pt x="15747" y="11636"/>
                  </a:cubicBezTo>
                  <a:cubicBezTo>
                    <a:pt x="15797" y="11526"/>
                    <a:pt x="15687" y="11424"/>
                    <a:pt x="15797" y="11268"/>
                  </a:cubicBezTo>
                  <a:cubicBezTo>
                    <a:pt x="15967" y="11112"/>
                    <a:pt x="16258" y="11112"/>
                    <a:pt x="16027" y="10846"/>
                  </a:cubicBezTo>
                  <a:cubicBezTo>
                    <a:pt x="15917" y="10644"/>
                    <a:pt x="16137" y="10690"/>
                    <a:pt x="16258" y="10690"/>
                  </a:cubicBezTo>
                  <a:cubicBezTo>
                    <a:pt x="16368" y="10745"/>
                    <a:pt x="16308" y="10332"/>
                    <a:pt x="16428" y="10221"/>
                  </a:cubicBezTo>
                  <a:cubicBezTo>
                    <a:pt x="16648" y="10120"/>
                    <a:pt x="17108" y="10277"/>
                    <a:pt x="17338" y="10221"/>
                  </a:cubicBezTo>
                  <a:cubicBezTo>
                    <a:pt x="17898" y="10433"/>
                    <a:pt x="17728" y="9909"/>
                    <a:pt x="17848" y="9652"/>
                  </a:cubicBezTo>
                  <a:cubicBezTo>
                    <a:pt x="17958" y="9230"/>
                    <a:pt x="18018" y="9441"/>
                    <a:pt x="18419" y="9386"/>
                  </a:cubicBezTo>
                  <a:cubicBezTo>
                    <a:pt x="18809" y="9340"/>
                    <a:pt x="19039" y="8862"/>
                    <a:pt x="19329" y="8706"/>
                  </a:cubicBezTo>
                  <a:cubicBezTo>
                    <a:pt x="19549" y="8605"/>
                    <a:pt x="19779" y="8504"/>
                    <a:pt x="19949" y="8394"/>
                  </a:cubicBezTo>
                  <a:cubicBezTo>
                    <a:pt x="20349" y="8137"/>
                    <a:pt x="19949" y="8137"/>
                    <a:pt x="19949" y="7870"/>
                  </a:cubicBezTo>
                  <a:cubicBezTo>
                    <a:pt x="20059" y="7769"/>
                    <a:pt x="19889" y="7457"/>
                    <a:pt x="20009" y="7301"/>
                  </a:cubicBezTo>
                  <a:cubicBezTo>
                    <a:pt x="20119" y="7200"/>
                    <a:pt x="20229" y="7090"/>
                    <a:pt x="20289" y="6934"/>
                  </a:cubicBezTo>
                  <a:cubicBezTo>
                    <a:pt x="20459" y="6732"/>
                    <a:pt x="20459" y="6410"/>
                    <a:pt x="20690" y="6254"/>
                  </a:cubicBezTo>
                  <a:cubicBezTo>
                    <a:pt x="20920" y="6052"/>
                    <a:pt x="21260" y="6052"/>
                    <a:pt x="21600" y="6052"/>
                  </a:cubicBezTo>
                  <a:close/>
                  <a:moveTo>
                    <a:pt x="16368" y="13821"/>
                  </a:moveTo>
                  <a:cubicBezTo>
                    <a:pt x="16258" y="13877"/>
                    <a:pt x="16258" y="13877"/>
                    <a:pt x="16258" y="13877"/>
                  </a:cubicBezTo>
                  <a:cubicBezTo>
                    <a:pt x="16197" y="13922"/>
                    <a:pt x="16087" y="14033"/>
                    <a:pt x="15967" y="13978"/>
                  </a:cubicBezTo>
                  <a:cubicBezTo>
                    <a:pt x="15967" y="13978"/>
                    <a:pt x="15967" y="13877"/>
                    <a:pt x="16027" y="13821"/>
                  </a:cubicBezTo>
                  <a:cubicBezTo>
                    <a:pt x="16087" y="13720"/>
                    <a:pt x="16087" y="13564"/>
                    <a:pt x="16197" y="13454"/>
                  </a:cubicBezTo>
                  <a:cubicBezTo>
                    <a:pt x="16258" y="13408"/>
                    <a:pt x="16428" y="13252"/>
                    <a:pt x="16428" y="13408"/>
                  </a:cubicBezTo>
                  <a:cubicBezTo>
                    <a:pt x="16428" y="13509"/>
                    <a:pt x="16428" y="13564"/>
                    <a:pt x="16428" y="13610"/>
                  </a:cubicBezTo>
                  <a:cubicBezTo>
                    <a:pt x="16368" y="13665"/>
                    <a:pt x="16368" y="13720"/>
                    <a:pt x="16368" y="13821"/>
                  </a:cubicBezTo>
                  <a:close/>
                  <a:moveTo>
                    <a:pt x="17388" y="12885"/>
                  </a:moveTo>
                  <a:cubicBezTo>
                    <a:pt x="17388" y="12986"/>
                    <a:pt x="17388" y="12986"/>
                    <a:pt x="17388" y="12986"/>
                  </a:cubicBezTo>
                  <a:cubicBezTo>
                    <a:pt x="17388" y="13197"/>
                    <a:pt x="17848" y="13408"/>
                    <a:pt x="17448" y="13408"/>
                  </a:cubicBezTo>
                  <a:cubicBezTo>
                    <a:pt x="17218" y="13408"/>
                    <a:pt x="16878" y="13454"/>
                    <a:pt x="16768" y="13298"/>
                  </a:cubicBezTo>
                  <a:cubicBezTo>
                    <a:pt x="16648" y="13142"/>
                    <a:pt x="16828" y="12986"/>
                    <a:pt x="16878" y="12885"/>
                  </a:cubicBezTo>
                  <a:cubicBezTo>
                    <a:pt x="16878" y="12830"/>
                    <a:pt x="16878" y="12784"/>
                    <a:pt x="16938" y="12729"/>
                  </a:cubicBezTo>
                  <a:cubicBezTo>
                    <a:pt x="17108" y="12462"/>
                    <a:pt x="17218" y="12885"/>
                    <a:pt x="17388" y="12885"/>
                  </a:cubicBezTo>
                  <a:close/>
                </a:path>
              </a:pathLst>
            </a:custGeom>
            <a:grpFill/>
            <a:ln w="3175" cap="flat" cmpd="sng">
              <a:noFill/>
              <a:prstDash val="solid"/>
              <a:bevel/>
              <a:headEnd type="none" w="sm" len="sm"/>
              <a:tailEnd type="none" w="sm" len="sm"/>
            </a:ln>
          </p:spPr>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C2C2C"/>
                </a:solidFill>
                <a:effectLst/>
                <a:uLnTx/>
                <a:uFillTx/>
                <a:latin typeface="Open Sans"/>
                <a:ea typeface="Open Sans"/>
                <a:cs typeface="Open Sans"/>
                <a:sym typeface="Open Sans"/>
              </a:endParaRPr>
            </a:p>
          </p:txBody>
        </p:sp>
        <p:sp>
          <p:nvSpPr>
            <p:cNvPr id="11" name="Google Shape;11982;p276" descr="Freeform 153">
              <a:extLst>
                <a:ext uri="{FF2B5EF4-FFF2-40B4-BE49-F238E27FC236}">
                  <a16:creationId xmlns:a16="http://schemas.microsoft.com/office/drawing/2014/main" id="{BF651CF2-6591-472C-693C-68BF265A9514}"/>
                </a:ext>
              </a:extLst>
            </p:cNvPr>
            <p:cNvSpPr/>
            <p:nvPr/>
          </p:nvSpPr>
          <p:spPr>
            <a:xfrm>
              <a:off x="2849053" y="155935"/>
              <a:ext cx="592761" cy="465258"/>
            </a:xfrm>
            <a:custGeom>
              <a:avLst/>
              <a:gdLst/>
              <a:ahLst/>
              <a:cxnLst/>
              <a:rect l="l" t="t" r="r" b="b"/>
              <a:pathLst>
                <a:path w="21556" h="21073" extrusionOk="0">
                  <a:moveTo>
                    <a:pt x="305" y="6840"/>
                  </a:moveTo>
                  <a:cubicBezTo>
                    <a:pt x="942" y="6546"/>
                    <a:pt x="942" y="6546"/>
                    <a:pt x="942" y="6546"/>
                  </a:cubicBezTo>
                  <a:cubicBezTo>
                    <a:pt x="1179" y="6482"/>
                    <a:pt x="1467" y="6111"/>
                    <a:pt x="1703" y="5970"/>
                  </a:cubicBezTo>
                  <a:cubicBezTo>
                    <a:pt x="1878" y="5893"/>
                    <a:pt x="1939" y="5535"/>
                    <a:pt x="2176" y="5458"/>
                  </a:cubicBezTo>
                  <a:cubicBezTo>
                    <a:pt x="2350" y="5317"/>
                    <a:pt x="2576" y="5893"/>
                    <a:pt x="2751" y="6047"/>
                  </a:cubicBezTo>
                  <a:cubicBezTo>
                    <a:pt x="3049" y="6187"/>
                    <a:pt x="3398" y="6047"/>
                    <a:pt x="3686" y="6047"/>
                  </a:cubicBezTo>
                  <a:cubicBezTo>
                    <a:pt x="3686" y="6047"/>
                    <a:pt x="3686" y="6047"/>
                    <a:pt x="3748" y="6047"/>
                  </a:cubicBezTo>
                  <a:cubicBezTo>
                    <a:pt x="3748" y="6111"/>
                    <a:pt x="3748" y="6187"/>
                    <a:pt x="3686" y="6187"/>
                  </a:cubicBezTo>
                  <a:cubicBezTo>
                    <a:pt x="3686" y="6405"/>
                    <a:pt x="3285" y="6840"/>
                    <a:pt x="3285" y="7134"/>
                  </a:cubicBezTo>
                  <a:cubicBezTo>
                    <a:pt x="3285" y="7493"/>
                    <a:pt x="3748" y="7493"/>
                    <a:pt x="3984" y="7569"/>
                  </a:cubicBezTo>
                  <a:cubicBezTo>
                    <a:pt x="3984" y="7787"/>
                    <a:pt x="3686" y="7864"/>
                    <a:pt x="3686" y="8145"/>
                  </a:cubicBezTo>
                  <a:cubicBezTo>
                    <a:pt x="3861" y="8734"/>
                    <a:pt x="3861" y="9028"/>
                    <a:pt x="3398" y="9169"/>
                  </a:cubicBezTo>
                  <a:cubicBezTo>
                    <a:pt x="3398" y="9463"/>
                    <a:pt x="4036" y="9527"/>
                    <a:pt x="4159" y="9604"/>
                  </a:cubicBezTo>
                  <a:cubicBezTo>
                    <a:pt x="4395" y="9745"/>
                    <a:pt x="4395" y="9745"/>
                    <a:pt x="4683" y="9604"/>
                  </a:cubicBezTo>
                  <a:cubicBezTo>
                    <a:pt x="4858" y="9604"/>
                    <a:pt x="4971" y="10116"/>
                    <a:pt x="5032" y="10333"/>
                  </a:cubicBezTo>
                  <a:cubicBezTo>
                    <a:pt x="5094" y="10474"/>
                    <a:pt x="5207" y="10551"/>
                    <a:pt x="5320" y="10628"/>
                  </a:cubicBezTo>
                  <a:cubicBezTo>
                    <a:pt x="5382" y="10692"/>
                    <a:pt x="5731" y="10768"/>
                    <a:pt x="5731" y="10832"/>
                  </a:cubicBezTo>
                  <a:cubicBezTo>
                    <a:pt x="5906" y="10909"/>
                    <a:pt x="5382" y="11498"/>
                    <a:pt x="5320" y="11562"/>
                  </a:cubicBezTo>
                  <a:cubicBezTo>
                    <a:pt x="5320" y="11715"/>
                    <a:pt x="4447" y="12291"/>
                    <a:pt x="4334" y="12214"/>
                  </a:cubicBezTo>
                  <a:cubicBezTo>
                    <a:pt x="4159" y="12150"/>
                    <a:pt x="3861" y="11933"/>
                    <a:pt x="3748" y="11779"/>
                  </a:cubicBezTo>
                  <a:cubicBezTo>
                    <a:pt x="3635" y="11562"/>
                    <a:pt x="3748" y="11280"/>
                    <a:pt x="3686" y="11063"/>
                  </a:cubicBezTo>
                  <a:cubicBezTo>
                    <a:pt x="3460" y="10986"/>
                    <a:pt x="3162" y="10909"/>
                    <a:pt x="2987" y="10909"/>
                  </a:cubicBezTo>
                  <a:cubicBezTo>
                    <a:pt x="2700" y="10832"/>
                    <a:pt x="2700" y="10768"/>
                    <a:pt x="2576" y="11127"/>
                  </a:cubicBezTo>
                  <a:cubicBezTo>
                    <a:pt x="2525" y="11280"/>
                    <a:pt x="2463" y="11498"/>
                    <a:pt x="2289" y="11715"/>
                  </a:cubicBezTo>
                  <a:cubicBezTo>
                    <a:pt x="2001" y="12074"/>
                    <a:pt x="1939" y="12214"/>
                    <a:pt x="2289" y="12662"/>
                  </a:cubicBezTo>
                  <a:cubicBezTo>
                    <a:pt x="2463" y="12880"/>
                    <a:pt x="2463" y="13097"/>
                    <a:pt x="2576" y="13379"/>
                  </a:cubicBezTo>
                  <a:cubicBezTo>
                    <a:pt x="2751" y="13596"/>
                    <a:pt x="2987" y="13315"/>
                    <a:pt x="3100" y="13161"/>
                  </a:cubicBezTo>
                  <a:cubicBezTo>
                    <a:pt x="3224" y="13021"/>
                    <a:pt x="3337" y="13021"/>
                    <a:pt x="3460" y="12944"/>
                  </a:cubicBezTo>
                  <a:cubicBezTo>
                    <a:pt x="3573" y="12803"/>
                    <a:pt x="3635" y="12585"/>
                    <a:pt x="3809" y="12585"/>
                  </a:cubicBezTo>
                  <a:cubicBezTo>
                    <a:pt x="4159" y="12662"/>
                    <a:pt x="4159" y="12662"/>
                    <a:pt x="4159" y="12662"/>
                  </a:cubicBezTo>
                  <a:cubicBezTo>
                    <a:pt x="4159" y="12726"/>
                    <a:pt x="4159" y="12726"/>
                    <a:pt x="4159" y="12726"/>
                  </a:cubicBezTo>
                  <a:cubicBezTo>
                    <a:pt x="3984" y="13021"/>
                    <a:pt x="3573" y="13532"/>
                    <a:pt x="3573" y="13891"/>
                  </a:cubicBezTo>
                  <a:cubicBezTo>
                    <a:pt x="3686" y="14031"/>
                    <a:pt x="3861" y="13967"/>
                    <a:pt x="3923" y="14185"/>
                  </a:cubicBezTo>
                  <a:cubicBezTo>
                    <a:pt x="3861" y="14697"/>
                    <a:pt x="3861" y="14697"/>
                    <a:pt x="3861" y="14697"/>
                  </a:cubicBezTo>
                  <a:cubicBezTo>
                    <a:pt x="4334" y="14697"/>
                    <a:pt x="4796" y="14697"/>
                    <a:pt x="4796" y="14761"/>
                  </a:cubicBezTo>
                  <a:cubicBezTo>
                    <a:pt x="4971" y="14914"/>
                    <a:pt x="5269" y="15413"/>
                    <a:pt x="5669" y="15785"/>
                  </a:cubicBezTo>
                  <a:cubicBezTo>
                    <a:pt x="6142" y="16079"/>
                    <a:pt x="6666" y="16220"/>
                    <a:pt x="6728" y="16296"/>
                  </a:cubicBezTo>
                  <a:cubicBezTo>
                    <a:pt x="6779" y="16360"/>
                    <a:pt x="6954" y="16795"/>
                    <a:pt x="6954" y="16795"/>
                  </a:cubicBezTo>
                  <a:cubicBezTo>
                    <a:pt x="7139" y="17230"/>
                    <a:pt x="7139" y="17230"/>
                    <a:pt x="7139" y="17230"/>
                  </a:cubicBezTo>
                  <a:cubicBezTo>
                    <a:pt x="7252" y="17525"/>
                    <a:pt x="7252" y="17525"/>
                    <a:pt x="7252" y="17525"/>
                  </a:cubicBezTo>
                  <a:cubicBezTo>
                    <a:pt x="7540" y="17678"/>
                    <a:pt x="7540" y="17678"/>
                    <a:pt x="7540" y="17678"/>
                  </a:cubicBezTo>
                  <a:cubicBezTo>
                    <a:pt x="7540" y="17896"/>
                    <a:pt x="7488" y="18113"/>
                    <a:pt x="7776" y="18113"/>
                  </a:cubicBezTo>
                  <a:cubicBezTo>
                    <a:pt x="7776" y="18472"/>
                    <a:pt x="7540" y="18766"/>
                    <a:pt x="7714" y="18984"/>
                  </a:cubicBezTo>
                  <a:cubicBezTo>
                    <a:pt x="7951" y="19278"/>
                    <a:pt x="8475" y="18548"/>
                    <a:pt x="8475" y="18254"/>
                  </a:cubicBezTo>
                  <a:cubicBezTo>
                    <a:pt x="8536" y="17896"/>
                    <a:pt x="8773" y="17742"/>
                    <a:pt x="8999" y="18113"/>
                  </a:cubicBezTo>
                  <a:cubicBezTo>
                    <a:pt x="9122" y="18254"/>
                    <a:pt x="9472" y="18254"/>
                    <a:pt x="9472" y="18612"/>
                  </a:cubicBezTo>
                  <a:cubicBezTo>
                    <a:pt x="9472" y="19419"/>
                    <a:pt x="9472" y="19419"/>
                    <a:pt x="9472" y="19419"/>
                  </a:cubicBezTo>
                  <a:cubicBezTo>
                    <a:pt x="9472" y="19930"/>
                    <a:pt x="9821" y="20071"/>
                    <a:pt x="9996" y="20583"/>
                  </a:cubicBezTo>
                  <a:cubicBezTo>
                    <a:pt x="10109" y="20877"/>
                    <a:pt x="10283" y="20289"/>
                    <a:pt x="10520" y="20506"/>
                  </a:cubicBezTo>
                  <a:cubicBezTo>
                    <a:pt x="10931" y="20877"/>
                    <a:pt x="10756" y="21530"/>
                    <a:pt x="11280" y="20583"/>
                  </a:cubicBezTo>
                  <a:cubicBezTo>
                    <a:pt x="11742" y="19713"/>
                    <a:pt x="12154" y="20801"/>
                    <a:pt x="12678" y="20583"/>
                  </a:cubicBezTo>
                  <a:cubicBezTo>
                    <a:pt x="13027" y="19994"/>
                    <a:pt x="13027" y="19994"/>
                    <a:pt x="13027" y="19994"/>
                  </a:cubicBezTo>
                  <a:cubicBezTo>
                    <a:pt x="13150" y="19278"/>
                    <a:pt x="13150" y="19278"/>
                    <a:pt x="13150" y="19278"/>
                  </a:cubicBezTo>
                  <a:cubicBezTo>
                    <a:pt x="13202" y="19124"/>
                    <a:pt x="13202" y="18472"/>
                    <a:pt x="13150" y="18395"/>
                  </a:cubicBezTo>
                  <a:cubicBezTo>
                    <a:pt x="13150" y="18331"/>
                    <a:pt x="12976" y="18113"/>
                    <a:pt x="12914" y="18177"/>
                  </a:cubicBezTo>
                  <a:cubicBezTo>
                    <a:pt x="12739" y="18472"/>
                    <a:pt x="12678" y="18766"/>
                    <a:pt x="12441" y="18984"/>
                  </a:cubicBezTo>
                  <a:cubicBezTo>
                    <a:pt x="12328" y="19060"/>
                    <a:pt x="12390" y="18689"/>
                    <a:pt x="12390" y="18689"/>
                  </a:cubicBezTo>
                  <a:cubicBezTo>
                    <a:pt x="12390" y="18472"/>
                    <a:pt x="12277" y="18548"/>
                    <a:pt x="12154" y="18472"/>
                  </a:cubicBezTo>
                  <a:cubicBezTo>
                    <a:pt x="12092" y="18472"/>
                    <a:pt x="12040" y="18037"/>
                    <a:pt x="12040" y="17960"/>
                  </a:cubicBezTo>
                  <a:cubicBezTo>
                    <a:pt x="12040" y="17819"/>
                    <a:pt x="12277" y="17819"/>
                    <a:pt x="12390" y="17742"/>
                  </a:cubicBezTo>
                  <a:cubicBezTo>
                    <a:pt x="12565" y="17461"/>
                    <a:pt x="13089" y="16578"/>
                    <a:pt x="13325" y="17166"/>
                  </a:cubicBezTo>
                  <a:cubicBezTo>
                    <a:pt x="13500" y="17461"/>
                    <a:pt x="13500" y="17602"/>
                    <a:pt x="13849" y="17461"/>
                  </a:cubicBezTo>
                  <a:cubicBezTo>
                    <a:pt x="13962" y="17461"/>
                    <a:pt x="14137" y="17230"/>
                    <a:pt x="14260" y="17230"/>
                  </a:cubicBezTo>
                  <a:cubicBezTo>
                    <a:pt x="14311" y="17166"/>
                    <a:pt x="14486" y="17307"/>
                    <a:pt x="14486" y="17090"/>
                  </a:cubicBezTo>
                  <a:cubicBezTo>
                    <a:pt x="14486" y="17026"/>
                    <a:pt x="14486" y="16578"/>
                    <a:pt x="14435" y="16578"/>
                  </a:cubicBezTo>
                  <a:cubicBezTo>
                    <a:pt x="14311" y="16655"/>
                    <a:pt x="14260" y="16872"/>
                    <a:pt x="14260" y="16514"/>
                  </a:cubicBezTo>
                  <a:cubicBezTo>
                    <a:pt x="14260" y="16143"/>
                    <a:pt x="13962" y="15490"/>
                    <a:pt x="14311" y="15413"/>
                  </a:cubicBezTo>
                  <a:cubicBezTo>
                    <a:pt x="14661" y="15349"/>
                    <a:pt x="14897" y="15132"/>
                    <a:pt x="14784" y="14620"/>
                  </a:cubicBezTo>
                  <a:cubicBezTo>
                    <a:pt x="14486" y="13596"/>
                    <a:pt x="15483" y="13315"/>
                    <a:pt x="15134" y="12291"/>
                  </a:cubicBezTo>
                  <a:cubicBezTo>
                    <a:pt x="15010" y="11856"/>
                    <a:pt x="15247" y="10909"/>
                    <a:pt x="15658" y="10832"/>
                  </a:cubicBezTo>
                  <a:cubicBezTo>
                    <a:pt x="15894" y="10832"/>
                    <a:pt x="15945" y="11127"/>
                    <a:pt x="16243" y="11127"/>
                  </a:cubicBezTo>
                  <a:cubicBezTo>
                    <a:pt x="16593" y="11063"/>
                    <a:pt x="16880" y="10768"/>
                    <a:pt x="17055" y="10397"/>
                  </a:cubicBezTo>
                  <a:cubicBezTo>
                    <a:pt x="17353" y="10116"/>
                    <a:pt x="17764" y="10333"/>
                    <a:pt x="17764" y="9745"/>
                  </a:cubicBezTo>
                  <a:cubicBezTo>
                    <a:pt x="17703" y="9092"/>
                    <a:pt x="17579" y="9386"/>
                    <a:pt x="17877" y="8875"/>
                  </a:cubicBezTo>
                  <a:cubicBezTo>
                    <a:pt x="17990" y="8657"/>
                    <a:pt x="17877" y="8516"/>
                    <a:pt x="18052" y="8222"/>
                  </a:cubicBezTo>
                  <a:cubicBezTo>
                    <a:pt x="18227" y="8004"/>
                    <a:pt x="18638" y="7928"/>
                    <a:pt x="18812" y="7710"/>
                  </a:cubicBezTo>
                  <a:cubicBezTo>
                    <a:pt x="18874" y="7569"/>
                    <a:pt x="19398" y="6763"/>
                    <a:pt x="19336" y="6622"/>
                  </a:cubicBezTo>
                  <a:cubicBezTo>
                    <a:pt x="19275" y="6264"/>
                    <a:pt x="19162" y="6405"/>
                    <a:pt x="19223" y="5893"/>
                  </a:cubicBezTo>
                  <a:cubicBezTo>
                    <a:pt x="19223" y="5752"/>
                    <a:pt x="19336" y="5100"/>
                    <a:pt x="19398" y="5100"/>
                  </a:cubicBezTo>
                  <a:cubicBezTo>
                    <a:pt x="19799" y="5100"/>
                    <a:pt x="19922" y="5100"/>
                    <a:pt x="20272" y="4882"/>
                  </a:cubicBezTo>
                  <a:cubicBezTo>
                    <a:pt x="20683" y="4511"/>
                    <a:pt x="20734" y="4230"/>
                    <a:pt x="20909" y="3718"/>
                  </a:cubicBezTo>
                  <a:cubicBezTo>
                    <a:pt x="21556" y="3206"/>
                    <a:pt x="21556" y="3206"/>
                    <a:pt x="21556" y="3206"/>
                  </a:cubicBezTo>
                  <a:cubicBezTo>
                    <a:pt x="21494" y="2912"/>
                    <a:pt x="21556" y="2630"/>
                    <a:pt x="21320" y="2476"/>
                  </a:cubicBezTo>
                  <a:cubicBezTo>
                    <a:pt x="21032" y="2336"/>
                    <a:pt x="20909" y="2259"/>
                    <a:pt x="20909" y="1901"/>
                  </a:cubicBezTo>
                  <a:cubicBezTo>
                    <a:pt x="20970" y="1824"/>
                    <a:pt x="20857" y="1530"/>
                    <a:pt x="20796" y="1466"/>
                  </a:cubicBezTo>
                  <a:cubicBezTo>
                    <a:pt x="20148" y="1312"/>
                    <a:pt x="19747" y="2400"/>
                    <a:pt x="19162" y="2553"/>
                  </a:cubicBezTo>
                  <a:cubicBezTo>
                    <a:pt x="18114" y="2912"/>
                    <a:pt x="18114" y="2912"/>
                    <a:pt x="18114" y="2912"/>
                  </a:cubicBezTo>
                  <a:cubicBezTo>
                    <a:pt x="17764" y="3065"/>
                    <a:pt x="16880" y="3347"/>
                    <a:pt x="16480" y="3423"/>
                  </a:cubicBezTo>
                  <a:cubicBezTo>
                    <a:pt x="15894" y="3500"/>
                    <a:pt x="15596" y="3283"/>
                    <a:pt x="15072" y="3206"/>
                  </a:cubicBezTo>
                  <a:cubicBezTo>
                    <a:pt x="14784" y="3206"/>
                    <a:pt x="14548" y="3564"/>
                    <a:pt x="14137" y="3500"/>
                  </a:cubicBezTo>
                  <a:cubicBezTo>
                    <a:pt x="13736" y="3347"/>
                    <a:pt x="13263" y="3065"/>
                    <a:pt x="12914" y="2694"/>
                  </a:cubicBezTo>
                  <a:cubicBezTo>
                    <a:pt x="12503" y="2336"/>
                    <a:pt x="11979" y="2259"/>
                    <a:pt x="11516" y="1747"/>
                  </a:cubicBezTo>
                  <a:cubicBezTo>
                    <a:pt x="11280" y="1466"/>
                    <a:pt x="11105" y="1466"/>
                    <a:pt x="10756" y="1312"/>
                  </a:cubicBezTo>
                  <a:cubicBezTo>
                    <a:pt x="10283" y="1248"/>
                    <a:pt x="10232" y="736"/>
                    <a:pt x="9646" y="877"/>
                  </a:cubicBezTo>
                  <a:cubicBezTo>
                    <a:pt x="9410" y="954"/>
                    <a:pt x="8824" y="659"/>
                    <a:pt x="8711" y="301"/>
                  </a:cubicBezTo>
                  <a:cubicBezTo>
                    <a:pt x="8598" y="-70"/>
                    <a:pt x="8711" y="-70"/>
                    <a:pt x="8300" y="148"/>
                  </a:cubicBezTo>
                  <a:cubicBezTo>
                    <a:pt x="7838" y="365"/>
                    <a:pt x="7663" y="442"/>
                    <a:pt x="7139" y="442"/>
                  </a:cubicBezTo>
                  <a:cubicBezTo>
                    <a:pt x="6317" y="442"/>
                    <a:pt x="6430" y="224"/>
                    <a:pt x="5844" y="1030"/>
                  </a:cubicBezTo>
                  <a:cubicBezTo>
                    <a:pt x="5669" y="1312"/>
                    <a:pt x="5269" y="1389"/>
                    <a:pt x="5145" y="1747"/>
                  </a:cubicBezTo>
                  <a:cubicBezTo>
                    <a:pt x="5032" y="2041"/>
                    <a:pt x="5320" y="2400"/>
                    <a:pt x="5320" y="2694"/>
                  </a:cubicBezTo>
                  <a:cubicBezTo>
                    <a:pt x="4919" y="2694"/>
                    <a:pt x="4508" y="1824"/>
                    <a:pt x="4036" y="2041"/>
                  </a:cubicBezTo>
                  <a:cubicBezTo>
                    <a:pt x="3861" y="2118"/>
                    <a:pt x="3809" y="2118"/>
                    <a:pt x="3748" y="2041"/>
                  </a:cubicBezTo>
                  <a:cubicBezTo>
                    <a:pt x="3686" y="2694"/>
                    <a:pt x="3686" y="2694"/>
                    <a:pt x="3686" y="2694"/>
                  </a:cubicBezTo>
                  <a:cubicBezTo>
                    <a:pt x="3748" y="2912"/>
                    <a:pt x="3686" y="3065"/>
                    <a:pt x="3635" y="3206"/>
                  </a:cubicBezTo>
                  <a:cubicBezTo>
                    <a:pt x="3511" y="3283"/>
                    <a:pt x="3224" y="3347"/>
                    <a:pt x="3162" y="3423"/>
                  </a:cubicBezTo>
                  <a:cubicBezTo>
                    <a:pt x="3162" y="3423"/>
                    <a:pt x="3162" y="3500"/>
                    <a:pt x="3100" y="3500"/>
                  </a:cubicBezTo>
                  <a:cubicBezTo>
                    <a:pt x="3049" y="4012"/>
                    <a:pt x="2638" y="3283"/>
                    <a:pt x="2638" y="3129"/>
                  </a:cubicBezTo>
                  <a:lnTo>
                    <a:pt x="2576" y="3129"/>
                  </a:lnTo>
                  <a:cubicBezTo>
                    <a:pt x="2525" y="3347"/>
                    <a:pt x="2114" y="3641"/>
                    <a:pt x="2001" y="3500"/>
                  </a:cubicBezTo>
                  <a:cubicBezTo>
                    <a:pt x="1826" y="3283"/>
                    <a:pt x="1641" y="3347"/>
                    <a:pt x="1354" y="3347"/>
                  </a:cubicBezTo>
                  <a:cubicBezTo>
                    <a:pt x="1292" y="3718"/>
                    <a:pt x="1415" y="3858"/>
                    <a:pt x="1066" y="3858"/>
                  </a:cubicBezTo>
                  <a:cubicBezTo>
                    <a:pt x="942" y="3858"/>
                    <a:pt x="531" y="4230"/>
                    <a:pt x="480" y="4370"/>
                  </a:cubicBezTo>
                  <a:lnTo>
                    <a:pt x="480" y="4447"/>
                  </a:lnTo>
                  <a:cubicBezTo>
                    <a:pt x="418" y="4588"/>
                    <a:pt x="131" y="4665"/>
                    <a:pt x="7" y="4729"/>
                  </a:cubicBezTo>
                  <a:cubicBezTo>
                    <a:pt x="-44" y="4805"/>
                    <a:pt x="182" y="5317"/>
                    <a:pt x="182" y="5535"/>
                  </a:cubicBezTo>
                  <a:cubicBezTo>
                    <a:pt x="131" y="5893"/>
                    <a:pt x="182" y="6111"/>
                    <a:pt x="182" y="6482"/>
                  </a:cubicBezTo>
                  <a:cubicBezTo>
                    <a:pt x="305" y="6840"/>
                    <a:pt x="305" y="6840"/>
                    <a:pt x="305" y="6840"/>
                  </a:cubicBezTo>
                  <a:close/>
                  <a:moveTo>
                    <a:pt x="2289" y="4882"/>
                  </a:moveTo>
                  <a:cubicBezTo>
                    <a:pt x="2227" y="5023"/>
                    <a:pt x="2227" y="5023"/>
                    <a:pt x="2227" y="5023"/>
                  </a:cubicBezTo>
                  <a:cubicBezTo>
                    <a:pt x="2114" y="5164"/>
                    <a:pt x="1878" y="5240"/>
                    <a:pt x="1878" y="5023"/>
                  </a:cubicBezTo>
                  <a:cubicBezTo>
                    <a:pt x="1878" y="4882"/>
                    <a:pt x="1939" y="4665"/>
                    <a:pt x="1878" y="4511"/>
                  </a:cubicBezTo>
                  <a:cubicBezTo>
                    <a:pt x="1826" y="4447"/>
                    <a:pt x="1765" y="4294"/>
                    <a:pt x="1826" y="4230"/>
                  </a:cubicBezTo>
                  <a:cubicBezTo>
                    <a:pt x="1826" y="4153"/>
                    <a:pt x="2114" y="4153"/>
                    <a:pt x="2176" y="4076"/>
                  </a:cubicBezTo>
                  <a:cubicBezTo>
                    <a:pt x="2227" y="4012"/>
                    <a:pt x="2289" y="4076"/>
                    <a:pt x="2350" y="4153"/>
                  </a:cubicBezTo>
                  <a:cubicBezTo>
                    <a:pt x="2350" y="4153"/>
                    <a:pt x="2463" y="4230"/>
                    <a:pt x="2463" y="4294"/>
                  </a:cubicBezTo>
                  <a:cubicBezTo>
                    <a:pt x="2463" y="4370"/>
                    <a:pt x="2402" y="4511"/>
                    <a:pt x="2402" y="4588"/>
                  </a:cubicBezTo>
                  <a:cubicBezTo>
                    <a:pt x="2350" y="4665"/>
                    <a:pt x="2289" y="4805"/>
                    <a:pt x="2289" y="4882"/>
                  </a:cubicBezTo>
                  <a:close/>
                  <a:moveTo>
                    <a:pt x="10869" y="15785"/>
                  </a:moveTo>
                  <a:cubicBezTo>
                    <a:pt x="10694" y="15925"/>
                    <a:pt x="10694" y="15925"/>
                    <a:pt x="10694" y="15925"/>
                  </a:cubicBezTo>
                  <a:cubicBezTo>
                    <a:pt x="10232" y="16514"/>
                    <a:pt x="10807" y="16872"/>
                    <a:pt x="11280" y="16731"/>
                  </a:cubicBezTo>
                  <a:cubicBezTo>
                    <a:pt x="11342" y="16655"/>
                    <a:pt x="11455" y="16437"/>
                    <a:pt x="11516" y="16514"/>
                  </a:cubicBezTo>
                  <a:cubicBezTo>
                    <a:pt x="11568" y="16514"/>
                    <a:pt x="11629" y="17166"/>
                    <a:pt x="11629" y="17230"/>
                  </a:cubicBezTo>
                  <a:cubicBezTo>
                    <a:pt x="11568" y="17525"/>
                    <a:pt x="11218" y="17230"/>
                    <a:pt x="11105" y="17166"/>
                  </a:cubicBezTo>
                  <a:cubicBezTo>
                    <a:pt x="10869" y="17026"/>
                    <a:pt x="10458" y="17307"/>
                    <a:pt x="10170" y="17166"/>
                  </a:cubicBezTo>
                  <a:cubicBezTo>
                    <a:pt x="9821" y="17026"/>
                    <a:pt x="9821" y="16578"/>
                    <a:pt x="9297" y="16795"/>
                  </a:cubicBezTo>
                  <a:cubicBezTo>
                    <a:pt x="8947" y="16949"/>
                    <a:pt x="8947" y="16949"/>
                    <a:pt x="8598" y="16731"/>
                  </a:cubicBezTo>
                  <a:cubicBezTo>
                    <a:pt x="8413" y="16655"/>
                    <a:pt x="8238" y="16220"/>
                    <a:pt x="8012" y="16002"/>
                  </a:cubicBezTo>
                  <a:cubicBezTo>
                    <a:pt x="7889" y="15785"/>
                    <a:pt x="7303" y="15196"/>
                    <a:pt x="7365" y="15055"/>
                  </a:cubicBezTo>
                  <a:cubicBezTo>
                    <a:pt x="7540" y="14838"/>
                    <a:pt x="7714" y="14403"/>
                    <a:pt x="7838" y="14108"/>
                  </a:cubicBezTo>
                  <a:cubicBezTo>
                    <a:pt x="8012" y="13532"/>
                    <a:pt x="8362" y="14031"/>
                    <a:pt x="8711" y="14185"/>
                  </a:cubicBezTo>
                  <a:cubicBezTo>
                    <a:pt x="9122" y="14262"/>
                    <a:pt x="9708" y="14620"/>
                    <a:pt x="10170" y="14620"/>
                  </a:cubicBezTo>
                  <a:cubicBezTo>
                    <a:pt x="10581" y="14620"/>
                    <a:pt x="10520" y="14838"/>
                    <a:pt x="10807" y="14978"/>
                  </a:cubicBezTo>
                  <a:cubicBezTo>
                    <a:pt x="10931" y="15055"/>
                    <a:pt x="11044" y="14978"/>
                    <a:pt x="11167" y="14978"/>
                  </a:cubicBezTo>
                  <a:cubicBezTo>
                    <a:pt x="11044" y="15196"/>
                    <a:pt x="11105" y="15567"/>
                    <a:pt x="10869" y="15785"/>
                  </a:cubicBezTo>
                  <a:close/>
                </a:path>
              </a:pathLst>
            </a:custGeom>
            <a:grpFill/>
            <a:ln w="3175" cap="flat" cmpd="sng">
              <a:noFill/>
              <a:prstDash val="solid"/>
              <a:bevel/>
              <a:headEnd type="none" w="sm" len="sm"/>
              <a:tailEnd type="none" w="sm" len="sm"/>
            </a:ln>
          </p:spPr>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C2C2C"/>
                </a:solidFill>
                <a:effectLst/>
                <a:uLnTx/>
                <a:uFillTx/>
                <a:latin typeface="Open Sans"/>
                <a:ea typeface="Open Sans"/>
                <a:cs typeface="Open Sans"/>
                <a:sym typeface="Open Sans"/>
              </a:endParaRPr>
            </a:p>
          </p:txBody>
        </p:sp>
        <p:sp>
          <p:nvSpPr>
            <p:cNvPr id="12" name="Google Shape;11983;p276" descr="Freeform 154">
              <a:extLst>
                <a:ext uri="{FF2B5EF4-FFF2-40B4-BE49-F238E27FC236}">
                  <a16:creationId xmlns:a16="http://schemas.microsoft.com/office/drawing/2014/main" id="{3D88DC92-7311-57BC-642D-9CC91843949E}"/>
                </a:ext>
              </a:extLst>
            </p:cNvPr>
            <p:cNvSpPr/>
            <p:nvPr/>
          </p:nvSpPr>
          <p:spPr>
            <a:xfrm>
              <a:off x="2361355" y="128098"/>
              <a:ext cx="592105" cy="353089"/>
            </a:xfrm>
            <a:custGeom>
              <a:avLst/>
              <a:gdLst/>
              <a:ahLst/>
              <a:cxnLst/>
              <a:rect l="l" t="t" r="r" b="b"/>
              <a:pathLst>
                <a:path w="21532" h="20767" extrusionOk="0">
                  <a:moveTo>
                    <a:pt x="107" y="9254"/>
                  </a:moveTo>
                  <a:cubicBezTo>
                    <a:pt x="107" y="9354"/>
                    <a:pt x="282" y="9918"/>
                    <a:pt x="220" y="10018"/>
                  </a:cubicBezTo>
                  <a:cubicBezTo>
                    <a:pt x="45" y="10300"/>
                    <a:pt x="-68" y="10665"/>
                    <a:pt x="45" y="11047"/>
                  </a:cubicBezTo>
                  <a:cubicBezTo>
                    <a:pt x="107" y="11246"/>
                    <a:pt x="220" y="11429"/>
                    <a:pt x="343" y="11528"/>
                  </a:cubicBezTo>
                  <a:cubicBezTo>
                    <a:pt x="456" y="11611"/>
                    <a:pt x="693" y="11711"/>
                    <a:pt x="806" y="11894"/>
                  </a:cubicBezTo>
                  <a:cubicBezTo>
                    <a:pt x="1094" y="12375"/>
                    <a:pt x="1042" y="12375"/>
                    <a:pt x="1392" y="12657"/>
                  </a:cubicBezTo>
                  <a:cubicBezTo>
                    <a:pt x="1567" y="12840"/>
                    <a:pt x="1330" y="13786"/>
                    <a:pt x="1628" y="13786"/>
                  </a:cubicBezTo>
                  <a:cubicBezTo>
                    <a:pt x="1741" y="13786"/>
                    <a:pt x="1916" y="13687"/>
                    <a:pt x="2029" y="13604"/>
                  </a:cubicBezTo>
                  <a:cubicBezTo>
                    <a:pt x="2327" y="13504"/>
                    <a:pt x="2441" y="13886"/>
                    <a:pt x="2790" y="13687"/>
                  </a:cubicBezTo>
                  <a:cubicBezTo>
                    <a:pt x="2965" y="13504"/>
                    <a:pt x="3140" y="13122"/>
                    <a:pt x="3376" y="13405"/>
                  </a:cubicBezTo>
                  <a:cubicBezTo>
                    <a:pt x="3962" y="14069"/>
                    <a:pt x="3787" y="12940"/>
                    <a:pt x="4199" y="12940"/>
                  </a:cubicBezTo>
                  <a:cubicBezTo>
                    <a:pt x="4486" y="12940"/>
                    <a:pt x="4486" y="13504"/>
                    <a:pt x="4774" y="12840"/>
                  </a:cubicBezTo>
                  <a:cubicBezTo>
                    <a:pt x="5011" y="12458"/>
                    <a:pt x="5484" y="13023"/>
                    <a:pt x="5772" y="13322"/>
                  </a:cubicBezTo>
                  <a:cubicBezTo>
                    <a:pt x="6121" y="13604"/>
                    <a:pt x="6008" y="14915"/>
                    <a:pt x="6532" y="15015"/>
                  </a:cubicBezTo>
                  <a:cubicBezTo>
                    <a:pt x="6769" y="14915"/>
                    <a:pt x="7170" y="15098"/>
                    <a:pt x="7406" y="15198"/>
                  </a:cubicBezTo>
                  <a:cubicBezTo>
                    <a:pt x="7756" y="15297"/>
                    <a:pt x="7817" y="16327"/>
                    <a:pt x="7879" y="16808"/>
                  </a:cubicBezTo>
                  <a:cubicBezTo>
                    <a:pt x="7930" y="17273"/>
                    <a:pt x="7879" y="18037"/>
                    <a:pt x="8044" y="18502"/>
                  </a:cubicBezTo>
                  <a:cubicBezTo>
                    <a:pt x="8167" y="18684"/>
                    <a:pt x="8167" y="18784"/>
                    <a:pt x="8280" y="18784"/>
                  </a:cubicBezTo>
                  <a:cubicBezTo>
                    <a:pt x="8516" y="18784"/>
                    <a:pt x="8578" y="19730"/>
                    <a:pt x="8866" y="20012"/>
                  </a:cubicBezTo>
                  <a:cubicBezTo>
                    <a:pt x="9339" y="20577"/>
                    <a:pt x="9339" y="19166"/>
                    <a:pt x="9565" y="20295"/>
                  </a:cubicBezTo>
                  <a:cubicBezTo>
                    <a:pt x="9740" y="20959"/>
                    <a:pt x="9915" y="20760"/>
                    <a:pt x="10151" y="20195"/>
                  </a:cubicBezTo>
                  <a:cubicBezTo>
                    <a:pt x="10213" y="19913"/>
                    <a:pt x="10326" y="19913"/>
                    <a:pt x="10449" y="19730"/>
                  </a:cubicBezTo>
                  <a:cubicBezTo>
                    <a:pt x="10449" y="19631"/>
                    <a:pt x="10614" y="18319"/>
                    <a:pt x="10737" y="19166"/>
                  </a:cubicBezTo>
                  <a:cubicBezTo>
                    <a:pt x="10850" y="20012"/>
                    <a:pt x="10850" y="21241"/>
                    <a:pt x="11498" y="20577"/>
                  </a:cubicBezTo>
                  <a:cubicBezTo>
                    <a:pt x="11724" y="20394"/>
                    <a:pt x="11847" y="20195"/>
                    <a:pt x="11961" y="19813"/>
                  </a:cubicBezTo>
                  <a:cubicBezTo>
                    <a:pt x="12074" y="19631"/>
                    <a:pt x="12547" y="20477"/>
                    <a:pt x="12896" y="19813"/>
                  </a:cubicBezTo>
                  <a:cubicBezTo>
                    <a:pt x="13133" y="19448"/>
                    <a:pt x="12834" y="19066"/>
                    <a:pt x="12896" y="18684"/>
                  </a:cubicBezTo>
                  <a:cubicBezTo>
                    <a:pt x="12958" y="18502"/>
                    <a:pt x="13071" y="18120"/>
                    <a:pt x="12958" y="17837"/>
                  </a:cubicBezTo>
                  <a:cubicBezTo>
                    <a:pt x="12834" y="17754"/>
                    <a:pt x="12783" y="17456"/>
                    <a:pt x="12660" y="17456"/>
                  </a:cubicBezTo>
                  <a:cubicBezTo>
                    <a:pt x="12485" y="17456"/>
                    <a:pt x="12721" y="18219"/>
                    <a:pt x="12259" y="18219"/>
                  </a:cubicBezTo>
                  <a:cubicBezTo>
                    <a:pt x="12074" y="18219"/>
                    <a:pt x="12022" y="17456"/>
                    <a:pt x="12074" y="17456"/>
                  </a:cubicBezTo>
                  <a:cubicBezTo>
                    <a:pt x="11847" y="17456"/>
                    <a:pt x="11673" y="17173"/>
                    <a:pt x="11847" y="16891"/>
                  </a:cubicBezTo>
                  <a:cubicBezTo>
                    <a:pt x="12022" y="16609"/>
                    <a:pt x="12372" y="17555"/>
                    <a:pt x="12608" y="16708"/>
                  </a:cubicBezTo>
                  <a:cubicBezTo>
                    <a:pt x="12783" y="16244"/>
                    <a:pt x="12783" y="16426"/>
                    <a:pt x="12660" y="15862"/>
                  </a:cubicBezTo>
                  <a:cubicBezTo>
                    <a:pt x="12547" y="15198"/>
                    <a:pt x="12022" y="16244"/>
                    <a:pt x="11847" y="16426"/>
                  </a:cubicBezTo>
                  <a:cubicBezTo>
                    <a:pt x="11323" y="17090"/>
                    <a:pt x="10974" y="16891"/>
                    <a:pt x="10912" y="15862"/>
                  </a:cubicBezTo>
                  <a:cubicBezTo>
                    <a:pt x="11148" y="15580"/>
                    <a:pt x="11025" y="14633"/>
                    <a:pt x="11375" y="14351"/>
                  </a:cubicBezTo>
                  <a:cubicBezTo>
                    <a:pt x="11786" y="13969"/>
                    <a:pt x="12135" y="13322"/>
                    <a:pt x="12608" y="12840"/>
                  </a:cubicBezTo>
                  <a:cubicBezTo>
                    <a:pt x="12958" y="12458"/>
                    <a:pt x="13184" y="12840"/>
                    <a:pt x="13544" y="12176"/>
                  </a:cubicBezTo>
                  <a:cubicBezTo>
                    <a:pt x="13770" y="11811"/>
                    <a:pt x="14120" y="11528"/>
                    <a:pt x="14356" y="11246"/>
                  </a:cubicBezTo>
                  <a:cubicBezTo>
                    <a:pt x="14706" y="10765"/>
                    <a:pt x="14819" y="9636"/>
                    <a:pt x="15168" y="9354"/>
                  </a:cubicBezTo>
                  <a:cubicBezTo>
                    <a:pt x="15220" y="9254"/>
                    <a:pt x="15692" y="9453"/>
                    <a:pt x="15744" y="9536"/>
                  </a:cubicBezTo>
                  <a:cubicBezTo>
                    <a:pt x="15867" y="10200"/>
                    <a:pt x="15806" y="10018"/>
                    <a:pt x="16217" y="10018"/>
                  </a:cubicBezTo>
                  <a:cubicBezTo>
                    <a:pt x="16505" y="10018"/>
                    <a:pt x="16803" y="10300"/>
                    <a:pt x="17039" y="10383"/>
                  </a:cubicBezTo>
                  <a:cubicBezTo>
                    <a:pt x="17389" y="10582"/>
                    <a:pt x="17738" y="10483"/>
                    <a:pt x="18088" y="10483"/>
                  </a:cubicBezTo>
                  <a:cubicBezTo>
                    <a:pt x="17965" y="10018"/>
                    <a:pt x="17965" y="10018"/>
                    <a:pt x="17965" y="10018"/>
                  </a:cubicBezTo>
                  <a:cubicBezTo>
                    <a:pt x="17965" y="9536"/>
                    <a:pt x="17913" y="9254"/>
                    <a:pt x="17965" y="8789"/>
                  </a:cubicBezTo>
                  <a:cubicBezTo>
                    <a:pt x="17965" y="8507"/>
                    <a:pt x="17738" y="7843"/>
                    <a:pt x="17790" y="7743"/>
                  </a:cubicBezTo>
                  <a:cubicBezTo>
                    <a:pt x="17913" y="7660"/>
                    <a:pt x="18201" y="7560"/>
                    <a:pt x="18263" y="7378"/>
                  </a:cubicBezTo>
                  <a:lnTo>
                    <a:pt x="18263" y="7278"/>
                  </a:lnTo>
                  <a:cubicBezTo>
                    <a:pt x="18314" y="7096"/>
                    <a:pt x="18725" y="6614"/>
                    <a:pt x="18849" y="6614"/>
                  </a:cubicBezTo>
                  <a:cubicBezTo>
                    <a:pt x="19198" y="6614"/>
                    <a:pt x="19075" y="6431"/>
                    <a:pt x="19137" y="5950"/>
                  </a:cubicBezTo>
                  <a:cubicBezTo>
                    <a:pt x="19424" y="5950"/>
                    <a:pt x="19609" y="5867"/>
                    <a:pt x="19784" y="6149"/>
                  </a:cubicBezTo>
                  <a:cubicBezTo>
                    <a:pt x="19897" y="6332"/>
                    <a:pt x="20309" y="5950"/>
                    <a:pt x="20360" y="5668"/>
                  </a:cubicBezTo>
                  <a:lnTo>
                    <a:pt x="20422" y="5668"/>
                  </a:lnTo>
                  <a:cubicBezTo>
                    <a:pt x="20422" y="5867"/>
                    <a:pt x="20833" y="6813"/>
                    <a:pt x="20884" y="6149"/>
                  </a:cubicBezTo>
                  <a:cubicBezTo>
                    <a:pt x="20946" y="6149"/>
                    <a:pt x="20946" y="6050"/>
                    <a:pt x="20946" y="6050"/>
                  </a:cubicBezTo>
                  <a:cubicBezTo>
                    <a:pt x="21008" y="5950"/>
                    <a:pt x="21296" y="5867"/>
                    <a:pt x="21419" y="5767"/>
                  </a:cubicBezTo>
                  <a:cubicBezTo>
                    <a:pt x="21470" y="5585"/>
                    <a:pt x="21532" y="5386"/>
                    <a:pt x="21470" y="5103"/>
                  </a:cubicBezTo>
                  <a:cubicBezTo>
                    <a:pt x="21532" y="4257"/>
                    <a:pt x="21532" y="4257"/>
                    <a:pt x="21532" y="4257"/>
                  </a:cubicBezTo>
                  <a:cubicBezTo>
                    <a:pt x="21419" y="4257"/>
                    <a:pt x="21357" y="4157"/>
                    <a:pt x="21182" y="4074"/>
                  </a:cubicBezTo>
                  <a:cubicBezTo>
                    <a:pt x="20884" y="3974"/>
                    <a:pt x="20720" y="3310"/>
                    <a:pt x="20422" y="3028"/>
                  </a:cubicBezTo>
                  <a:cubicBezTo>
                    <a:pt x="20134" y="2845"/>
                    <a:pt x="19784" y="2845"/>
                    <a:pt x="19424" y="2563"/>
                  </a:cubicBezTo>
                  <a:cubicBezTo>
                    <a:pt x="18787" y="2082"/>
                    <a:pt x="17790" y="3028"/>
                    <a:pt x="17738" y="1434"/>
                  </a:cubicBezTo>
                  <a:cubicBezTo>
                    <a:pt x="17677" y="770"/>
                    <a:pt x="17039" y="1152"/>
                    <a:pt x="16854" y="670"/>
                  </a:cubicBezTo>
                  <a:cubicBezTo>
                    <a:pt x="16505" y="-359"/>
                    <a:pt x="15980" y="6"/>
                    <a:pt x="15394" y="388"/>
                  </a:cubicBezTo>
                  <a:cubicBezTo>
                    <a:pt x="14870" y="571"/>
                    <a:pt x="14418" y="1052"/>
                    <a:pt x="14068" y="1617"/>
                  </a:cubicBezTo>
                  <a:cubicBezTo>
                    <a:pt x="13719" y="2181"/>
                    <a:pt x="13307" y="3310"/>
                    <a:pt x="13246" y="2181"/>
                  </a:cubicBezTo>
                  <a:cubicBezTo>
                    <a:pt x="13184" y="1999"/>
                    <a:pt x="13071" y="1899"/>
                    <a:pt x="13071" y="1799"/>
                  </a:cubicBezTo>
                  <a:cubicBezTo>
                    <a:pt x="13071" y="1517"/>
                    <a:pt x="13657" y="1052"/>
                    <a:pt x="13307" y="670"/>
                  </a:cubicBezTo>
                  <a:cubicBezTo>
                    <a:pt x="13184" y="571"/>
                    <a:pt x="11909" y="1235"/>
                    <a:pt x="11611" y="1334"/>
                  </a:cubicBezTo>
                  <a:cubicBezTo>
                    <a:pt x="11323" y="1334"/>
                    <a:pt x="11323" y="1899"/>
                    <a:pt x="10974" y="1899"/>
                  </a:cubicBezTo>
                  <a:cubicBezTo>
                    <a:pt x="9976" y="1899"/>
                    <a:pt x="9216" y="2746"/>
                    <a:pt x="8229" y="3227"/>
                  </a:cubicBezTo>
                  <a:cubicBezTo>
                    <a:pt x="7992" y="3410"/>
                    <a:pt x="7293" y="3509"/>
                    <a:pt x="7057" y="3410"/>
                  </a:cubicBezTo>
                  <a:cubicBezTo>
                    <a:pt x="6769" y="3410"/>
                    <a:pt x="6471" y="3028"/>
                    <a:pt x="6183" y="3128"/>
                  </a:cubicBezTo>
                  <a:cubicBezTo>
                    <a:pt x="5772" y="3410"/>
                    <a:pt x="5011" y="3410"/>
                    <a:pt x="4373" y="3410"/>
                  </a:cubicBezTo>
                  <a:cubicBezTo>
                    <a:pt x="4075" y="4074"/>
                    <a:pt x="4075" y="4074"/>
                    <a:pt x="4075" y="4074"/>
                  </a:cubicBezTo>
                  <a:cubicBezTo>
                    <a:pt x="4075" y="4356"/>
                    <a:pt x="4024" y="4456"/>
                    <a:pt x="4075" y="4721"/>
                  </a:cubicBezTo>
                  <a:cubicBezTo>
                    <a:pt x="4199" y="5302"/>
                    <a:pt x="4373" y="6149"/>
                    <a:pt x="4075" y="6614"/>
                  </a:cubicBezTo>
                  <a:cubicBezTo>
                    <a:pt x="3839" y="6996"/>
                    <a:pt x="3787" y="6332"/>
                    <a:pt x="3726" y="6232"/>
                  </a:cubicBezTo>
                  <a:cubicBezTo>
                    <a:pt x="3674" y="6149"/>
                    <a:pt x="3314" y="6050"/>
                    <a:pt x="3263" y="6050"/>
                  </a:cubicBezTo>
                  <a:cubicBezTo>
                    <a:pt x="3027" y="5950"/>
                    <a:pt x="2965" y="6431"/>
                    <a:pt x="2739" y="6714"/>
                  </a:cubicBezTo>
                  <a:cubicBezTo>
                    <a:pt x="2327" y="7179"/>
                    <a:pt x="1741" y="6232"/>
                    <a:pt x="1741" y="7660"/>
                  </a:cubicBezTo>
                  <a:cubicBezTo>
                    <a:pt x="1680" y="8606"/>
                    <a:pt x="1269" y="8972"/>
                    <a:pt x="693" y="9071"/>
                  </a:cubicBezTo>
                  <a:cubicBezTo>
                    <a:pt x="107" y="9254"/>
                    <a:pt x="107" y="9254"/>
                    <a:pt x="107" y="9254"/>
                  </a:cubicBezTo>
                  <a:close/>
                  <a:moveTo>
                    <a:pt x="20072" y="7942"/>
                  </a:moveTo>
                  <a:cubicBezTo>
                    <a:pt x="20010" y="8125"/>
                    <a:pt x="20010" y="8125"/>
                    <a:pt x="20010" y="8125"/>
                  </a:cubicBezTo>
                  <a:cubicBezTo>
                    <a:pt x="19897" y="8308"/>
                    <a:pt x="19661" y="8407"/>
                    <a:pt x="19661" y="8125"/>
                  </a:cubicBezTo>
                  <a:cubicBezTo>
                    <a:pt x="19661" y="7942"/>
                    <a:pt x="19723" y="7660"/>
                    <a:pt x="19661" y="7461"/>
                  </a:cubicBezTo>
                  <a:cubicBezTo>
                    <a:pt x="19609" y="7378"/>
                    <a:pt x="19548" y="7179"/>
                    <a:pt x="19609" y="7096"/>
                  </a:cubicBezTo>
                  <a:cubicBezTo>
                    <a:pt x="19609" y="6996"/>
                    <a:pt x="19897" y="6996"/>
                    <a:pt x="19959" y="6896"/>
                  </a:cubicBezTo>
                  <a:cubicBezTo>
                    <a:pt x="20010" y="6813"/>
                    <a:pt x="20072" y="6896"/>
                    <a:pt x="20134" y="6996"/>
                  </a:cubicBezTo>
                  <a:cubicBezTo>
                    <a:pt x="20134" y="6996"/>
                    <a:pt x="20247" y="7096"/>
                    <a:pt x="20247" y="7179"/>
                  </a:cubicBezTo>
                  <a:cubicBezTo>
                    <a:pt x="20247" y="7278"/>
                    <a:pt x="20185" y="7461"/>
                    <a:pt x="20185" y="7560"/>
                  </a:cubicBezTo>
                  <a:cubicBezTo>
                    <a:pt x="20134" y="7660"/>
                    <a:pt x="20072" y="7843"/>
                    <a:pt x="20072" y="7942"/>
                  </a:cubicBezTo>
                  <a:close/>
                </a:path>
              </a:pathLst>
            </a:custGeom>
            <a:grpFill/>
            <a:ln w="3175" cap="flat" cmpd="sng">
              <a:noFill/>
              <a:prstDash val="solid"/>
              <a:bevel/>
              <a:headEnd type="none" w="sm" len="sm"/>
              <a:tailEnd type="none" w="sm" len="sm"/>
            </a:ln>
          </p:spPr>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C2C2C"/>
                </a:solidFill>
                <a:effectLst/>
                <a:uLnTx/>
                <a:uFillTx/>
                <a:latin typeface="Open Sans"/>
                <a:ea typeface="Open Sans"/>
                <a:cs typeface="Open Sans"/>
                <a:sym typeface="Open Sans"/>
              </a:endParaRPr>
            </a:p>
          </p:txBody>
        </p:sp>
        <p:sp>
          <p:nvSpPr>
            <p:cNvPr id="13" name="Google Shape;11984;p276" descr="Freeform 155">
              <a:extLst>
                <a:ext uri="{FF2B5EF4-FFF2-40B4-BE49-F238E27FC236}">
                  <a16:creationId xmlns:a16="http://schemas.microsoft.com/office/drawing/2014/main" id="{179DBFC9-0AA1-84FA-7DE5-82CD0F0759CB}"/>
                </a:ext>
              </a:extLst>
            </p:cNvPr>
            <p:cNvSpPr/>
            <p:nvPr/>
          </p:nvSpPr>
          <p:spPr>
            <a:xfrm>
              <a:off x="1558618" y="58461"/>
              <a:ext cx="921437" cy="366642"/>
            </a:xfrm>
            <a:custGeom>
              <a:avLst/>
              <a:gdLst/>
              <a:ahLst/>
              <a:cxnLst/>
              <a:rect l="l" t="t" r="r" b="b"/>
              <a:pathLst>
                <a:path w="21538" h="21491" extrusionOk="0">
                  <a:moveTo>
                    <a:pt x="21538" y="7509"/>
                  </a:moveTo>
                  <a:cubicBezTo>
                    <a:pt x="21347" y="8170"/>
                    <a:pt x="21347" y="8170"/>
                    <a:pt x="21347" y="8170"/>
                  </a:cubicBezTo>
                  <a:cubicBezTo>
                    <a:pt x="21347" y="8451"/>
                    <a:pt x="21314" y="8551"/>
                    <a:pt x="21347" y="8815"/>
                  </a:cubicBezTo>
                  <a:cubicBezTo>
                    <a:pt x="21426" y="9394"/>
                    <a:pt x="21538" y="10238"/>
                    <a:pt x="21347" y="10701"/>
                  </a:cubicBezTo>
                  <a:cubicBezTo>
                    <a:pt x="21195" y="11081"/>
                    <a:pt x="21162" y="10420"/>
                    <a:pt x="21122" y="10320"/>
                  </a:cubicBezTo>
                  <a:cubicBezTo>
                    <a:pt x="21089" y="10238"/>
                    <a:pt x="20858" y="10138"/>
                    <a:pt x="20825" y="10138"/>
                  </a:cubicBezTo>
                  <a:cubicBezTo>
                    <a:pt x="20673" y="10039"/>
                    <a:pt x="20634" y="10519"/>
                    <a:pt x="20489" y="10800"/>
                  </a:cubicBezTo>
                  <a:cubicBezTo>
                    <a:pt x="20225" y="11263"/>
                    <a:pt x="19849" y="10320"/>
                    <a:pt x="19849" y="11743"/>
                  </a:cubicBezTo>
                  <a:cubicBezTo>
                    <a:pt x="19809" y="12685"/>
                    <a:pt x="19545" y="13049"/>
                    <a:pt x="19175" y="13149"/>
                  </a:cubicBezTo>
                  <a:cubicBezTo>
                    <a:pt x="18799" y="13330"/>
                    <a:pt x="18799" y="13330"/>
                    <a:pt x="18799" y="13330"/>
                  </a:cubicBezTo>
                  <a:cubicBezTo>
                    <a:pt x="18727" y="13049"/>
                    <a:pt x="18727" y="12487"/>
                    <a:pt x="18647" y="12305"/>
                  </a:cubicBezTo>
                  <a:cubicBezTo>
                    <a:pt x="18608" y="12206"/>
                    <a:pt x="18350" y="11643"/>
                    <a:pt x="18311" y="11643"/>
                  </a:cubicBezTo>
                  <a:cubicBezTo>
                    <a:pt x="18238" y="11544"/>
                    <a:pt x="18126" y="12024"/>
                    <a:pt x="18047" y="12206"/>
                  </a:cubicBezTo>
                  <a:cubicBezTo>
                    <a:pt x="17935" y="12487"/>
                    <a:pt x="17790" y="12768"/>
                    <a:pt x="17638" y="13049"/>
                  </a:cubicBezTo>
                  <a:cubicBezTo>
                    <a:pt x="17446" y="13529"/>
                    <a:pt x="17189" y="12867"/>
                    <a:pt x="16998" y="13248"/>
                  </a:cubicBezTo>
                  <a:cubicBezTo>
                    <a:pt x="16925" y="13529"/>
                    <a:pt x="16958" y="13992"/>
                    <a:pt x="16885" y="14273"/>
                  </a:cubicBezTo>
                  <a:cubicBezTo>
                    <a:pt x="16813" y="14554"/>
                    <a:pt x="16773" y="15497"/>
                    <a:pt x="16661" y="15596"/>
                  </a:cubicBezTo>
                  <a:cubicBezTo>
                    <a:pt x="16509" y="15877"/>
                    <a:pt x="16437" y="15315"/>
                    <a:pt x="16324" y="15315"/>
                  </a:cubicBezTo>
                  <a:cubicBezTo>
                    <a:pt x="16021" y="15216"/>
                    <a:pt x="15948" y="16159"/>
                    <a:pt x="15500" y="15877"/>
                  </a:cubicBezTo>
                  <a:cubicBezTo>
                    <a:pt x="15308" y="15778"/>
                    <a:pt x="15236" y="16440"/>
                    <a:pt x="14939" y="16059"/>
                  </a:cubicBezTo>
                  <a:cubicBezTo>
                    <a:pt x="14675" y="15679"/>
                    <a:pt x="14450" y="15497"/>
                    <a:pt x="14411" y="16622"/>
                  </a:cubicBezTo>
                  <a:cubicBezTo>
                    <a:pt x="14411" y="17945"/>
                    <a:pt x="13698" y="15877"/>
                    <a:pt x="13625" y="17184"/>
                  </a:cubicBezTo>
                  <a:cubicBezTo>
                    <a:pt x="13625" y="17945"/>
                    <a:pt x="13401" y="17664"/>
                    <a:pt x="13176" y="17746"/>
                  </a:cubicBezTo>
                  <a:cubicBezTo>
                    <a:pt x="12913" y="17945"/>
                    <a:pt x="12840" y="17383"/>
                    <a:pt x="12576" y="17283"/>
                  </a:cubicBezTo>
                  <a:cubicBezTo>
                    <a:pt x="12385" y="17184"/>
                    <a:pt x="12200" y="16820"/>
                    <a:pt x="12048" y="16820"/>
                  </a:cubicBezTo>
                  <a:cubicBezTo>
                    <a:pt x="11560" y="16903"/>
                    <a:pt x="11527" y="19450"/>
                    <a:pt x="11038" y="19251"/>
                  </a:cubicBezTo>
                  <a:cubicBezTo>
                    <a:pt x="10774" y="19152"/>
                    <a:pt x="10438" y="18788"/>
                    <a:pt x="10213" y="18507"/>
                  </a:cubicBezTo>
                  <a:cubicBezTo>
                    <a:pt x="9910" y="18127"/>
                    <a:pt x="9725" y="17283"/>
                    <a:pt x="9652" y="16523"/>
                  </a:cubicBezTo>
                  <a:cubicBezTo>
                    <a:pt x="9501" y="16523"/>
                    <a:pt x="9428" y="16903"/>
                    <a:pt x="9276" y="16721"/>
                  </a:cubicBezTo>
                  <a:cubicBezTo>
                    <a:pt x="9124" y="16622"/>
                    <a:pt x="9085" y="16440"/>
                    <a:pt x="8900" y="16341"/>
                  </a:cubicBezTo>
                  <a:cubicBezTo>
                    <a:pt x="8563" y="16341"/>
                    <a:pt x="8788" y="17383"/>
                    <a:pt x="8596" y="17465"/>
                  </a:cubicBezTo>
                  <a:cubicBezTo>
                    <a:pt x="8451" y="17664"/>
                    <a:pt x="8227" y="17746"/>
                    <a:pt x="8148" y="17383"/>
                  </a:cubicBezTo>
                  <a:cubicBezTo>
                    <a:pt x="7890" y="15960"/>
                    <a:pt x="7739" y="18309"/>
                    <a:pt x="7435" y="17945"/>
                  </a:cubicBezTo>
                  <a:cubicBezTo>
                    <a:pt x="7211" y="17564"/>
                    <a:pt x="6914" y="17465"/>
                    <a:pt x="6762" y="17184"/>
                  </a:cubicBezTo>
                  <a:cubicBezTo>
                    <a:pt x="6650" y="16820"/>
                    <a:pt x="6425" y="17383"/>
                    <a:pt x="6386" y="17664"/>
                  </a:cubicBezTo>
                  <a:cubicBezTo>
                    <a:pt x="6240" y="18408"/>
                    <a:pt x="6049" y="19632"/>
                    <a:pt x="5785" y="20095"/>
                  </a:cubicBezTo>
                  <a:cubicBezTo>
                    <a:pt x="5640" y="20293"/>
                    <a:pt x="5224" y="20575"/>
                    <a:pt x="5039" y="20657"/>
                  </a:cubicBezTo>
                  <a:cubicBezTo>
                    <a:pt x="4888" y="20757"/>
                    <a:pt x="4775" y="20575"/>
                    <a:pt x="4624" y="20575"/>
                  </a:cubicBezTo>
                  <a:cubicBezTo>
                    <a:pt x="4511" y="20575"/>
                    <a:pt x="4360" y="20475"/>
                    <a:pt x="4247" y="20475"/>
                  </a:cubicBezTo>
                  <a:cubicBezTo>
                    <a:pt x="4102" y="20475"/>
                    <a:pt x="3990" y="20475"/>
                    <a:pt x="3878" y="20575"/>
                  </a:cubicBezTo>
                  <a:cubicBezTo>
                    <a:pt x="3647" y="20657"/>
                    <a:pt x="3502" y="21038"/>
                    <a:pt x="3310" y="21418"/>
                  </a:cubicBezTo>
                  <a:cubicBezTo>
                    <a:pt x="3198" y="21600"/>
                    <a:pt x="3198" y="21418"/>
                    <a:pt x="3126" y="21137"/>
                  </a:cubicBezTo>
                  <a:cubicBezTo>
                    <a:pt x="3053" y="20757"/>
                    <a:pt x="2901" y="20575"/>
                    <a:pt x="2749" y="20575"/>
                  </a:cubicBezTo>
                  <a:cubicBezTo>
                    <a:pt x="2677" y="19351"/>
                    <a:pt x="2677" y="19351"/>
                    <a:pt x="2677" y="19351"/>
                  </a:cubicBezTo>
                  <a:cubicBezTo>
                    <a:pt x="2525" y="18590"/>
                    <a:pt x="1964" y="18689"/>
                    <a:pt x="1924" y="18127"/>
                  </a:cubicBezTo>
                  <a:cubicBezTo>
                    <a:pt x="1700" y="18127"/>
                    <a:pt x="1588" y="18788"/>
                    <a:pt x="1515" y="17846"/>
                  </a:cubicBezTo>
                  <a:cubicBezTo>
                    <a:pt x="1476" y="17564"/>
                    <a:pt x="1627" y="16903"/>
                    <a:pt x="1700" y="16622"/>
                  </a:cubicBezTo>
                  <a:cubicBezTo>
                    <a:pt x="1891" y="15596"/>
                    <a:pt x="2598" y="16159"/>
                    <a:pt x="2789" y="14836"/>
                  </a:cubicBezTo>
                  <a:cubicBezTo>
                    <a:pt x="2829" y="14455"/>
                    <a:pt x="2525" y="13248"/>
                    <a:pt x="2413" y="13149"/>
                  </a:cubicBezTo>
                  <a:cubicBezTo>
                    <a:pt x="2373" y="13430"/>
                    <a:pt x="2116" y="14273"/>
                    <a:pt x="1964" y="14372"/>
                  </a:cubicBezTo>
                  <a:cubicBezTo>
                    <a:pt x="1740" y="14554"/>
                    <a:pt x="1548" y="13992"/>
                    <a:pt x="1548" y="13529"/>
                  </a:cubicBezTo>
                  <a:cubicBezTo>
                    <a:pt x="1548" y="13248"/>
                    <a:pt x="1700" y="12867"/>
                    <a:pt x="1660" y="12685"/>
                  </a:cubicBezTo>
                  <a:cubicBezTo>
                    <a:pt x="1660" y="12685"/>
                    <a:pt x="1291" y="12305"/>
                    <a:pt x="1251" y="12305"/>
                  </a:cubicBezTo>
                  <a:cubicBezTo>
                    <a:pt x="1139" y="12305"/>
                    <a:pt x="1067" y="12206"/>
                    <a:pt x="987" y="11925"/>
                  </a:cubicBezTo>
                  <a:cubicBezTo>
                    <a:pt x="723" y="11263"/>
                    <a:pt x="915" y="10519"/>
                    <a:pt x="842" y="9758"/>
                  </a:cubicBezTo>
                  <a:cubicBezTo>
                    <a:pt x="50" y="9758"/>
                    <a:pt x="578" y="7889"/>
                    <a:pt x="50" y="7509"/>
                  </a:cubicBezTo>
                  <a:cubicBezTo>
                    <a:pt x="-62" y="7409"/>
                    <a:pt x="50" y="6566"/>
                    <a:pt x="50" y="6384"/>
                  </a:cubicBezTo>
                  <a:cubicBezTo>
                    <a:pt x="387" y="6186"/>
                    <a:pt x="466" y="6764"/>
                    <a:pt x="690" y="5723"/>
                  </a:cubicBezTo>
                  <a:cubicBezTo>
                    <a:pt x="763" y="5342"/>
                    <a:pt x="1027" y="4879"/>
                    <a:pt x="1027" y="4499"/>
                  </a:cubicBezTo>
                  <a:cubicBezTo>
                    <a:pt x="1027" y="4118"/>
                    <a:pt x="1100" y="3754"/>
                    <a:pt x="1100" y="3473"/>
                  </a:cubicBezTo>
                  <a:cubicBezTo>
                    <a:pt x="1100" y="2812"/>
                    <a:pt x="1100" y="2812"/>
                    <a:pt x="1100" y="2812"/>
                  </a:cubicBezTo>
                  <a:cubicBezTo>
                    <a:pt x="1324" y="2812"/>
                    <a:pt x="1324" y="2812"/>
                    <a:pt x="1324" y="2812"/>
                  </a:cubicBezTo>
                  <a:cubicBezTo>
                    <a:pt x="1627" y="2812"/>
                    <a:pt x="1852" y="2349"/>
                    <a:pt x="2116" y="2530"/>
                  </a:cubicBezTo>
                  <a:cubicBezTo>
                    <a:pt x="2340" y="2630"/>
                    <a:pt x="2565" y="2630"/>
                    <a:pt x="2789" y="2712"/>
                  </a:cubicBezTo>
                  <a:cubicBezTo>
                    <a:pt x="2974" y="2812"/>
                    <a:pt x="3013" y="2630"/>
                    <a:pt x="3165" y="2630"/>
                  </a:cubicBezTo>
                  <a:cubicBezTo>
                    <a:pt x="3277" y="2630"/>
                    <a:pt x="3390" y="2712"/>
                    <a:pt x="3462" y="2812"/>
                  </a:cubicBezTo>
                  <a:cubicBezTo>
                    <a:pt x="3574" y="2911"/>
                    <a:pt x="3911" y="2812"/>
                    <a:pt x="4023" y="2712"/>
                  </a:cubicBezTo>
                  <a:cubicBezTo>
                    <a:pt x="4287" y="2630"/>
                    <a:pt x="4327" y="2712"/>
                    <a:pt x="4551" y="2812"/>
                  </a:cubicBezTo>
                  <a:cubicBezTo>
                    <a:pt x="4736" y="2712"/>
                    <a:pt x="4927" y="2712"/>
                    <a:pt x="5112" y="2712"/>
                  </a:cubicBezTo>
                  <a:cubicBezTo>
                    <a:pt x="5264" y="2812"/>
                    <a:pt x="5336" y="2994"/>
                    <a:pt x="5449" y="2911"/>
                  </a:cubicBezTo>
                  <a:cubicBezTo>
                    <a:pt x="5600" y="2911"/>
                    <a:pt x="5600" y="2530"/>
                    <a:pt x="5713" y="2530"/>
                  </a:cubicBezTo>
                  <a:cubicBezTo>
                    <a:pt x="5785" y="2530"/>
                    <a:pt x="5864" y="2812"/>
                    <a:pt x="5937" y="2911"/>
                  </a:cubicBezTo>
                  <a:cubicBezTo>
                    <a:pt x="6313" y="3093"/>
                    <a:pt x="6801" y="2712"/>
                    <a:pt x="7178" y="2431"/>
                  </a:cubicBezTo>
                  <a:cubicBezTo>
                    <a:pt x="7290" y="2349"/>
                    <a:pt x="7547" y="1869"/>
                    <a:pt x="7626" y="1968"/>
                  </a:cubicBezTo>
                  <a:cubicBezTo>
                    <a:pt x="7778" y="2249"/>
                    <a:pt x="8036" y="2530"/>
                    <a:pt x="8227" y="2630"/>
                  </a:cubicBezTo>
                  <a:cubicBezTo>
                    <a:pt x="8339" y="2530"/>
                    <a:pt x="8596" y="2530"/>
                    <a:pt x="8676" y="2712"/>
                  </a:cubicBezTo>
                  <a:cubicBezTo>
                    <a:pt x="8827" y="3192"/>
                    <a:pt x="9052" y="2249"/>
                    <a:pt x="9276" y="2249"/>
                  </a:cubicBezTo>
                  <a:cubicBezTo>
                    <a:pt x="9540" y="2249"/>
                    <a:pt x="10141" y="2249"/>
                    <a:pt x="10141" y="1307"/>
                  </a:cubicBezTo>
                  <a:cubicBezTo>
                    <a:pt x="10141" y="744"/>
                    <a:pt x="10365" y="1025"/>
                    <a:pt x="10510" y="843"/>
                  </a:cubicBezTo>
                  <a:cubicBezTo>
                    <a:pt x="10590" y="744"/>
                    <a:pt x="10662" y="182"/>
                    <a:pt x="10702" y="0"/>
                  </a:cubicBezTo>
                  <a:cubicBezTo>
                    <a:pt x="10814" y="83"/>
                    <a:pt x="11190" y="1025"/>
                    <a:pt x="11223" y="1307"/>
                  </a:cubicBezTo>
                  <a:cubicBezTo>
                    <a:pt x="11302" y="1968"/>
                    <a:pt x="11599" y="2249"/>
                    <a:pt x="11824" y="2530"/>
                  </a:cubicBezTo>
                  <a:cubicBezTo>
                    <a:pt x="11936" y="2812"/>
                    <a:pt x="11936" y="3275"/>
                    <a:pt x="12127" y="3192"/>
                  </a:cubicBezTo>
                  <a:cubicBezTo>
                    <a:pt x="12312" y="3192"/>
                    <a:pt x="12424" y="2911"/>
                    <a:pt x="12649" y="2911"/>
                  </a:cubicBezTo>
                  <a:cubicBezTo>
                    <a:pt x="13064" y="2911"/>
                    <a:pt x="13434" y="3192"/>
                    <a:pt x="13810" y="2994"/>
                  </a:cubicBezTo>
                  <a:cubicBezTo>
                    <a:pt x="13922" y="2994"/>
                    <a:pt x="14371" y="2812"/>
                    <a:pt x="14371" y="3192"/>
                  </a:cubicBezTo>
                  <a:cubicBezTo>
                    <a:pt x="14371" y="3374"/>
                    <a:pt x="14259" y="3655"/>
                    <a:pt x="14259" y="3936"/>
                  </a:cubicBezTo>
                  <a:cubicBezTo>
                    <a:pt x="14259" y="4036"/>
                    <a:pt x="14411" y="4036"/>
                    <a:pt x="14450" y="3936"/>
                  </a:cubicBezTo>
                  <a:cubicBezTo>
                    <a:pt x="14523" y="3275"/>
                    <a:pt x="14490" y="3556"/>
                    <a:pt x="14747" y="3473"/>
                  </a:cubicBezTo>
                  <a:cubicBezTo>
                    <a:pt x="14899" y="3374"/>
                    <a:pt x="15163" y="3473"/>
                    <a:pt x="15275" y="3556"/>
                  </a:cubicBezTo>
                  <a:cubicBezTo>
                    <a:pt x="15348" y="4598"/>
                    <a:pt x="15684" y="5061"/>
                    <a:pt x="16100" y="4978"/>
                  </a:cubicBezTo>
                  <a:cubicBezTo>
                    <a:pt x="16437" y="4681"/>
                    <a:pt x="16588" y="5061"/>
                    <a:pt x="16885" y="5342"/>
                  </a:cubicBezTo>
                  <a:cubicBezTo>
                    <a:pt x="17413" y="5822"/>
                    <a:pt x="17895" y="5441"/>
                    <a:pt x="18463" y="5822"/>
                  </a:cubicBezTo>
                  <a:cubicBezTo>
                    <a:pt x="19288" y="6384"/>
                    <a:pt x="19288" y="6384"/>
                    <a:pt x="19288" y="6384"/>
                  </a:cubicBezTo>
                  <a:cubicBezTo>
                    <a:pt x="19585" y="6566"/>
                    <a:pt x="19849" y="7046"/>
                    <a:pt x="20113" y="7046"/>
                  </a:cubicBezTo>
                  <a:cubicBezTo>
                    <a:pt x="20449" y="6946"/>
                    <a:pt x="20786" y="7327"/>
                    <a:pt x="21122" y="7409"/>
                  </a:cubicBezTo>
                  <a:cubicBezTo>
                    <a:pt x="21234" y="7409"/>
                    <a:pt x="21386" y="7409"/>
                    <a:pt x="21538" y="7509"/>
                  </a:cubicBezTo>
                </a:path>
              </a:pathLst>
            </a:custGeom>
            <a:grpFill/>
            <a:ln w="3175" cap="flat" cmpd="sng">
              <a:noFill/>
              <a:prstDash val="solid"/>
              <a:bevel/>
              <a:headEnd type="none" w="sm" len="sm"/>
              <a:tailEnd type="none" w="sm" len="sm"/>
            </a:ln>
          </p:spPr>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C2C2C"/>
                </a:solidFill>
                <a:effectLst/>
                <a:uLnTx/>
                <a:uFillTx/>
                <a:latin typeface="Open Sans"/>
                <a:ea typeface="Open Sans"/>
                <a:cs typeface="Open Sans"/>
                <a:sym typeface="Open Sans"/>
              </a:endParaRPr>
            </a:p>
          </p:txBody>
        </p:sp>
        <p:sp>
          <p:nvSpPr>
            <p:cNvPr id="14" name="Google Shape;11985;p276" descr="Freeform 156">
              <a:extLst>
                <a:ext uri="{FF2B5EF4-FFF2-40B4-BE49-F238E27FC236}">
                  <a16:creationId xmlns:a16="http://schemas.microsoft.com/office/drawing/2014/main" id="{A9D0587E-B528-0EF0-A9B9-97120E471385}"/>
                </a:ext>
              </a:extLst>
            </p:cNvPr>
            <p:cNvSpPr/>
            <p:nvPr/>
          </p:nvSpPr>
          <p:spPr>
            <a:xfrm>
              <a:off x="827396" y="-1"/>
              <a:ext cx="882718" cy="929973"/>
            </a:xfrm>
            <a:custGeom>
              <a:avLst/>
              <a:gdLst/>
              <a:ahLst/>
              <a:cxnLst/>
              <a:rect l="l" t="t" r="r" b="b"/>
              <a:pathLst>
                <a:path w="21412" h="21249" extrusionOk="0">
                  <a:moveTo>
                    <a:pt x="18874" y="2421"/>
                  </a:moveTo>
                  <a:cubicBezTo>
                    <a:pt x="18874" y="2679"/>
                    <a:pt x="18874" y="2679"/>
                    <a:pt x="18874" y="2679"/>
                  </a:cubicBezTo>
                  <a:cubicBezTo>
                    <a:pt x="18874" y="2789"/>
                    <a:pt x="18799" y="2931"/>
                    <a:pt x="18799" y="3079"/>
                  </a:cubicBezTo>
                  <a:cubicBezTo>
                    <a:pt x="18799" y="3228"/>
                    <a:pt x="18525" y="3409"/>
                    <a:pt x="18449" y="3557"/>
                  </a:cubicBezTo>
                  <a:cubicBezTo>
                    <a:pt x="18216" y="3964"/>
                    <a:pt x="18134" y="3738"/>
                    <a:pt x="17785" y="3815"/>
                  </a:cubicBezTo>
                  <a:cubicBezTo>
                    <a:pt x="17785" y="3886"/>
                    <a:pt x="17668" y="4216"/>
                    <a:pt x="17785" y="4254"/>
                  </a:cubicBezTo>
                  <a:cubicBezTo>
                    <a:pt x="18333" y="4403"/>
                    <a:pt x="17785" y="5132"/>
                    <a:pt x="18607" y="5132"/>
                  </a:cubicBezTo>
                  <a:cubicBezTo>
                    <a:pt x="18682" y="5429"/>
                    <a:pt x="18484" y="5720"/>
                    <a:pt x="18758" y="5978"/>
                  </a:cubicBezTo>
                  <a:cubicBezTo>
                    <a:pt x="18840" y="6088"/>
                    <a:pt x="18915" y="6126"/>
                    <a:pt x="19032" y="6126"/>
                  </a:cubicBezTo>
                  <a:cubicBezTo>
                    <a:pt x="19073" y="6126"/>
                    <a:pt x="19456" y="6275"/>
                    <a:pt x="19456" y="6275"/>
                  </a:cubicBezTo>
                  <a:cubicBezTo>
                    <a:pt x="19497" y="6346"/>
                    <a:pt x="19340" y="6494"/>
                    <a:pt x="19340" y="6604"/>
                  </a:cubicBezTo>
                  <a:cubicBezTo>
                    <a:pt x="19340" y="6785"/>
                    <a:pt x="19539" y="7004"/>
                    <a:pt x="19771" y="6933"/>
                  </a:cubicBezTo>
                  <a:cubicBezTo>
                    <a:pt x="19929" y="6895"/>
                    <a:pt x="20196" y="6565"/>
                    <a:pt x="20237" y="6456"/>
                  </a:cubicBezTo>
                  <a:cubicBezTo>
                    <a:pt x="20354" y="6494"/>
                    <a:pt x="20669" y="6966"/>
                    <a:pt x="20628" y="7114"/>
                  </a:cubicBezTo>
                  <a:cubicBezTo>
                    <a:pt x="20429" y="7631"/>
                    <a:pt x="19696" y="7411"/>
                    <a:pt x="19497" y="7811"/>
                  </a:cubicBezTo>
                  <a:cubicBezTo>
                    <a:pt x="19422" y="7921"/>
                    <a:pt x="19265" y="8179"/>
                    <a:pt x="19306" y="8289"/>
                  </a:cubicBezTo>
                  <a:cubicBezTo>
                    <a:pt x="19381" y="8657"/>
                    <a:pt x="19497" y="8399"/>
                    <a:pt x="19730" y="8399"/>
                  </a:cubicBezTo>
                  <a:cubicBezTo>
                    <a:pt x="19771" y="8618"/>
                    <a:pt x="20354" y="8580"/>
                    <a:pt x="20511" y="8876"/>
                  </a:cubicBezTo>
                  <a:cubicBezTo>
                    <a:pt x="20587" y="9354"/>
                    <a:pt x="20587" y="9354"/>
                    <a:pt x="20587" y="9354"/>
                  </a:cubicBezTo>
                  <a:cubicBezTo>
                    <a:pt x="20511" y="9496"/>
                    <a:pt x="20511" y="9496"/>
                    <a:pt x="20511" y="9496"/>
                  </a:cubicBezTo>
                  <a:cubicBezTo>
                    <a:pt x="20511" y="9606"/>
                    <a:pt x="20744" y="9683"/>
                    <a:pt x="20669" y="9754"/>
                  </a:cubicBezTo>
                  <a:cubicBezTo>
                    <a:pt x="20628" y="9864"/>
                    <a:pt x="20511" y="9754"/>
                    <a:pt x="20395" y="9754"/>
                  </a:cubicBezTo>
                  <a:cubicBezTo>
                    <a:pt x="20080" y="9754"/>
                    <a:pt x="20470" y="10271"/>
                    <a:pt x="20470" y="10381"/>
                  </a:cubicBezTo>
                  <a:cubicBezTo>
                    <a:pt x="20470" y="10490"/>
                    <a:pt x="20237" y="10710"/>
                    <a:pt x="20162" y="10820"/>
                  </a:cubicBezTo>
                  <a:cubicBezTo>
                    <a:pt x="20080" y="10891"/>
                    <a:pt x="19730" y="11368"/>
                    <a:pt x="19614" y="11220"/>
                  </a:cubicBezTo>
                  <a:cubicBezTo>
                    <a:pt x="19539" y="11149"/>
                    <a:pt x="19539" y="11000"/>
                    <a:pt x="19456" y="11220"/>
                  </a:cubicBezTo>
                  <a:cubicBezTo>
                    <a:pt x="19422" y="11297"/>
                    <a:pt x="19381" y="11407"/>
                    <a:pt x="19381" y="11478"/>
                  </a:cubicBezTo>
                  <a:cubicBezTo>
                    <a:pt x="19189" y="11556"/>
                    <a:pt x="18641" y="11517"/>
                    <a:pt x="18874" y="11956"/>
                  </a:cubicBezTo>
                  <a:cubicBezTo>
                    <a:pt x="19148" y="12362"/>
                    <a:pt x="18840" y="12246"/>
                    <a:pt x="18758" y="12582"/>
                  </a:cubicBezTo>
                  <a:cubicBezTo>
                    <a:pt x="18716" y="12763"/>
                    <a:pt x="18915" y="12872"/>
                    <a:pt x="18758" y="13060"/>
                  </a:cubicBezTo>
                  <a:cubicBezTo>
                    <a:pt x="18641" y="13240"/>
                    <a:pt x="18716" y="13641"/>
                    <a:pt x="18607" y="13718"/>
                  </a:cubicBezTo>
                  <a:cubicBezTo>
                    <a:pt x="18607" y="13718"/>
                    <a:pt x="18607" y="13718"/>
                    <a:pt x="18607" y="13757"/>
                  </a:cubicBezTo>
                  <a:cubicBezTo>
                    <a:pt x="18682" y="13757"/>
                    <a:pt x="19073" y="13860"/>
                    <a:pt x="19107" y="13860"/>
                  </a:cubicBezTo>
                  <a:cubicBezTo>
                    <a:pt x="19422" y="13789"/>
                    <a:pt x="19306" y="14086"/>
                    <a:pt x="19539" y="13757"/>
                  </a:cubicBezTo>
                  <a:cubicBezTo>
                    <a:pt x="19614" y="13641"/>
                    <a:pt x="19771" y="13531"/>
                    <a:pt x="19888" y="13641"/>
                  </a:cubicBezTo>
                  <a:cubicBezTo>
                    <a:pt x="19963" y="13718"/>
                    <a:pt x="20313" y="13976"/>
                    <a:pt x="20395" y="13976"/>
                  </a:cubicBezTo>
                  <a:cubicBezTo>
                    <a:pt x="20511" y="13976"/>
                    <a:pt x="20628" y="13976"/>
                    <a:pt x="20703" y="13976"/>
                  </a:cubicBezTo>
                  <a:cubicBezTo>
                    <a:pt x="20744" y="14086"/>
                    <a:pt x="20785" y="14196"/>
                    <a:pt x="20744" y="14306"/>
                  </a:cubicBezTo>
                  <a:cubicBezTo>
                    <a:pt x="20628" y="14486"/>
                    <a:pt x="20785" y="14557"/>
                    <a:pt x="20703" y="14667"/>
                  </a:cubicBezTo>
                  <a:cubicBezTo>
                    <a:pt x="20628" y="14783"/>
                    <a:pt x="20470" y="14816"/>
                    <a:pt x="20587" y="14925"/>
                  </a:cubicBezTo>
                  <a:cubicBezTo>
                    <a:pt x="20744" y="15112"/>
                    <a:pt x="21094" y="15145"/>
                    <a:pt x="21285" y="15293"/>
                  </a:cubicBezTo>
                  <a:cubicBezTo>
                    <a:pt x="21443" y="15442"/>
                    <a:pt x="21409" y="15622"/>
                    <a:pt x="21409" y="15810"/>
                  </a:cubicBezTo>
                  <a:cubicBezTo>
                    <a:pt x="21409" y="16100"/>
                    <a:pt x="21135" y="16320"/>
                    <a:pt x="20936" y="16500"/>
                  </a:cubicBezTo>
                  <a:cubicBezTo>
                    <a:pt x="20785" y="16688"/>
                    <a:pt x="20936" y="16726"/>
                    <a:pt x="20936" y="16868"/>
                  </a:cubicBezTo>
                  <a:cubicBezTo>
                    <a:pt x="20744" y="16868"/>
                    <a:pt x="20546" y="16726"/>
                    <a:pt x="20395" y="16726"/>
                  </a:cubicBezTo>
                  <a:cubicBezTo>
                    <a:pt x="20121" y="16726"/>
                    <a:pt x="20121" y="17088"/>
                    <a:pt x="19963" y="17198"/>
                  </a:cubicBezTo>
                  <a:cubicBezTo>
                    <a:pt x="19771" y="17314"/>
                    <a:pt x="19655" y="17346"/>
                    <a:pt x="19655" y="17566"/>
                  </a:cubicBezTo>
                  <a:cubicBezTo>
                    <a:pt x="19655" y="17785"/>
                    <a:pt x="19497" y="17824"/>
                    <a:pt x="19340" y="17934"/>
                  </a:cubicBezTo>
                  <a:cubicBezTo>
                    <a:pt x="19223" y="17972"/>
                    <a:pt x="19265" y="18114"/>
                    <a:pt x="19189" y="18192"/>
                  </a:cubicBezTo>
                  <a:cubicBezTo>
                    <a:pt x="19107" y="18263"/>
                    <a:pt x="18799" y="18372"/>
                    <a:pt x="18956" y="18482"/>
                  </a:cubicBezTo>
                  <a:cubicBezTo>
                    <a:pt x="19073" y="18592"/>
                    <a:pt x="19189" y="18631"/>
                    <a:pt x="19381" y="18631"/>
                  </a:cubicBezTo>
                  <a:cubicBezTo>
                    <a:pt x="19614" y="18669"/>
                    <a:pt x="19422" y="19147"/>
                    <a:pt x="19306" y="19218"/>
                  </a:cubicBezTo>
                  <a:cubicBezTo>
                    <a:pt x="19422" y="19438"/>
                    <a:pt x="19422" y="19438"/>
                    <a:pt x="19422" y="19438"/>
                  </a:cubicBezTo>
                  <a:cubicBezTo>
                    <a:pt x="19381" y="19509"/>
                    <a:pt x="19032" y="19728"/>
                    <a:pt x="18956" y="19728"/>
                  </a:cubicBezTo>
                  <a:cubicBezTo>
                    <a:pt x="18484" y="19806"/>
                    <a:pt x="18641" y="19618"/>
                    <a:pt x="18449" y="19438"/>
                  </a:cubicBezTo>
                  <a:cubicBezTo>
                    <a:pt x="18292" y="19328"/>
                    <a:pt x="17942" y="19289"/>
                    <a:pt x="17826" y="19438"/>
                  </a:cubicBezTo>
                  <a:cubicBezTo>
                    <a:pt x="17744" y="19547"/>
                    <a:pt x="17627" y="19289"/>
                    <a:pt x="17627" y="19547"/>
                  </a:cubicBezTo>
                  <a:cubicBezTo>
                    <a:pt x="17627" y="19728"/>
                    <a:pt x="17627" y="19915"/>
                    <a:pt x="17668" y="20064"/>
                  </a:cubicBezTo>
                  <a:cubicBezTo>
                    <a:pt x="17709" y="20354"/>
                    <a:pt x="17394" y="20503"/>
                    <a:pt x="17161" y="20574"/>
                  </a:cubicBezTo>
                  <a:cubicBezTo>
                    <a:pt x="16970" y="20613"/>
                    <a:pt x="16271" y="21052"/>
                    <a:pt x="16154" y="20793"/>
                  </a:cubicBezTo>
                  <a:cubicBezTo>
                    <a:pt x="16072" y="20651"/>
                    <a:pt x="15798" y="21090"/>
                    <a:pt x="15764" y="21123"/>
                  </a:cubicBezTo>
                  <a:cubicBezTo>
                    <a:pt x="15531" y="21342"/>
                    <a:pt x="15531" y="20980"/>
                    <a:pt x="15449" y="20832"/>
                  </a:cubicBezTo>
                  <a:cubicBezTo>
                    <a:pt x="15332" y="20793"/>
                    <a:pt x="15449" y="20651"/>
                    <a:pt x="15291" y="20651"/>
                  </a:cubicBezTo>
                  <a:cubicBezTo>
                    <a:pt x="15182" y="20651"/>
                    <a:pt x="15140" y="20613"/>
                    <a:pt x="15024" y="20613"/>
                  </a:cubicBezTo>
                  <a:cubicBezTo>
                    <a:pt x="15024" y="20574"/>
                    <a:pt x="14942" y="20574"/>
                    <a:pt x="14942" y="20574"/>
                  </a:cubicBezTo>
                  <a:cubicBezTo>
                    <a:pt x="14866" y="20651"/>
                    <a:pt x="14908" y="20722"/>
                    <a:pt x="14908" y="20793"/>
                  </a:cubicBezTo>
                  <a:cubicBezTo>
                    <a:pt x="14908" y="20903"/>
                    <a:pt x="14750" y="20903"/>
                    <a:pt x="14675" y="20942"/>
                  </a:cubicBezTo>
                  <a:cubicBezTo>
                    <a:pt x="14517" y="20980"/>
                    <a:pt x="14010" y="21090"/>
                    <a:pt x="14010" y="20871"/>
                  </a:cubicBezTo>
                  <a:cubicBezTo>
                    <a:pt x="14010" y="20755"/>
                    <a:pt x="14243" y="20503"/>
                    <a:pt x="14243" y="20464"/>
                  </a:cubicBezTo>
                  <a:cubicBezTo>
                    <a:pt x="14010" y="20464"/>
                    <a:pt x="13777" y="20503"/>
                    <a:pt x="13578" y="20393"/>
                  </a:cubicBezTo>
                  <a:cubicBezTo>
                    <a:pt x="13113" y="20064"/>
                    <a:pt x="13270" y="20425"/>
                    <a:pt x="12921" y="20354"/>
                  </a:cubicBezTo>
                  <a:cubicBezTo>
                    <a:pt x="12606" y="20316"/>
                    <a:pt x="12688" y="20503"/>
                    <a:pt x="12455" y="20503"/>
                  </a:cubicBezTo>
                  <a:cubicBezTo>
                    <a:pt x="12373" y="20503"/>
                    <a:pt x="12181" y="20464"/>
                    <a:pt x="12106" y="20464"/>
                  </a:cubicBezTo>
                  <a:cubicBezTo>
                    <a:pt x="12023" y="20503"/>
                    <a:pt x="12106" y="20613"/>
                    <a:pt x="11948" y="20684"/>
                  </a:cubicBezTo>
                  <a:cubicBezTo>
                    <a:pt x="11907" y="20722"/>
                    <a:pt x="11866" y="20832"/>
                    <a:pt x="11790" y="20793"/>
                  </a:cubicBezTo>
                  <a:cubicBezTo>
                    <a:pt x="11633" y="20684"/>
                    <a:pt x="11832" y="19728"/>
                    <a:pt x="11558" y="20025"/>
                  </a:cubicBezTo>
                  <a:cubicBezTo>
                    <a:pt x="11441" y="20174"/>
                    <a:pt x="11674" y="20535"/>
                    <a:pt x="11249" y="20574"/>
                  </a:cubicBezTo>
                  <a:cubicBezTo>
                    <a:pt x="10859" y="20574"/>
                    <a:pt x="10859" y="20722"/>
                    <a:pt x="10626" y="20980"/>
                  </a:cubicBezTo>
                  <a:cubicBezTo>
                    <a:pt x="10509" y="21123"/>
                    <a:pt x="10352" y="21013"/>
                    <a:pt x="10194" y="21161"/>
                  </a:cubicBezTo>
                  <a:cubicBezTo>
                    <a:pt x="10044" y="21271"/>
                    <a:pt x="9687" y="21271"/>
                    <a:pt x="9496" y="21200"/>
                  </a:cubicBezTo>
                  <a:cubicBezTo>
                    <a:pt x="9379" y="21123"/>
                    <a:pt x="9338" y="20980"/>
                    <a:pt x="9338" y="20832"/>
                  </a:cubicBezTo>
                  <a:cubicBezTo>
                    <a:pt x="9379" y="20722"/>
                    <a:pt x="9338" y="20651"/>
                    <a:pt x="9338" y="20535"/>
                  </a:cubicBezTo>
                  <a:cubicBezTo>
                    <a:pt x="9146" y="20503"/>
                    <a:pt x="9030" y="20651"/>
                    <a:pt x="9030" y="20354"/>
                  </a:cubicBezTo>
                  <a:cubicBezTo>
                    <a:pt x="9030" y="20174"/>
                    <a:pt x="8989" y="20064"/>
                    <a:pt x="9146" y="19915"/>
                  </a:cubicBezTo>
                  <a:cubicBezTo>
                    <a:pt x="9304" y="19696"/>
                    <a:pt x="9338" y="19509"/>
                    <a:pt x="9420" y="19328"/>
                  </a:cubicBezTo>
                  <a:cubicBezTo>
                    <a:pt x="9571" y="19328"/>
                    <a:pt x="9612" y="19289"/>
                    <a:pt x="9687" y="19179"/>
                  </a:cubicBezTo>
                  <a:cubicBezTo>
                    <a:pt x="9728" y="19037"/>
                    <a:pt x="9886" y="19147"/>
                    <a:pt x="10002" y="19037"/>
                  </a:cubicBezTo>
                  <a:cubicBezTo>
                    <a:pt x="10194" y="18889"/>
                    <a:pt x="10044" y="18450"/>
                    <a:pt x="9845" y="18372"/>
                  </a:cubicBezTo>
                  <a:cubicBezTo>
                    <a:pt x="9612" y="18263"/>
                    <a:pt x="9496" y="18411"/>
                    <a:pt x="9304" y="18482"/>
                  </a:cubicBezTo>
                  <a:cubicBezTo>
                    <a:pt x="9064" y="18521"/>
                    <a:pt x="9146" y="18043"/>
                    <a:pt x="9146" y="17934"/>
                  </a:cubicBezTo>
                  <a:cubicBezTo>
                    <a:pt x="9180" y="17753"/>
                    <a:pt x="9180" y="17675"/>
                    <a:pt x="9030" y="17675"/>
                  </a:cubicBezTo>
                  <a:cubicBezTo>
                    <a:pt x="8989" y="17714"/>
                    <a:pt x="7940" y="18263"/>
                    <a:pt x="7858" y="18230"/>
                  </a:cubicBezTo>
                  <a:cubicBezTo>
                    <a:pt x="7742" y="18230"/>
                    <a:pt x="7708" y="18192"/>
                    <a:pt x="7591" y="18340"/>
                  </a:cubicBezTo>
                  <a:cubicBezTo>
                    <a:pt x="7509" y="18482"/>
                    <a:pt x="7475" y="18263"/>
                    <a:pt x="7317" y="18340"/>
                  </a:cubicBezTo>
                  <a:cubicBezTo>
                    <a:pt x="7084" y="18521"/>
                    <a:pt x="7159" y="18340"/>
                    <a:pt x="6885" y="18340"/>
                  </a:cubicBezTo>
                  <a:cubicBezTo>
                    <a:pt x="6694" y="18340"/>
                    <a:pt x="6536" y="18301"/>
                    <a:pt x="6378" y="18482"/>
                  </a:cubicBezTo>
                  <a:cubicBezTo>
                    <a:pt x="6262" y="18592"/>
                    <a:pt x="6228" y="18740"/>
                    <a:pt x="6029" y="18669"/>
                  </a:cubicBezTo>
                  <a:cubicBezTo>
                    <a:pt x="5604" y="18592"/>
                    <a:pt x="5447" y="18702"/>
                    <a:pt x="5214" y="19037"/>
                  </a:cubicBezTo>
                  <a:cubicBezTo>
                    <a:pt x="5056" y="19257"/>
                    <a:pt x="5056" y="19257"/>
                    <a:pt x="4789" y="19399"/>
                  </a:cubicBezTo>
                  <a:cubicBezTo>
                    <a:pt x="4474" y="19586"/>
                    <a:pt x="4590" y="19657"/>
                    <a:pt x="4433" y="19915"/>
                  </a:cubicBezTo>
                  <a:cubicBezTo>
                    <a:pt x="4358" y="19986"/>
                    <a:pt x="4166" y="20064"/>
                    <a:pt x="4049" y="20096"/>
                  </a:cubicBezTo>
                  <a:cubicBezTo>
                    <a:pt x="3851" y="20206"/>
                    <a:pt x="3851" y="20354"/>
                    <a:pt x="3693" y="20464"/>
                  </a:cubicBezTo>
                  <a:cubicBezTo>
                    <a:pt x="3577" y="20535"/>
                    <a:pt x="3501" y="20613"/>
                    <a:pt x="3385" y="20684"/>
                  </a:cubicBezTo>
                  <a:cubicBezTo>
                    <a:pt x="3385" y="20574"/>
                    <a:pt x="3385" y="20425"/>
                    <a:pt x="3385" y="20316"/>
                  </a:cubicBezTo>
                  <a:cubicBezTo>
                    <a:pt x="3385" y="19838"/>
                    <a:pt x="3268" y="19399"/>
                    <a:pt x="3344" y="18928"/>
                  </a:cubicBezTo>
                  <a:cubicBezTo>
                    <a:pt x="3385" y="18631"/>
                    <a:pt x="3227" y="18372"/>
                    <a:pt x="3227" y="18082"/>
                  </a:cubicBezTo>
                  <a:cubicBezTo>
                    <a:pt x="3268" y="18043"/>
                    <a:pt x="3659" y="18011"/>
                    <a:pt x="3734" y="18011"/>
                  </a:cubicBezTo>
                  <a:cubicBezTo>
                    <a:pt x="3734" y="17972"/>
                    <a:pt x="3734" y="17972"/>
                    <a:pt x="3775" y="17934"/>
                  </a:cubicBezTo>
                  <a:cubicBezTo>
                    <a:pt x="4241" y="17604"/>
                    <a:pt x="3542" y="17604"/>
                    <a:pt x="3892" y="17456"/>
                  </a:cubicBezTo>
                  <a:cubicBezTo>
                    <a:pt x="3926" y="17424"/>
                    <a:pt x="4241" y="17017"/>
                    <a:pt x="4241" y="16946"/>
                  </a:cubicBezTo>
                  <a:cubicBezTo>
                    <a:pt x="4316" y="16759"/>
                    <a:pt x="4474" y="16759"/>
                    <a:pt x="4666" y="16688"/>
                  </a:cubicBezTo>
                  <a:cubicBezTo>
                    <a:pt x="4865" y="16578"/>
                    <a:pt x="5022" y="16429"/>
                    <a:pt x="5139" y="16249"/>
                  </a:cubicBezTo>
                  <a:cubicBezTo>
                    <a:pt x="5255" y="16061"/>
                    <a:pt x="5680" y="16210"/>
                    <a:pt x="5563" y="15952"/>
                  </a:cubicBezTo>
                  <a:cubicBezTo>
                    <a:pt x="5529" y="15881"/>
                    <a:pt x="5529" y="15551"/>
                    <a:pt x="5488" y="15551"/>
                  </a:cubicBezTo>
                  <a:cubicBezTo>
                    <a:pt x="5255" y="15661"/>
                    <a:pt x="5255" y="15732"/>
                    <a:pt x="5289" y="15990"/>
                  </a:cubicBezTo>
                  <a:cubicBezTo>
                    <a:pt x="5330" y="16171"/>
                    <a:pt x="4940" y="16171"/>
                    <a:pt x="4789" y="16171"/>
                  </a:cubicBezTo>
                  <a:cubicBezTo>
                    <a:pt x="4549" y="16171"/>
                    <a:pt x="4166" y="16539"/>
                    <a:pt x="4008" y="16429"/>
                  </a:cubicBezTo>
                  <a:cubicBezTo>
                    <a:pt x="3892" y="16358"/>
                    <a:pt x="3734" y="16468"/>
                    <a:pt x="3659" y="16429"/>
                  </a:cubicBezTo>
                  <a:cubicBezTo>
                    <a:pt x="3542" y="16358"/>
                    <a:pt x="3693" y="16171"/>
                    <a:pt x="3693" y="16100"/>
                  </a:cubicBezTo>
                  <a:cubicBezTo>
                    <a:pt x="3775" y="16061"/>
                    <a:pt x="3926" y="16029"/>
                    <a:pt x="3967" y="15952"/>
                  </a:cubicBezTo>
                  <a:cubicBezTo>
                    <a:pt x="4008" y="15771"/>
                    <a:pt x="3775" y="15551"/>
                    <a:pt x="4049" y="15661"/>
                  </a:cubicBezTo>
                  <a:cubicBezTo>
                    <a:pt x="4433" y="15810"/>
                    <a:pt x="4515" y="15332"/>
                    <a:pt x="4707" y="15074"/>
                  </a:cubicBezTo>
                  <a:cubicBezTo>
                    <a:pt x="4865" y="14887"/>
                    <a:pt x="5173" y="14854"/>
                    <a:pt x="5056" y="14667"/>
                  </a:cubicBezTo>
                  <a:cubicBezTo>
                    <a:pt x="4823" y="14306"/>
                    <a:pt x="4789" y="14745"/>
                    <a:pt x="4474" y="14816"/>
                  </a:cubicBezTo>
                  <a:cubicBezTo>
                    <a:pt x="4316" y="14925"/>
                    <a:pt x="4316" y="15035"/>
                    <a:pt x="4166" y="14964"/>
                  </a:cubicBezTo>
                  <a:cubicBezTo>
                    <a:pt x="4008" y="14887"/>
                    <a:pt x="3892" y="15003"/>
                    <a:pt x="3734" y="15035"/>
                  </a:cubicBezTo>
                  <a:cubicBezTo>
                    <a:pt x="3501" y="15074"/>
                    <a:pt x="3501" y="14635"/>
                    <a:pt x="3460" y="14486"/>
                  </a:cubicBezTo>
                  <a:cubicBezTo>
                    <a:pt x="3460" y="14448"/>
                    <a:pt x="3693" y="14306"/>
                    <a:pt x="3693" y="14306"/>
                  </a:cubicBezTo>
                  <a:lnTo>
                    <a:pt x="3734" y="14306"/>
                  </a:lnTo>
                  <a:cubicBezTo>
                    <a:pt x="3926" y="14306"/>
                    <a:pt x="3892" y="14267"/>
                    <a:pt x="3851" y="14118"/>
                  </a:cubicBezTo>
                  <a:cubicBezTo>
                    <a:pt x="3775" y="13899"/>
                    <a:pt x="3892" y="13976"/>
                    <a:pt x="3926" y="13828"/>
                  </a:cubicBezTo>
                  <a:cubicBezTo>
                    <a:pt x="3967" y="13757"/>
                    <a:pt x="3659" y="13169"/>
                    <a:pt x="3816" y="13092"/>
                  </a:cubicBezTo>
                  <a:cubicBezTo>
                    <a:pt x="3967" y="12943"/>
                    <a:pt x="4125" y="13021"/>
                    <a:pt x="4200" y="12763"/>
                  </a:cubicBezTo>
                  <a:cubicBezTo>
                    <a:pt x="4282" y="12614"/>
                    <a:pt x="4590" y="12246"/>
                    <a:pt x="4590" y="12143"/>
                  </a:cubicBezTo>
                  <a:cubicBezTo>
                    <a:pt x="4433" y="12143"/>
                    <a:pt x="4241" y="12285"/>
                    <a:pt x="4125" y="12324"/>
                  </a:cubicBezTo>
                  <a:cubicBezTo>
                    <a:pt x="3967" y="12362"/>
                    <a:pt x="4008" y="12065"/>
                    <a:pt x="3816" y="11994"/>
                  </a:cubicBezTo>
                  <a:cubicBezTo>
                    <a:pt x="3775" y="11994"/>
                    <a:pt x="3775" y="11994"/>
                    <a:pt x="3775" y="11994"/>
                  </a:cubicBezTo>
                  <a:cubicBezTo>
                    <a:pt x="3734" y="12027"/>
                    <a:pt x="3577" y="12175"/>
                    <a:pt x="3577" y="12214"/>
                  </a:cubicBezTo>
                  <a:cubicBezTo>
                    <a:pt x="3577" y="12285"/>
                    <a:pt x="3659" y="12395"/>
                    <a:pt x="3659" y="12395"/>
                  </a:cubicBezTo>
                  <a:cubicBezTo>
                    <a:pt x="3659" y="12433"/>
                    <a:pt x="3542" y="12433"/>
                    <a:pt x="3501" y="12472"/>
                  </a:cubicBezTo>
                  <a:cubicBezTo>
                    <a:pt x="3501" y="12504"/>
                    <a:pt x="3542" y="12582"/>
                    <a:pt x="3542" y="12653"/>
                  </a:cubicBezTo>
                  <a:cubicBezTo>
                    <a:pt x="3309" y="12653"/>
                    <a:pt x="3426" y="12433"/>
                    <a:pt x="3426" y="12362"/>
                  </a:cubicBezTo>
                  <a:cubicBezTo>
                    <a:pt x="3227" y="12324"/>
                    <a:pt x="2994" y="12582"/>
                    <a:pt x="2919" y="12724"/>
                  </a:cubicBezTo>
                  <a:cubicBezTo>
                    <a:pt x="2878" y="12763"/>
                    <a:pt x="2919" y="12834"/>
                    <a:pt x="2878" y="12911"/>
                  </a:cubicBezTo>
                  <a:cubicBezTo>
                    <a:pt x="2761" y="13021"/>
                    <a:pt x="2686" y="13021"/>
                    <a:pt x="2604" y="13092"/>
                  </a:cubicBezTo>
                  <a:cubicBezTo>
                    <a:pt x="2453" y="13202"/>
                    <a:pt x="2487" y="13460"/>
                    <a:pt x="2337" y="13570"/>
                  </a:cubicBezTo>
                  <a:cubicBezTo>
                    <a:pt x="2337" y="13570"/>
                    <a:pt x="2138" y="13679"/>
                    <a:pt x="2104" y="13641"/>
                  </a:cubicBezTo>
                  <a:cubicBezTo>
                    <a:pt x="2063" y="13608"/>
                    <a:pt x="2104" y="13240"/>
                    <a:pt x="2104" y="13169"/>
                  </a:cubicBezTo>
                  <a:cubicBezTo>
                    <a:pt x="2104" y="13131"/>
                    <a:pt x="2104" y="13131"/>
                    <a:pt x="2104" y="13131"/>
                  </a:cubicBezTo>
                  <a:cubicBezTo>
                    <a:pt x="2021" y="13092"/>
                    <a:pt x="1747" y="13021"/>
                    <a:pt x="1747" y="12982"/>
                  </a:cubicBezTo>
                  <a:cubicBezTo>
                    <a:pt x="1747" y="12834"/>
                    <a:pt x="1905" y="12763"/>
                    <a:pt x="1946" y="12653"/>
                  </a:cubicBezTo>
                  <a:cubicBezTo>
                    <a:pt x="2104" y="12433"/>
                    <a:pt x="2104" y="12065"/>
                    <a:pt x="2138" y="11807"/>
                  </a:cubicBezTo>
                  <a:cubicBezTo>
                    <a:pt x="2179" y="11736"/>
                    <a:pt x="2296" y="11407"/>
                    <a:pt x="2371" y="11368"/>
                  </a:cubicBezTo>
                  <a:cubicBezTo>
                    <a:pt x="2487" y="11220"/>
                    <a:pt x="2761" y="11259"/>
                    <a:pt x="2837" y="11039"/>
                  </a:cubicBezTo>
                  <a:cubicBezTo>
                    <a:pt x="2919" y="10891"/>
                    <a:pt x="2878" y="10858"/>
                    <a:pt x="3035" y="10781"/>
                  </a:cubicBezTo>
                  <a:cubicBezTo>
                    <a:pt x="3111" y="10749"/>
                    <a:pt x="3460" y="10781"/>
                    <a:pt x="3309" y="10671"/>
                  </a:cubicBezTo>
                  <a:cubicBezTo>
                    <a:pt x="3152" y="10600"/>
                    <a:pt x="2919" y="10632"/>
                    <a:pt x="2802" y="10749"/>
                  </a:cubicBezTo>
                  <a:cubicBezTo>
                    <a:pt x="2802" y="10749"/>
                    <a:pt x="2528" y="10781"/>
                    <a:pt x="2487" y="10781"/>
                  </a:cubicBezTo>
                  <a:cubicBezTo>
                    <a:pt x="2296" y="10820"/>
                    <a:pt x="2296" y="10671"/>
                    <a:pt x="2179" y="10671"/>
                  </a:cubicBezTo>
                  <a:cubicBezTo>
                    <a:pt x="2021" y="10671"/>
                    <a:pt x="1830" y="10858"/>
                    <a:pt x="1789" y="11000"/>
                  </a:cubicBezTo>
                  <a:cubicBezTo>
                    <a:pt x="1672" y="11259"/>
                    <a:pt x="1672" y="11259"/>
                    <a:pt x="1515" y="11078"/>
                  </a:cubicBezTo>
                  <a:cubicBezTo>
                    <a:pt x="1439" y="11000"/>
                    <a:pt x="1206" y="10749"/>
                    <a:pt x="1206" y="10632"/>
                  </a:cubicBezTo>
                  <a:cubicBezTo>
                    <a:pt x="1206" y="10561"/>
                    <a:pt x="1364" y="10600"/>
                    <a:pt x="1398" y="10561"/>
                  </a:cubicBezTo>
                  <a:cubicBezTo>
                    <a:pt x="1672" y="10452"/>
                    <a:pt x="1398" y="10193"/>
                    <a:pt x="1282" y="10084"/>
                  </a:cubicBezTo>
                  <a:cubicBezTo>
                    <a:pt x="1282" y="10122"/>
                    <a:pt x="1282" y="10122"/>
                    <a:pt x="1282" y="10122"/>
                  </a:cubicBezTo>
                  <a:cubicBezTo>
                    <a:pt x="1049" y="9942"/>
                    <a:pt x="1282" y="9716"/>
                    <a:pt x="1282" y="9464"/>
                  </a:cubicBezTo>
                  <a:cubicBezTo>
                    <a:pt x="1282" y="9464"/>
                    <a:pt x="816" y="9206"/>
                    <a:pt x="816" y="8986"/>
                  </a:cubicBezTo>
                  <a:cubicBezTo>
                    <a:pt x="775" y="9057"/>
                    <a:pt x="932" y="9354"/>
                    <a:pt x="740" y="9354"/>
                  </a:cubicBezTo>
                  <a:cubicBezTo>
                    <a:pt x="699" y="9277"/>
                    <a:pt x="542" y="9206"/>
                    <a:pt x="501" y="9135"/>
                  </a:cubicBezTo>
                  <a:cubicBezTo>
                    <a:pt x="192" y="9135"/>
                    <a:pt x="233" y="9716"/>
                    <a:pt x="76" y="9716"/>
                  </a:cubicBezTo>
                  <a:cubicBezTo>
                    <a:pt x="76" y="9315"/>
                    <a:pt x="-157" y="9096"/>
                    <a:pt x="192" y="8838"/>
                  </a:cubicBezTo>
                  <a:cubicBezTo>
                    <a:pt x="391" y="8657"/>
                    <a:pt x="233" y="8399"/>
                    <a:pt x="117" y="8289"/>
                  </a:cubicBezTo>
                  <a:cubicBezTo>
                    <a:pt x="-116" y="8070"/>
                    <a:pt x="151" y="8108"/>
                    <a:pt x="192" y="7992"/>
                  </a:cubicBezTo>
                  <a:cubicBezTo>
                    <a:pt x="268" y="7850"/>
                    <a:pt x="391" y="7372"/>
                    <a:pt x="583" y="7411"/>
                  </a:cubicBezTo>
                  <a:cubicBezTo>
                    <a:pt x="816" y="7443"/>
                    <a:pt x="775" y="7482"/>
                    <a:pt x="932" y="7334"/>
                  </a:cubicBezTo>
                  <a:cubicBezTo>
                    <a:pt x="973" y="7301"/>
                    <a:pt x="1124" y="7153"/>
                    <a:pt x="1124" y="7114"/>
                  </a:cubicBezTo>
                  <a:cubicBezTo>
                    <a:pt x="1090" y="7114"/>
                    <a:pt x="1090" y="6933"/>
                    <a:pt x="1049" y="6895"/>
                  </a:cubicBezTo>
                  <a:cubicBezTo>
                    <a:pt x="973" y="6856"/>
                    <a:pt x="816" y="7153"/>
                    <a:pt x="740" y="7004"/>
                  </a:cubicBezTo>
                  <a:cubicBezTo>
                    <a:pt x="583" y="6856"/>
                    <a:pt x="891" y="6636"/>
                    <a:pt x="1049" y="6494"/>
                  </a:cubicBezTo>
                  <a:cubicBezTo>
                    <a:pt x="1282" y="6307"/>
                    <a:pt x="1597" y="6565"/>
                    <a:pt x="1946" y="6417"/>
                  </a:cubicBezTo>
                  <a:cubicBezTo>
                    <a:pt x="2138" y="6275"/>
                    <a:pt x="2138" y="6126"/>
                    <a:pt x="2371" y="6049"/>
                  </a:cubicBezTo>
                  <a:cubicBezTo>
                    <a:pt x="2570" y="5978"/>
                    <a:pt x="2953" y="6236"/>
                    <a:pt x="2802" y="5907"/>
                  </a:cubicBezTo>
                  <a:cubicBezTo>
                    <a:pt x="2761" y="5758"/>
                    <a:pt x="2837" y="5687"/>
                    <a:pt x="2720" y="5610"/>
                  </a:cubicBezTo>
                  <a:cubicBezTo>
                    <a:pt x="2604" y="5578"/>
                    <a:pt x="2453" y="5539"/>
                    <a:pt x="2453" y="5429"/>
                  </a:cubicBezTo>
                  <a:cubicBezTo>
                    <a:pt x="2453" y="5391"/>
                    <a:pt x="2453" y="5391"/>
                    <a:pt x="2453" y="5391"/>
                  </a:cubicBezTo>
                  <a:cubicBezTo>
                    <a:pt x="2645" y="5391"/>
                    <a:pt x="2802" y="5352"/>
                    <a:pt x="2953" y="5352"/>
                  </a:cubicBezTo>
                  <a:cubicBezTo>
                    <a:pt x="3227" y="5352"/>
                    <a:pt x="3152" y="5210"/>
                    <a:pt x="3152" y="5061"/>
                  </a:cubicBezTo>
                  <a:cubicBezTo>
                    <a:pt x="3460" y="5061"/>
                    <a:pt x="3618" y="5100"/>
                    <a:pt x="3734" y="4764"/>
                  </a:cubicBezTo>
                  <a:cubicBezTo>
                    <a:pt x="3734" y="4764"/>
                    <a:pt x="3775" y="4881"/>
                    <a:pt x="3851" y="4913"/>
                  </a:cubicBezTo>
                  <a:cubicBezTo>
                    <a:pt x="3967" y="4990"/>
                    <a:pt x="4049" y="5100"/>
                    <a:pt x="4166" y="5171"/>
                  </a:cubicBezTo>
                  <a:cubicBezTo>
                    <a:pt x="4865" y="5539"/>
                    <a:pt x="5097" y="5061"/>
                    <a:pt x="5762" y="5061"/>
                  </a:cubicBezTo>
                  <a:cubicBezTo>
                    <a:pt x="6029" y="4990"/>
                    <a:pt x="6262" y="5132"/>
                    <a:pt x="6502" y="4913"/>
                  </a:cubicBezTo>
                  <a:cubicBezTo>
                    <a:pt x="6653" y="4764"/>
                    <a:pt x="7084" y="4254"/>
                    <a:pt x="7351" y="4474"/>
                  </a:cubicBezTo>
                  <a:cubicBezTo>
                    <a:pt x="7550" y="4661"/>
                    <a:pt x="7392" y="4952"/>
                    <a:pt x="7858" y="4693"/>
                  </a:cubicBezTo>
                  <a:cubicBezTo>
                    <a:pt x="8091" y="4584"/>
                    <a:pt x="7824" y="4254"/>
                    <a:pt x="7940" y="4216"/>
                  </a:cubicBezTo>
                  <a:cubicBezTo>
                    <a:pt x="8208" y="4074"/>
                    <a:pt x="8091" y="4183"/>
                    <a:pt x="8249" y="4254"/>
                  </a:cubicBezTo>
                  <a:cubicBezTo>
                    <a:pt x="8331" y="4325"/>
                    <a:pt x="8441" y="4254"/>
                    <a:pt x="8523" y="4364"/>
                  </a:cubicBezTo>
                  <a:cubicBezTo>
                    <a:pt x="8639" y="4545"/>
                    <a:pt x="8756" y="4842"/>
                    <a:pt x="9030" y="4913"/>
                  </a:cubicBezTo>
                  <a:cubicBezTo>
                    <a:pt x="9064" y="4803"/>
                    <a:pt x="9030" y="4403"/>
                    <a:pt x="8989" y="4293"/>
                  </a:cubicBezTo>
                  <a:cubicBezTo>
                    <a:pt x="8913" y="4145"/>
                    <a:pt x="9221" y="3964"/>
                    <a:pt x="9338" y="3925"/>
                  </a:cubicBezTo>
                  <a:cubicBezTo>
                    <a:pt x="9338" y="3777"/>
                    <a:pt x="8482" y="3848"/>
                    <a:pt x="8331" y="3738"/>
                  </a:cubicBezTo>
                  <a:cubicBezTo>
                    <a:pt x="8016" y="3486"/>
                    <a:pt x="8639" y="3518"/>
                    <a:pt x="8797" y="3486"/>
                  </a:cubicBezTo>
                  <a:cubicBezTo>
                    <a:pt x="8947" y="3447"/>
                    <a:pt x="9105" y="3447"/>
                    <a:pt x="9263" y="3299"/>
                  </a:cubicBezTo>
                  <a:cubicBezTo>
                    <a:pt x="9304" y="3267"/>
                    <a:pt x="9338" y="3150"/>
                    <a:pt x="9263" y="3189"/>
                  </a:cubicBezTo>
                  <a:cubicBezTo>
                    <a:pt x="9030" y="3299"/>
                    <a:pt x="8797" y="3299"/>
                    <a:pt x="8523" y="3376"/>
                  </a:cubicBezTo>
                  <a:cubicBezTo>
                    <a:pt x="8331" y="3447"/>
                    <a:pt x="8132" y="3338"/>
                    <a:pt x="7940" y="3338"/>
                  </a:cubicBezTo>
                  <a:cubicBezTo>
                    <a:pt x="7940" y="3267"/>
                    <a:pt x="8208" y="3189"/>
                    <a:pt x="8132" y="3047"/>
                  </a:cubicBezTo>
                  <a:cubicBezTo>
                    <a:pt x="7975" y="2789"/>
                    <a:pt x="8208" y="2899"/>
                    <a:pt x="8249" y="2679"/>
                  </a:cubicBezTo>
                  <a:cubicBezTo>
                    <a:pt x="8290" y="2531"/>
                    <a:pt x="8057" y="2492"/>
                    <a:pt x="8057" y="2382"/>
                  </a:cubicBezTo>
                  <a:cubicBezTo>
                    <a:pt x="8132" y="2382"/>
                    <a:pt x="8173" y="2273"/>
                    <a:pt x="8249" y="2382"/>
                  </a:cubicBezTo>
                  <a:cubicBezTo>
                    <a:pt x="8441" y="2641"/>
                    <a:pt x="9146" y="2092"/>
                    <a:pt x="9180" y="1872"/>
                  </a:cubicBezTo>
                  <a:cubicBezTo>
                    <a:pt x="9263" y="1653"/>
                    <a:pt x="9338" y="1943"/>
                    <a:pt x="9454" y="1763"/>
                  </a:cubicBezTo>
                  <a:cubicBezTo>
                    <a:pt x="9687" y="1466"/>
                    <a:pt x="9770" y="1504"/>
                    <a:pt x="10078" y="1466"/>
                  </a:cubicBezTo>
                  <a:cubicBezTo>
                    <a:pt x="10427" y="1433"/>
                    <a:pt x="10153" y="1324"/>
                    <a:pt x="10235" y="1065"/>
                  </a:cubicBezTo>
                  <a:cubicBezTo>
                    <a:pt x="10276" y="878"/>
                    <a:pt x="10235" y="626"/>
                    <a:pt x="10544" y="736"/>
                  </a:cubicBezTo>
                  <a:cubicBezTo>
                    <a:pt x="10893" y="846"/>
                    <a:pt x="11051" y="549"/>
                    <a:pt x="11325" y="478"/>
                  </a:cubicBezTo>
                  <a:cubicBezTo>
                    <a:pt x="11516" y="407"/>
                    <a:pt x="11599" y="39"/>
                    <a:pt x="11832" y="39"/>
                  </a:cubicBezTo>
                  <a:cubicBezTo>
                    <a:pt x="11832" y="846"/>
                    <a:pt x="11832" y="846"/>
                    <a:pt x="11832" y="846"/>
                  </a:cubicBezTo>
                  <a:cubicBezTo>
                    <a:pt x="11790" y="1207"/>
                    <a:pt x="12339" y="736"/>
                    <a:pt x="12414" y="659"/>
                  </a:cubicBezTo>
                  <a:cubicBezTo>
                    <a:pt x="12688" y="478"/>
                    <a:pt x="13078" y="291"/>
                    <a:pt x="13346" y="110"/>
                  </a:cubicBezTo>
                  <a:cubicBezTo>
                    <a:pt x="13818" y="-258"/>
                    <a:pt x="13270" y="407"/>
                    <a:pt x="13270" y="549"/>
                  </a:cubicBezTo>
                  <a:cubicBezTo>
                    <a:pt x="13428" y="588"/>
                    <a:pt x="13544" y="329"/>
                    <a:pt x="13736" y="329"/>
                  </a:cubicBezTo>
                  <a:cubicBezTo>
                    <a:pt x="13777" y="329"/>
                    <a:pt x="13969" y="659"/>
                    <a:pt x="13969" y="697"/>
                  </a:cubicBezTo>
                  <a:cubicBezTo>
                    <a:pt x="14051" y="768"/>
                    <a:pt x="14168" y="917"/>
                    <a:pt x="14168" y="988"/>
                  </a:cubicBezTo>
                  <a:cubicBezTo>
                    <a:pt x="14517" y="626"/>
                    <a:pt x="14517" y="626"/>
                    <a:pt x="14517" y="626"/>
                  </a:cubicBezTo>
                  <a:cubicBezTo>
                    <a:pt x="14633" y="510"/>
                    <a:pt x="14825" y="549"/>
                    <a:pt x="14942" y="588"/>
                  </a:cubicBezTo>
                  <a:cubicBezTo>
                    <a:pt x="15257" y="626"/>
                    <a:pt x="15058" y="697"/>
                    <a:pt x="15216" y="768"/>
                  </a:cubicBezTo>
                  <a:cubicBezTo>
                    <a:pt x="15332" y="846"/>
                    <a:pt x="15531" y="878"/>
                    <a:pt x="15647" y="917"/>
                  </a:cubicBezTo>
                  <a:cubicBezTo>
                    <a:pt x="16072" y="1098"/>
                    <a:pt x="16387" y="1685"/>
                    <a:pt x="16737" y="1982"/>
                  </a:cubicBezTo>
                  <a:cubicBezTo>
                    <a:pt x="16894" y="2124"/>
                    <a:pt x="16970" y="2382"/>
                    <a:pt x="17202" y="2382"/>
                  </a:cubicBezTo>
                  <a:cubicBezTo>
                    <a:pt x="17435" y="2382"/>
                    <a:pt x="17744" y="2492"/>
                    <a:pt x="17983" y="2421"/>
                  </a:cubicBezTo>
                  <a:cubicBezTo>
                    <a:pt x="18874" y="2421"/>
                    <a:pt x="18874" y="2421"/>
                    <a:pt x="18874" y="2421"/>
                  </a:cubicBezTo>
                </a:path>
              </a:pathLst>
            </a:custGeom>
            <a:grpFill/>
            <a:ln w="3175" cap="flat" cmpd="sng">
              <a:noFill/>
              <a:prstDash val="solid"/>
              <a:bevel/>
              <a:headEnd type="none" w="sm" len="sm"/>
              <a:tailEnd type="none" w="sm" len="sm"/>
            </a:ln>
          </p:spPr>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C2C2C"/>
                </a:solidFill>
                <a:effectLst/>
                <a:uLnTx/>
                <a:uFillTx/>
                <a:latin typeface="Open Sans"/>
                <a:ea typeface="Open Sans"/>
                <a:cs typeface="Open Sans"/>
                <a:sym typeface="Open Sans"/>
              </a:endParaRPr>
            </a:p>
          </p:txBody>
        </p:sp>
        <p:sp>
          <p:nvSpPr>
            <p:cNvPr id="16" name="Google Shape;11986;p276" descr="Freeform 157">
              <a:extLst>
                <a:ext uri="{FF2B5EF4-FFF2-40B4-BE49-F238E27FC236}">
                  <a16:creationId xmlns:a16="http://schemas.microsoft.com/office/drawing/2014/main" id="{73F896F5-0A88-C4C6-E2B2-9798555A1FEE}"/>
                </a:ext>
              </a:extLst>
            </p:cNvPr>
            <p:cNvSpPr/>
            <p:nvPr/>
          </p:nvSpPr>
          <p:spPr>
            <a:xfrm>
              <a:off x="4098373" y="437209"/>
              <a:ext cx="1093792" cy="1084881"/>
            </a:xfrm>
            <a:custGeom>
              <a:avLst/>
              <a:gdLst/>
              <a:ahLst/>
              <a:cxnLst/>
              <a:rect l="l" t="t" r="r" b="b"/>
              <a:pathLst>
                <a:path w="21581" h="21600" extrusionOk="0">
                  <a:moveTo>
                    <a:pt x="3465" y="20959"/>
                  </a:moveTo>
                  <a:cubicBezTo>
                    <a:pt x="3370" y="20959"/>
                    <a:pt x="3275" y="20993"/>
                    <a:pt x="3181" y="20993"/>
                  </a:cubicBezTo>
                  <a:cubicBezTo>
                    <a:pt x="3114" y="20993"/>
                    <a:pt x="2958" y="21021"/>
                    <a:pt x="2991" y="21122"/>
                  </a:cubicBezTo>
                  <a:cubicBezTo>
                    <a:pt x="2991" y="21150"/>
                    <a:pt x="3052" y="21246"/>
                    <a:pt x="3086" y="21246"/>
                  </a:cubicBezTo>
                  <a:cubicBezTo>
                    <a:pt x="3208" y="21341"/>
                    <a:pt x="3309" y="21246"/>
                    <a:pt x="3398" y="21218"/>
                  </a:cubicBezTo>
                  <a:cubicBezTo>
                    <a:pt x="3465" y="21184"/>
                    <a:pt x="3654" y="21122"/>
                    <a:pt x="3560" y="20993"/>
                  </a:cubicBezTo>
                  <a:cubicBezTo>
                    <a:pt x="3465" y="20959"/>
                    <a:pt x="3465" y="20959"/>
                    <a:pt x="3465" y="20959"/>
                  </a:cubicBezTo>
                  <a:close/>
                  <a:moveTo>
                    <a:pt x="12618" y="3869"/>
                  </a:moveTo>
                  <a:cubicBezTo>
                    <a:pt x="12523" y="3869"/>
                    <a:pt x="12361" y="3869"/>
                    <a:pt x="12267" y="3802"/>
                  </a:cubicBezTo>
                  <a:cubicBezTo>
                    <a:pt x="12239" y="3773"/>
                    <a:pt x="12239" y="3706"/>
                    <a:pt x="12239" y="3678"/>
                  </a:cubicBezTo>
                  <a:cubicBezTo>
                    <a:pt x="12239" y="3644"/>
                    <a:pt x="12300" y="3610"/>
                    <a:pt x="12300" y="3582"/>
                  </a:cubicBezTo>
                  <a:cubicBezTo>
                    <a:pt x="12333" y="3548"/>
                    <a:pt x="12361" y="3385"/>
                    <a:pt x="12428" y="3453"/>
                  </a:cubicBezTo>
                  <a:cubicBezTo>
                    <a:pt x="12456" y="3453"/>
                    <a:pt x="12523" y="3515"/>
                    <a:pt x="12489" y="3548"/>
                  </a:cubicBezTo>
                  <a:cubicBezTo>
                    <a:pt x="12489" y="3582"/>
                    <a:pt x="12489" y="3582"/>
                    <a:pt x="12489" y="3610"/>
                  </a:cubicBezTo>
                  <a:cubicBezTo>
                    <a:pt x="12523" y="3678"/>
                    <a:pt x="12556" y="3678"/>
                    <a:pt x="12584" y="3740"/>
                  </a:cubicBezTo>
                  <a:cubicBezTo>
                    <a:pt x="12618" y="3773"/>
                    <a:pt x="12679" y="3802"/>
                    <a:pt x="12646" y="3835"/>
                  </a:cubicBezTo>
                  <a:cubicBezTo>
                    <a:pt x="12618" y="3869"/>
                    <a:pt x="12618" y="3869"/>
                    <a:pt x="12618" y="3869"/>
                  </a:cubicBezTo>
                  <a:close/>
                  <a:moveTo>
                    <a:pt x="2356" y="21600"/>
                  </a:moveTo>
                  <a:cubicBezTo>
                    <a:pt x="1977" y="21437"/>
                    <a:pt x="1977" y="21437"/>
                    <a:pt x="1977" y="21437"/>
                  </a:cubicBezTo>
                  <a:cubicBezTo>
                    <a:pt x="1787" y="21341"/>
                    <a:pt x="1882" y="21341"/>
                    <a:pt x="1848" y="21150"/>
                  </a:cubicBezTo>
                  <a:cubicBezTo>
                    <a:pt x="1848" y="21088"/>
                    <a:pt x="1720" y="20897"/>
                    <a:pt x="1692" y="20863"/>
                  </a:cubicBezTo>
                  <a:cubicBezTo>
                    <a:pt x="1564" y="20734"/>
                    <a:pt x="1246" y="20863"/>
                    <a:pt x="1090" y="20768"/>
                  </a:cubicBezTo>
                  <a:cubicBezTo>
                    <a:pt x="901" y="20672"/>
                    <a:pt x="806" y="20638"/>
                    <a:pt x="739" y="20419"/>
                  </a:cubicBezTo>
                  <a:cubicBezTo>
                    <a:pt x="711" y="20290"/>
                    <a:pt x="1023" y="19969"/>
                    <a:pt x="678" y="19969"/>
                  </a:cubicBezTo>
                  <a:cubicBezTo>
                    <a:pt x="550" y="19969"/>
                    <a:pt x="488" y="20003"/>
                    <a:pt x="488" y="19840"/>
                  </a:cubicBezTo>
                  <a:cubicBezTo>
                    <a:pt x="488" y="19615"/>
                    <a:pt x="327" y="19812"/>
                    <a:pt x="232" y="19744"/>
                  </a:cubicBezTo>
                  <a:cubicBezTo>
                    <a:pt x="42" y="19716"/>
                    <a:pt x="42" y="19716"/>
                    <a:pt x="42" y="19716"/>
                  </a:cubicBezTo>
                  <a:cubicBezTo>
                    <a:pt x="14" y="19649"/>
                    <a:pt x="-19" y="19553"/>
                    <a:pt x="14" y="19525"/>
                  </a:cubicBezTo>
                  <a:cubicBezTo>
                    <a:pt x="42" y="19491"/>
                    <a:pt x="109" y="19491"/>
                    <a:pt x="137" y="19491"/>
                  </a:cubicBezTo>
                  <a:cubicBezTo>
                    <a:pt x="232" y="19457"/>
                    <a:pt x="299" y="19457"/>
                    <a:pt x="360" y="19424"/>
                  </a:cubicBezTo>
                  <a:cubicBezTo>
                    <a:pt x="455" y="19362"/>
                    <a:pt x="488" y="19328"/>
                    <a:pt x="522" y="19232"/>
                  </a:cubicBezTo>
                  <a:cubicBezTo>
                    <a:pt x="550" y="19109"/>
                    <a:pt x="773" y="18946"/>
                    <a:pt x="739" y="18816"/>
                  </a:cubicBezTo>
                  <a:cubicBezTo>
                    <a:pt x="678" y="18659"/>
                    <a:pt x="583" y="18468"/>
                    <a:pt x="550" y="18276"/>
                  </a:cubicBezTo>
                  <a:cubicBezTo>
                    <a:pt x="488" y="17860"/>
                    <a:pt x="962" y="17669"/>
                    <a:pt x="739" y="17157"/>
                  </a:cubicBezTo>
                  <a:cubicBezTo>
                    <a:pt x="644" y="16904"/>
                    <a:pt x="488" y="16809"/>
                    <a:pt x="360" y="16618"/>
                  </a:cubicBezTo>
                  <a:cubicBezTo>
                    <a:pt x="299" y="16550"/>
                    <a:pt x="265" y="16297"/>
                    <a:pt x="265" y="16201"/>
                  </a:cubicBezTo>
                  <a:cubicBezTo>
                    <a:pt x="265" y="16010"/>
                    <a:pt x="455" y="16134"/>
                    <a:pt x="550" y="16072"/>
                  </a:cubicBezTo>
                  <a:cubicBezTo>
                    <a:pt x="644" y="16038"/>
                    <a:pt x="583" y="15976"/>
                    <a:pt x="644" y="15909"/>
                  </a:cubicBezTo>
                  <a:cubicBezTo>
                    <a:pt x="711" y="15847"/>
                    <a:pt x="834" y="15847"/>
                    <a:pt x="929" y="15752"/>
                  </a:cubicBezTo>
                  <a:cubicBezTo>
                    <a:pt x="1057" y="15656"/>
                    <a:pt x="962" y="15465"/>
                    <a:pt x="1023" y="15335"/>
                  </a:cubicBezTo>
                  <a:cubicBezTo>
                    <a:pt x="1090" y="15110"/>
                    <a:pt x="1375" y="15212"/>
                    <a:pt x="1436" y="14987"/>
                  </a:cubicBezTo>
                  <a:cubicBezTo>
                    <a:pt x="1469" y="14857"/>
                    <a:pt x="1503" y="14407"/>
                    <a:pt x="1408" y="14346"/>
                  </a:cubicBezTo>
                  <a:cubicBezTo>
                    <a:pt x="1341" y="14284"/>
                    <a:pt x="1246" y="14216"/>
                    <a:pt x="1341" y="14121"/>
                  </a:cubicBezTo>
                  <a:cubicBezTo>
                    <a:pt x="1408" y="14059"/>
                    <a:pt x="1469" y="13997"/>
                    <a:pt x="1375" y="13901"/>
                  </a:cubicBezTo>
                  <a:cubicBezTo>
                    <a:pt x="1246" y="13738"/>
                    <a:pt x="1057" y="13676"/>
                    <a:pt x="1152" y="13451"/>
                  </a:cubicBezTo>
                  <a:cubicBezTo>
                    <a:pt x="1313" y="13390"/>
                    <a:pt x="1341" y="13165"/>
                    <a:pt x="1246" y="13035"/>
                  </a:cubicBezTo>
                  <a:cubicBezTo>
                    <a:pt x="1023" y="12749"/>
                    <a:pt x="1436" y="12782"/>
                    <a:pt x="1564" y="12749"/>
                  </a:cubicBezTo>
                  <a:cubicBezTo>
                    <a:pt x="1882" y="12653"/>
                    <a:pt x="1882" y="11950"/>
                    <a:pt x="1787" y="11725"/>
                  </a:cubicBezTo>
                  <a:cubicBezTo>
                    <a:pt x="1625" y="11725"/>
                    <a:pt x="1341" y="11888"/>
                    <a:pt x="1280" y="11663"/>
                  </a:cubicBezTo>
                  <a:cubicBezTo>
                    <a:pt x="1246" y="11438"/>
                    <a:pt x="1341" y="11405"/>
                    <a:pt x="1185" y="11213"/>
                  </a:cubicBezTo>
                  <a:cubicBezTo>
                    <a:pt x="867" y="10927"/>
                    <a:pt x="1564" y="10606"/>
                    <a:pt x="1625" y="10291"/>
                  </a:cubicBezTo>
                  <a:cubicBezTo>
                    <a:pt x="1659" y="10291"/>
                    <a:pt x="1659" y="10291"/>
                    <a:pt x="1625" y="10319"/>
                  </a:cubicBezTo>
                  <a:cubicBezTo>
                    <a:pt x="1754" y="10195"/>
                    <a:pt x="2133" y="10353"/>
                    <a:pt x="2133" y="10128"/>
                  </a:cubicBezTo>
                  <a:cubicBezTo>
                    <a:pt x="2133" y="9971"/>
                    <a:pt x="2200" y="9712"/>
                    <a:pt x="2389" y="9712"/>
                  </a:cubicBezTo>
                  <a:cubicBezTo>
                    <a:pt x="2545" y="9712"/>
                    <a:pt x="2640" y="9684"/>
                    <a:pt x="2673" y="9493"/>
                  </a:cubicBezTo>
                  <a:cubicBezTo>
                    <a:pt x="2673" y="9363"/>
                    <a:pt x="2991" y="9391"/>
                    <a:pt x="2991" y="9200"/>
                  </a:cubicBezTo>
                  <a:cubicBezTo>
                    <a:pt x="2991" y="9043"/>
                    <a:pt x="2924" y="8722"/>
                    <a:pt x="2829" y="8593"/>
                  </a:cubicBezTo>
                  <a:cubicBezTo>
                    <a:pt x="2768" y="8469"/>
                    <a:pt x="2896" y="8373"/>
                    <a:pt x="2991" y="8373"/>
                  </a:cubicBezTo>
                  <a:cubicBezTo>
                    <a:pt x="3052" y="8340"/>
                    <a:pt x="3275" y="8115"/>
                    <a:pt x="3309" y="8087"/>
                  </a:cubicBezTo>
                  <a:cubicBezTo>
                    <a:pt x="3465" y="7895"/>
                    <a:pt x="3337" y="7732"/>
                    <a:pt x="3398" y="7575"/>
                  </a:cubicBezTo>
                  <a:cubicBezTo>
                    <a:pt x="3431" y="7507"/>
                    <a:pt x="3526" y="7412"/>
                    <a:pt x="3526" y="7350"/>
                  </a:cubicBezTo>
                  <a:cubicBezTo>
                    <a:pt x="3688" y="7029"/>
                    <a:pt x="3688" y="6709"/>
                    <a:pt x="3688" y="6360"/>
                  </a:cubicBezTo>
                  <a:cubicBezTo>
                    <a:pt x="3688" y="6006"/>
                    <a:pt x="3905" y="5528"/>
                    <a:pt x="4000" y="5207"/>
                  </a:cubicBezTo>
                  <a:cubicBezTo>
                    <a:pt x="4100" y="4954"/>
                    <a:pt x="3905" y="5050"/>
                    <a:pt x="4100" y="4763"/>
                  </a:cubicBezTo>
                  <a:cubicBezTo>
                    <a:pt x="4162" y="4668"/>
                    <a:pt x="3905" y="4696"/>
                    <a:pt x="3877" y="4634"/>
                  </a:cubicBezTo>
                  <a:cubicBezTo>
                    <a:pt x="3844" y="4600"/>
                    <a:pt x="3939" y="4443"/>
                    <a:pt x="3905" y="4347"/>
                  </a:cubicBezTo>
                  <a:cubicBezTo>
                    <a:pt x="3877" y="4190"/>
                    <a:pt x="3939" y="4060"/>
                    <a:pt x="3810" y="3993"/>
                  </a:cubicBezTo>
                  <a:cubicBezTo>
                    <a:pt x="3654" y="3897"/>
                    <a:pt x="3783" y="3802"/>
                    <a:pt x="3688" y="3678"/>
                  </a:cubicBezTo>
                  <a:cubicBezTo>
                    <a:pt x="3621" y="3610"/>
                    <a:pt x="3621" y="3515"/>
                    <a:pt x="3716" y="3487"/>
                  </a:cubicBezTo>
                  <a:cubicBezTo>
                    <a:pt x="3783" y="3453"/>
                    <a:pt x="3972" y="3419"/>
                    <a:pt x="3972" y="3324"/>
                  </a:cubicBezTo>
                  <a:cubicBezTo>
                    <a:pt x="3905" y="3070"/>
                    <a:pt x="3783" y="3194"/>
                    <a:pt x="3939" y="2907"/>
                  </a:cubicBezTo>
                  <a:cubicBezTo>
                    <a:pt x="4033" y="2716"/>
                    <a:pt x="4128" y="2525"/>
                    <a:pt x="4033" y="2334"/>
                  </a:cubicBezTo>
                  <a:cubicBezTo>
                    <a:pt x="3905" y="2334"/>
                    <a:pt x="3749" y="2300"/>
                    <a:pt x="3688" y="2143"/>
                  </a:cubicBezTo>
                  <a:cubicBezTo>
                    <a:pt x="3621" y="1951"/>
                    <a:pt x="3621" y="1918"/>
                    <a:pt x="3498" y="1788"/>
                  </a:cubicBezTo>
                  <a:cubicBezTo>
                    <a:pt x="3398" y="1597"/>
                    <a:pt x="3398" y="1597"/>
                    <a:pt x="3398" y="1597"/>
                  </a:cubicBezTo>
                  <a:cubicBezTo>
                    <a:pt x="3560" y="1535"/>
                    <a:pt x="3498" y="1406"/>
                    <a:pt x="3431" y="1181"/>
                  </a:cubicBezTo>
                  <a:cubicBezTo>
                    <a:pt x="3431" y="1119"/>
                    <a:pt x="3337" y="1023"/>
                    <a:pt x="3337" y="990"/>
                  </a:cubicBezTo>
                  <a:cubicBezTo>
                    <a:pt x="3337" y="962"/>
                    <a:pt x="3398" y="894"/>
                    <a:pt x="3398" y="799"/>
                  </a:cubicBezTo>
                  <a:cubicBezTo>
                    <a:pt x="3309" y="770"/>
                    <a:pt x="3431" y="34"/>
                    <a:pt x="3716" y="0"/>
                  </a:cubicBezTo>
                  <a:cubicBezTo>
                    <a:pt x="3877" y="0"/>
                    <a:pt x="4000" y="129"/>
                    <a:pt x="4128" y="191"/>
                  </a:cubicBezTo>
                  <a:cubicBezTo>
                    <a:pt x="4385" y="321"/>
                    <a:pt x="4764" y="259"/>
                    <a:pt x="4953" y="512"/>
                  </a:cubicBezTo>
                  <a:cubicBezTo>
                    <a:pt x="5014" y="574"/>
                    <a:pt x="5109" y="675"/>
                    <a:pt x="5204" y="675"/>
                  </a:cubicBezTo>
                  <a:cubicBezTo>
                    <a:pt x="5394" y="703"/>
                    <a:pt x="5332" y="416"/>
                    <a:pt x="5555" y="641"/>
                  </a:cubicBezTo>
                  <a:cubicBezTo>
                    <a:pt x="5745" y="799"/>
                    <a:pt x="6090" y="675"/>
                    <a:pt x="6280" y="770"/>
                  </a:cubicBezTo>
                  <a:cubicBezTo>
                    <a:pt x="6598" y="894"/>
                    <a:pt x="6598" y="1085"/>
                    <a:pt x="6759" y="1344"/>
                  </a:cubicBezTo>
                  <a:cubicBezTo>
                    <a:pt x="6882" y="1597"/>
                    <a:pt x="7138" y="1181"/>
                    <a:pt x="7328" y="1282"/>
                  </a:cubicBezTo>
                  <a:cubicBezTo>
                    <a:pt x="7484" y="1406"/>
                    <a:pt x="7673" y="1378"/>
                    <a:pt x="7868" y="1344"/>
                  </a:cubicBezTo>
                  <a:cubicBezTo>
                    <a:pt x="7930" y="1310"/>
                    <a:pt x="8025" y="1310"/>
                    <a:pt x="8086" y="1344"/>
                  </a:cubicBezTo>
                  <a:cubicBezTo>
                    <a:pt x="8119" y="1378"/>
                    <a:pt x="8153" y="1501"/>
                    <a:pt x="8275" y="1569"/>
                  </a:cubicBezTo>
                  <a:cubicBezTo>
                    <a:pt x="8342" y="1569"/>
                    <a:pt x="8498" y="1918"/>
                    <a:pt x="8532" y="2013"/>
                  </a:cubicBezTo>
                  <a:cubicBezTo>
                    <a:pt x="8627" y="2176"/>
                    <a:pt x="8627" y="2272"/>
                    <a:pt x="8721" y="2463"/>
                  </a:cubicBezTo>
                  <a:cubicBezTo>
                    <a:pt x="8721" y="2463"/>
                    <a:pt x="8721" y="2491"/>
                    <a:pt x="8688" y="2491"/>
                  </a:cubicBezTo>
                  <a:cubicBezTo>
                    <a:pt x="8688" y="2525"/>
                    <a:pt x="8627" y="2559"/>
                    <a:pt x="8627" y="2621"/>
                  </a:cubicBezTo>
                  <a:cubicBezTo>
                    <a:pt x="8627" y="2688"/>
                    <a:pt x="8755" y="2688"/>
                    <a:pt x="8755" y="2750"/>
                  </a:cubicBezTo>
                  <a:cubicBezTo>
                    <a:pt x="8688" y="2750"/>
                    <a:pt x="8498" y="3003"/>
                    <a:pt x="8627" y="3003"/>
                  </a:cubicBezTo>
                  <a:cubicBezTo>
                    <a:pt x="8877" y="3003"/>
                    <a:pt x="8972" y="3295"/>
                    <a:pt x="8755" y="3419"/>
                  </a:cubicBezTo>
                  <a:cubicBezTo>
                    <a:pt x="8627" y="3487"/>
                    <a:pt x="8565" y="3453"/>
                    <a:pt x="8688" y="3610"/>
                  </a:cubicBezTo>
                  <a:cubicBezTo>
                    <a:pt x="8816" y="3802"/>
                    <a:pt x="8816" y="3965"/>
                    <a:pt x="9067" y="3993"/>
                  </a:cubicBezTo>
                  <a:cubicBezTo>
                    <a:pt x="9290" y="4026"/>
                    <a:pt x="9385" y="3835"/>
                    <a:pt x="9574" y="3835"/>
                  </a:cubicBezTo>
                  <a:cubicBezTo>
                    <a:pt x="9769" y="3802"/>
                    <a:pt x="10115" y="3773"/>
                    <a:pt x="10210" y="3610"/>
                  </a:cubicBezTo>
                  <a:cubicBezTo>
                    <a:pt x="10304" y="3357"/>
                    <a:pt x="10460" y="3515"/>
                    <a:pt x="10683" y="3385"/>
                  </a:cubicBezTo>
                  <a:cubicBezTo>
                    <a:pt x="10873" y="3453"/>
                    <a:pt x="10873" y="3453"/>
                    <a:pt x="10873" y="3453"/>
                  </a:cubicBezTo>
                  <a:cubicBezTo>
                    <a:pt x="11001" y="3487"/>
                    <a:pt x="11163" y="3453"/>
                    <a:pt x="11319" y="3487"/>
                  </a:cubicBezTo>
                  <a:cubicBezTo>
                    <a:pt x="11475" y="3515"/>
                    <a:pt x="11414" y="3678"/>
                    <a:pt x="11542" y="3706"/>
                  </a:cubicBezTo>
                  <a:cubicBezTo>
                    <a:pt x="11665" y="3773"/>
                    <a:pt x="11665" y="3706"/>
                    <a:pt x="11759" y="3835"/>
                  </a:cubicBezTo>
                  <a:cubicBezTo>
                    <a:pt x="11854" y="3993"/>
                    <a:pt x="12049" y="3678"/>
                    <a:pt x="12172" y="3931"/>
                  </a:cubicBezTo>
                  <a:cubicBezTo>
                    <a:pt x="12267" y="4190"/>
                    <a:pt x="12300" y="4600"/>
                    <a:pt x="12646" y="4668"/>
                  </a:cubicBezTo>
                  <a:cubicBezTo>
                    <a:pt x="13030" y="4763"/>
                    <a:pt x="13186" y="4572"/>
                    <a:pt x="13376" y="4280"/>
                  </a:cubicBezTo>
                  <a:cubicBezTo>
                    <a:pt x="13471" y="4218"/>
                    <a:pt x="13537" y="4122"/>
                    <a:pt x="13632" y="4088"/>
                  </a:cubicBezTo>
                  <a:cubicBezTo>
                    <a:pt x="13727" y="4026"/>
                    <a:pt x="13850" y="4190"/>
                    <a:pt x="14039" y="4122"/>
                  </a:cubicBezTo>
                  <a:cubicBezTo>
                    <a:pt x="14201" y="4026"/>
                    <a:pt x="14452" y="3965"/>
                    <a:pt x="14675" y="4060"/>
                  </a:cubicBezTo>
                  <a:cubicBezTo>
                    <a:pt x="14864" y="4122"/>
                    <a:pt x="14925" y="4313"/>
                    <a:pt x="15182" y="4347"/>
                  </a:cubicBezTo>
                  <a:cubicBezTo>
                    <a:pt x="15466" y="4409"/>
                    <a:pt x="15433" y="4381"/>
                    <a:pt x="15527" y="4634"/>
                  </a:cubicBezTo>
                  <a:cubicBezTo>
                    <a:pt x="15594" y="4729"/>
                    <a:pt x="16035" y="4954"/>
                    <a:pt x="16163" y="4921"/>
                  </a:cubicBezTo>
                  <a:cubicBezTo>
                    <a:pt x="16258" y="4859"/>
                    <a:pt x="16258" y="4729"/>
                    <a:pt x="16352" y="4729"/>
                  </a:cubicBezTo>
                  <a:cubicBezTo>
                    <a:pt x="16514" y="4668"/>
                    <a:pt x="16575" y="4791"/>
                    <a:pt x="16704" y="4791"/>
                  </a:cubicBezTo>
                  <a:cubicBezTo>
                    <a:pt x="16860" y="4791"/>
                    <a:pt x="17400" y="4921"/>
                    <a:pt x="17049" y="4634"/>
                  </a:cubicBezTo>
                  <a:cubicBezTo>
                    <a:pt x="16860" y="4476"/>
                    <a:pt x="17523" y="3993"/>
                    <a:pt x="17651" y="4088"/>
                  </a:cubicBezTo>
                  <a:cubicBezTo>
                    <a:pt x="17746" y="4156"/>
                    <a:pt x="17841" y="4251"/>
                    <a:pt x="18002" y="4122"/>
                  </a:cubicBezTo>
                  <a:cubicBezTo>
                    <a:pt x="18125" y="3993"/>
                    <a:pt x="18315" y="3740"/>
                    <a:pt x="18510" y="3740"/>
                  </a:cubicBezTo>
                  <a:cubicBezTo>
                    <a:pt x="18571" y="3740"/>
                    <a:pt x="18632" y="3802"/>
                    <a:pt x="18699" y="3802"/>
                  </a:cubicBezTo>
                  <a:cubicBezTo>
                    <a:pt x="18855" y="3802"/>
                    <a:pt x="18889" y="3487"/>
                    <a:pt x="19078" y="3610"/>
                  </a:cubicBezTo>
                  <a:cubicBezTo>
                    <a:pt x="19301" y="3802"/>
                    <a:pt x="19552" y="3453"/>
                    <a:pt x="19708" y="3802"/>
                  </a:cubicBezTo>
                  <a:cubicBezTo>
                    <a:pt x="19898" y="4190"/>
                    <a:pt x="20215" y="3965"/>
                    <a:pt x="20533" y="3993"/>
                  </a:cubicBezTo>
                  <a:cubicBezTo>
                    <a:pt x="20500" y="4381"/>
                    <a:pt x="20438" y="4954"/>
                    <a:pt x="20851" y="4791"/>
                  </a:cubicBezTo>
                  <a:cubicBezTo>
                    <a:pt x="21074" y="4696"/>
                    <a:pt x="21325" y="5016"/>
                    <a:pt x="21581" y="5016"/>
                  </a:cubicBezTo>
                  <a:cubicBezTo>
                    <a:pt x="21581" y="5050"/>
                    <a:pt x="21581" y="5050"/>
                    <a:pt x="21581" y="5050"/>
                  </a:cubicBezTo>
                  <a:cubicBezTo>
                    <a:pt x="21514" y="5112"/>
                    <a:pt x="21419" y="5275"/>
                    <a:pt x="21391" y="5370"/>
                  </a:cubicBezTo>
                  <a:cubicBezTo>
                    <a:pt x="21325" y="5562"/>
                    <a:pt x="21453" y="5528"/>
                    <a:pt x="21263" y="5657"/>
                  </a:cubicBezTo>
                  <a:cubicBezTo>
                    <a:pt x="21074" y="5815"/>
                    <a:pt x="20884" y="5910"/>
                    <a:pt x="20695" y="5787"/>
                  </a:cubicBezTo>
                  <a:cubicBezTo>
                    <a:pt x="20566" y="5719"/>
                    <a:pt x="20438" y="5595"/>
                    <a:pt x="20310" y="5787"/>
                  </a:cubicBezTo>
                  <a:cubicBezTo>
                    <a:pt x="20121" y="6102"/>
                    <a:pt x="20093" y="6585"/>
                    <a:pt x="20310" y="6872"/>
                  </a:cubicBezTo>
                  <a:cubicBezTo>
                    <a:pt x="20472" y="7063"/>
                    <a:pt x="20628" y="7029"/>
                    <a:pt x="20789" y="7316"/>
                  </a:cubicBezTo>
                  <a:cubicBezTo>
                    <a:pt x="20912" y="7603"/>
                    <a:pt x="20628" y="7895"/>
                    <a:pt x="20884" y="8182"/>
                  </a:cubicBezTo>
                  <a:cubicBezTo>
                    <a:pt x="21040" y="8340"/>
                    <a:pt x="21074" y="8373"/>
                    <a:pt x="20912" y="8593"/>
                  </a:cubicBezTo>
                  <a:cubicBezTo>
                    <a:pt x="20884" y="8722"/>
                    <a:pt x="20789" y="9009"/>
                    <a:pt x="20723" y="9076"/>
                  </a:cubicBezTo>
                  <a:cubicBezTo>
                    <a:pt x="20600" y="9172"/>
                    <a:pt x="20472" y="9425"/>
                    <a:pt x="20344" y="9459"/>
                  </a:cubicBezTo>
                  <a:cubicBezTo>
                    <a:pt x="20249" y="9493"/>
                    <a:pt x="20121" y="9493"/>
                    <a:pt x="20059" y="9588"/>
                  </a:cubicBezTo>
                  <a:cubicBezTo>
                    <a:pt x="19931" y="9712"/>
                    <a:pt x="19898" y="9903"/>
                    <a:pt x="19775" y="10032"/>
                  </a:cubicBezTo>
                  <a:cubicBezTo>
                    <a:pt x="19552" y="10224"/>
                    <a:pt x="19329" y="10195"/>
                    <a:pt x="19140" y="10449"/>
                  </a:cubicBezTo>
                  <a:cubicBezTo>
                    <a:pt x="18889" y="10797"/>
                    <a:pt x="18537" y="10673"/>
                    <a:pt x="18253" y="10898"/>
                  </a:cubicBezTo>
                  <a:cubicBezTo>
                    <a:pt x="18002" y="11056"/>
                    <a:pt x="18002" y="11213"/>
                    <a:pt x="17746" y="11309"/>
                  </a:cubicBezTo>
                  <a:cubicBezTo>
                    <a:pt x="17144" y="11601"/>
                    <a:pt x="17144" y="11601"/>
                    <a:pt x="17144" y="11601"/>
                  </a:cubicBezTo>
                  <a:cubicBezTo>
                    <a:pt x="16575" y="11821"/>
                    <a:pt x="16035" y="12012"/>
                    <a:pt x="15561" y="12428"/>
                  </a:cubicBezTo>
                  <a:cubicBezTo>
                    <a:pt x="15243" y="12687"/>
                    <a:pt x="14925" y="12715"/>
                    <a:pt x="14613" y="12912"/>
                  </a:cubicBezTo>
                  <a:cubicBezTo>
                    <a:pt x="14452" y="12973"/>
                    <a:pt x="14390" y="13131"/>
                    <a:pt x="14262" y="13227"/>
                  </a:cubicBezTo>
                  <a:cubicBezTo>
                    <a:pt x="14011" y="13451"/>
                    <a:pt x="13755" y="14025"/>
                    <a:pt x="13565" y="14346"/>
                  </a:cubicBezTo>
                  <a:cubicBezTo>
                    <a:pt x="13348" y="14728"/>
                    <a:pt x="12712" y="14762"/>
                    <a:pt x="12333" y="14796"/>
                  </a:cubicBezTo>
                  <a:cubicBezTo>
                    <a:pt x="11982" y="14857"/>
                    <a:pt x="11731" y="14953"/>
                    <a:pt x="11447" y="15082"/>
                  </a:cubicBezTo>
                  <a:cubicBezTo>
                    <a:pt x="11252" y="15178"/>
                    <a:pt x="11096" y="15178"/>
                    <a:pt x="10940" y="15212"/>
                  </a:cubicBezTo>
                  <a:cubicBezTo>
                    <a:pt x="10399" y="15465"/>
                    <a:pt x="9858" y="15498"/>
                    <a:pt x="9323" y="15622"/>
                  </a:cubicBezTo>
                  <a:cubicBezTo>
                    <a:pt x="8877" y="15718"/>
                    <a:pt x="8565" y="16038"/>
                    <a:pt x="8086" y="16038"/>
                  </a:cubicBezTo>
                  <a:cubicBezTo>
                    <a:pt x="7868" y="16038"/>
                    <a:pt x="7646" y="16168"/>
                    <a:pt x="7456" y="16263"/>
                  </a:cubicBezTo>
                  <a:cubicBezTo>
                    <a:pt x="7328" y="16297"/>
                    <a:pt x="7138" y="16393"/>
                    <a:pt x="7044" y="16488"/>
                  </a:cubicBezTo>
                  <a:cubicBezTo>
                    <a:pt x="6915" y="16584"/>
                    <a:pt x="6982" y="16679"/>
                    <a:pt x="6949" y="16741"/>
                  </a:cubicBezTo>
                  <a:cubicBezTo>
                    <a:pt x="6882" y="16809"/>
                    <a:pt x="6664" y="16550"/>
                    <a:pt x="6536" y="16550"/>
                  </a:cubicBezTo>
                  <a:cubicBezTo>
                    <a:pt x="5968" y="16550"/>
                    <a:pt x="5394" y="17096"/>
                    <a:pt x="5014" y="17478"/>
                  </a:cubicBezTo>
                  <a:cubicBezTo>
                    <a:pt x="4825" y="17635"/>
                    <a:pt x="4412" y="18406"/>
                    <a:pt x="4223" y="18468"/>
                  </a:cubicBezTo>
                  <a:cubicBezTo>
                    <a:pt x="4223" y="18468"/>
                    <a:pt x="4223" y="18468"/>
                    <a:pt x="4223" y="18434"/>
                  </a:cubicBezTo>
                  <a:cubicBezTo>
                    <a:pt x="3877" y="18788"/>
                    <a:pt x="3877" y="18788"/>
                    <a:pt x="3877" y="18788"/>
                  </a:cubicBezTo>
                  <a:cubicBezTo>
                    <a:pt x="3593" y="19041"/>
                    <a:pt x="3593" y="19041"/>
                    <a:pt x="3593" y="19041"/>
                  </a:cubicBezTo>
                  <a:cubicBezTo>
                    <a:pt x="3621" y="19041"/>
                    <a:pt x="3749" y="19232"/>
                    <a:pt x="3844" y="19266"/>
                  </a:cubicBezTo>
                  <a:cubicBezTo>
                    <a:pt x="3972" y="19328"/>
                    <a:pt x="4100" y="19396"/>
                    <a:pt x="4223" y="19424"/>
                  </a:cubicBezTo>
                  <a:cubicBezTo>
                    <a:pt x="4541" y="19491"/>
                    <a:pt x="4479" y="19744"/>
                    <a:pt x="4892" y="19744"/>
                  </a:cubicBezTo>
                  <a:cubicBezTo>
                    <a:pt x="4892" y="19935"/>
                    <a:pt x="4730" y="20099"/>
                    <a:pt x="4574" y="20194"/>
                  </a:cubicBezTo>
                  <a:cubicBezTo>
                    <a:pt x="4100" y="20481"/>
                    <a:pt x="4100" y="20481"/>
                    <a:pt x="4100" y="20481"/>
                  </a:cubicBezTo>
                  <a:cubicBezTo>
                    <a:pt x="3844" y="20610"/>
                    <a:pt x="3019" y="20543"/>
                    <a:pt x="2863" y="20768"/>
                  </a:cubicBezTo>
                  <a:cubicBezTo>
                    <a:pt x="2707" y="21021"/>
                    <a:pt x="2545" y="21409"/>
                    <a:pt x="2356" y="21600"/>
                  </a:cubicBezTo>
                  <a:close/>
                </a:path>
              </a:pathLst>
            </a:custGeom>
            <a:grpFill/>
            <a:ln w="3175" cap="flat" cmpd="sng">
              <a:noFill/>
              <a:prstDash val="solid"/>
              <a:bevel/>
              <a:headEnd type="none" w="sm" len="sm"/>
              <a:tailEnd type="none" w="sm" len="sm"/>
            </a:ln>
          </p:spPr>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C2C2C"/>
                </a:solidFill>
                <a:effectLst/>
                <a:uLnTx/>
                <a:uFillTx/>
                <a:latin typeface="Open Sans"/>
                <a:ea typeface="Open Sans"/>
                <a:cs typeface="Open Sans"/>
                <a:sym typeface="Open Sans"/>
              </a:endParaRPr>
            </a:p>
          </p:txBody>
        </p:sp>
        <p:sp>
          <p:nvSpPr>
            <p:cNvPr id="17" name="Google Shape;11987;p276" descr="Freeform 158">
              <a:extLst>
                <a:ext uri="{FF2B5EF4-FFF2-40B4-BE49-F238E27FC236}">
                  <a16:creationId xmlns:a16="http://schemas.microsoft.com/office/drawing/2014/main" id="{4FFCBD3D-CA35-C4A9-A467-71711ED4AAF8}"/>
                </a:ext>
              </a:extLst>
            </p:cNvPr>
            <p:cNvSpPr/>
            <p:nvPr/>
          </p:nvSpPr>
          <p:spPr>
            <a:xfrm>
              <a:off x="3230309" y="2318078"/>
              <a:ext cx="571543" cy="605631"/>
            </a:xfrm>
            <a:custGeom>
              <a:avLst/>
              <a:gdLst/>
              <a:ahLst/>
              <a:cxnLst/>
              <a:rect l="l" t="t" r="r" b="b"/>
              <a:pathLst>
                <a:path w="21600" h="21438" extrusionOk="0">
                  <a:moveTo>
                    <a:pt x="0" y="11319"/>
                  </a:moveTo>
                  <a:cubicBezTo>
                    <a:pt x="64" y="10918"/>
                    <a:pt x="64" y="10918"/>
                    <a:pt x="64" y="10918"/>
                  </a:cubicBezTo>
                  <a:cubicBezTo>
                    <a:pt x="246" y="10808"/>
                    <a:pt x="427" y="10578"/>
                    <a:pt x="545" y="10408"/>
                  </a:cubicBezTo>
                  <a:cubicBezTo>
                    <a:pt x="844" y="10128"/>
                    <a:pt x="1036" y="10067"/>
                    <a:pt x="1271" y="9727"/>
                  </a:cubicBezTo>
                  <a:cubicBezTo>
                    <a:pt x="1453" y="9447"/>
                    <a:pt x="1517" y="9277"/>
                    <a:pt x="1581" y="8936"/>
                  </a:cubicBezTo>
                  <a:cubicBezTo>
                    <a:pt x="1634" y="8476"/>
                    <a:pt x="2243" y="8196"/>
                    <a:pt x="2671" y="8136"/>
                  </a:cubicBezTo>
                  <a:cubicBezTo>
                    <a:pt x="3333" y="8026"/>
                    <a:pt x="3333" y="7735"/>
                    <a:pt x="3707" y="7225"/>
                  </a:cubicBezTo>
                  <a:cubicBezTo>
                    <a:pt x="4070" y="6945"/>
                    <a:pt x="4006" y="7115"/>
                    <a:pt x="4305" y="7225"/>
                  </a:cubicBezTo>
                  <a:cubicBezTo>
                    <a:pt x="4487" y="7795"/>
                    <a:pt x="6548" y="6604"/>
                    <a:pt x="6794" y="6434"/>
                  </a:cubicBezTo>
                  <a:cubicBezTo>
                    <a:pt x="7649" y="6034"/>
                    <a:pt x="7649" y="5864"/>
                    <a:pt x="8493" y="5974"/>
                  </a:cubicBezTo>
                  <a:cubicBezTo>
                    <a:pt x="8674" y="6264"/>
                    <a:pt x="8493" y="6374"/>
                    <a:pt x="8802" y="6714"/>
                  </a:cubicBezTo>
                  <a:cubicBezTo>
                    <a:pt x="9283" y="7225"/>
                    <a:pt x="10191" y="6714"/>
                    <a:pt x="10618" y="6434"/>
                  </a:cubicBezTo>
                  <a:cubicBezTo>
                    <a:pt x="11345" y="5864"/>
                    <a:pt x="11046" y="5804"/>
                    <a:pt x="11291" y="5063"/>
                  </a:cubicBezTo>
                  <a:cubicBezTo>
                    <a:pt x="11227" y="4783"/>
                    <a:pt x="11291" y="4502"/>
                    <a:pt x="11227" y="4212"/>
                  </a:cubicBezTo>
                  <a:cubicBezTo>
                    <a:pt x="11110" y="3932"/>
                    <a:pt x="10918" y="3191"/>
                    <a:pt x="11163" y="2901"/>
                  </a:cubicBezTo>
                  <a:cubicBezTo>
                    <a:pt x="11526" y="2561"/>
                    <a:pt x="11708" y="2851"/>
                    <a:pt x="11708" y="2220"/>
                  </a:cubicBezTo>
                  <a:cubicBezTo>
                    <a:pt x="11708" y="1770"/>
                    <a:pt x="12018" y="1089"/>
                    <a:pt x="12499" y="919"/>
                  </a:cubicBezTo>
                  <a:cubicBezTo>
                    <a:pt x="12808" y="739"/>
                    <a:pt x="12808" y="859"/>
                    <a:pt x="12990" y="1029"/>
                  </a:cubicBezTo>
                  <a:cubicBezTo>
                    <a:pt x="13225" y="1199"/>
                    <a:pt x="13652" y="799"/>
                    <a:pt x="13834" y="689"/>
                  </a:cubicBezTo>
                  <a:cubicBezTo>
                    <a:pt x="14015" y="569"/>
                    <a:pt x="14080" y="459"/>
                    <a:pt x="14261" y="288"/>
                  </a:cubicBezTo>
                  <a:cubicBezTo>
                    <a:pt x="14507" y="8"/>
                    <a:pt x="15842" y="-162"/>
                    <a:pt x="15960" y="228"/>
                  </a:cubicBezTo>
                  <a:cubicBezTo>
                    <a:pt x="16088" y="569"/>
                    <a:pt x="16088" y="689"/>
                    <a:pt x="16387" y="919"/>
                  </a:cubicBezTo>
                  <a:cubicBezTo>
                    <a:pt x="16504" y="1029"/>
                    <a:pt x="16633" y="1089"/>
                    <a:pt x="16750" y="1199"/>
                  </a:cubicBezTo>
                  <a:cubicBezTo>
                    <a:pt x="16868" y="1309"/>
                    <a:pt x="17113" y="1309"/>
                    <a:pt x="17177" y="1429"/>
                  </a:cubicBezTo>
                  <a:cubicBezTo>
                    <a:pt x="17477" y="1480"/>
                    <a:pt x="17477" y="1480"/>
                    <a:pt x="17477" y="1480"/>
                  </a:cubicBezTo>
                  <a:cubicBezTo>
                    <a:pt x="17477" y="1770"/>
                    <a:pt x="17477" y="1770"/>
                    <a:pt x="17477" y="1770"/>
                  </a:cubicBezTo>
                  <a:cubicBezTo>
                    <a:pt x="17412" y="1820"/>
                    <a:pt x="17412" y="1880"/>
                    <a:pt x="17412" y="2000"/>
                  </a:cubicBezTo>
                  <a:cubicBezTo>
                    <a:pt x="17412" y="2110"/>
                    <a:pt x="17477" y="2220"/>
                    <a:pt x="17477" y="2340"/>
                  </a:cubicBezTo>
                  <a:cubicBezTo>
                    <a:pt x="17541" y="2561"/>
                    <a:pt x="17605" y="2961"/>
                    <a:pt x="17412" y="3131"/>
                  </a:cubicBezTo>
                  <a:cubicBezTo>
                    <a:pt x="17359" y="3421"/>
                    <a:pt x="17295" y="3591"/>
                    <a:pt x="17359" y="3872"/>
                  </a:cubicBezTo>
                  <a:cubicBezTo>
                    <a:pt x="17477" y="4102"/>
                    <a:pt x="16996" y="4442"/>
                    <a:pt x="16814" y="4552"/>
                  </a:cubicBezTo>
                  <a:cubicBezTo>
                    <a:pt x="16387" y="4843"/>
                    <a:pt x="16141" y="6204"/>
                    <a:pt x="16633" y="6314"/>
                  </a:cubicBezTo>
                  <a:cubicBezTo>
                    <a:pt x="17113" y="6434"/>
                    <a:pt x="17412" y="6374"/>
                    <a:pt x="17722" y="6824"/>
                  </a:cubicBezTo>
                  <a:cubicBezTo>
                    <a:pt x="18385" y="8076"/>
                    <a:pt x="17113" y="9047"/>
                    <a:pt x="17113" y="10128"/>
                  </a:cubicBezTo>
                  <a:cubicBezTo>
                    <a:pt x="17113" y="10578"/>
                    <a:pt x="17605" y="10868"/>
                    <a:pt x="17840" y="11259"/>
                  </a:cubicBezTo>
                  <a:cubicBezTo>
                    <a:pt x="18331" y="11999"/>
                    <a:pt x="18758" y="13030"/>
                    <a:pt x="19485" y="13601"/>
                  </a:cubicBezTo>
                  <a:cubicBezTo>
                    <a:pt x="19901" y="13941"/>
                    <a:pt x="20275" y="14051"/>
                    <a:pt x="20756" y="14281"/>
                  </a:cubicBezTo>
                  <a:cubicBezTo>
                    <a:pt x="20756" y="14622"/>
                    <a:pt x="20756" y="14962"/>
                    <a:pt x="20756" y="14962"/>
                  </a:cubicBezTo>
                  <a:cubicBezTo>
                    <a:pt x="20692" y="14902"/>
                    <a:pt x="20329" y="14562"/>
                    <a:pt x="20329" y="14792"/>
                  </a:cubicBezTo>
                  <a:cubicBezTo>
                    <a:pt x="20329" y="14962"/>
                    <a:pt x="20030" y="15362"/>
                    <a:pt x="19901" y="15412"/>
                  </a:cubicBezTo>
                  <a:cubicBezTo>
                    <a:pt x="19538" y="15923"/>
                    <a:pt x="19122" y="15983"/>
                    <a:pt x="19720" y="16493"/>
                  </a:cubicBezTo>
                  <a:cubicBezTo>
                    <a:pt x="20030" y="16784"/>
                    <a:pt x="20393" y="17124"/>
                    <a:pt x="20820" y="17234"/>
                  </a:cubicBezTo>
                  <a:cubicBezTo>
                    <a:pt x="20938" y="17234"/>
                    <a:pt x="21547" y="17344"/>
                    <a:pt x="21547" y="17404"/>
                  </a:cubicBezTo>
                  <a:cubicBezTo>
                    <a:pt x="21600" y="17404"/>
                    <a:pt x="21600" y="17404"/>
                    <a:pt x="21600" y="17404"/>
                  </a:cubicBezTo>
                  <a:cubicBezTo>
                    <a:pt x="21600" y="18035"/>
                    <a:pt x="19784" y="18145"/>
                    <a:pt x="19421" y="18255"/>
                  </a:cubicBezTo>
                  <a:cubicBezTo>
                    <a:pt x="19058" y="18425"/>
                    <a:pt x="18876" y="18655"/>
                    <a:pt x="18449" y="18595"/>
                  </a:cubicBezTo>
                  <a:cubicBezTo>
                    <a:pt x="18085" y="18545"/>
                    <a:pt x="17904" y="18255"/>
                    <a:pt x="17658" y="18255"/>
                  </a:cubicBezTo>
                  <a:cubicBezTo>
                    <a:pt x="17477" y="18255"/>
                    <a:pt x="17231" y="18425"/>
                    <a:pt x="17049" y="18315"/>
                  </a:cubicBezTo>
                  <a:cubicBezTo>
                    <a:pt x="16868" y="18145"/>
                    <a:pt x="16633" y="18085"/>
                    <a:pt x="16387" y="18255"/>
                  </a:cubicBezTo>
                  <a:cubicBezTo>
                    <a:pt x="16088" y="18545"/>
                    <a:pt x="16141" y="18655"/>
                    <a:pt x="16141" y="18936"/>
                  </a:cubicBezTo>
                  <a:cubicBezTo>
                    <a:pt x="15479" y="18715"/>
                    <a:pt x="15479" y="18715"/>
                    <a:pt x="15479" y="18715"/>
                  </a:cubicBezTo>
                  <a:cubicBezTo>
                    <a:pt x="14934" y="18485"/>
                    <a:pt x="14806" y="18145"/>
                    <a:pt x="14144" y="18545"/>
                  </a:cubicBezTo>
                  <a:cubicBezTo>
                    <a:pt x="13535" y="18886"/>
                    <a:pt x="13289" y="18375"/>
                    <a:pt x="12627" y="18996"/>
                  </a:cubicBezTo>
                  <a:cubicBezTo>
                    <a:pt x="12381" y="19276"/>
                    <a:pt x="11890" y="19456"/>
                    <a:pt x="11655" y="19736"/>
                  </a:cubicBezTo>
                  <a:cubicBezTo>
                    <a:pt x="11227" y="20357"/>
                    <a:pt x="11591" y="20587"/>
                    <a:pt x="10800" y="20757"/>
                  </a:cubicBezTo>
                  <a:cubicBezTo>
                    <a:pt x="10255" y="20817"/>
                    <a:pt x="9774" y="21098"/>
                    <a:pt x="9347" y="21438"/>
                  </a:cubicBezTo>
                  <a:cubicBezTo>
                    <a:pt x="8012" y="20357"/>
                    <a:pt x="8012" y="20357"/>
                    <a:pt x="8012" y="20357"/>
                  </a:cubicBezTo>
                  <a:cubicBezTo>
                    <a:pt x="7649" y="20417"/>
                    <a:pt x="7585" y="20247"/>
                    <a:pt x="7221" y="20357"/>
                  </a:cubicBezTo>
                  <a:cubicBezTo>
                    <a:pt x="6677" y="20647"/>
                    <a:pt x="5587" y="18826"/>
                    <a:pt x="5277" y="18375"/>
                  </a:cubicBezTo>
                  <a:cubicBezTo>
                    <a:pt x="5031" y="18035"/>
                    <a:pt x="4615" y="17464"/>
                    <a:pt x="4487" y="17064"/>
                  </a:cubicBezTo>
                  <a:cubicBezTo>
                    <a:pt x="4433" y="16784"/>
                    <a:pt x="4433" y="16614"/>
                    <a:pt x="4433" y="16323"/>
                  </a:cubicBezTo>
                  <a:cubicBezTo>
                    <a:pt x="4433" y="16213"/>
                    <a:pt x="4487" y="16103"/>
                    <a:pt x="4551" y="15923"/>
                  </a:cubicBezTo>
                  <a:cubicBezTo>
                    <a:pt x="4615" y="15753"/>
                    <a:pt x="4487" y="15643"/>
                    <a:pt x="4487" y="15472"/>
                  </a:cubicBezTo>
                  <a:cubicBezTo>
                    <a:pt x="4551" y="15192"/>
                    <a:pt x="4369" y="14622"/>
                    <a:pt x="4487" y="14391"/>
                  </a:cubicBezTo>
                  <a:cubicBezTo>
                    <a:pt x="4615" y="14221"/>
                    <a:pt x="4796" y="13881"/>
                    <a:pt x="4850" y="13651"/>
                  </a:cubicBezTo>
                  <a:cubicBezTo>
                    <a:pt x="4615" y="13651"/>
                    <a:pt x="4433" y="13821"/>
                    <a:pt x="4188" y="13761"/>
                  </a:cubicBezTo>
                  <a:cubicBezTo>
                    <a:pt x="4006" y="13711"/>
                    <a:pt x="3824" y="13541"/>
                    <a:pt x="3643" y="13541"/>
                  </a:cubicBezTo>
                  <a:cubicBezTo>
                    <a:pt x="3151" y="13601"/>
                    <a:pt x="3098" y="13421"/>
                    <a:pt x="2671" y="13371"/>
                  </a:cubicBezTo>
                  <a:cubicBezTo>
                    <a:pt x="2179" y="13371"/>
                    <a:pt x="1399" y="13030"/>
                    <a:pt x="1090" y="12630"/>
                  </a:cubicBezTo>
                  <a:cubicBezTo>
                    <a:pt x="844" y="12340"/>
                    <a:pt x="791" y="12119"/>
                    <a:pt x="609" y="11829"/>
                  </a:cubicBezTo>
                  <a:cubicBezTo>
                    <a:pt x="481" y="11609"/>
                    <a:pt x="118" y="11549"/>
                    <a:pt x="0" y="11319"/>
                  </a:cubicBezTo>
                </a:path>
              </a:pathLst>
            </a:custGeom>
            <a:grpFill/>
            <a:ln w="3175" cap="flat" cmpd="sng">
              <a:noFill/>
              <a:prstDash val="solid"/>
              <a:bevel/>
              <a:headEnd type="none" w="sm" len="sm"/>
              <a:tailEnd type="none" w="sm" len="sm"/>
            </a:ln>
          </p:spPr>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C2C2C"/>
                </a:solidFill>
                <a:effectLst/>
                <a:uLnTx/>
                <a:uFillTx/>
                <a:latin typeface="Open Sans"/>
                <a:ea typeface="Open Sans"/>
                <a:cs typeface="Open Sans"/>
                <a:sym typeface="Open Sans"/>
              </a:endParaRPr>
            </a:p>
          </p:txBody>
        </p:sp>
        <p:sp>
          <p:nvSpPr>
            <p:cNvPr id="19" name="Google Shape;11988;p276" descr="Freeform 159">
              <a:extLst>
                <a:ext uri="{FF2B5EF4-FFF2-40B4-BE49-F238E27FC236}">
                  <a16:creationId xmlns:a16="http://schemas.microsoft.com/office/drawing/2014/main" id="{E41EF5C2-D32E-E847-C56D-BDD6A274B355}"/>
                </a:ext>
              </a:extLst>
            </p:cNvPr>
            <p:cNvSpPr/>
            <p:nvPr/>
          </p:nvSpPr>
          <p:spPr>
            <a:xfrm>
              <a:off x="2170657" y="1153389"/>
              <a:ext cx="1551676" cy="1485013"/>
            </a:xfrm>
            <a:custGeom>
              <a:avLst/>
              <a:gdLst/>
              <a:ahLst/>
              <a:cxnLst/>
              <a:rect l="l" t="t" r="r" b="b"/>
              <a:pathLst>
                <a:path w="21492" h="21495" extrusionOk="0">
                  <a:moveTo>
                    <a:pt x="8933" y="1081"/>
                  </a:moveTo>
                  <a:cubicBezTo>
                    <a:pt x="9113" y="1011"/>
                    <a:pt x="9113" y="1011"/>
                    <a:pt x="9113" y="1011"/>
                  </a:cubicBezTo>
                  <a:cubicBezTo>
                    <a:pt x="9289" y="987"/>
                    <a:pt x="9289" y="733"/>
                    <a:pt x="9422" y="733"/>
                  </a:cubicBezTo>
                  <a:cubicBezTo>
                    <a:pt x="9488" y="709"/>
                    <a:pt x="9598" y="758"/>
                    <a:pt x="9598" y="639"/>
                  </a:cubicBezTo>
                  <a:cubicBezTo>
                    <a:pt x="9598" y="476"/>
                    <a:pt x="9535" y="386"/>
                    <a:pt x="9735" y="431"/>
                  </a:cubicBezTo>
                  <a:cubicBezTo>
                    <a:pt x="9911" y="476"/>
                    <a:pt x="10001" y="431"/>
                    <a:pt x="10157" y="386"/>
                  </a:cubicBezTo>
                  <a:cubicBezTo>
                    <a:pt x="10157" y="361"/>
                    <a:pt x="10157" y="361"/>
                    <a:pt x="10157" y="361"/>
                  </a:cubicBezTo>
                  <a:cubicBezTo>
                    <a:pt x="10177" y="361"/>
                    <a:pt x="10134" y="292"/>
                    <a:pt x="10134" y="267"/>
                  </a:cubicBezTo>
                  <a:cubicBezTo>
                    <a:pt x="10134" y="247"/>
                    <a:pt x="10267" y="128"/>
                    <a:pt x="10267" y="267"/>
                  </a:cubicBezTo>
                  <a:cubicBezTo>
                    <a:pt x="10267" y="292"/>
                    <a:pt x="10290" y="455"/>
                    <a:pt x="10334" y="337"/>
                  </a:cubicBezTo>
                  <a:cubicBezTo>
                    <a:pt x="10443" y="-56"/>
                    <a:pt x="10799" y="267"/>
                    <a:pt x="11022" y="292"/>
                  </a:cubicBezTo>
                  <a:cubicBezTo>
                    <a:pt x="11245" y="361"/>
                    <a:pt x="11621" y="267"/>
                    <a:pt x="11801" y="128"/>
                  </a:cubicBezTo>
                  <a:cubicBezTo>
                    <a:pt x="11910" y="34"/>
                    <a:pt x="12133" y="-105"/>
                    <a:pt x="12133" y="128"/>
                  </a:cubicBezTo>
                  <a:cubicBezTo>
                    <a:pt x="12133" y="292"/>
                    <a:pt x="12266" y="361"/>
                    <a:pt x="12380" y="455"/>
                  </a:cubicBezTo>
                  <a:cubicBezTo>
                    <a:pt x="12579" y="594"/>
                    <a:pt x="12646" y="247"/>
                    <a:pt x="12869" y="337"/>
                  </a:cubicBezTo>
                  <a:cubicBezTo>
                    <a:pt x="12888" y="361"/>
                    <a:pt x="12955" y="500"/>
                    <a:pt x="13002" y="545"/>
                  </a:cubicBezTo>
                  <a:cubicBezTo>
                    <a:pt x="13092" y="594"/>
                    <a:pt x="13154" y="545"/>
                    <a:pt x="13244" y="615"/>
                  </a:cubicBezTo>
                  <a:cubicBezTo>
                    <a:pt x="13291" y="639"/>
                    <a:pt x="13647" y="688"/>
                    <a:pt x="13467" y="803"/>
                  </a:cubicBezTo>
                  <a:cubicBezTo>
                    <a:pt x="13444" y="803"/>
                    <a:pt x="13377" y="848"/>
                    <a:pt x="13377" y="897"/>
                  </a:cubicBezTo>
                  <a:cubicBezTo>
                    <a:pt x="13358" y="1011"/>
                    <a:pt x="13557" y="803"/>
                    <a:pt x="13510" y="1036"/>
                  </a:cubicBezTo>
                  <a:cubicBezTo>
                    <a:pt x="13401" y="1453"/>
                    <a:pt x="13823" y="872"/>
                    <a:pt x="13823" y="1220"/>
                  </a:cubicBezTo>
                  <a:cubicBezTo>
                    <a:pt x="13823" y="1338"/>
                    <a:pt x="13890" y="1289"/>
                    <a:pt x="13956" y="1359"/>
                  </a:cubicBezTo>
                  <a:cubicBezTo>
                    <a:pt x="13980" y="1383"/>
                    <a:pt x="13980" y="1477"/>
                    <a:pt x="13999" y="1522"/>
                  </a:cubicBezTo>
                  <a:cubicBezTo>
                    <a:pt x="14023" y="1616"/>
                    <a:pt x="14203" y="1776"/>
                    <a:pt x="14289" y="1800"/>
                  </a:cubicBezTo>
                  <a:cubicBezTo>
                    <a:pt x="14402" y="1825"/>
                    <a:pt x="14445" y="1592"/>
                    <a:pt x="14578" y="1661"/>
                  </a:cubicBezTo>
                  <a:cubicBezTo>
                    <a:pt x="14711" y="1731"/>
                    <a:pt x="14911" y="1825"/>
                    <a:pt x="15067" y="1710"/>
                  </a:cubicBezTo>
                  <a:cubicBezTo>
                    <a:pt x="15110" y="1661"/>
                    <a:pt x="15181" y="1547"/>
                    <a:pt x="15224" y="1547"/>
                  </a:cubicBezTo>
                  <a:cubicBezTo>
                    <a:pt x="15314" y="1547"/>
                    <a:pt x="15380" y="1637"/>
                    <a:pt x="15466" y="1567"/>
                  </a:cubicBezTo>
                  <a:cubicBezTo>
                    <a:pt x="15580" y="1547"/>
                    <a:pt x="15580" y="1338"/>
                    <a:pt x="15713" y="1428"/>
                  </a:cubicBezTo>
                  <a:cubicBezTo>
                    <a:pt x="15779" y="1477"/>
                    <a:pt x="15823" y="1547"/>
                    <a:pt x="15869" y="1616"/>
                  </a:cubicBezTo>
                  <a:cubicBezTo>
                    <a:pt x="15889" y="1616"/>
                    <a:pt x="15979" y="1710"/>
                    <a:pt x="16002" y="1710"/>
                  </a:cubicBezTo>
                  <a:cubicBezTo>
                    <a:pt x="16046" y="1710"/>
                    <a:pt x="16026" y="1592"/>
                    <a:pt x="16026" y="1567"/>
                  </a:cubicBezTo>
                  <a:cubicBezTo>
                    <a:pt x="15979" y="1498"/>
                    <a:pt x="16026" y="1428"/>
                    <a:pt x="16046" y="1383"/>
                  </a:cubicBezTo>
                  <a:cubicBezTo>
                    <a:pt x="16069" y="1289"/>
                    <a:pt x="16046" y="1220"/>
                    <a:pt x="16069" y="1130"/>
                  </a:cubicBezTo>
                  <a:cubicBezTo>
                    <a:pt x="16245" y="1175"/>
                    <a:pt x="16378" y="1036"/>
                    <a:pt x="16535" y="1036"/>
                  </a:cubicBezTo>
                  <a:cubicBezTo>
                    <a:pt x="16535" y="1056"/>
                    <a:pt x="16601" y="1130"/>
                    <a:pt x="16601" y="1150"/>
                  </a:cubicBezTo>
                  <a:cubicBezTo>
                    <a:pt x="16648" y="1408"/>
                    <a:pt x="16758" y="1175"/>
                    <a:pt x="16848" y="1269"/>
                  </a:cubicBezTo>
                  <a:cubicBezTo>
                    <a:pt x="16891" y="1314"/>
                    <a:pt x="16891" y="1408"/>
                    <a:pt x="16934" y="1453"/>
                  </a:cubicBezTo>
                  <a:cubicBezTo>
                    <a:pt x="17090" y="1567"/>
                    <a:pt x="17247" y="1453"/>
                    <a:pt x="17356" y="1686"/>
                  </a:cubicBezTo>
                  <a:cubicBezTo>
                    <a:pt x="17403" y="1800"/>
                    <a:pt x="17560" y="1988"/>
                    <a:pt x="17669" y="2058"/>
                  </a:cubicBezTo>
                  <a:cubicBezTo>
                    <a:pt x="17693" y="2152"/>
                    <a:pt x="17978" y="2405"/>
                    <a:pt x="18045" y="2450"/>
                  </a:cubicBezTo>
                  <a:cubicBezTo>
                    <a:pt x="18201" y="2569"/>
                    <a:pt x="18135" y="2614"/>
                    <a:pt x="18111" y="2777"/>
                  </a:cubicBezTo>
                  <a:cubicBezTo>
                    <a:pt x="18045" y="2986"/>
                    <a:pt x="18291" y="3194"/>
                    <a:pt x="18424" y="3309"/>
                  </a:cubicBezTo>
                  <a:cubicBezTo>
                    <a:pt x="18557" y="3403"/>
                    <a:pt x="18448" y="3681"/>
                    <a:pt x="18424" y="3845"/>
                  </a:cubicBezTo>
                  <a:cubicBezTo>
                    <a:pt x="18424" y="3963"/>
                    <a:pt x="18604" y="4425"/>
                    <a:pt x="18467" y="4495"/>
                  </a:cubicBezTo>
                  <a:cubicBezTo>
                    <a:pt x="18467" y="4519"/>
                    <a:pt x="18467" y="4519"/>
                    <a:pt x="18467" y="4519"/>
                  </a:cubicBezTo>
                  <a:cubicBezTo>
                    <a:pt x="18381" y="4519"/>
                    <a:pt x="18491" y="4822"/>
                    <a:pt x="18381" y="4912"/>
                  </a:cubicBezTo>
                  <a:cubicBezTo>
                    <a:pt x="18291" y="5006"/>
                    <a:pt x="18291" y="5030"/>
                    <a:pt x="18158" y="4985"/>
                  </a:cubicBezTo>
                  <a:cubicBezTo>
                    <a:pt x="18111" y="4985"/>
                    <a:pt x="17892" y="4891"/>
                    <a:pt x="17892" y="4867"/>
                  </a:cubicBezTo>
                  <a:cubicBezTo>
                    <a:pt x="17779" y="4867"/>
                    <a:pt x="17736" y="5586"/>
                    <a:pt x="17693" y="5705"/>
                  </a:cubicBezTo>
                  <a:cubicBezTo>
                    <a:pt x="17646" y="5819"/>
                    <a:pt x="17560" y="5705"/>
                    <a:pt x="17513" y="5750"/>
                  </a:cubicBezTo>
                  <a:cubicBezTo>
                    <a:pt x="17446" y="5795"/>
                    <a:pt x="17423" y="5934"/>
                    <a:pt x="17356" y="5958"/>
                  </a:cubicBezTo>
                  <a:cubicBezTo>
                    <a:pt x="17223" y="6028"/>
                    <a:pt x="17180" y="6146"/>
                    <a:pt x="17380" y="6167"/>
                  </a:cubicBezTo>
                  <a:cubicBezTo>
                    <a:pt x="17646" y="6514"/>
                    <a:pt x="17646" y="6514"/>
                    <a:pt x="17646" y="6514"/>
                  </a:cubicBezTo>
                  <a:cubicBezTo>
                    <a:pt x="17693" y="6539"/>
                    <a:pt x="17712" y="6584"/>
                    <a:pt x="17712" y="6633"/>
                  </a:cubicBezTo>
                  <a:cubicBezTo>
                    <a:pt x="17626" y="6633"/>
                    <a:pt x="17579" y="6911"/>
                    <a:pt x="17646" y="6911"/>
                  </a:cubicBezTo>
                  <a:cubicBezTo>
                    <a:pt x="17646" y="6956"/>
                    <a:pt x="17736" y="6747"/>
                    <a:pt x="17779" y="6727"/>
                  </a:cubicBezTo>
                  <a:cubicBezTo>
                    <a:pt x="17892" y="6702"/>
                    <a:pt x="18025" y="7075"/>
                    <a:pt x="18111" y="7120"/>
                  </a:cubicBezTo>
                  <a:cubicBezTo>
                    <a:pt x="18248" y="7169"/>
                    <a:pt x="18291" y="7259"/>
                    <a:pt x="18381" y="7377"/>
                  </a:cubicBezTo>
                  <a:cubicBezTo>
                    <a:pt x="18448" y="7467"/>
                    <a:pt x="18491" y="7492"/>
                    <a:pt x="18604" y="7447"/>
                  </a:cubicBezTo>
                  <a:cubicBezTo>
                    <a:pt x="18667" y="7422"/>
                    <a:pt x="18690" y="7447"/>
                    <a:pt x="18737" y="7492"/>
                  </a:cubicBezTo>
                  <a:cubicBezTo>
                    <a:pt x="18823" y="7541"/>
                    <a:pt x="18937" y="7422"/>
                    <a:pt x="19003" y="7447"/>
                  </a:cubicBezTo>
                  <a:cubicBezTo>
                    <a:pt x="19023" y="7467"/>
                    <a:pt x="18980" y="7770"/>
                    <a:pt x="18980" y="7819"/>
                  </a:cubicBezTo>
                  <a:cubicBezTo>
                    <a:pt x="18937" y="7888"/>
                    <a:pt x="18937" y="7933"/>
                    <a:pt x="19023" y="8003"/>
                  </a:cubicBezTo>
                  <a:cubicBezTo>
                    <a:pt x="19070" y="8027"/>
                    <a:pt x="19070" y="8048"/>
                    <a:pt x="19070" y="8097"/>
                  </a:cubicBezTo>
                  <a:cubicBezTo>
                    <a:pt x="19070" y="8191"/>
                    <a:pt x="19226" y="8305"/>
                    <a:pt x="19246" y="8399"/>
                  </a:cubicBezTo>
                  <a:cubicBezTo>
                    <a:pt x="19269" y="8469"/>
                    <a:pt x="19246" y="8583"/>
                    <a:pt x="19312" y="8628"/>
                  </a:cubicBezTo>
                  <a:cubicBezTo>
                    <a:pt x="19402" y="8702"/>
                    <a:pt x="19582" y="8677"/>
                    <a:pt x="19715" y="8722"/>
                  </a:cubicBezTo>
                  <a:cubicBezTo>
                    <a:pt x="19848" y="8792"/>
                    <a:pt x="19958" y="8792"/>
                    <a:pt x="20114" y="8747"/>
                  </a:cubicBezTo>
                  <a:cubicBezTo>
                    <a:pt x="20337" y="8702"/>
                    <a:pt x="20337" y="8702"/>
                    <a:pt x="20337" y="8702"/>
                  </a:cubicBezTo>
                  <a:cubicBezTo>
                    <a:pt x="20423" y="8931"/>
                    <a:pt x="20423" y="8931"/>
                    <a:pt x="20423" y="8931"/>
                  </a:cubicBezTo>
                  <a:cubicBezTo>
                    <a:pt x="20357" y="9049"/>
                    <a:pt x="20114" y="9025"/>
                    <a:pt x="20091" y="9164"/>
                  </a:cubicBezTo>
                  <a:cubicBezTo>
                    <a:pt x="20091" y="9213"/>
                    <a:pt x="20114" y="9258"/>
                    <a:pt x="20138" y="9303"/>
                  </a:cubicBezTo>
                  <a:cubicBezTo>
                    <a:pt x="20224" y="9511"/>
                    <a:pt x="20091" y="9724"/>
                    <a:pt x="20091" y="9908"/>
                  </a:cubicBezTo>
                  <a:cubicBezTo>
                    <a:pt x="20091" y="10116"/>
                    <a:pt x="19801" y="10280"/>
                    <a:pt x="19801" y="10489"/>
                  </a:cubicBezTo>
                  <a:cubicBezTo>
                    <a:pt x="19891" y="10767"/>
                    <a:pt x="19758" y="11000"/>
                    <a:pt x="19469" y="10836"/>
                  </a:cubicBezTo>
                  <a:cubicBezTo>
                    <a:pt x="19136" y="10628"/>
                    <a:pt x="19046" y="11466"/>
                    <a:pt x="18804" y="11580"/>
                  </a:cubicBezTo>
                  <a:cubicBezTo>
                    <a:pt x="18647" y="11650"/>
                    <a:pt x="18714" y="11924"/>
                    <a:pt x="18667" y="12063"/>
                  </a:cubicBezTo>
                  <a:cubicBezTo>
                    <a:pt x="18557" y="12414"/>
                    <a:pt x="18624" y="12390"/>
                    <a:pt x="18890" y="12623"/>
                  </a:cubicBezTo>
                  <a:cubicBezTo>
                    <a:pt x="18956" y="12807"/>
                    <a:pt x="18937" y="12782"/>
                    <a:pt x="19113" y="12782"/>
                  </a:cubicBezTo>
                  <a:cubicBezTo>
                    <a:pt x="19160" y="12807"/>
                    <a:pt x="19269" y="12946"/>
                    <a:pt x="19336" y="12995"/>
                  </a:cubicBezTo>
                  <a:cubicBezTo>
                    <a:pt x="19469" y="13040"/>
                    <a:pt x="19602" y="13040"/>
                    <a:pt x="19715" y="13064"/>
                  </a:cubicBezTo>
                  <a:cubicBezTo>
                    <a:pt x="19915" y="13134"/>
                    <a:pt x="20048" y="13179"/>
                    <a:pt x="20247" y="13203"/>
                  </a:cubicBezTo>
                  <a:cubicBezTo>
                    <a:pt x="20404" y="13203"/>
                    <a:pt x="20204" y="13874"/>
                    <a:pt x="20204" y="13992"/>
                  </a:cubicBezTo>
                  <a:cubicBezTo>
                    <a:pt x="20204" y="14156"/>
                    <a:pt x="20024" y="14225"/>
                    <a:pt x="20001" y="14365"/>
                  </a:cubicBezTo>
                  <a:cubicBezTo>
                    <a:pt x="19981" y="14409"/>
                    <a:pt x="19958" y="14504"/>
                    <a:pt x="19915" y="14528"/>
                  </a:cubicBezTo>
                  <a:cubicBezTo>
                    <a:pt x="19868" y="14598"/>
                    <a:pt x="19868" y="14688"/>
                    <a:pt x="19848" y="14757"/>
                  </a:cubicBezTo>
                  <a:cubicBezTo>
                    <a:pt x="19891" y="14896"/>
                    <a:pt x="19825" y="14970"/>
                    <a:pt x="19981" y="15035"/>
                  </a:cubicBezTo>
                  <a:cubicBezTo>
                    <a:pt x="20138" y="15109"/>
                    <a:pt x="20204" y="15338"/>
                    <a:pt x="20314" y="15477"/>
                  </a:cubicBezTo>
                  <a:cubicBezTo>
                    <a:pt x="20447" y="15689"/>
                    <a:pt x="20404" y="15640"/>
                    <a:pt x="20646" y="15665"/>
                  </a:cubicBezTo>
                  <a:cubicBezTo>
                    <a:pt x="20736" y="15689"/>
                    <a:pt x="20936" y="15665"/>
                    <a:pt x="21002" y="15620"/>
                  </a:cubicBezTo>
                  <a:cubicBezTo>
                    <a:pt x="21069" y="15571"/>
                    <a:pt x="21292" y="15501"/>
                    <a:pt x="21292" y="15640"/>
                  </a:cubicBezTo>
                  <a:cubicBezTo>
                    <a:pt x="21315" y="15804"/>
                    <a:pt x="21448" y="15873"/>
                    <a:pt x="21448" y="16082"/>
                  </a:cubicBezTo>
                  <a:cubicBezTo>
                    <a:pt x="21448" y="16151"/>
                    <a:pt x="21448" y="16245"/>
                    <a:pt x="21448" y="16315"/>
                  </a:cubicBezTo>
                  <a:cubicBezTo>
                    <a:pt x="21468" y="16429"/>
                    <a:pt x="21558" y="16572"/>
                    <a:pt x="21402" y="16617"/>
                  </a:cubicBezTo>
                  <a:cubicBezTo>
                    <a:pt x="21268" y="16642"/>
                    <a:pt x="21315" y="16711"/>
                    <a:pt x="21358" y="16801"/>
                  </a:cubicBezTo>
                  <a:cubicBezTo>
                    <a:pt x="21448" y="16920"/>
                    <a:pt x="21558" y="17500"/>
                    <a:pt x="21249" y="17431"/>
                  </a:cubicBezTo>
                  <a:cubicBezTo>
                    <a:pt x="21069" y="17451"/>
                    <a:pt x="21069" y="17451"/>
                    <a:pt x="21069" y="17451"/>
                  </a:cubicBezTo>
                  <a:cubicBezTo>
                    <a:pt x="20959" y="17431"/>
                    <a:pt x="20959" y="17431"/>
                    <a:pt x="20959" y="17431"/>
                  </a:cubicBezTo>
                  <a:cubicBezTo>
                    <a:pt x="20936" y="17382"/>
                    <a:pt x="20846" y="17382"/>
                    <a:pt x="20803" y="17337"/>
                  </a:cubicBezTo>
                  <a:cubicBezTo>
                    <a:pt x="20760" y="17292"/>
                    <a:pt x="20713" y="17267"/>
                    <a:pt x="20670" y="17222"/>
                  </a:cubicBezTo>
                  <a:cubicBezTo>
                    <a:pt x="20560" y="17128"/>
                    <a:pt x="20560" y="17079"/>
                    <a:pt x="20513" y="16940"/>
                  </a:cubicBezTo>
                  <a:cubicBezTo>
                    <a:pt x="20470" y="16781"/>
                    <a:pt x="19981" y="16850"/>
                    <a:pt x="19891" y="16965"/>
                  </a:cubicBezTo>
                  <a:cubicBezTo>
                    <a:pt x="19825" y="17034"/>
                    <a:pt x="19801" y="17079"/>
                    <a:pt x="19735" y="17128"/>
                  </a:cubicBezTo>
                  <a:cubicBezTo>
                    <a:pt x="19668" y="17173"/>
                    <a:pt x="19512" y="17337"/>
                    <a:pt x="19426" y="17267"/>
                  </a:cubicBezTo>
                  <a:cubicBezTo>
                    <a:pt x="19359" y="17198"/>
                    <a:pt x="19359" y="17149"/>
                    <a:pt x="19246" y="17222"/>
                  </a:cubicBezTo>
                  <a:cubicBezTo>
                    <a:pt x="19070" y="17292"/>
                    <a:pt x="18956" y="17570"/>
                    <a:pt x="18956" y="17754"/>
                  </a:cubicBezTo>
                  <a:cubicBezTo>
                    <a:pt x="18956" y="18012"/>
                    <a:pt x="18890" y="17893"/>
                    <a:pt x="18757" y="18032"/>
                  </a:cubicBezTo>
                  <a:cubicBezTo>
                    <a:pt x="18667" y="18151"/>
                    <a:pt x="18737" y="18453"/>
                    <a:pt x="18780" y="18568"/>
                  </a:cubicBezTo>
                  <a:cubicBezTo>
                    <a:pt x="18804" y="18686"/>
                    <a:pt x="18780" y="18801"/>
                    <a:pt x="18804" y="18915"/>
                  </a:cubicBezTo>
                  <a:cubicBezTo>
                    <a:pt x="18714" y="19218"/>
                    <a:pt x="18823" y="19242"/>
                    <a:pt x="18557" y="19475"/>
                  </a:cubicBezTo>
                  <a:cubicBezTo>
                    <a:pt x="18401" y="19590"/>
                    <a:pt x="18068" y="19798"/>
                    <a:pt x="17892" y="19590"/>
                  </a:cubicBezTo>
                  <a:cubicBezTo>
                    <a:pt x="17779" y="19451"/>
                    <a:pt x="17845" y="19406"/>
                    <a:pt x="17779" y="19287"/>
                  </a:cubicBezTo>
                  <a:cubicBezTo>
                    <a:pt x="17470" y="19242"/>
                    <a:pt x="17470" y="19312"/>
                    <a:pt x="17157" y="19475"/>
                  </a:cubicBezTo>
                  <a:cubicBezTo>
                    <a:pt x="17067" y="19545"/>
                    <a:pt x="16312" y="20031"/>
                    <a:pt x="16245" y="19798"/>
                  </a:cubicBezTo>
                  <a:cubicBezTo>
                    <a:pt x="16136" y="19753"/>
                    <a:pt x="16159" y="19684"/>
                    <a:pt x="16026" y="19798"/>
                  </a:cubicBezTo>
                  <a:cubicBezTo>
                    <a:pt x="15889" y="20007"/>
                    <a:pt x="15889" y="20125"/>
                    <a:pt x="15646" y="20170"/>
                  </a:cubicBezTo>
                  <a:cubicBezTo>
                    <a:pt x="15490" y="20195"/>
                    <a:pt x="15267" y="20309"/>
                    <a:pt x="15247" y="20497"/>
                  </a:cubicBezTo>
                  <a:cubicBezTo>
                    <a:pt x="15224" y="20636"/>
                    <a:pt x="15200" y="20706"/>
                    <a:pt x="15134" y="20820"/>
                  </a:cubicBezTo>
                  <a:cubicBezTo>
                    <a:pt x="15048" y="20959"/>
                    <a:pt x="14977" y="20984"/>
                    <a:pt x="14868" y="21098"/>
                  </a:cubicBezTo>
                  <a:cubicBezTo>
                    <a:pt x="14825" y="21168"/>
                    <a:pt x="14758" y="21262"/>
                    <a:pt x="14692" y="21307"/>
                  </a:cubicBezTo>
                  <a:cubicBezTo>
                    <a:pt x="14668" y="21470"/>
                    <a:pt x="14668" y="21470"/>
                    <a:pt x="14668" y="21470"/>
                  </a:cubicBezTo>
                  <a:cubicBezTo>
                    <a:pt x="14512" y="21495"/>
                    <a:pt x="14512" y="21495"/>
                    <a:pt x="14512" y="21495"/>
                  </a:cubicBezTo>
                  <a:cubicBezTo>
                    <a:pt x="14355" y="21495"/>
                    <a:pt x="14222" y="21425"/>
                    <a:pt x="14070" y="21356"/>
                  </a:cubicBezTo>
                  <a:cubicBezTo>
                    <a:pt x="14023" y="21307"/>
                    <a:pt x="13667" y="21123"/>
                    <a:pt x="13667" y="21078"/>
                  </a:cubicBezTo>
                  <a:cubicBezTo>
                    <a:pt x="13667" y="21029"/>
                    <a:pt x="13800" y="20914"/>
                    <a:pt x="13823" y="20890"/>
                  </a:cubicBezTo>
                  <a:cubicBezTo>
                    <a:pt x="13890" y="20820"/>
                    <a:pt x="13980" y="20706"/>
                    <a:pt x="14046" y="20612"/>
                  </a:cubicBezTo>
                  <a:cubicBezTo>
                    <a:pt x="14179" y="20428"/>
                    <a:pt x="14156" y="20403"/>
                    <a:pt x="14156" y="20195"/>
                  </a:cubicBezTo>
                  <a:cubicBezTo>
                    <a:pt x="14156" y="20101"/>
                    <a:pt x="14179" y="20031"/>
                    <a:pt x="14179" y="19962"/>
                  </a:cubicBezTo>
                  <a:cubicBezTo>
                    <a:pt x="14179" y="19798"/>
                    <a:pt x="14222" y="19823"/>
                    <a:pt x="14089" y="19774"/>
                  </a:cubicBezTo>
                  <a:cubicBezTo>
                    <a:pt x="14023" y="19753"/>
                    <a:pt x="13999" y="19729"/>
                    <a:pt x="13956" y="19684"/>
                  </a:cubicBezTo>
                  <a:cubicBezTo>
                    <a:pt x="13933" y="19520"/>
                    <a:pt x="14023" y="19148"/>
                    <a:pt x="13866" y="19079"/>
                  </a:cubicBezTo>
                  <a:cubicBezTo>
                    <a:pt x="13577" y="18964"/>
                    <a:pt x="13534" y="19103"/>
                    <a:pt x="13624" y="18731"/>
                  </a:cubicBezTo>
                  <a:cubicBezTo>
                    <a:pt x="13647" y="18662"/>
                    <a:pt x="13557" y="18474"/>
                    <a:pt x="13510" y="18429"/>
                  </a:cubicBezTo>
                  <a:cubicBezTo>
                    <a:pt x="13358" y="18290"/>
                    <a:pt x="13201" y="18474"/>
                    <a:pt x="13045" y="18474"/>
                  </a:cubicBezTo>
                  <a:cubicBezTo>
                    <a:pt x="12888" y="18474"/>
                    <a:pt x="12736" y="18171"/>
                    <a:pt x="12579" y="18290"/>
                  </a:cubicBezTo>
                  <a:cubicBezTo>
                    <a:pt x="12423" y="18429"/>
                    <a:pt x="12223" y="18801"/>
                    <a:pt x="11977" y="18707"/>
                  </a:cubicBezTo>
                  <a:cubicBezTo>
                    <a:pt x="11891" y="18686"/>
                    <a:pt x="11934" y="18592"/>
                    <a:pt x="11777" y="18637"/>
                  </a:cubicBezTo>
                  <a:cubicBezTo>
                    <a:pt x="11711" y="18686"/>
                    <a:pt x="11644" y="18731"/>
                    <a:pt x="11601" y="18801"/>
                  </a:cubicBezTo>
                  <a:cubicBezTo>
                    <a:pt x="11578" y="18846"/>
                    <a:pt x="11554" y="18964"/>
                    <a:pt x="11535" y="18985"/>
                  </a:cubicBezTo>
                  <a:cubicBezTo>
                    <a:pt x="11488" y="19009"/>
                    <a:pt x="11355" y="18776"/>
                    <a:pt x="11335" y="18752"/>
                  </a:cubicBezTo>
                  <a:cubicBezTo>
                    <a:pt x="11202" y="18429"/>
                    <a:pt x="10999" y="18870"/>
                    <a:pt x="10713" y="18801"/>
                  </a:cubicBezTo>
                  <a:cubicBezTo>
                    <a:pt x="10557" y="18776"/>
                    <a:pt x="10334" y="18776"/>
                    <a:pt x="10200" y="18707"/>
                  </a:cubicBezTo>
                  <a:cubicBezTo>
                    <a:pt x="10134" y="18686"/>
                    <a:pt x="10044" y="18568"/>
                    <a:pt x="10001" y="18568"/>
                  </a:cubicBezTo>
                  <a:cubicBezTo>
                    <a:pt x="9977" y="18568"/>
                    <a:pt x="9735" y="18637"/>
                    <a:pt x="9711" y="18662"/>
                  </a:cubicBezTo>
                  <a:cubicBezTo>
                    <a:pt x="9645" y="18752"/>
                    <a:pt x="9735" y="18825"/>
                    <a:pt x="9578" y="18940"/>
                  </a:cubicBezTo>
                  <a:cubicBezTo>
                    <a:pt x="9422" y="19034"/>
                    <a:pt x="9398" y="19148"/>
                    <a:pt x="9222" y="19079"/>
                  </a:cubicBezTo>
                  <a:cubicBezTo>
                    <a:pt x="9113" y="19079"/>
                    <a:pt x="8956" y="19054"/>
                    <a:pt x="8956" y="18915"/>
                  </a:cubicBezTo>
                  <a:cubicBezTo>
                    <a:pt x="8956" y="18825"/>
                    <a:pt x="8909" y="18776"/>
                    <a:pt x="8800" y="18776"/>
                  </a:cubicBezTo>
                  <a:cubicBezTo>
                    <a:pt x="8600" y="18776"/>
                    <a:pt x="8823" y="19218"/>
                    <a:pt x="8487" y="19079"/>
                  </a:cubicBezTo>
                  <a:cubicBezTo>
                    <a:pt x="8354" y="19034"/>
                    <a:pt x="8248" y="18964"/>
                    <a:pt x="8092" y="18940"/>
                  </a:cubicBezTo>
                  <a:cubicBezTo>
                    <a:pt x="8025" y="18940"/>
                    <a:pt x="7959" y="19009"/>
                    <a:pt x="7892" y="18964"/>
                  </a:cubicBezTo>
                  <a:cubicBezTo>
                    <a:pt x="7669" y="18825"/>
                    <a:pt x="7646" y="19173"/>
                    <a:pt x="7513" y="19242"/>
                  </a:cubicBezTo>
                  <a:cubicBezTo>
                    <a:pt x="7380" y="19287"/>
                    <a:pt x="6957" y="19312"/>
                    <a:pt x="6824" y="19287"/>
                  </a:cubicBezTo>
                  <a:cubicBezTo>
                    <a:pt x="6715" y="19287"/>
                    <a:pt x="6582" y="19242"/>
                    <a:pt x="6449" y="19218"/>
                  </a:cubicBezTo>
                  <a:cubicBezTo>
                    <a:pt x="6316" y="19173"/>
                    <a:pt x="6159" y="19218"/>
                    <a:pt x="6026" y="19218"/>
                  </a:cubicBezTo>
                  <a:cubicBezTo>
                    <a:pt x="5870" y="19218"/>
                    <a:pt x="5603" y="19034"/>
                    <a:pt x="5470" y="19124"/>
                  </a:cubicBezTo>
                  <a:cubicBezTo>
                    <a:pt x="5380" y="19193"/>
                    <a:pt x="5224" y="19406"/>
                    <a:pt x="5157" y="19406"/>
                  </a:cubicBezTo>
                  <a:cubicBezTo>
                    <a:pt x="5091" y="19406"/>
                    <a:pt x="4868" y="19173"/>
                    <a:pt x="4801" y="19124"/>
                  </a:cubicBezTo>
                  <a:cubicBezTo>
                    <a:pt x="4602" y="19034"/>
                    <a:pt x="4445" y="18964"/>
                    <a:pt x="4312" y="18776"/>
                  </a:cubicBezTo>
                  <a:cubicBezTo>
                    <a:pt x="4226" y="18686"/>
                    <a:pt x="4089" y="18568"/>
                    <a:pt x="3980" y="18543"/>
                  </a:cubicBezTo>
                  <a:cubicBezTo>
                    <a:pt x="3737" y="18453"/>
                    <a:pt x="3823" y="18335"/>
                    <a:pt x="3647" y="18220"/>
                  </a:cubicBezTo>
                  <a:cubicBezTo>
                    <a:pt x="3514" y="18151"/>
                    <a:pt x="3448" y="18101"/>
                    <a:pt x="3334" y="18012"/>
                  </a:cubicBezTo>
                  <a:cubicBezTo>
                    <a:pt x="3268" y="17917"/>
                    <a:pt x="2978" y="17873"/>
                    <a:pt x="2869" y="17848"/>
                  </a:cubicBezTo>
                  <a:cubicBezTo>
                    <a:pt x="2579" y="17778"/>
                    <a:pt x="2579" y="17639"/>
                    <a:pt x="2556" y="17382"/>
                  </a:cubicBezTo>
                  <a:cubicBezTo>
                    <a:pt x="2513" y="17104"/>
                    <a:pt x="2047" y="17476"/>
                    <a:pt x="1934" y="17149"/>
                  </a:cubicBezTo>
                  <a:cubicBezTo>
                    <a:pt x="1867" y="16989"/>
                    <a:pt x="1867" y="16989"/>
                    <a:pt x="1867" y="16989"/>
                  </a:cubicBezTo>
                  <a:cubicBezTo>
                    <a:pt x="1981" y="16920"/>
                    <a:pt x="1981" y="16920"/>
                    <a:pt x="1981" y="16920"/>
                  </a:cubicBezTo>
                  <a:cubicBezTo>
                    <a:pt x="2133" y="16826"/>
                    <a:pt x="2133" y="16687"/>
                    <a:pt x="2133" y="16499"/>
                  </a:cubicBezTo>
                  <a:cubicBezTo>
                    <a:pt x="2133" y="16339"/>
                    <a:pt x="2204" y="16176"/>
                    <a:pt x="2270" y="16037"/>
                  </a:cubicBezTo>
                  <a:cubicBezTo>
                    <a:pt x="2313" y="15967"/>
                    <a:pt x="2446" y="15943"/>
                    <a:pt x="2513" y="15967"/>
                  </a:cubicBezTo>
                  <a:cubicBezTo>
                    <a:pt x="2556" y="15992"/>
                    <a:pt x="2603" y="16037"/>
                    <a:pt x="2646" y="15992"/>
                  </a:cubicBezTo>
                  <a:cubicBezTo>
                    <a:pt x="2736" y="15828"/>
                    <a:pt x="2869" y="15640"/>
                    <a:pt x="2579" y="15571"/>
                  </a:cubicBezTo>
                  <a:cubicBezTo>
                    <a:pt x="2270" y="15501"/>
                    <a:pt x="2337" y="15293"/>
                    <a:pt x="2223" y="15060"/>
                  </a:cubicBezTo>
                  <a:cubicBezTo>
                    <a:pt x="2204" y="14990"/>
                    <a:pt x="2133" y="14921"/>
                    <a:pt x="2133" y="14876"/>
                  </a:cubicBezTo>
                  <a:cubicBezTo>
                    <a:pt x="2223" y="14876"/>
                    <a:pt x="2290" y="14921"/>
                    <a:pt x="2356" y="14921"/>
                  </a:cubicBezTo>
                  <a:cubicBezTo>
                    <a:pt x="2380" y="14990"/>
                    <a:pt x="2603" y="15035"/>
                    <a:pt x="2669" y="14990"/>
                  </a:cubicBezTo>
                  <a:cubicBezTo>
                    <a:pt x="2759" y="14945"/>
                    <a:pt x="2759" y="14806"/>
                    <a:pt x="2693" y="14757"/>
                  </a:cubicBezTo>
                  <a:cubicBezTo>
                    <a:pt x="2446" y="14598"/>
                    <a:pt x="2626" y="14454"/>
                    <a:pt x="2646" y="14225"/>
                  </a:cubicBezTo>
                  <a:cubicBezTo>
                    <a:pt x="2759" y="14176"/>
                    <a:pt x="2736" y="14131"/>
                    <a:pt x="2779" y="14013"/>
                  </a:cubicBezTo>
                  <a:cubicBezTo>
                    <a:pt x="2826" y="13947"/>
                    <a:pt x="3002" y="14037"/>
                    <a:pt x="3068" y="14037"/>
                  </a:cubicBezTo>
                  <a:cubicBezTo>
                    <a:pt x="3182" y="14037"/>
                    <a:pt x="3604" y="14156"/>
                    <a:pt x="3624" y="14156"/>
                  </a:cubicBezTo>
                  <a:cubicBezTo>
                    <a:pt x="3647" y="14131"/>
                    <a:pt x="3491" y="13923"/>
                    <a:pt x="3467" y="13874"/>
                  </a:cubicBezTo>
                  <a:cubicBezTo>
                    <a:pt x="3358" y="13714"/>
                    <a:pt x="3248" y="13690"/>
                    <a:pt x="3182" y="13481"/>
                  </a:cubicBezTo>
                  <a:cubicBezTo>
                    <a:pt x="3158" y="13387"/>
                    <a:pt x="3068" y="13224"/>
                    <a:pt x="3068" y="13179"/>
                  </a:cubicBezTo>
                  <a:cubicBezTo>
                    <a:pt x="3268" y="13179"/>
                    <a:pt x="3315" y="13109"/>
                    <a:pt x="3358" y="12925"/>
                  </a:cubicBezTo>
                  <a:cubicBezTo>
                    <a:pt x="3401" y="12762"/>
                    <a:pt x="3491" y="12692"/>
                    <a:pt x="3491" y="12504"/>
                  </a:cubicBezTo>
                  <a:cubicBezTo>
                    <a:pt x="3491" y="12414"/>
                    <a:pt x="3401" y="12341"/>
                    <a:pt x="3401" y="12320"/>
                  </a:cubicBezTo>
                  <a:cubicBezTo>
                    <a:pt x="3381" y="12320"/>
                    <a:pt x="3381" y="12320"/>
                    <a:pt x="3381" y="12320"/>
                  </a:cubicBezTo>
                  <a:cubicBezTo>
                    <a:pt x="3381" y="12390"/>
                    <a:pt x="2959" y="12668"/>
                    <a:pt x="2892" y="12692"/>
                  </a:cubicBezTo>
                  <a:cubicBezTo>
                    <a:pt x="2646" y="12713"/>
                    <a:pt x="2556" y="12901"/>
                    <a:pt x="2290" y="12713"/>
                  </a:cubicBezTo>
                  <a:cubicBezTo>
                    <a:pt x="2180" y="12643"/>
                    <a:pt x="2024" y="12623"/>
                    <a:pt x="1957" y="12504"/>
                  </a:cubicBezTo>
                  <a:cubicBezTo>
                    <a:pt x="1758" y="12181"/>
                    <a:pt x="1758" y="12181"/>
                    <a:pt x="1758" y="12181"/>
                  </a:cubicBezTo>
                  <a:cubicBezTo>
                    <a:pt x="1715" y="12087"/>
                    <a:pt x="1625" y="12112"/>
                    <a:pt x="1535" y="12063"/>
                  </a:cubicBezTo>
                  <a:cubicBezTo>
                    <a:pt x="1359" y="11948"/>
                    <a:pt x="1269" y="11691"/>
                    <a:pt x="1136" y="11556"/>
                  </a:cubicBezTo>
                  <a:cubicBezTo>
                    <a:pt x="1046" y="11417"/>
                    <a:pt x="889" y="11466"/>
                    <a:pt x="1022" y="11323"/>
                  </a:cubicBezTo>
                  <a:cubicBezTo>
                    <a:pt x="1093" y="11233"/>
                    <a:pt x="1179" y="11069"/>
                    <a:pt x="1179" y="10955"/>
                  </a:cubicBezTo>
                  <a:cubicBezTo>
                    <a:pt x="1202" y="10861"/>
                    <a:pt x="1292" y="10583"/>
                    <a:pt x="1245" y="10489"/>
                  </a:cubicBezTo>
                  <a:cubicBezTo>
                    <a:pt x="1226" y="10464"/>
                    <a:pt x="1069" y="10325"/>
                    <a:pt x="1155" y="10300"/>
                  </a:cubicBezTo>
                  <a:cubicBezTo>
                    <a:pt x="1155" y="10255"/>
                    <a:pt x="1155" y="10255"/>
                    <a:pt x="1155" y="10255"/>
                  </a:cubicBezTo>
                  <a:cubicBezTo>
                    <a:pt x="1136" y="10047"/>
                    <a:pt x="1136" y="10047"/>
                    <a:pt x="1136" y="10047"/>
                  </a:cubicBezTo>
                  <a:cubicBezTo>
                    <a:pt x="1022" y="10071"/>
                    <a:pt x="1022" y="10071"/>
                    <a:pt x="1022" y="10071"/>
                  </a:cubicBezTo>
                  <a:cubicBezTo>
                    <a:pt x="870" y="10186"/>
                    <a:pt x="870" y="10186"/>
                    <a:pt x="870" y="10186"/>
                  </a:cubicBezTo>
                  <a:cubicBezTo>
                    <a:pt x="713" y="10300"/>
                    <a:pt x="713" y="10300"/>
                    <a:pt x="713" y="10300"/>
                  </a:cubicBezTo>
                  <a:cubicBezTo>
                    <a:pt x="557" y="10325"/>
                    <a:pt x="557" y="10325"/>
                    <a:pt x="557" y="10325"/>
                  </a:cubicBezTo>
                  <a:cubicBezTo>
                    <a:pt x="400" y="10211"/>
                    <a:pt x="400" y="10211"/>
                    <a:pt x="400" y="10211"/>
                  </a:cubicBezTo>
                  <a:cubicBezTo>
                    <a:pt x="424" y="10071"/>
                    <a:pt x="424" y="10071"/>
                    <a:pt x="424" y="10071"/>
                  </a:cubicBezTo>
                  <a:cubicBezTo>
                    <a:pt x="447" y="9977"/>
                    <a:pt x="514" y="9560"/>
                    <a:pt x="424" y="9511"/>
                  </a:cubicBezTo>
                  <a:cubicBezTo>
                    <a:pt x="357" y="9466"/>
                    <a:pt x="248" y="9491"/>
                    <a:pt x="177" y="9511"/>
                  </a:cubicBezTo>
                  <a:cubicBezTo>
                    <a:pt x="114" y="9536"/>
                    <a:pt x="68" y="9560"/>
                    <a:pt x="25" y="9560"/>
                  </a:cubicBezTo>
                  <a:cubicBezTo>
                    <a:pt x="-42" y="9536"/>
                    <a:pt x="44" y="9258"/>
                    <a:pt x="68" y="9213"/>
                  </a:cubicBezTo>
                  <a:cubicBezTo>
                    <a:pt x="114" y="9070"/>
                    <a:pt x="158" y="8931"/>
                    <a:pt x="177" y="8771"/>
                  </a:cubicBezTo>
                  <a:cubicBezTo>
                    <a:pt x="201" y="8628"/>
                    <a:pt x="158" y="8514"/>
                    <a:pt x="158" y="8350"/>
                  </a:cubicBezTo>
                  <a:cubicBezTo>
                    <a:pt x="158" y="8281"/>
                    <a:pt x="201" y="8166"/>
                    <a:pt x="177" y="8097"/>
                  </a:cubicBezTo>
                  <a:cubicBezTo>
                    <a:pt x="334" y="8003"/>
                    <a:pt x="334" y="8003"/>
                    <a:pt x="334" y="8003"/>
                  </a:cubicBezTo>
                  <a:cubicBezTo>
                    <a:pt x="889" y="8048"/>
                    <a:pt x="889" y="8048"/>
                    <a:pt x="889" y="8048"/>
                  </a:cubicBezTo>
                  <a:cubicBezTo>
                    <a:pt x="870" y="8236"/>
                    <a:pt x="1022" y="8191"/>
                    <a:pt x="1136" y="8191"/>
                  </a:cubicBezTo>
                  <a:cubicBezTo>
                    <a:pt x="1378" y="8166"/>
                    <a:pt x="1468" y="7864"/>
                    <a:pt x="1648" y="7770"/>
                  </a:cubicBezTo>
                  <a:cubicBezTo>
                    <a:pt x="1781" y="7700"/>
                    <a:pt x="1867" y="7655"/>
                    <a:pt x="1867" y="7864"/>
                  </a:cubicBezTo>
                  <a:cubicBezTo>
                    <a:pt x="1867" y="8166"/>
                    <a:pt x="2133" y="7909"/>
                    <a:pt x="2290" y="7864"/>
                  </a:cubicBezTo>
                  <a:cubicBezTo>
                    <a:pt x="2446" y="7819"/>
                    <a:pt x="2290" y="7700"/>
                    <a:pt x="2356" y="7606"/>
                  </a:cubicBezTo>
                  <a:cubicBezTo>
                    <a:pt x="2403" y="7541"/>
                    <a:pt x="2579" y="7447"/>
                    <a:pt x="2646" y="7398"/>
                  </a:cubicBezTo>
                  <a:cubicBezTo>
                    <a:pt x="2736" y="7467"/>
                    <a:pt x="2826" y="7259"/>
                    <a:pt x="2826" y="7189"/>
                  </a:cubicBezTo>
                  <a:cubicBezTo>
                    <a:pt x="2845" y="7144"/>
                    <a:pt x="2845" y="6956"/>
                    <a:pt x="2892" y="6936"/>
                  </a:cubicBezTo>
                  <a:cubicBezTo>
                    <a:pt x="2912" y="6936"/>
                    <a:pt x="3025" y="7005"/>
                    <a:pt x="3068" y="7005"/>
                  </a:cubicBezTo>
                  <a:cubicBezTo>
                    <a:pt x="3092" y="7005"/>
                    <a:pt x="3381" y="6886"/>
                    <a:pt x="3358" y="6956"/>
                  </a:cubicBezTo>
                  <a:cubicBezTo>
                    <a:pt x="3291" y="7025"/>
                    <a:pt x="3381" y="7099"/>
                    <a:pt x="3401" y="7169"/>
                  </a:cubicBezTo>
                  <a:cubicBezTo>
                    <a:pt x="3424" y="7259"/>
                    <a:pt x="3448" y="7467"/>
                    <a:pt x="3604" y="7467"/>
                  </a:cubicBezTo>
                  <a:cubicBezTo>
                    <a:pt x="3737" y="7492"/>
                    <a:pt x="3823" y="7353"/>
                    <a:pt x="3980" y="7353"/>
                  </a:cubicBezTo>
                  <a:cubicBezTo>
                    <a:pt x="4113" y="7422"/>
                    <a:pt x="4113" y="7422"/>
                    <a:pt x="4113" y="7422"/>
                  </a:cubicBezTo>
                  <a:cubicBezTo>
                    <a:pt x="4226" y="7467"/>
                    <a:pt x="4269" y="7353"/>
                    <a:pt x="4336" y="7308"/>
                  </a:cubicBezTo>
                  <a:cubicBezTo>
                    <a:pt x="4402" y="7238"/>
                    <a:pt x="4492" y="7214"/>
                    <a:pt x="4559" y="7144"/>
                  </a:cubicBezTo>
                  <a:cubicBezTo>
                    <a:pt x="4625" y="7075"/>
                    <a:pt x="4915" y="6842"/>
                    <a:pt x="4915" y="6747"/>
                  </a:cubicBezTo>
                  <a:cubicBezTo>
                    <a:pt x="4915" y="6584"/>
                    <a:pt x="5048" y="6797"/>
                    <a:pt x="5048" y="6842"/>
                  </a:cubicBezTo>
                  <a:cubicBezTo>
                    <a:pt x="5048" y="7005"/>
                    <a:pt x="5091" y="7238"/>
                    <a:pt x="5181" y="7353"/>
                  </a:cubicBezTo>
                  <a:cubicBezTo>
                    <a:pt x="5271" y="7492"/>
                    <a:pt x="5557" y="6956"/>
                    <a:pt x="5627" y="6936"/>
                  </a:cubicBezTo>
                  <a:cubicBezTo>
                    <a:pt x="5870" y="6936"/>
                    <a:pt x="6093" y="7120"/>
                    <a:pt x="6359" y="7099"/>
                  </a:cubicBezTo>
                  <a:cubicBezTo>
                    <a:pt x="6402" y="7099"/>
                    <a:pt x="6535" y="7075"/>
                    <a:pt x="6535" y="7099"/>
                  </a:cubicBezTo>
                  <a:cubicBezTo>
                    <a:pt x="6558" y="7099"/>
                    <a:pt x="6668" y="7308"/>
                    <a:pt x="6781" y="7328"/>
                  </a:cubicBezTo>
                  <a:cubicBezTo>
                    <a:pt x="6891" y="7353"/>
                    <a:pt x="6981" y="7467"/>
                    <a:pt x="7047" y="7447"/>
                  </a:cubicBezTo>
                  <a:cubicBezTo>
                    <a:pt x="7247" y="7398"/>
                    <a:pt x="7470" y="7700"/>
                    <a:pt x="7626" y="7655"/>
                  </a:cubicBezTo>
                  <a:cubicBezTo>
                    <a:pt x="7716" y="7606"/>
                    <a:pt x="7802" y="7978"/>
                    <a:pt x="8025" y="7839"/>
                  </a:cubicBezTo>
                  <a:cubicBezTo>
                    <a:pt x="8182" y="7770"/>
                    <a:pt x="8354" y="7909"/>
                    <a:pt x="8510" y="7978"/>
                  </a:cubicBezTo>
                  <a:cubicBezTo>
                    <a:pt x="8577" y="8097"/>
                    <a:pt x="8667" y="8142"/>
                    <a:pt x="8557" y="8281"/>
                  </a:cubicBezTo>
                  <a:cubicBezTo>
                    <a:pt x="8487" y="8399"/>
                    <a:pt x="8487" y="8444"/>
                    <a:pt x="8354" y="8538"/>
                  </a:cubicBezTo>
                  <a:cubicBezTo>
                    <a:pt x="8182" y="8677"/>
                    <a:pt x="8025" y="8771"/>
                    <a:pt x="7916" y="8980"/>
                  </a:cubicBezTo>
                  <a:cubicBezTo>
                    <a:pt x="7869" y="9000"/>
                    <a:pt x="7916" y="9070"/>
                    <a:pt x="7849" y="9070"/>
                  </a:cubicBezTo>
                  <a:cubicBezTo>
                    <a:pt x="7783" y="9070"/>
                    <a:pt x="7716" y="9000"/>
                    <a:pt x="7646" y="9025"/>
                  </a:cubicBezTo>
                  <a:cubicBezTo>
                    <a:pt x="7583" y="9070"/>
                    <a:pt x="7493" y="9164"/>
                    <a:pt x="7427" y="9164"/>
                  </a:cubicBezTo>
                  <a:cubicBezTo>
                    <a:pt x="7337" y="9164"/>
                    <a:pt x="7427" y="9372"/>
                    <a:pt x="7446" y="9421"/>
                  </a:cubicBezTo>
                  <a:cubicBezTo>
                    <a:pt x="7583" y="9724"/>
                    <a:pt x="7869" y="9233"/>
                    <a:pt x="8002" y="9143"/>
                  </a:cubicBezTo>
                  <a:cubicBezTo>
                    <a:pt x="8158" y="9049"/>
                    <a:pt x="8377" y="9025"/>
                    <a:pt x="8487" y="8955"/>
                  </a:cubicBezTo>
                  <a:cubicBezTo>
                    <a:pt x="8534" y="8910"/>
                    <a:pt x="8577" y="8792"/>
                    <a:pt x="8643" y="8747"/>
                  </a:cubicBezTo>
                  <a:cubicBezTo>
                    <a:pt x="8800" y="8563"/>
                    <a:pt x="8976" y="8677"/>
                    <a:pt x="9156" y="8489"/>
                  </a:cubicBezTo>
                  <a:cubicBezTo>
                    <a:pt x="9289" y="8469"/>
                    <a:pt x="9445" y="8469"/>
                    <a:pt x="9621" y="8469"/>
                  </a:cubicBezTo>
                  <a:cubicBezTo>
                    <a:pt x="9645" y="8469"/>
                    <a:pt x="9668" y="8469"/>
                    <a:pt x="9711" y="8469"/>
                  </a:cubicBezTo>
                  <a:cubicBezTo>
                    <a:pt x="9735" y="8444"/>
                    <a:pt x="9735" y="8444"/>
                    <a:pt x="9735" y="8444"/>
                  </a:cubicBezTo>
                  <a:cubicBezTo>
                    <a:pt x="9735" y="8375"/>
                    <a:pt x="9754" y="8330"/>
                    <a:pt x="9754" y="8260"/>
                  </a:cubicBezTo>
                  <a:cubicBezTo>
                    <a:pt x="9754" y="8211"/>
                    <a:pt x="9821" y="8191"/>
                    <a:pt x="9868" y="8191"/>
                  </a:cubicBezTo>
                  <a:cubicBezTo>
                    <a:pt x="10001" y="8166"/>
                    <a:pt x="10044" y="8330"/>
                    <a:pt x="10091" y="8420"/>
                  </a:cubicBezTo>
                  <a:cubicBezTo>
                    <a:pt x="10244" y="8399"/>
                    <a:pt x="10400" y="8375"/>
                    <a:pt x="10576" y="8375"/>
                  </a:cubicBezTo>
                  <a:cubicBezTo>
                    <a:pt x="11245" y="8375"/>
                    <a:pt x="11046" y="8003"/>
                    <a:pt x="11222" y="7655"/>
                  </a:cubicBezTo>
                  <a:cubicBezTo>
                    <a:pt x="11136" y="7422"/>
                    <a:pt x="11136" y="7422"/>
                    <a:pt x="11136" y="7422"/>
                  </a:cubicBezTo>
                  <a:cubicBezTo>
                    <a:pt x="11136" y="7283"/>
                    <a:pt x="11089" y="7099"/>
                    <a:pt x="11022" y="6956"/>
                  </a:cubicBezTo>
                  <a:cubicBezTo>
                    <a:pt x="10932" y="6842"/>
                    <a:pt x="10733" y="7120"/>
                    <a:pt x="10690" y="7189"/>
                  </a:cubicBezTo>
                  <a:cubicBezTo>
                    <a:pt x="10646" y="7259"/>
                    <a:pt x="10576" y="7075"/>
                    <a:pt x="10600" y="7050"/>
                  </a:cubicBezTo>
                  <a:cubicBezTo>
                    <a:pt x="10600" y="7025"/>
                    <a:pt x="10646" y="6981"/>
                    <a:pt x="10646" y="6936"/>
                  </a:cubicBezTo>
                  <a:cubicBezTo>
                    <a:pt x="10646" y="6886"/>
                    <a:pt x="10646" y="6817"/>
                    <a:pt x="10666" y="6772"/>
                  </a:cubicBezTo>
                  <a:cubicBezTo>
                    <a:pt x="10690" y="6633"/>
                    <a:pt x="10846" y="6469"/>
                    <a:pt x="10799" y="6330"/>
                  </a:cubicBezTo>
                  <a:cubicBezTo>
                    <a:pt x="10756" y="6236"/>
                    <a:pt x="10866" y="6167"/>
                    <a:pt x="10889" y="6097"/>
                  </a:cubicBezTo>
                  <a:cubicBezTo>
                    <a:pt x="10889" y="6052"/>
                    <a:pt x="10823" y="5913"/>
                    <a:pt x="10780" y="5889"/>
                  </a:cubicBezTo>
                  <a:cubicBezTo>
                    <a:pt x="10690" y="5819"/>
                    <a:pt x="10576" y="5889"/>
                    <a:pt x="10576" y="5725"/>
                  </a:cubicBezTo>
                  <a:cubicBezTo>
                    <a:pt x="10576" y="5541"/>
                    <a:pt x="10557" y="5402"/>
                    <a:pt x="10423" y="5284"/>
                  </a:cubicBezTo>
                  <a:cubicBezTo>
                    <a:pt x="10310" y="5194"/>
                    <a:pt x="10134" y="5239"/>
                    <a:pt x="10134" y="5075"/>
                  </a:cubicBezTo>
                  <a:cubicBezTo>
                    <a:pt x="10134" y="4936"/>
                    <a:pt x="10067" y="4985"/>
                    <a:pt x="10001" y="4912"/>
                  </a:cubicBezTo>
                  <a:cubicBezTo>
                    <a:pt x="9868" y="4822"/>
                    <a:pt x="10001" y="4634"/>
                    <a:pt x="9954" y="4519"/>
                  </a:cubicBezTo>
                  <a:cubicBezTo>
                    <a:pt x="9954" y="4450"/>
                    <a:pt x="9821" y="4544"/>
                    <a:pt x="9778" y="4474"/>
                  </a:cubicBezTo>
                  <a:cubicBezTo>
                    <a:pt x="9735" y="4405"/>
                    <a:pt x="9778" y="4262"/>
                    <a:pt x="9688" y="4262"/>
                  </a:cubicBezTo>
                  <a:cubicBezTo>
                    <a:pt x="9578" y="4262"/>
                    <a:pt x="9465" y="4380"/>
                    <a:pt x="9379" y="4286"/>
                  </a:cubicBezTo>
                  <a:cubicBezTo>
                    <a:pt x="9289" y="4192"/>
                    <a:pt x="9355" y="4053"/>
                    <a:pt x="9379" y="3939"/>
                  </a:cubicBezTo>
                  <a:cubicBezTo>
                    <a:pt x="9379" y="3869"/>
                    <a:pt x="9398" y="3661"/>
                    <a:pt x="9332" y="3636"/>
                  </a:cubicBezTo>
                  <a:cubicBezTo>
                    <a:pt x="9265" y="3612"/>
                    <a:pt x="9089" y="3636"/>
                    <a:pt x="9113" y="3542"/>
                  </a:cubicBezTo>
                  <a:cubicBezTo>
                    <a:pt x="9199" y="3383"/>
                    <a:pt x="9222" y="3239"/>
                    <a:pt x="9289" y="3055"/>
                  </a:cubicBezTo>
                  <a:cubicBezTo>
                    <a:pt x="9312" y="2941"/>
                    <a:pt x="9488" y="2961"/>
                    <a:pt x="9355" y="2822"/>
                  </a:cubicBezTo>
                  <a:cubicBezTo>
                    <a:pt x="9289" y="2732"/>
                    <a:pt x="9355" y="2753"/>
                    <a:pt x="9379" y="2683"/>
                  </a:cubicBezTo>
                  <a:cubicBezTo>
                    <a:pt x="9422" y="2614"/>
                    <a:pt x="9422" y="2520"/>
                    <a:pt x="9445" y="2430"/>
                  </a:cubicBezTo>
                  <a:cubicBezTo>
                    <a:pt x="9488" y="2311"/>
                    <a:pt x="9535" y="2217"/>
                    <a:pt x="9578" y="2103"/>
                  </a:cubicBezTo>
                  <a:cubicBezTo>
                    <a:pt x="9578" y="1988"/>
                    <a:pt x="9445" y="1964"/>
                    <a:pt x="9422" y="1870"/>
                  </a:cubicBezTo>
                  <a:cubicBezTo>
                    <a:pt x="9379" y="1800"/>
                    <a:pt x="9465" y="1686"/>
                    <a:pt x="9465" y="1616"/>
                  </a:cubicBezTo>
                  <a:cubicBezTo>
                    <a:pt x="9398" y="1592"/>
                    <a:pt x="9199" y="1616"/>
                    <a:pt x="9175" y="1498"/>
                  </a:cubicBezTo>
                  <a:cubicBezTo>
                    <a:pt x="9156" y="1408"/>
                    <a:pt x="9132" y="1289"/>
                    <a:pt x="9023" y="1269"/>
                  </a:cubicBezTo>
                  <a:cubicBezTo>
                    <a:pt x="8933" y="1220"/>
                    <a:pt x="8933" y="1175"/>
                    <a:pt x="8933" y="1081"/>
                  </a:cubicBezTo>
                </a:path>
              </a:pathLst>
            </a:custGeom>
            <a:grpFill/>
            <a:ln w="3175" cap="flat" cmpd="sng">
              <a:noFill/>
              <a:prstDash val="solid"/>
              <a:bevel/>
              <a:headEnd type="none" w="sm" len="sm"/>
              <a:tailEnd type="none" w="sm" len="sm"/>
            </a:ln>
          </p:spPr>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C2C2C"/>
                </a:solidFill>
                <a:effectLst/>
                <a:uLnTx/>
                <a:uFillTx/>
                <a:latin typeface="Open Sans"/>
                <a:ea typeface="Open Sans"/>
                <a:cs typeface="Open Sans"/>
                <a:sym typeface="Open Sans"/>
              </a:endParaRPr>
            </a:p>
          </p:txBody>
        </p:sp>
        <p:sp>
          <p:nvSpPr>
            <p:cNvPr id="20" name="Google Shape;11989;p276" descr="Freeform 160">
              <a:extLst>
                <a:ext uri="{FF2B5EF4-FFF2-40B4-BE49-F238E27FC236}">
                  <a16:creationId xmlns:a16="http://schemas.microsoft.com/office/drawing/2014/main" id="{FCEB77CD-C3A0-1D1C-96B4-EF701C48B959}"/>
                </a:ext>
              </a:extLst>
            </p:cNvPr>
            <p:cNvSpPr/>
            <p:nvPr/>
          </p:nvSpPr>
          <p:spPr>
            <a:xfrm>
              <a:off x="3514882" y="1400275"/>
              <a:ext cx="701821" cy="1320354"/>
            </a:xfrm>
            <a:custGeom>
              <a:avLst/>
              <a:gdLst/>
              <a:ahLst/>
              <a:cxnLst/>
              <a:rect l="l" t="t" r="r" b="b"/>
              <a:pathLst>
                <a:path w="21469" h="21600" extrusionOk="0">
                  <a:moveTo>
                    <a:pt x="8068" y="21600"/>
                  </a:moveTo>
                  <a:cubicBezTo>
                    <a:pt x="8068" y="21521"/>
                    <a:pt x="8068" y="21443"/>
                    <a:pt x="8120" y="21387"/>
                  </a:cubicBezTo>
                  <a:cubicBezTo>
                    <a:pt x="8163" y="21152"/>
                    <a:pt x="8561" y="20888"/>
                    <a:pt x="8803" y="20681"/>
                  </a:cubicBezTo>
                  <a:cubicBezTo>
                    <a:pt x="8950" y="20602"/>
                    <a:pt x="9148" y="20523"/>
                    <a:pt x="9243" y="20417"/>
                  </a:cubicBezTo>
                  <a:cubicBezTo>
                    <a:pt x="9295" y="20311"/>
                    <a:pt x="9295" y="20075"/>
                    <a:pt x="9295" y="19969"/>
                  </a:cubicBezTo>
                  <a:cubicBezTo>
                    <a:pt x="9243" y="19761"/>
                    <a:pt x="9295" y="19156"/>
                    <a:pt x="9684" y="19077"/>
                  </a:cubicBezTo>
                  <a:cubicBezTo>
                    <a:pt x="9935" y="18999"/>
                    <a:pt x="10375" y="19156"/>
                    <a:pt x="10669" y="18999"/>
                  </a:cubicBezTo>
                  <a:cubicBezTo>
                    <a:pt x="10963" y="18814"/>
                    <a:pt x="10470" y="18421"/>
                    <a:pt x="10669" y="18186"/>
                  </a:cubicBezTo>
                  <a:cubicBezTo>
                    <a:pt x="10773" y="18056"/>
                    <a:pt x="11015" y="17922"/>
                    <a:pt x="11257" y="17871"/>
                  </a:cubicBezTo>
                  <a:cubicBezTo>
                    <a:pt x="11455" y="17793"/>
                    <a:pt x="11602" y="17871"/>
                    <a:pt x="11844" y="17871"/>
                  </a:cubicBezTo>
                  <a:cubicBezTo>
                    <a:pt x="11844" y="17844"/>
                    <a:pt x="11801" y="17714"/>
                    <a:pt x="11801" y="17687"/>
                  </a:cubicBezTo>
                  <a:cubicBezTo>
                    <a:pt x="11801" y="17580"/>
                    <a:pt x="11948" y="17423"/>
                    <a:pt x="12043" y="17372"/>
                  </a:cubicBezTo>
                  <a:cubicBezTo>
                    <a:pt x="12440" y="17031"/>
                    <a:pt x="13071" y="16873"/>
                    <a:pt x="13762" y="16767"/>
                  </a:cubicBezTo>
                  <a:cubicBezTo>
                    <a:pt x="14108" y="16716"/>
                    <a:pt x="14445" y="16559"/>
                    <a:pt x="14790" y="16587"/>
                  </a:cubicBezTo>
                  <a:cubicBezTo>
                    <a:pt x="15136" y="16610"/>
                    <a:pt x="15231" y="16638"/>
                    <a:pt x="15481" y="16481"/>
                  </a:cubicBezTo>
                  <a:cubicBezTo>
                    <a:pt x="15680" y="16374"/>
                    <a:pt x="15378" y="16347"/>
                    <a:pt x="15481" y="16217"/>
                  </a:cubicBezTo>
                  <a:cubicBezTo>
                    <a:pt x="15533" y="16139"/>
                    <a:pt x="15922" y="15797"/>
                    <a:pt x="16164" y="15848"/>
                  </a:cubicBezTo>
                  <a:cubicBezTo>
                    <a:pt x="16311" y="15875"/>
                    <a:pt x="16657" y="15746"/>
                    <a:pt x="16708" y="15797"/>
                  </a:cubicBezTo>
                  <a:lnTo>
                    <a:pt x="16760" y="15848"/>
                  </a:lnTo>
                  <a:cubicBezTo>
                    <a:pt x="16950" y="15848"/>
                    <a:pt x="17002" y="15612"/>
                    <a:pt x="17296" y="15510"/>
                  </a:cubicBezTo>
                  <a:cubicBezTo>
                    <a:pt x="17443" y="15483"/>
                    <a:pt x="17641" y="15510"/>
                    <a:pt x="17737" y="15483"/>
                  </a:cubicBezTo>
                  <a:cubicBezTo>
                    <a:pt x="17987" y="15376"/>
                    <a:pt x="17883" y="15270"/>
                    <a:pt x="18229" y="15192"/>
                  </a:cubicBezTo>
                  <a:cubicBezTo>
                    <a:pt x="19015" y="14984"/>
                    <a:pt x="18376" y="14984"/>
                    <a:pt x="18030" y="14748"/>
                  </a:cubicBezTo>
                  <a:cubicBezTo>
                    <a:pt x="17883" y="14670"/>
                    <a:pt x="18229" y="14670"/>
                    <a:pt x="18229" y="14591"/>
                  </a:cubicBezTo>
                  <a:cubicBezTo>
                    <a:pt x="18229" y="14563"/>
                    <a:pt x="17935" y="14512"/>
                    <a:pt x="17883" y="14485"/>
                  </a:cubicBezTo>
                  <a:cubicBezTo>
                    <a:pt x="17296" y="14300"/>
                    <a:pt x="17002" y="14249"/>
                    <a:pt x="16363" y="14171"/>
                  </a:cubicBezTo>
                  <a:cubicBezTo>
                    <a:pt x="15680" y="14115"/>
                    <a:pt x="15378" y="13778"/>
                    <a:pt x="14937" y="13542"/>
                  </a:cubicBezTo>
                  <a:cubicBezTo>
                    <a:pt x="14695" y="13302"/>
                    <a:pt x="12976" y="11967"/>
                    <a:pt x="13857" y="11833"/>
                  </a:cubicBezTo>
                  <a:cubicBezTo>
                    <a:pt x="13909" y="11731"/>
                    <a:pt x="13321" y="11204"/>
                    <a:pt x="13218" y="11047"/>
                  </a:cubicBezTo>
                  <a:cubicBezTo>
                    <a:pt x="12976" y="10835"/>
                    <a:pt x="12829" y="10599"/>
                    <a:pt x="12682" y="10391"/>
                  </a:cubicBezTo>
                  <a:cubicBezTo>
                    <a:pt x="12535" y="10206"/>
                    <a:pt x="12630" y="10128"/>
                    <a:pt x="12777" y="9998"/>
                  </a:cubicBezTo>
                  <a:cubicBezTo>
                    <a:pt x="12881" y="9915"/>
                    <a:pt x="12734" y="9758"/>
                    <a:pt x="12734" y="9680"/>
                  </a:cubicBezTo>
                  <a:cubicBezTo>
                    <a:pt x="12682" y="9499"/>
                    <a:pt x="12777" y="9342"/>
                    <a:pt x="12976" y="9181"/>
                  </a:cubicBezTo>
                  <a:cubicBezTo>
                    <a:pt x="13175" y="9056"/>
                    <a:pt x="13175" y="8792"/>
                    <a:pt x="13373" y="8691"/>
                  </a:cubicBezTo>
                  <a:cubicBezTo>
                    <a:pt x="13468" y="8451"/>
                    <a:pt x="13857" y="8557"/>
                    <a:pt x="13961" y="8321"/>
                  </a:cubicBezTo>
                  <a:cubicBezTo>
                    <a:pt x="14108" y="7928"/>
                    <a:pt x="14401" y="7536"/>
                    <a:pt x="14894" y="7194"/>
                  </a:cubicBezTo>
                  <a:cubicBezTo>
                    <a:pt x="15283" y="6930"/>
                    <a:pt x="16017" y="6589"/>
                    <a:pt x="16164" y="6274"/>
                  </a:cubicBezTo>
                  <a:cubicBezTo>
                    <a:pt x="16164" y="6247"/>
                    <a:pt x="16164" y="6168"/>
                    <a:pt x="16164" y="6117"/>
                  </a:cubicBezTo>
                  <a:cubicBezTo>
                    <a:pt x="16216" y="6117"/>
                    <a:pt x="16216" y="6117"/>
                    <a:pt x="16216" y="6117"/>
                  </a:cubicBezTo>
                  <a:cubicBezTo>
                    <a:pt x="16561" y="6090"/>
                    <a:pt x="16510" y="5803"/>
                    <a:pt x="16657" y="5618"/>
                  </a:cubicBezTo>
                  <a:cubicBezTo>
                    <a:pt x="16760" y="5461"/>
                    <a:pt x="17097" y="5484"/>
                    <a:pt x="17348" y="5383"/>
                  </a:cubicBezTo>
                  <a:cubicBezTo>
                    <a:pt x="17788" y="5198"/>
                    <a:pt x="17737" y="4805"/>
                    <a:pt x="17987" y="4542"/>
                  </a:cubicBezTo>
                  <a:cubicBezTo>
                    <a:pt x="18082" y="4436"/>
                    <a:pt x="18324" y="4408"/>
                    <a:pt x="18523" y="4385"/>
                  </a:cubicBezTo>
                  <a:cubicBezTo>
                    <a:pt x="18920" y="4329"/>
                    <a:pt x="18868" y="4251"/>
                    <a:pt x="19015" y="4071"/>
                  </a:cubicBezTo>
                  <a:cubicBezTo>
                    <a:pt x="19508" y="3752"/>
                    <a:pt x="20095" y="3493"/>
                    <a:pt x="20389" y="3096"/>
                  </a:cubicBezTo>
                  <a:cubicBezTo>
                    <a:pt x="20683" y="2675"/>
                    <a:pt x="21123" y="2389"/>
                    <a:pt x="21469" y="1996"/>
                  </a:cubicBezTo>
                  <a:cubicBezTo>
                    <a:pt x="20881" y="1862"/>
                    <a:pt x="20881" y="1862"/>
                    <a:pt x="20881" y="1862"/>
                  </a:cubicBezTo>
                  <a:cubicBezTo>
                    <a:pt x="20588" y="1783"/>
                    <a:pt x="20735" y="1783"/>
                    <a:pt x="20683" y="1626"/>
                  </a:cubicBezTo>
                  <a:cubicBezTo>
                    <a:pt x="20683" y="1576"/>
                    <a:pt x="20484" y="1418"/>
                    <a:pt x="20441" y="1391"/>
                  </a:cubicBezTo>
                  <a:cubicBezTo>
                    <a:pt x="20242" y="1284"/>
                    <a:pt x="19750" y="1391"/>
                    <a:pt x="19508" y="1312"/>
                  </a:cubicBezTo>
                  <a:cubicBezTo>
                    <a:pt x="19214" y="1234"/>
                    <a:pt x="19067" y="1206"/>
                    <a:pt x="18963" y="1026"/>
                  </a:cubicBezTo>
                  <a:cubicBezTo>
                    <a:pt x="18920" y="919"/>
                    <a:pt x="19404" y="656"/>
                    <a:pt x="18868" y="656"/>
                  </a:cubicBezTo>
                  <a:cubicBezTo>
                    <a:pt x="18670" y="656"/>
                    <a:pt x="18575" y="684"/>
                    <a:pt x="18575" y="550"/>
                  </a:cubicBezTo>
                  <a:cubicBezTo>
                    <a:pt x="18575" y="365"/>
                    <a:pt x="18324" y="527"/>
                    <a:pt x="18177" y="471"/>
                  </a:cubicBezTo>
                  <a:cubicBezTo>
                    <a:pt x="17883" y="448"/>
                    <a:pt x="17883" y="448"/>
                    <a:pt x="17883" y="448"/>
                  </a:cubicBezTo>
                  <a:cubicBezTo>
                    <a:pt x="17693" y="499"/>
                    <a:pt x="17693" y="499"/>
                    <a:pt x="17693" y="499"/>
                  </a:cubicBezTo>
                  <a:cubicBezTo>
                    <a:pt x="17590" y="527"/>
                    <a:pt x="17495" y="550"/>
                    <a:pt x="17391" y="527"/>
                  </a:cubicBezTo>
                  <a:cubicBezTo>
                    <a:pt x="17296" y="499"/>
                    <a:pt x="17296" y="471"/>
                    <a:pt x="17201" y="471"/>
                  </a:cubicBezTo>
                  <a:cubicBezTo>
                    <a:pt x="17002" y="499"/>
                    <a:pt x="16855" y="605"/>
                    <a:pt x="16657" y="656"/>
                  </a:cubicBezTo>
                  <a:cubicBezTo>
                    <a:pt x="16657" y="707"/>
                    <a:pt x="16561" y="707"/>
                    <a:pt x="16510" y="707"/>
                  </a:cubicBezTo>
                  <a:cubicBezTo>
                    <a:pt x="16216" y="499"/>
                    <a:pt x="16363" y="448"/>
                    <a:pt x="15723" y="448"/>
                  </a:cubicBezTo>
                  <a:cubicBezTo>
                    <a:pt x="15378" y="448"/>
                    <a:pt x="14747" y="314"/>
                    <a:pt x="14600" y="129"/>
                  </a:cubicBezTo>
                  <a:cubicBezTo>
                    <a:pt x="14548" y="106"/>
                    <a:pt x="14548" y="0"/>
                    <a:pt x="14445" y="0"/>
                  </a:cubicBezTo>
                  <a:cubicBezTo>
                    <a:pt x="14108" y="0"/>
                    <a:pt x="13857" y="106"/>
                    <a:pt x="13762" y="291"/>
                  </a:cubicBezTo>
                  <a:cubicBezTo>
                    <a:pt x="13563" y="550"/>
                    <a:pt x="13667" y="707"/>
                    <a:pt x="13071" y="864"/>
                  </a:cubicBezTo>
                  <a:cubicBezTo>
                    <a:pt x="12682" y="970"/>
                    <a:pt x="12777" y="892"/>
                    <a:pt x="12440" y="841"/>
                  </a:cubicBezTo>
                  <a:cubicBezTo>
                    <a:pt x="12000" y="762"/>
                    <a:pt x="12190" y="1049"/>
                    <a:pt x="12095" y="1155"/>
                  </a:cubicBezTo>
                  <a:cubicBezTo>
                    <a:pt x="11948" y="1312"/>
                    <a:pt x="12682" y="1340"/>
                    <a:pt x="12829" y="1340"/>
                  </a:cubicBezTo>
                  <a:lnTo>
                    <a:pt x="12976" y="1312"/>
                  </a:lnTo>
                  <a:cubicBezTo>
                    <a:pt x="13071" y="1312"/>
                    <a:pt x="12976" y="1576"/>
                    <a:pt x="12976" y="1603"/>
                  </a:cubicBezTo>
                  <a:cubicBezTo>
                    <a:pt x="12976" y="1682"/>
                    <a:pt x="12924" y="2047"/>
                    <a:pt x="12976" y="2075"/>
                  </a:cubicBezTo>
                  <a:cubicBezTo>
                    <a:pt x="13175" y="2102"/>
                    <a:pt x="13321" y="2259"/>
                    <a:pt x="13123" y="2338"/>
                  </a:cubicBezTo>
                  <a:cubicBezTo>
                    <a:pt x="12976" y="2416"/>
                    <a:pt x="12734" y="2389"/>
                    <a:pt x="12630" y="2440"/>
                  </a:cubicBezTo>
                  <a:cubicBezTo>
                    <a:pt x="12388" y="2574"/>
                    <a:pt x="12587" y="2652"/>
                    <a:pt x="12682" y="2758"/>
                  </a:cubicBezTo>
                  <a:cubicBezTo>
                    <a:pt x="12734" y="2837"/>
                    <a:pt x="13175" y="3045"/>
                    <a:pt x="13123" y="3096"/>
                  </a:cubicBezTo>
                  <a:cubicBezTo>
                    <a:pt x="13123" y="3123"/>
                    <a:pt x="12777" y="3230"/>
                    <a:pt x="12682" y="3253"/>
                  </a:cubicBezTo>
                  <a:cubicBezTo>
                    <a:pt x="12440" y="3387"/>
                    <a:pt x="12388" y="3516"/>
                    <a:pt x="12043" y="3572"/>
                  </a:cubicBezTo>
                  <a:cubicBezTo>
                    <a:pt x="11801" y="3622"/>
                    <a:pt x="12043" y="3779"/>
                    <a:pt x="12043" y="3858"/>
                  </a:cubicBezTo>
                  <a:cubicBezTo>
                    <a:pt x="12043" y="4043"/>
                    <a:pt x="10963" y="4172"/>
                    <a:pt x="10721" y="4121"/>
                  </a:cubicBezTo>
                  <a:cubicBezTo>
                    <a:pt x="10617" y="4094"/>
                    <a:pt x="10470" y="4015"/>
                    <a:pt x="10375" y="4015"/>
                  </a:cubicBezTo>
                  <a:cubicBezTo>
                    <a:pt x="10228" y="4172"/>
                    <a:pt x="10177" y="4385"/>
                    <a:pt x="10081" y="4565"/>
                  </a:cubicBezTo>
                  <a:cubicBezTo>
                    <a:pt x="9986" y="4805"/>
                    <a:pt x="9788" y="4856"/>
                    <a:pt x="9537" y="5041"/>
                  </a:cubicBezTo>
                  <a:cubicBezTo>
                    <a:pt x="9390" y="5170"/>
                    <a:pt x="9589" y="5249"/>
                    <a:pt x="9589" y="5355"/>
                  </a:cubicBezTo>
                  <a:cubicBezTo>
                    <a:pt x="9494" y="5355"/>
                    <a:pt x="9390" y="5355"/>
                    <a:pt x="9243" y="5355"/>
                  </a:cubicBezTo>
                  <a:cubicBezTo>
                    <a:pt x="8855" y="5646"/>
                    <a:pt x="8310" y="5461"/>
                    <a:pt x="8017" y="5720"/>
                  </a:cubicBezTo>
                  <a:cubicBezTo>
                    <a:pt x="7775" y="5932"/>
                    <a:pt x="7230" y="5960"/>
                    <a:pt x="7187" y="6117"/>
                  </a:cubicBezTo>
                  <a:cubicBezTo>
                    <a:pt x="7135" y="6247"/>
                    <a:pt x="7230" y="6510"/>
                    <a:pt x="7377" y="6589"/>
                  </a:cubicBezTo>
                  <a:cubicBezTo>
                    <a:pt x="7429" y="6616"/>
                    <a:pt x="7680" y="6718"/>
                    <a:pt x="7628" y="6746"/>
                  </a:cubicBezTo>
                  <a:cubicBezTo>
                    <a:pt x="7628" y="6746"/>
                    <a:pt x="7680" y="6746"/>
                    <a:pt x="7628" y="6746"/>
                  </a:cubicBezTo>
                  <a:cubicBezTo>
                    <a:pt x="7628" y="6773"/>
                    <a:pt x="7282" y="6824"/>
                    <a:pt x="7230" y="6852"/>
                  </a:cubicBezTo>
                  <a:cubicBezTo>
                    <a:pt x="7135" y="6903"/>
                    <a:pt x="6937" y="7009"/>
                    <a:pt x="6790" y="7009"/>
                  </a:cubicBezTo>
                  <a:cubicBezTo>
                    <a:pt x="6790" y="6958"/>
                    <a:pt x="6548" y="6852"/>
                    <a:pt x="6453" y="6801"/>
                  </a:cubicBezTo>
                  <a:cubicBezTo>
                    <a:pt x="6401" y="6746"/>
                    <a:pt x="6548" y="6616"/>
                    <a:pt x="6453" y="6561"/>
                  </a:cubicBezTo>
                  <a:cubicBezTo>
                    <a:pt x="6453" y="6459"/>
                    <a:pt x="6548" y="6302"/>
                    <a:pt x="6349" y="6196"/>
                  </a:cubicBezTo>
                  <a:cubicBezTo>
                    <a:pt x="6202" y="6117"/>
                    <a:pt x="5710" y="6117"/>
                    <a:pt x="5666" y="6011"/>
                  </a:cubicBezTo>
                  <a:cubicBezTo>
                    <a:pt x="5416" y="5983"/>
                    <a:pt x="5269" y="6062"/>
                    <a:pt x="4975" y="6039"/>
                  </a:cubicBezTo>
                  <a:cubicBezTo>
                    <a:pt x="4923" y="5932"/>
                    <a:pt x="4535" y="6062"/>
                    <a:pt x="4431" y="6090"/>
                  </a:cubicBezTo>
                  <a:cubicBezTo>
                    <a:pt x="3990" y="6062"/>
                    <a:pt x="3990" y="6062"/>
                    <a:pt x="3990" y="6062"/>
                  </a:cubicBezTo>
                  <a:cubicBezTo>
                    <a:pt x="3843" y="6196"/>
                    <a:pt x="3308" y="6168"/>
                    <a:pt x="3256" y="6325"/>
                  </a:cubicBezTo>
                  <a:cubicBezTo>
                    <a:pt x="3256" y="6381"/>
                    <a:pt x="3308" y="6431"/>
                    <a:pt x="3360" y="6482"/>
                  </a:cubicBezTo>
                  <a:cubicBezTo>
                    <a:pt x="3550" y="6718"/>
                    <a:pt x="3256" y="6958"/>
                    <a:pt x="3256" y="7166"/>
                  </a:cubicBezTo>
                  <a:cubicBezTo>
                    <a:pt x="3256" y="7402"/>
                    <a:pt x="2617" y="7587"/>
                    <a:pt x="2617" y="7822"/>
                  </a:cubicBezTo>
                  <a:cubicBezTo>
                    <a:pt x="2815" y="8136"/>
                    <a:pt x="2521" y="8400"/>
                    <a:pt x="1882" y="8215"/>
                  </a:cubicBezTo>
                  <a:cubicBezTo>
                    <a:pt x="1148" y="7979"/>
                    <a:pt x="949" y="8926"/>
                    <a:pt x="413" y="9056"/>
                  </a:cubicBezTo>
                  <a:cubicBezTo>
                    <a:pt x="68" y="9134"/>
                    <a:pt x="215" y="9444"/>
                    <a:pt x="111" y="9601"/>
                  </a:cubicBezTo>
                  <a:cubicBezTo>
                    <a:pt x="-131" y="9998"/>
                    <a:pt x="16" y="9971"/>
                    <a:pt x="603" y="10234"/>
                  </a:cubicBezTo>
                  <a:cubicBezTo>
                    <a:pt x="750" y="10442"/>
                    <a:pt x="707" y="10414"/>
                    <a:pt x="1096" y="10414"/>
                  </a:cubicBezTo>
                  <a:cubicBezTo>
                    <a:pt x="1200" y="10442"/>
                    <a:pt x="1441" y="10599"/>
                    <a:pt x="1588" y="10654"/>
                  </a:cubicBezTo>
                  <a:cubicBezTo>
                    <a:pt x="1882" y="10705"/>
                    <a:pt x="2176" y="10705"/>
                    <a:pt x="2426" y="10733"/>
                  </a:cubicBezTo>
                  <a:cubicBezTo>
                    <a:pt x="2867" y="10812"/>
                    <a:pt x="3161" y="10862"/>
                    <a:pt x="3601" y="10890"/>
                  </a:cubicBezTo>
                  <a:cubicBezTo>
                    <a:pt x="3947" y="10890"/>
                    <a:pt x="3506" y="11648"/>
                    <a:pt x="3506" y="11782"/>
                  </a:cubicBezTo>
                  <a:cubicBezTo>
                    <a:pt x="3506" y="11967"/>
                    <a:pt x="3109" y="12045"/>
                    <a:pt x="3057" y="12202"/>
                  </a:cubicBezTo>
                  <a:cubicBezTo>
                    <a:pt x="3014" y="12253"/>
                    <a:pt x="2962" y="12359"/>
                    <a:pt x="2867" y="12387"/>
                  </a:cubicBezTo>
                  <a:cubicBezTo>
                    <a:pt x="2763" y="12466"/>
                    <a:pt x="2763" y="12567"/>
                    <a:pt x="2720" y="12646"/>
                  </a:cubicBezTo>
                  <a:cubicBezTo>
                    <a:pt x="2815" y="12803"/>
                    <a:pt x="2668" y="12886"/>
                    <a:pt x="3014" y="12960"/>
                  </a:cubicBezTo>
                  <a:cubicBezTo>
                    <a:pt x="3360" y="13043"/>
                    <a:pt x="3506" y="13302"/>
                    <a:pt x="3748" y="13459"/>
                  </a:cubicBezTo>
                  <a:cubicBezTo>
                    <a:pt x="4042" y="13699"/>
                    <a:pt x="3947" y="13644"/>
                    <a:pt x="4483" y="13672"/>
                  </a:cubicBezTo>
                  <a:cubicBezTo>
                    <a:pt x="4681" y="13699"/>
                    <a:pt x="5122" y="13672"/>
                    <a:pt x="5269" y="13621"/>
                  </a:cubicBezTo>
                  <a:cubicBezTo>
                    <a:pt x="5416" y="13565"/>
                    <a:pt x="5908" y="13487"/>
                    <a:pt x="5908" y="13644"/>
                  </a:cubicBezTo>
                  <a:cubicBezTo>
                    <a:pt x="5960" y="13829"/>
                    <a:pt x="6254" y="13907"/>
                    <a:pt x="6254" y="14143"/>
                  </a:cubicBezTo>
                  <a:cubicBezTo>
                    <a:pt x="6254" y="14221"/>
                    <a:pt x="6254" y="14328"/>
                    <a:pt x="6254" y="14406"/>
                  </a:cubicBezTo>
                  <a:cubicBezTo>
                    <a:pt x="6297" y="14536"/>
                    <a:pt x="6496" y="14697"/>
                    <a:pt x="6150" y="14748"/>
                  </a:cubicBezTo>
                  <a:cubicBezTo>
                    <a:pt x="5857" y="14776"/>
                    <a:pt x="5960" y="14854"/>
                    <a:pt x="6055" y="14956"/>
                  </a:cubicBezTo>
                  <a:cubicBezTo>
                    <a:pt x="6254" y="15090"/>
                    <a:pt x="6496" y="15746"/>
                    <a:pt x="5813" y="15668"/>
                  </a:cubicBezTo>
                  <a:cubicBezTo>
                    <a:pt x="5416" y="15691"/>
                    <a:pt x="5416" y="15691"/>
                    <a:pt x="5416" y="15691"/>
                  </a:cubicBezTo>
                  <a:cubicBezTo>
                    <a:pt x="5416" y="15825"/>
                    <a:pt x="5416" y="15825"/>
                    <a:pt x="5416" y="15825"/>
                  </a:cubicBezTo>
                  <a:cubicBezTo>
                    <a:pt x="5364" y="15848"/>
                    <a:pt x="5364" y="15875"/>
                    <a:pt x="5364" y="15931"/>
                  </a:cubicBezTo>
                  <a:cubicBezTo>
                    <a:pt x="5364" y="15982"/>
                    <a:pt x="5416" y="16033"/>
                    <a:pt x="5416" y="16088"/>
                  </a:cubicBezTo>
                  <a:cubicBezTo>
                    <a:pt x="5468" y="16190"/>
                    <a:pt x="5520" y="16374"/>
                    <a:pt x="5364" y="16453"/>
                  </a:cubicBezTo>
                  <a:cubicBezTo>
                    <a:pt x="5321" y="16587"/>
                    <a:pt x="5269" y="16665"/>
                    <a:pt x="5321" y="16795"/>
                  </a:cubicBezTo>
                  <a:cubicBezTo>
                    <a:pt x="5416" y="16901"/>
                    <a:pt x="5027" y="17058"/>
                    <a:pt x="4880" y="17109"/>
                  </a:cubicBezTo>
                  <a:cubicBezTo>
                    <a:pt x="4535" y="17243"/>
                    <a:pt x="4336" y="17871"/>
                    <a:pt x="4733" y="17922"/>
                  </a:cubicBezTo>
                  <a:cubicBezTo>
                    <a:pt x="5122" y="17978"/>
                    <a:pt x="5364" y="17950"/>
                    <a:pt x="5615" y="18158"/>
                  </a:cubicBezTo>
                  <a:cubicBezTo>
                    <a:pt x="6150" y="18735"/>
                    <a:pt x="5122" y="19184"/>
                    <a:pt x="5122" y="19683"/>
                  </a:cubicBezTo>
                  <a:cubicBezTo>
                    <a:pt x="5122" y="19890"/>
                    <a:pt x="5520" y="20024"/>
                    <a:pt x="5710" y="20205"/>
                  </a:cubicBezTo>
                  <a:cubicBezTo>
                    <a:pt x="6107" y="20547"/>
                    <a:pt x="6453" y="21022"/>
                    <a:pt x="7040" y="21286"/>
                  </a:cubicBezTo>
                  <a:cubicBezTo>
                    <a:pt x="7377" y="21443"/>
                    <a:pt x="7680" y="21494"/>
                    <a:pt x="8068" y="21600"/>
                  </a:cubicBezTo>
                  <a:close/>
                  <a:moveTo>
                    <a:pt x="802" y="4805"/>
                  </a:moveTo>
                  <a:cubicBezTo>
                    <a:pt x="1493" y="4856"/>
                    <a:pt x="1493" y="4856"/>
                    <a:pt x="1493" y="4856"/>
                  </a:cubicBezTo>
                  <a:cubicBezTo>
                    <a:pt x="2521" y="4985"/>
                    <a:pt x="1683" y="4385"/>
                    <a:pt x="2375" y="4278"/>
                  </a:cubicBezTo>
                  <a:cubicBezTo>
                    <a:pt x="2426" y="4278"/>
                    <a:pt x="2426" y="4278"/>
                    <a:pt x="2426" y="4278"/>
                  </a:cubicBezTo>
                  <a:cubicBezTo>
                    <a:pt x="2426" y="4408"/>
                    <a:pt x="2426" y="4491"/>
                    <a:pt x="2573" y="4565"/>
                  </a:cubicBezTo>
                  <a:cubicBezTo>
                    <a:pt x="2668" y="4648"/>
                    <a:pt x="2815" y="4671"/>
                    <a:pt x="2867" y="4750"/>
                  </a:cubicBezTo>
                  <a:cubicBezTo>
                    <a:pt x="3014" y="4962"/>
                    <a:pt x="2962" y="5041"/>
                    <a:pt x="3506" y="4985"/>
                  </a:cubicBezTo>
                  <a:cubicBezTo>
                    <a:pt x="3895" y="4962"/>
                    <a:pt x="4535" y="5198"/>
                    <a:pt x="4681" y="5383"/>
                  </a:cubicBezTo>
                  <a:cubicBezTo>
                    <a:pt x="4880" y="5591"/>
                    <a:pt x="4094" y="5748"/>
                    <a:pt x="3800" y="5803"/>
                  </a:cubicBezTo>
                  <a:cubicBezTo>
                    <a:pt x="3308" y="5854"/>
                    <a:pt x="3308" y="5854"/>
                    <a:pt x="3308" y="5854"/>
                  </a:cubicBezTo>
                  <a:cubicBezTo>
                    <a:pt x="2962" y="5905"/>
                    <a:pt x="2720" y="5905"/>
                    <a:pt x="2426" y="5826"/>
                  </a:cubicBezTo>
                  <a:cubicBezTo>
                    <a:pt x="2133" y="5775"/>
                    <a:pt x="1735" y="5803"/>
                    <a:pt x="1537" y="5720"/>
                  </a:cubicBezTo>
                  <a:cubicBezTo>
                    <a:pt x="1390" y="5669"/>
                    <a:pt x="1441" y="5540"/>
                    <a:pt x="1390" y="5461"/>
                  </a:cubicBezTo>
                  <a:cubicBezTo>
                    <a:pt x="1346" y="5355"/>
                    <a:pt x="1001" y="5226"/>
                    <a:pt x="1001" y="5119"/>
                  </a:cubicBezTo>
                  <a:cubicBezTo>
                    <a:pt x="1001" y="5064"/>
                    <a:pt x="1001" y="5041"/>
                    <a:pt x="897" y="5013"/>
                  </a:cubicBezTo>
                  <a:cubicBezTo>
                    <a:pt x="707" y="4935"/>
                    <a:pt x="707" y="4884"/>
                    <a:pt x="802" y="4805"/>
                  </a:cubicBezTo>
                  <a:close/>
                </a:path>
              </a:pathLst>
            </a:custGeom>
            <a:grpFill/>
            <a:ln w="3175" cap="flat" cmpd="sng">
              <a:noFill/>
              <a:prstDash val="solid"/>
              <a:bevel/>
              <a:headEnd type="none" w="sm" len="sm"/>
              <a:tailEnd type="none" w="sm" len="sm"/>
            </a:ln>
          </p:spPr>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C2C2C"/>
                </a:solidFill>
                <a:effectLst/>
                <a:uLnTx/>
                <a:uFillTx/>
                <a:latin typeface="Open Sans"/>
                <a:ea typeface="Open Sans"/>
                <a:cs typeface="Open Sans"/>
                <a:sym typeface="Open Sans"/>
              </a:endParaRPr>
            </a:p>
          </p:txBody>
        </p:sp>
        <p:sp>
          <p:nvSpPr>
            <p:cNvPr id="26" name="Google Shape;11990;p276" descr="Freeform 161">
              <a:extLst>
                <a:ext uri="{FF2B5EF4-FFF2-40B4-BE49-F238E27FC236}">
                  <a16:creationId xmlns:a16="http://schemas.microsoft.com/office/drawing/2014/main" id="{2C798811-9A38-9D2D-96A9-E4A2BDCC79EB}"/>
                </a:ext>
              </a:extLst>
            </p:cNvPr>
            <p:cNvSpPr/>
            <p:nvPr/>
          </p:nvSpPr>
          <p:spPr>
            <a:xfrm>
              <a:off x="1432618" y="1539519"/>
              <a:ext cx="999821" cy="1133576"/>
            </a:xfrm>
            <a:custGeom>
              <a:avLst/>
              <a:gdLst/>
              <a:ahLst/>
              <a:cxnLst/>
              <a:rect l="l" t="t" r="r" b="b"/>
              <a:pathLst>
                <a:path w="21567" h="21367" extrusionOk="0">
                  <a:moveTo>
                    <a:pt x="16439" y="3146"/>
                  </a:moveTo>
                  <a:cubicBezTo>
                    <a:pt x="16195" y="3269"/>
                    <a:pt x="16195" y="3269"/>
                    <a:pt x="16195" y="3269"/>
                  </a:cubicBezTo>
                  <a:cubicBezTo>
                    <a:pt x="16232" y="3359"/>
                    <a:pt x="16165" y="3509"/>
                    <a:pt x="16165" y="3599"/>
                  </a:cubicBezTo>
                  <a:cubicBezTo>
                    <a:pt x="16165" y="3812"/>
                    <a:pt x="16232" y="3961"/>
                    <a:pt x="16195" y="4148"/>
                  </a:cubicBezTo>
                  <a:cubicBezTo>
                    <a:pt x="16165" y="4355"/>
                    <a:pt x="16098" y="4536"/>
                    <a:pt x="16025" y="4723"/>
                  </a:cubicBezTo>
                  <a:cubicBezTo>
                    <a:pt x="15988" y="4781"/>
                    <a:pt x="15854" y="5143"/>
                    <a:pt x="15958" y="5175"/>
                  </a:cubicBezTo>
                  <a:cubicBezTo>
                    <a:pt x="16025" y="5175"/>
                    <a:pt x="16098" y="5143"/>
                    <a:pt x="16195" y="5111"/>
                  </a:cubicBezTo>
                  <a:cubicBezTo>
                    <a:pt x="16305" y="5085"/>
                    <a:pt x="16476" y="5053"/>
                    <a:pt x="16579" y="5111"/>
                  </a:cubicBezTo>
                  <a:cubicBezTo>
                    <a:pt x="16719" y="5175"/>
                    <a:pt x="16616" y="5719"/>
                    <a:pt x="16579" y="5841"/>
                  </a:cubicBezTo>
                  <a:cubicBezTo>
                    <a:pt x="16543" y="6022"/>
                    <a:pt x="16543" y="6022"/>
                    <a:pt x="16543" y="6022"/>
                  </a:cubicBezTo>
                  <a:cubicBezTo>
                    <a:pt x="16786" y="6171"/>
                    <a:pt x="16786" y="6171"/>
                    <a:pt x="16786" y="6171"/>
                  </a:cubicBezTo>
                  <a:cubicBezTo>
                    <a:pt x="17030" y="6139"/>
                    <a:pt x="17030" y="6139"/>
                    <a:pt x="17030" y="6139"/>
                  </a:cubicBezTo>
                  <a:cubicBezTo>
                    <a:pt x="17274" y="5990"/>
                    <a:pt x="17274" y="5990"/>
                    <a:pt x="17274" y="5990"/>
                  </a:cubicBezTo>
                  <a:cubicBezTo>
                    <a:pt x="17512" y="5841"/>
                    <a:pt x="17512" y="5841"/>
                    <a:pt x="17512" y="5841"/>
                  </a:cubicBezTo>
                  <a:cubicBezTo>
                    <a:pt x="17688" y="5809"/>
                    <a:pt x="17688" y="5809"/>
                    <a:pt x="17688" y="5809"/>
                  </a:cubicBezTo>
                  <a:cubicBezTo>
                    <a:pt x="17719" y="6081"/>
                    <a:pt x="17719" y="6081"/>
                    <a:pt x="17719" y="6081"/>
                  </a:cubicBezTo>
                  <a:cubicBezTo>
                    <a:pt x="17719" y="6139"/>
                    <a:pt x="17719" y="6139"/>
                    <a:pt x="17719" y="6139"/>
                  </a:cubicBezTo>
                  <a:cubicBezTo>
                    <a:pt x="17585" y="6171"/>
                    <a:pt x="17828" y="6352"/>
                    <a:pt x="17859" y="6384"/>
                  </a:cubicBezTo>
                  <a:cubicBezTo>
                    <a:pt x="17932" y="6507"/>
                    <a:pt x="17792" y="6869"/>
                    <a:pt x="17755" y="6991"/>
                  </a:cubicBezTo>
                  <a:cubicBezTo>
                    <a:pt x="17755" y="7140"/>
                    <a:pt x="17621" y="7354"/>
                    <a:pt x="17512" y="7471"/>
                  </a:cubicBezTo>
                  <a:cubicBezTo>
                    <a:pt x="17304" y="7657"/>
                    <a:pt x="17548" y="7593"/>
                    <a:pt x="17688" y="7774"/>
                  </a:cubicBezTo>
                  <a:cubicBezTo>
                    <a:pt x="17895" y="7950"/>
                    <a:pt x="18036" y="8285"/>
                    <a:pt x="18310" y="8435"/>
                  </a:cubicBezTo>
                  <a:cubicBezTo>
                    <a:pt x="18450" y="8498"/>
                    <a:pt x="18590" y="8467"/>
                    <a:pt x="18657" y="8589"/>
                  </a:cubicBezTo>
                  <a:cubicBezTo>
                    <a:pt x="18968" y="9010"/>
                    <a:pt x="18968" y="9010"/>
                    <a:pt x="18968" y="9010"/>
                  </a:cubicBezTo>
                  <a:cubicBezTo>
                    <a:pt x="19071" y="9164"/>
                    <a:pt x="19315" y="9191"/>
                    <a:pt x="19486" y="9281"/>
                  </a:cubicBezTo>
                  <a:cubicBezTo>
                    <a:pt x="19900" y="9526"/>
                    <a:pt x="20040" y="9281"/>
                    <a:pt x="20424" y="9255"/>
                  </a:cubicBezTo>
                  <a:cubicBezTo>
                    <a:pt x="20528" y="9223"/>
                    <a:pt x="21186" y="8861"/>
                    <a:pt x="21186" y="8770"/>
                  </a:cubicBezTo>
                  <a:cubicBezTo>
                    <a:pt x="21216" y="8770"/>
                    <a:pt x="21216" y="8770"/>
                    <a:pt x="21216" y="8770"/>
                  </a:cubicBezTo>
                  <a:cubicBezTo>
                    <a:pt x="21216" y="8797"/>
                    <a:pt x="21356" y="8893"/>
                    <a:pt x="21356" y="9010"/>
                  </a:cubicBezTo>
                  <a:cubicBezTo>
                    <a:pt x="21356" y="9255"/>
                    <a:pt x="21216" y="9345"/>
                    <a:pt x="21149" y="9558"/>
                  </a:cubicBezTo>
                  <a:cubicBezTo>
                    <a:pt x="21082" y="9798"/>
                    <a:pt x="21009" y="9888"/>
                    <a:pt x="20698" y="9888"/>
                  </a:cubicBezTo>
                  <a:cubicBezTo>
                    <a:pt x="20698" y="9947"/>
                    <a:pt x="20838" y="10160"/>
                    <a:pt x="20875" y="10282"/>
                  </a:cubicBezTo>
                  <a:cubicBezTo>
                    <a:pt x="20979" y="10554"/>
                    <a:pt x="21149" y="10586"/>
                    <a:pt x="21320" y="10794"/>
                  </a:cubicBezTo>
                  <a:cubicBezTo>
                    <a:pt x="21356" y="10858"/>
                    <a:pt x="21600" y="11129"/>
                    <a:pt x="21563" y="11161"/>
                  </a:cubicBezTo>
                  <a:cubicBezTo>
                    <a:pt x="21533" y="11161"/>
                    <a:pt x="20875" y="11007"/>
                    <a:pt x="20698" y="11007"/>
                  </a:cubicBezTo>
                  <a:cubicBezTo>
                    <a:pt x="20595" y="11007"/>
                    <a:pt x="20320" y="10890"/>
                    <a:pt x="20247" y="10975"/>
                  </a:cubicBezTo>
                  <a:cubicBezTo>
                    <a:pt x="20180" y="11129"/>
                    <a:pt x="20217" y="11188"/>
                    <a:pt x="20040" y="11252"/>
                  </a:cubicBezTo>
                  <a:cubicBezTo>
                    <a:pt x="20010" y="11550"/>
                    <a:pt x="19729" y="11736"/>
                    <a:pt x="20113" y="11944"/>
                  </a:cubicBezTo>
                  <a:cubicBezTo>
                    <a:pt x="20217" y="12008"/>
                    <a:pt x="20217" y="12189"/>
                    <a:pt x="20077" y="12248"/>
                  </a:cubicBezTo>
                  <a:cubicBezTo>
                    <a:pt x="19973" y="12306"/>
                    <a:pt x="19626" y="12248"/>
                    <a:pt x="19589" y="12157"/>
                  </a:cubicBezTo>
                  <a:cubicBezTo>
                    <a:pt x="19486" y="12157"/>
                    <a:pt x="19382" y="12098"/>
                    <a:pt x="19242" y="12098"/>
                  </a:cubicBezTo>
                  <a:cubicBezTo>
                    <a:pt x="19242" y="12157"/>
                    <a:pt x="19352" y="12248"/>
                    <a:pt x="19382" y="12338"/>
                  </a:cubicBezTo>
                  <a:cubicBezTo>
                    <a:pt x="19559" y="12642"/>
                    <a:pt x="19455" y="12913"/>
                    <a:pt x="19937" y="13004"/>
                  </a:cubicBezTo>
                  <a:cubicBezTo>
                    <a:pt x="20387" y="13094"/>
                    <a:pt x="20180" y="13339"/>
                    <a:pt x="20040" y="13552"/>
                  </a:cubicBezTo>
                  <a:cubicBezTo>
                    <a:pt x="19973" y="13611"/>
                    <a:pt x="19900" y="13552"/>
                    <a:pt x="19833" y="13520"/>
                  </a:cubicBezTo>
                  <a:cubicBezTo>
                    <a:pt x="19729" y="13488"/>
                    <a:pt x="19522" y="13520"/>
                    <a:pt x="19455" y="13611"/>
                  </a:cubicBezTo>
                  <a:cubicBezTo>
                    <a:pt x="19352" y="13792"/>
                    <a:pt x="19242" y="14005"/>
                    <a:pt x="19242" y="14213"/>
                  </a:cubicBezTo>
                  <a:cubicBezTo>
                    <a:pt x="19242" y="14458"/>
                    <a:pt x="19242" y="14639"/>
                    <a:pt x="19004" y="14761"/>
                  </a:cubicBezTo>
                  <a:cubicBezTo>
                    <a:pt x="18828" y="14852"/>
                    <a:pt x="18828" y="14852"/>
                    <a:pt x="18828" y="14852"/>
                  </a:cubicBezTo>
                  <a:cubicBezTo>
                    <a:pt x="18517" y="14878"/>
                    <a:pt x="18517" y="14878"/>
                    <a:pt x="18517" y="14878"/>
                  </a:cubicBezTo>
                  <a:cubicBezTo>
                    <a:pt x="18139" y="15091"/>
                    <a:pt x="18206" y="14910"/>
                    <a:pt x="17895" y="14942"/>
                  </a:cubicBezTo>
                  <a:cubicBezTo>
                    <a:pt x="17548" y="15001"/>
                    <a:pt x="17621" y="14878"/>
                    <a:pt x="17621" y="15246"/>
                  </a:cubicBezTo>
                  <a:cubicBezTo>
                    <a:pt x="17621" y="15427"/>
                    <a:pt x="17445" y="15363"/>
                    <a:pt x="17341" y="15427"/>
                  </a:cubicBezTo>
                  <a:cubicBezTo>
                    <a:pt x="17170" y="15485"/>
                    <a:pt x="17030" y="15698"/>
                    <a:pt x="16853" y="15789"/>
                  </a:cubicBezTo>
                  <a:cubicBezTo>
                    <a:pt x="16579" y="15970"/>
                    <a:pt x="16616" y="16119"/>
                    <a:pt x="16269" y="16029"/>
                  </a:cubicBezTo>
                  <a:cubicBezTo>
                    <a:pt x="16128" y="16002"/>
                    <a:pt x="15818" y="16604"/>
                    <a:pt x="15647" y="16694"/>
                  </a:cubicBezTo>
                  <a:cubicBezTo>
                    <a:pt x="15440" y="16817"/>
                    <a:pt x="15470" y="16939"/>
                    <a:pt x="15330" y="17062"/>
                  </a:cubicBezTo>
                  <a:cubicBezTo>
                    <a:pt x="15196" y="17243"/>
                    <a:pt x="14989" y="17030"/>
                    <a:pt x="14812" y="17211"/>
                  </a:cubicBezTo>
                  <a:cubicBezTo>
                    <a:pt x="14709" y="17301"/>
                    <a:pt x="14605" y="17541"/>
                    <a:pt x="14605" y="17664"/>
                  </a:cubicBezTo>
                  <a:cubicBezTo>
                    <a:pt x="14605" y="17754"/>
                    <a:pt x="14709" y="17786"/>
                    <a:pt x="14709" y="17877"/>
                  </a:cubicBezTo>
                  <a:cubicBezTo>
                    <a:pt x="14745" y="17967"/>
                    <a:pt x="14605" y="18180"/>
                    <a:pt x="14709" y="18239"/>
                  </a:cubicBezTo>
                  <a:cubicBezTo>
                    <a:pt x="14782" y="18297"/>
                    <a:pt x="14849" y="18297"/>
                    <a:pt x="14849" y="18420"/>
                  </a:cubicBezTo>
                  <a:cubicBezTo>
                    <a:pt x="14849" y="18633"/>
                    <a:pt x="15056" y="18782"/>
                    <a:pt x="15056" y="19054"/>
                  </a:cubicBezTo>
                  <a:cubicBezTo>
                    <a:pt x="15019" y="19208"/>
                    <a:pt x="14885" y="19267"/>
                    <a:pt x="14885" y="19357"/>
                  </a:cubicBezTo>
                  <a:cubicBezTo>
                    <a:pt x="14885" y="19448"/>
                    <a:pt x="14916" y="19480"/>
                    <a:pt x="14885" y="19570"/>
                  </a:cubicBezTo>
                  <a:cubicBezTo>
                    <a:pt x="14849" y="19629"/>
                    <a:pt x="14642" y="19783"/>
                    <a:pt x="14575" y="19810"/>
                  </a:cubicBezTo>
                  <a:cubicBezTo>
                    <a:pt x="14465" y="19810"/>
                    <a:pt x="14398" y="19810"/>
                    <a:pt x="14294" y="19810"/>
                  </a:cubicBezTo>
                  <a:cubicBezTo>
                    <a:pt x="14087" y="19874"/>
                    <a:pt x="13776" y="20326"/>
                    <a:pt x="13569" y="20236"/>
                  </a:cubicBezTo>
                  <a:cubicBezTo>
                    <a:pt x="13466" y="20177"/>
                    <a:pt x="13289" y="19783"/>
                    <a:pt x="13466" y="19751"/>
                  </a:cubicBezTo>
                  <a:cubicBezTo>
                    <a:pt x="13947" y="19693"/>
                    <a:pt x="13740" y="19117"/>
                    <a:pt x="13155" y="19421"/>
                  </a:cubicBezTo>
                  <a:cubicBezTo>
                    <a:pt x="12948" y="19511"/>
                    <a:pt x="12460" y="19448"/>
                    <a:pt x="12393" y="19719"/>
                  </a:cubicBezTo>
                  <a:cubicBezTo>
                    <a:pt x="12320" y="19874"/>
                    <a:pt x="12113" y="19932"/>
                    <a:pt x="12009" y="20087"/>
                  </a:cubicBezTo>
                  <a:cubicBezTo>
                    <a:pt x="11906" y="20236"/>
                    <a:pt x="12253" y="20326"/>
                    <a:pt x="11973" y="20571"/>
                  </a:cubicBezTo>
                  <a:cubicBezTo>
                    <a:pt x="11766" y="20752"/>
                    <a:pt x="11942" y="20811"/>
                    <a:pt x="11595" y="20933"/>
                  </a:cubicBezTo>
                  <a:cubicBezTo>
                    <a:pt x="11315" y="20992"/>
                    <a:pt x="11004" y="20992"/>
                    <a:pt x="10730" y="21051"/>
                  </a:cubicBezTo>
                  <a:cubicBezTo>
                    <a:pt x="10523" y="21114"/>
                    <a:pt x="10346" y="21296"/>
                    <a:pt x="10175" y="21354"/>
                  </a:cubicBezTo>
                  <a:cubicBezTo>
                    <a:pt x="10035" y="21418"/>
                    <a:pt x="10005" y="21232"/>
                    <a:pt x="9865" y="21232"/>
                  </a:cubicBezTo>
                  <a:cubicBezTo>
                    <a:pt x="9725" y="21232"/>
                    <a:pt x="9658" y="21232"/>
                    <a:pt x="9554" y="21173"/>
                  </a:cubicBezTo>
                  <a:cubicBezTo>
                    <a:pt x="9414" y="21082"/>
                    <a:pt x="9274" y="21141"/>
                    <a:pt x="9134" y="21114"/>
                  </a:cubicBezTo>
                  <a:cubicBezTo>
                    <a:pt x="9036" y="21082"/>
                    <a:pt x="8756" y="20843"/>
                    <a:pt x="8756" y="20752"/>
                  </a:cubicBezTo>
                  <a:cubicBezTo>
                    <a:pt x="8652" y="20385"/>
                    <a:pt x="8549" y="20598"/>
                    <a:pt x="8268" y="20449"/>
                  </a:cubicBezTo>
                  <a:cubicBezTo>
                    <a:pt x="8061" y="20326"/>
                    <a:pt x="8134" y="20449"/>
                    <a:pt x="8061" y="20571"/>
                  </a:cubicBezTo>
                  <a:cubicBezTo>
                    <a:pt x="7927" y="20843"/>
                    <a:pt x="7927" y="20843"/>
                    <a:pt x="7927" y="20843"/>
                  </a:cubicBezTo>
                  <a:cubicBezTo>
                    <a:pt x="7927" y="20869"/>
                    <a:pt x="7513" y="20720"/>
                    <a:pt x="7440" y="20688"/>
                  </a:cubicBezTo>
                  <a:cubicBezTo>
                    <a:pt x="7129" y="20630"/>
                    <a:pt x="7092" y="20779"/>
                    <a:pt x="7092" y="20417"/>
                  </a:cubicBezTo>
                  <a:cubicBezTo>
                    <a:pt x="7092" y="20326"/>
                    <a:pt x="6818" y="20113"/>
                    <a:pt x="6745" y="20087"/>
                  </a:cubicBezTo>
                  <a:cubicBezTo>
                    <a:pt x="6611" y="20055"/>
                    <a:pt x="6404" y="20145"/>
                    <a:pt x="6264" y="20145"/>
                  </a:cubicBezTo>
                  <a:cubicBezTo>
                    <a:pt x="5880" y="20145"/>
                    <a:pt x="5953" y="20204"/>
                    <a:pt x="5709" y="19996"/>
                  </a:cubicBezTo>
                  <a:cubicBezTo>
                    <a:pt x="5606" y="19932"/>
                    <a:pt x="5465" y="20023"/>
                    <a:pt x="5398" y="19964"/>
                  </a:cubicBezTo>
                  <a:cubicBezTo>
                    <a:pt x="5155" y="19719"/>
                    <a:pt x="5849" y="19480"/>
                    <a:pt x="5362" y="19448"/>
                  </a:cubicBezTo>
                  <a:cubicBezTo>
                    <a:pt x="5155" y="19448"/>
                    <a:pt x="4948" y="19421"/>
                    <a:pt x="4807" y="19267"/>
                  </a:cubicBezTo>
                  <a:cubicBezTo>
                    <a:pt x="4497" y="19208"/>
                    <a:pt x="4497" y="19208"/>
                    <a:pt x="4497" y="19208"/>
                  </a:cubicBezTo>
                  <a:cubicBezTo>
                    <a:pt x="4357" y="18963"/>
                    <a:pt x="4393" y="19240"/>
                    <a:pt x="4186" y="19176"/>
                  </a:cubicBezTo>
                  <a:cubicBezTo>
                    <a:pt x="3979" y="19149"/>
                    <a:pt x="3912" y="19421"/>
                    <a:pt x="3631" y="19389"/>
                  </a:cubicBezTo>
                  <a:cubicBezTo>
                    <a:pt x="3284" y="19389"/>
                    <a:pt x="3284" y="19480"/>
                    <a:pt x="3114" y="19149"/>
                  </a:cubicBezTo>
                  <a:cubicBezTo>
                    <a:pt x="3047" y="18963"/>
                    <a:pt x="2906" y="18633"/>
                    <a:pt x="2766" y="18510"/>
                  </a:cubicBezTo>
                  <a:cubicBezTo>
                    <a:pt x="2699" y="18452"/>
                    <a:pt x="2559" y="18361"/>
                    <a:pt x="2559" y="18239"/>
                  </a:cubicBezTo>
                  <a:lnTo>
                    <a:pt x="2559" y="18271"/>
                  </a:lnTo>
                  <a:cubicBezTo>
                    <a:pt x="2492" y="18116"/>
                    <a:pt x="2315" y="18026"/>
                    <a:pt x="2181" y="17877"/>
                  </a:cubicBezTo>
                  <a:cubicBezTo>
                    <a:pt x="2108" y="17786"/>
                    <a:pt x="1974" y="17605"/>
                    <a:pt x="1938" y="17482"/>
                  </a:cubicBezTo>
                  <a:cubicBezTo>
                    <a:pt x="1901" y="17360"/>
                    <a:pt x="1901" y="17360"/>
                    <a:pt x="1761" y="17333"/>
                  </a:cubicBezTo>
                  <a:cubicBezTo>
                    <a:pt x="1657" y="17301"/>
                    <a:pt x="1694" y="17088"/>
                    <a:pt x="1730" y="17030"/>
                  </a:cubicBezTo>
                  <a:cubicBezTo>
                    <a:pt x="1761" y="16998"/>
                    <a:pt x="1797" y="16966"/>
                    <a:pt x="1761" y="16907"/>
                  </a:cubicBezTo>
                  <a:cubicBezTo>
                    <a:pt x="1761" y="16907"/>
                    <a:pt x="1694" y="16939"/>
                    <a:pt x="1627" y="16907"/>
                  </a:cubicBezTo>
                  <a:cubicBezTo>
                    <a:pt x="1657" y="16604"/>
                    <a:pt x="1657" y="16604"/>
                    <a:pt x="1657" y="16604"/>
                  </a:cubicBezTo>
                  <a:cubicBezTo>
                    <a:pt x="1694" y="16513"/>
                    <a:pt x="1730" y="16455"/>
                    <a:pt x="1730" y="16391"/>
                  </a:cubicBezTo>
                  <a:cubicBezTo>
                    <a:pt x="1797" y="16210"/>
                    <a:pt x="1974" y="16093"/>
                    <a:pt x="2041" y="15938"/>
                  </a:cubicBezTo>
                  <a:cubicBezTo>
                    <a:pt x="2072" y="15880"/>
                    <a:pt x="2108" y="15848"/>
                    <a:pt x="2145" y="15789"/>
                  </a:cubicBezTo>
                  <a:cubicBezTo>
                    <a:pt x="2181" y="15698"/>
                    <a:pt x="1974" y="15757"/>
                    <a:pt x="2005" y="15635"/>
                  </a:cubicBezTo>
                  <a:cubicBezTo>
                    <a:pt x="2005" y="15485"/>
                    <a:pt x="2041" y="15304"/>
                    <a:pt x="2041" y="15182"/>
                  </a:cubicBezTo>
                  <a:cubicBezTo>
                    <a:pt x="2041" y="15091"/>
                    <a:pt x="2072" y="15033"/>
                    <a:pt x="2072" y="14942"/>
                  </a:cubicBezTo>
                  <a:cubicBezTo>
                    <a:pt x="2108" y="14788"/>
                    <a:pt x="2212" y="14852"/>
                    <a:pt x="2315" y="14761"/>
                  </a:cubicBezTo>
                  <a:cubicBezTo>
                    <a:pt x="2419" y="14697"/>
                    <a:pt x="2456" y="14607"/>
                    <a:pt x="2523" y="14548"/>
                  </a:cubicBezTo>
                  <a:cubicBezTo>
                    <a:pt x="2596" y="14490"/>
                    <a:pt x="2663" y="14516"/>
                    <a:pt x="2699" y="14458"/>
                  </a:cubicBezTo>
                  <a:cubicBezTo>
                    <a:pt x="2870" y="14335"/>
                    <a:pt x="2803" y="14154"/>
                    <a:pt x="3114" y="14154"/>
                  </a:cubicBezTo>
                  <a:cubicBezTo>
                    <a:pt x="3284" y="14154"/>
                    <a:pt x="3497" y="13733"/>
                    <a:pt x="3631" y="13792"/>
                  </a:cubicBezTo>
                  <a:cubicBezTo>
                    <a:pt x="3631" y="13733"/>
                    <a:pt x="3735" y="13488"/>
                    <a:pt x="3705" y="13430"/>
                  </a:cubicBezTo>
                  <a:cubicBezTo>
                    <a:pt x="3668" y="13398"/>
                    <a:pt x="3668" y="13339"/>
                    <a:pt x="3668" y="13275"/>
                  </a:cubicBezTo>
                  <a:cubicBezTo>
                    <a:pt x="3735" y="13275"/>
                    <a:pt x="3808" y="13126"/>
                    <a:pt x="3839" y="13094"/>
                  </a:cubicBezTo>
                  <a:cubicBezTo>
                    <a:pt x="3839" y="13004"/>
                    <a:pt x="3979" y="12913"/>
                    <a:pt x="4046" y="12855"/>
                  </a:cubicBezTo>
                  <a:cubicBezTo>
                    <a:pt x="4082" y="12764"/>
                    <a:pt x="4357" y="12402"/>
                    <a:pt x="4326" y="12306"/>
                  </a:cubicBezTo>
                  <a:cubicBezTo>
                    <a:pt x="4326" y="12280"/>
                    <a:pt x="4253" y="12248"/>
                    <a:pt x="4253" y="12189"/>
                  </a:cubicBezTo>
                  <a:cubicBezTo>
                    <a:pt x="4253" y="12098"/>
                    <a:pt x="4290" y="12067"/>
                    <a:pt x="4253" y="11976"/>
                  </a:cubicBezTo>
                  <a:cubicBezTo>
                    <a:pt x="4149" y="11854"/>
                    <a:pt x="3875" y="11614"/>
                    <a:pt x="3705" y="11614"/>
                  </a:cubicBezTo>
                  <a:cubicBezTo>
                    <a:pt x="3461" y="11614"/>
                    <a:pt x="3114" y="11795"/>
                    <a:pt x="2943" y="11582"/>
                  </a:cubicBezTo>
                  <a:cubicBezTo>
                    <a:pt x="2906" y="11550"/>
                    <a:pt x="2973" y="11310"/>
                    <a:pt x="2973" y="11220"/>
                  </a:cubicBezTo>
                  <a:cubicBezTo>
                    <a:pt x="2973" y="11039"/>
                    <a:pt x="2730" y="11097"/>
                    <a:pt x="2559" y="11039"/>
                  </a:cubicBezTo>
                  <a:cubicBezTo>
                    <a:pt x="2248" y="10948"/>
                    <a:pt x="2041" y="10613"/>
                    <a:pt x="2181" y="10314"/>
                  </a:cubicBezTo>
                  <a:cubicBezTo>
                    <a:pt x="2285" y="10160"/>
                    <a:pt x="2145" y="10192"/>
                    <a:pt x="2041" y="10069"/>
                  </a:cubicBezTo>
                  <a:cubicBezTo>
                    <a:pt x="1974" y="9979"/>
                    <a:pt x="1761" y="9798"/>
                    <a:pt x="1730" y="9707"/>
                  </a:cubicBezTo>
                  <a:cubicBezTo>
                    <a:pt x="1694" y="9617"/>
                    <a:pt x="1694" y="9526"/>
                    <a:pt x="1694" y="9436"/>
                  </a:cubicBezTo>
                  <a:cubicBezTo>
                    <a:pt x="1657" y="9281"/>
                    <a:pt x="1590" y="9404"/>
                    <a:pt x="1694" y="9223"/>
                  </a:cubicBezTo>
                  <a:cubicBezTo>
                    <a:pt x="1761" y="9132"/>
                    <a:pt x="1834" y="8711"/>
                    <a:pt x="1730" y="8680"/>
                  </a:cubicBezTo>
                  <a:cubicBezTo>
                    <a:pt x="1590" y="8589"/>
                    <a:pt x="1450" y="8525"/>
                    <a:pt x="1316" y="8467"/>
                  </a:cubicBezTo>
                  <a:cubicBezTo>
                    <a:pt x="1072" y="8376"/>
                    <a:pt x="1139" y="8104"/>
                    <a:pt x="932" y="8104"/>
                  </a:cubicBezTo>
                  <a:cubicBezTo>
                    <a:pt x="792" y="8104"/>
                    <a:pt x="762" y="8040"/>
                    <a:pt x="689" y="7923"/>
                  </a:cubicBezTo>
                  <a:cubicBezTo>
                    <a:pt x="585" y="7806"/>
                    <a:pt x="518" y="7748"/>
                    <a:pt x="378" y="7657"/>
                  </a:cubicBezTo>
                  <a:cubicBezTo>
                    <a:pt x="311" y="7593"/>
                    <a:pt x="134" y="7322"/>
                    <a:pt x="104" y="7263"/>
                  </a:cubicBezTo>
                  <a:cubicBezTo>
                    <a:pt x="0" y="6991"/>
                    <a:pt x="0" y="6991"/>
                    <a:pt x="0" y="6991"/>
                  </a:cubicBezTo>
                  <a:cubicBezTo>
                    <a:pt x="104" y="6991"/>
                    <a:pt x="238" y="6927"/>
                    <a:pt x="341" y="6927"/>
                  </a:cubicBezTo>
                  <a:cubicBezTo>
                    <a:pt x="451" y="6927"/>
                    <a:pt x="585" y="6991"/>
                    <a:pt x="689" y="7018"/>
                  </a:cubicBezTo>
                  <a:cubicBezTo>
                    <a:pt x="792" y="7082"/>
                    <a:pt x="932" y="7082"/>
                    <a:pt x="1072" y="7082"/>
                  </a:cubicBezTo>
                  <a:cubicBezTo>
                    <a:pt x="1280" y="7050"/>
                    <a:pt x="1420" y="7263"/>
                    <a:pt x="1627" y="7109"/>
                  </a:cubicBezTo>
                  <a:cubicBezTo>
                    <a:pt x="1901" y="6927"/>
                    <a:pt x="2108" y="6901"/>
                    <a:pt x="2419" y="6991"/>
                  </a:cubicBezTo>
                  <a:cubicBezTo>
                    <a:pt x="2559" y="7018"/>
                    <a:pt x="2663" y="7109"/>
                    <a:pt x="2803" y="7082"/>
                  </a:cubicBezTo>
                  <a:cubicBezTo>
                    <a:pt x="3010" y="7050"/>
                    <a:pt x="3047" y="6959"/>
                    <a:pt x="3284" y="6959"/>
                  </a:cubicBezTo>
                  <a:cubicBezTo>
                    <a:pt x="3388" y="6959"/>
                    <a:pt x="3528" y="7050"/>
                    <a:pt x="3668" y="7018"/>
                  </a:cubicBezTo>
                  <a:cubicBezTo>
                    <a:pt x="3735" y="6991"/>
                    <a:pt x="3808" y="6959"/>
                    <a:pt x="3912" y="6901"/>
                  </a:cubicBezTo>
                  <a:cubicBezTo>
                    <a:pt x="3942" y="6746"/>
                    <a:pt x="3942" y="6746"/>
                    <a:pt x="3942" y="6746"/>
                  </a:cubicBezTo>
                  <a:cubicBezTo>
                    <a:pt x="3942" y="6597"/>
                    <a:pt x="4015" y="6533"/>
                    <a:pt x="4082" y="6384"/>
                  </a:cubicBezTo>
                  <a:cubicBezTo>
                    <a:pt x="4119" y="6294"/>
                    <a:pt x="4046" y="6139"/>
                    <a:pt x="4119" y="6054"/>
                  </a:cubicBezTo>
                  <a:cubicBezTo>
                    <a:pt x="4186" y="5958"/>
                    <a:pt x="4149" y="5932"/>
                    <a:pt x="4119" y="5841"/>
                  </a:cubicBezTo>
                  <a:cubicBezTo>
                    <a:pt x="4046" y="5751"/>
                    <a:pt x="4149" y="5596"/>
                    <a:pt x="4253" y="5596"/>
                  </a:cubicBezTo>
                  <a:cubicBezTo>
                    <a:pt x="4430" y="5596"/>
                    <a:pt x="4466" y="5415"/>
                    <a:pt x="4600" y="5325"/>
                  </a:cubicBezTo>
                  <a:cubicBezTo>
                    <a:pt x="4807" y="5234"/>
                    <a:pt x="4704" y="4994"/>
                    <a:pt x="4704" y="4872"/>
                  </a:cubicBezTo>
                  <a:cubicBezTo>
                    <a:pt x="4704" y="4691"/>
                    <a:pt x="4948" y="4632"/>
                    <a:pt x="4911" y="4478"/>
                  </a:cubicBezTo>
                  <a:cubicBezTo>
                    <a:pt x="4807" y="4206"/>
                    <a:pt x="5088" y="3876"/>
                    <a:pt x="4777" y="3599"/>
                  </a:cubicBezTo>
                  <a:cubicBezTo>
                    <a:pt x="4704" y="3540"/>
                    <a:pt x="4637" y="3572"/>
                    <a:pt x="4600" y="3450"/>
                  </a:cubicBezTo>
                  <a:cubicBezTo>
                    <a:pt x="4430" y="2965"/>
                    <a:pt x="4253" y="3301"/>
                    <a:pt x="3942" y="3056"/>
                  </a:cubicBezTo>
                  <a:cubicBezTo>
                    <a:pt x="3808" y="2997"/>
                    <a:pt x="3839" y="2752"/>
                    <a:pt x="3912" y="2662"/>
                  </a:cubicBezTo>
                  <a:cubicBezTo>
                    <a:pt x="3875" y="2513"/>
                    <a:pt x="3735" y="2571"/>
                    <a:pt x="3839" y="2358"/>
                  </a:cubicBezTo>
                  <a:cubicBezTo>
                    <a:pt x="3912" y="2300"/>
                    <a:pt x="3979" y="2177"/>
                    <a:pt x="3979" y="2087"/>
                  </a:cubicBezTo>
                  <a:cubicBezTo>
                    <a:pt x="4046" y="2087"/>
                    <a:pt x="4186" y="2087"/>
                    <a:pt x="4253" y="2087"/>
                  </a:cubicBezTo>
                  <a:cubicBezTo>
                    <a:pt x="4326" y="2060"/>
                    <a:pt x="4326" y="1969"/>
                    <a:pt x="4393" y="1938"/>
                  </a:cubicBezTo>
                  <a:cubicBezTo>
                    <a:pt x="4497" y="1874"/>
                    <a:pt x="4844" y="1874"/>
                    <a:pt x="4948" y="1847"/>
                  </a:cubicBezTo>
                  <a:cubicBezTo>
                    <a:pt x="5222" y="1938"/>
                    <a:pt x="5222" y="1938"/>
                    <a:pt x="5222" y="1938"/>
                  </a:cubicBezTo>
                  <a:cubicBezTo>
                    <a:pt x="5435" y="2028"/>
                    <a:pt x="5435" y="2028"/>
                    <a:pt x="5673" y="2028"/>
                  </a:cubicBezTo>
                  <a:cubicBezTo>
                    <a:pt x="5880" y="2028"/>
                    <a:pt x="6020" y="1783"/>
                    <a:pt x="6160" y="1815"/>
                  </a:cubicBezTo>
                  <a:cubicBezTo>
                    <a:pt x="6264" y="2151"/>
                    <a:pt x="6331" y="1938"/>
                    <a:pt x="6611" y="1847"/>
                  </a:cubicBezTo>
                  <a:cubicBezTo>
                    <a:pt x="6715" y="1815"/>
                    <a:pt x="6818" y="1874"/>
                    <a:pt x="6922" y="1847"/>
                  </a:cubicBezTo>
                  <a:cubicBezTo>
                    <a:pt x="7025" y="1815"/>
                    <a:pt x="7336" y="1725"/>
                    <a:pt x="7336" y="1634"/>
                  </a:cubicBezTo>
                  <a:cubicBezTo>
                    <a:pt x="7336" y="1453"/>
                    <a:pt x="7373" y="1181"/>
                    <a:pt x="7610" y="1117"/>
                  </a:cubicBezTo>
                  <a:cubicBezTo>
                    <a:pt x="7750" y="1059"/>
                    <a:pt x="7824" y="968"/>
                    <a:pt x="7994" y="968"/>
                  </a:cubicBezTo>
                  <a:cubicBezTo>
                    <a:pt x="8165" y="968"/>
                    <a:pt x="8238" y="910"/>
                    <a:pt x="8341" y="755"/>
                  </a:cubicBezTo>
                  <a:cubicBezTo>
                    <a:pt x="8482" y="729"/>
                    <a:pt x="8512" y="729"/>
                    <a:pt x="8652" y="697"/>
                  </a:cubicBezTo>
                  <a:cubicBezTo>
                    <a:pt x="8719" y="697"/>
                    <a:pt x="8859" y="367"/>
                    <a:pt x="9036" y="335"/>
                  </a:cubicBezTo>
                  <a:cubicBezTo>
                    <a:pt x="9347" y="244"/>
                    <a:pt x="9792" y="-182"/>
                    <a:pt x="10035" y="90"/>
                  </a:cubicBezTo>
                  <a:cubicBezTo>
                    <a:pt x="10242" y="303"/>
                    <a:pt x="10242" y="303"/>
                    <a:pt x="10242" y="303"/>
                  </a:cubicBezTo>
                  <a:cubicBezTo>
                    <a:pt x="10279" y="367"/>
                    <a:pt x="10346" y="367"/>
                    <a:pt x="10419" y="335"/>
                  </a:cubicBezTo>
                  <a:cubicBezTo>
                    <a:pt x="10766" y="303"/>
                    <a:pt x="10316" y="516"/>
                    <a:pt x="10626" y="574"/>
                  </a:cubicBezTo>
                  <a:cubicBezTo>
                    <a:pt x="11108" y="697"/>
                    <a:pt x="10590" y="1027"/>
                    <a:pt x="10797" y="1117"/>
                  </a:cubicBezTo>
                  <a:cubicBezTo>
                    <a:pt x="10870" y="1149"/>
                    <a:pt x="11248" y="1208"/>
                    <a:pt x="11284" y="1208"/>
                  </a:cubicBezTo>
                  <a:cubicBezTo>
                    <a:pt x="11351" y="1298"/>
                    <a:pt x="11315" y="1485"/>
                    <a:pt x="11492" y="1511"/>
                  </a:cubicBezTo>
                  <a:cubicBezTo>
                    <a:pt x="11906" y="1575"/>
                    <a:pt x="11869" y="1969"/>
                    <a:pt x="12217" y="1543"/>
                  </a:cubicBezTo>
                  <a:cubicBezTo>
                    <a:pt x="12320" y="1362"/>
                    <a:pt x="12393" y="1362"/>
                    <a:pt x="12601" y="1330"/>
                  </a:cubicBezTo>
                  <a:cubicBezTo>
                    <a:pt x="12735" y="1298"/>
                    <a:pt x="12808" y="1117"/>
                    <a:pt x="12978" y="1091"/>
                  </a:cubicBezTo>
                  <a:cubicBezTo>
                    <a:pt x="12978" y="1208"/>
                    <a:pt x="13051" y="1330"/>
                    <a:pt x="13015" y="1453"/>
                  </a:cubicBezTo>
                  <a:cubicBezTo>
                    <a:pt x="12948" y="1693"/>
                    <a:pt x="13155" y="1756"/>
                    <a:pt x="13429" y="1666"/>
                  </a:cubicBezTo>
                  <a:cubicBezTo>
                    <a:pt x="13569" y="1602"/>
                    <a:pt x="13776" y="1693"/>
                    <a:pt x="13880" y="1783"/>
                  </a:cubicBezTo>
                  <a:cubicBezTo>
                    <a:pt x="13947" y="1874"/>
                    <a:pt x="13984" y="1969"/>
                    <a:pt x="14124" y="1969"/>
                  </a:cubicBezTo>
                  <a:cubicBezTo>
                    <a:pt x="14331" y="1969"/>
                    <a:pt x="14294" y="2177"/>
                    <a:pt x="14465" y="2268"/>
                  </a:cubicBezTo>
                  <a:cubicBezTo>
                    <a:pt x="14709" y="2358"/>
                    <a:pt x="14849" y="2513"/>
                    <a:pt x="15160" y="2390"/>
                  </a:cubicBezTo>
                  <a:cubicBezTo>
                    <a:pt x="15300" y="2390"/>
                    <a:pt x="15470" y="2332"/>
                    <a:pt x="15543" y="2241"/>
                  </a:cubicBezTo>
                  <a:cubicBezTo>
                    <a:pt x="15610" y="2151"/>
                    <a:pt x="15678" y="2060"/>
                    <a:pt x="15781" y="1996"/>
                  </a:cubicBezTo>
                  <a:cubicBezTo>
                    <a:pt x="15818" y="1969"/>
                    <a:pt x="15921" y="1969"/>
                    <a:pt x="15988" y="1969"/>
                  </a:cubicBezTo>
                  <a:cubicBezTo>
                    <a:pt x="16025" y="1969"/>
                    <a:pt x="16439" y="1783"/>
                    <a:pt x="16372" y="1906"/>
                  </a:cubicBezTo>
                  <a:cubicBezTo>
                    <a:pt x="16305" y="2028"/>
                    <a:pt x="16195" y="2119"/>
                    <a:pt x="16195" y="2241"/>
                  </a:cubicBezTo>
                  <a:cubicBezTo>
                    <a:pt x="16195" y="2332"/>
                    <a:pt x="16232" y="2422"/>
                    <a:pt x="16232" y="2513"/>
                  </a:cubicBezTo>
                  <a:cubicBezTo>
                    <a:pt x="16195" y="2662"/>
                    <a:pt x="16165" y="2726"/>
                    <a:pt x="16269" y="2875"/>
                  </a:cubicBezTo>
                  <a:cubicBezTo>
                    <a:pt x="16336" y="2965"/>
                    <a:pt x="16409" y="3024"/>
                    <a:pt x="16439" y="3146"/>
                  </a:cubicBezTo>
                </a:path>
              </a:pathLst>
            </a:custGeom>
            <a:grpFill/>
            <a:ln w="3175" cap="flat" cmpd="sng">
              <a:noFill/>
              <a:prstDash val="solid"/>
              <a:bevel/>
              <a:headEnd type="none" w="sm" len="sm"/>
              <a:tailEnd type="none" w="sm" len="sm"/>
            </a:ln>
          </p:spPr>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C2C2C"/>
                </a:solidFill>
                <a:effectLst/>
                <a:uLnTx/>
                <a:uFillTx/>
                <a:latin typeface="Open Sans"/>
                <a:ea typeface="Open Sans"/>
                <a:cs typeface="Open Sans"/>
                <a:sym typeface="Open Sans"/>
              </a:endParaRPr>
            </a:p>
          </p:txBody>
        </p:sp>
        <p:sp>
          <p:nvSpPr>
            <p:cNvPr id="27" name="Google Shape;11991;p276" descr="Freeform 162">
              <a:extLst>
                <a:ext uri="{FF2B5EF4-FFF2-40B4-BE49-F238E27FC236}">
                  <a16:creationId xmlns:a16="http://schemas.microsoft.com/office/drawing/2014/main" id="{C2440A09-3DB8-AC22-247D-2C2B54DFBC83}"/>
                </a:ext>
              </a:extLst>
            </p:cNvPr>
            <p:cNvSpPr/>
            <p:nvPr/>
          </p:nvSpPr>
          <p:spPr>
            <a:xfrm>
              <a:off x="1437601" y="2327212"/>
              <a:ext cx="2040342" cy="1182371"/>
            </a:xfrm>
            <a:custGeom>
              <a:avLst/>
              <a:gdLst/>
              <a:ahLst/>
              <a:cxnLst/>
              <a:rect l="l" t="t" r="r" b="b"/>
              <a:pathLst>
                <a:path w="21600" h="21447" extrusionOk="0">
                  <a:moveTo>
                    <a:pt x="9193" y="0"/>
                  </a:moveTo>
                  <a:cubicBezTo>
                    <a:pt x="9244" y="200"/>
                    <a:pt x="9244" y="200"/>
                    <a:pt x="9244" y="200"/>
                  </a:cubicBezTo>
                  <a:cubicBezTo>
                    <a:pt x="9331" y="610"/>
                    <a:pt x="9687" y="143"/>
                    <a:pt x="9720" y="492"/>
                  </a:cubicBezTo>
                  <a:cubicBezTo>
                    <a:pt x="9738" y="815"/>
                    <a:pt x="9738" y="989"/>
                    <a:pt x="9959" y="1076"/>
                  </a:cubicBezTo>
                  <a:cubicBezTo>
                    <a:pt x="10043" y="1107"/>
                    <a:pt x="10264" y="1163"/>
                    <a:pt x="10315" y="1281"/>
                  </a:cubicBezTo>
                  <a:cubicBezTo>
                    <a:pt x="10402" y="1394"/>
                    <a:pt x="10453" y="1455"/>
                    <a:pt x="10555" y="1542"/>
                  </a:cubicBezTo>
                  <a:cubicBezTo>
                    <a:pt x="10689" y="1686"/>
                    <a:pt x="10623" y="1835"/>
                    <a:pt x="10809" y="1947"/>
                  </a:cubicBezTo>
                  <a:cubicBezTo>
                    <a:pt x="10893" y="1978"/>
                    <a:pt x="10997" y="2127"/>
                    <a:pt x="11063" y="2239"/>
                  </a:cubicBezTo>
                  <a:cubicBezTo>
                    <a:pt x="11165" y="2475"/>
                    <a:pt x="11285" y="2562"/>
                    <a:pt x="11437" y="2675"/>
                  </a:cubicBezTo>
                  <a:cubicBezTo>
                    <a:pt x="11488" y="2737"/>
                    <a:pt x="11659" y="3029"/>
                    <a:pt x="11709" y="3029"/>
                  </a:cubicBezTo>
                  <a:cubicBezTo>
                    <a:pt x="11760" y="3029"/>
                    <a:pt x="11880" y="2762"/>
                    <a:pt x="11949" y="2675"/>
                  </a:cubicBezTo>
                  <a:cubicBezTo>
                    <a:pt x="12051" y="2562"/>
                    <a:pt x="12254" y="2793"/>
                    <a:pt x="12374" y="2793"/>
                  </a:cubicBezTo>
                  <a:cubicBezTo>
                    <a:pt x="12475" y="2793"/>
                    <a:pt x="12595" y="2737"/>
                    <a:pt x="12697" y="2793"/>
                  </a:cubicBezTo>
                  <a:cubicBezTo>
                    <a:pt x="12798" y="2824"/>
                    <a:pt x="12900" y="2880"/>
                    <a:pt x="12984" y="2880"/>
                  </a:cubicBezTo>
                  <a:cubicBezTo>
                    <a:pt x="13086" y="2911"/>
                    <a:pt x="13409" y="2880"/>
                    <a:pt x="13510" y="2824"/>
                  </a:cubicBezTo>
                  <a:cubicBezTo>
                    <a:pt x="13612" y="2737"/>
                    <a:pt x="13630" y="2301"/>
                    <a:pt x="13801" y="2475"/>
                  </a:cubicBezTo>
                  <a:cubicBezTo>
                    <a:pt x="13852" y="2532"/>
                    <a:pt x="13902" y="2444"/>
                    <a:pt x="13953" y="2444"/>
                  </a:cubicBezTo>
                  <a:cubicBezTo>
                    <a:pt x="14073" y="2475"/>
                    <a:pt x="14154" y="2562"/>
                    <a:pt x="14255" y="2619"/>
                  </a:cubicBezTo>
                  <a:cubicBezTo>
                    <a:pt x="14513" y="2793"/>
                    <a:pt x="14342" y="2239"/>
                    <a:pt x="14495" y="2239"/>
                  </a:cubicBezTo>
                  <a:cubicBezTo>
                    <a:pt x="14579" y="2239"/>
                    <a:pt x="14614" y="2301"/>
                    <a:pt x="14614" y="2414"/>
                  </a:cubicBezTo>
                  <a:cubicBezTo>
                    <a:pt x="14614" y="2588"/>
                    <a:pt x="14734" y="2619"/>
                    <a:pt x="14818" y="2619"/>
                  </a:cubicBezTo>
                  <a:cubicBezTo>
                    <a:pt x="14952" y="2706"/>
                    <a:pt x="14970" y="2562"/>
                    <a:pt x="15090" y="2444"/>
                  </a:cubicBezTo>
                  <a:cubicBezTo>
                    <a:pt x="15210" y="2301"/>
                    <a:pt x="15141" y="2209"/>
                    <a:pt x="15192" y="2096"/>
                  </a:cubicBezTo>
                  <a:cubicBezTo>
                    <a:pt x="15210" y="2065"/>
                    <a:pt x="15395" y="1978"/>
                    <a:pt x="15413" y="1978"/>
                  </a:cubicBezTo>
                  <a:cubicBezTo>
                    <a:pt x="15446" y="1978"/>
                    <a:pt x="15515" y="2127"/>
                    <a:pt x="15566" y="2152"/>
                  </a:cubicBezTo>
                  <a:cubicBezTo>
                    <a:pt x="15667" y="2239"/>
                    <a:pt x="15838" y="2239"/>
                    <a:pt x="15958" y="2270"/>
                  </a:cubicBezTo>
                  <a:cubicBezTo>
                    <a:pt x="16176" y="2357"/>
                    <a:pt x="16332" y="1804"/>
                    <a:pt x="16433" y="2209"/>
                  </a:cubicBezTo>
                  <a:cubicBezTo>
                    <a:pt x="16448" y="2239"/>
                    <a:pt x="16550" y="2532"/>
                    <a:pt x="16586" y="2501"/>
                  </a:cubicBezTo>
                  <a:cubicBezTo>
                    <a:pt x="16601" y="2475"/>
                    <a:pt x="16619" y="2327"/>
                    <a:pt x="16637" y="2270"/>
                  </a:cubicBezTo>
                  <a:cubicBezTo>
                    <a:pt x="16670" y="2183"/>
                    <a:pt x="16721" y="2127"/>
                    <a:pt x="16771" y="2065"/>
                  </a:cubicBezTo>
                  <a:cubicBezTo>
                    <a:pt x="16891" y="2009"/>
                    <a:pt x="16858" y="2127"/>
                    <a:pt x="16924" y="2152"/>
                  </a:cubicBezTo>
                  <a:cubicBezTo>
                    <a:pt x="17112" y="2270"/>
                    <a:pt x="17265" y="1804"/>
                    <a:pt x="17385" y="1630"/>
                  </a:cubicBezTo>
                  <a:cubicBezTo>
                    <a:pt x="17504" y="1481"/>
                    <a:pt x="17621" y="1860"/>
                    <a:pt x="17741" y="1860"/>
                  </a:cubicBezTo>
                  <a:cubicBezTo>
                    <a:pt x="17860" y="1860"/>
                    <a:pt x="17980" y="1630"/>
                    <a:pt x="18097" y="1804"/>
                  </a:cubicBezTo>
                  <a:cubicBezTo>
                    <a:pt x="18133" y="1860"/>
                    <a:pt x="18201" y="2096"/>
                    <a:pt x="18183" y="2183"/>
                  </a:cubicBezTo>
                  <a:cubicBezTo>
                    <a:pt x="18115" y="2649"/>
                    <a:pt x="18148" y="2475"/>
                    <a:pt x="18369" y="2619"/>
                  </a:cubicBezTo>
                  <a:cubicBezTo>
                    <a:pt x="18489" y="2706"/>
                    <a:pt x="18420" y="3172"/>
                    <a:pt x="18438" y="3377"/>
                  </a:cubicBezTo>
                  <a:cubicBezTo>
                    <a:pt x="18471" y="3433"/>
                    <a:pt x="18489" y="3464"/>
                    <a:pt x="18540" y="3490"/>
                  </a:cubicBezTo>
                  <a:cubicBezTo>
                    <a:pt x="18641" y="3551"/>
                    <a:pt x="18608" y="3521"/>
                    <a:pt x="18608" y="3726"/>
                  </a:cubicBezTo>
                  <a:cubicBezTo>
                    <a:pt x="18608" y="3813"/>
                    <a:pt x="18590" y="3900"/>
                    <a:pt x="18590" y="4018"/>
                  </a:cubicBezTo>
                  <a:cubicBezTo>
                    <a:pt x="18590" y="4279"/>
                    <a:pt x="18608" y="4310"/>
                    <a:pt x="18507" y="4540"/>
                  </a:cubicBezTo>
                  <a:cubicBezTo>
                    <a:pt x="18456" y="4658"/>
                    <a:pt x="18387" y="4802"/>
                    <a:pt x="18336" y="4889"/>
                  </a:cubicBezTo>
                  <a:cubicBezTo>
                    <a:pt x="18318" y="4920"/>
                    <a:pt x="18216" y="5063"/>
                    <a:pt x="18216" y="5125"/>
                  </a:cubicBezTo>
                  <a:cubicBezTo>
                    <a:pt x="18216" y="5181"/>
                    <a:pt x="18489" y="5412"/>
                    <a:pt x="18525" y="5473"/>
                  </a:cubicBezTo>
                  <a:cubicBezTo>
                    <a:pt x="18641" y="5560"/>
                    <a:pt x="18743" y="5647"/>
                    <a:pt x="18863" y="5647"/>
                  </a:cubicBezTo>
                  <a:cubicBezTo>
                    <a:pt x="18982" y="5617"/>
                    <a:pt x="18982" y="5617"/>
                    <a:pt x="18982" y="5617"/>
                  </a:cubicBezTo>
                  <a:cubicBezTo>
                    <a:pt x="19015" y="5734"/>
                    <a:pt x="19117" y="5765"/>
                    <a:pt x="19153" y="5878"/>
                  </a:cubicBezTo>
                  <a:cubicBezTo>
                    <a:pt x="19204" y="6026"/>
                    <a:pt x="19219" y="6139"/>
                    <a:pt x="19287" y="6288"/>
                  </a:cubicBezTo>
                  <a:cubicBezTo>
                    <a:pt x="19374" y="6493"/>
                    <a:pt x="19593" y="6667"/>
                    <a:pt x="19730" y="6667"/>
                  </a:cubicBezTo>
                  <a:cubicBezTo>
                    <a:pt x="19850" y="6693"/>
                    <a:pt x="19865" y="6785"/>
                    <a:pt x="20002" y="6754"/>
                  </a:cubicBezTo>
                  <a:cubicBezTo>
                    <a:pt x="20053" y="6754"/>
                    <a:pt x="20104" y="6841"/>
                    <a:pt x="20155" y="6867"/>
                  </a:cubicBezTo>
                  <a:cubicBezTo>
                    <a:pt x="20224" y="6898"/>
                    <a:pt x="20275" y="6811"/>
                    <a:pt x="20340" y="6811"/>
                  </a:cubicBezTo>
                  <a:cubicBezTo>
                    <a:pt x="20326" y="6928"/>
                    <a:pt x="20275" y="7103"/>
                    <a:pt x="20239" y="7190"/>
                  </a:cubicBezTo>
                  <a:cubicBezTo>
                    <a:pt x="20206" y="7308"/>
                    <a:pt x="20257" y="7600"/>
                    <a:pt x="20239" y="7743"/>
                  </a:cubicBezTo>
                  <a:cubicBezTo>
                    <a:pt x="20239" y="7830"/>
                    <a:pt x="20275" y="7887"/>
                    <a:pt x="20257" y="7974"/>
                  </a:cubicBezTo>
                  <a:cubicBezTo>
                    <a:pt x="20239" y="8066"/>
                    <a:pt x="20224" y="8122"/>
                    <a:pt x="20224" y="8179"/>
                  </a:cubicBezTo>
                  <a:cubicBezTo>
                    <a:pt x="20224" y="8327"/>
                    <a:pt x="20224" y="8415"/>
                    <a:pt x="20239" y="8558"/>
                  </a:cubicBezTo>
                  <a:cubicBezTo>
                    <a:pt x="20275" y="8763"/>
                    <a:pt x="20391" y="9055"/>
                    <a:pt x="20460" y="9229"/>
                  </a:cubicBezTo>
                  <a:cubicBezTo>
                    <a:pt x="20547" y="9460"/>
                    <a:pt x="20852" y="10393"/>
                    <a:pt x="21005" y="10244"/>
                  </a:cubicBezTo>
                  <a:cubicBezTo>
                    <a:pt x="21106" y="10188"/>
                    <a:pt x="21124" y="10275"/>
                    <a:pt x="21226" y="10244"/>
                  </a:cubicBezTo>
                  <a:cubicBezTo>
                    <a:pt x="21600" y="10797"/>
                    <a:pt x="21600" y="10797"/>
                    <a:pt x="21600" y="10797"/>
                  </a:cubicBezTo>
                  <a:cubicBezTo>
                    <a:pt x="21549" y="10859"/>
                    <a:pt x="21480" y="10946"/>
                    <a:pt x="21429" y="11002"/>
                  </a:cubicBezTo>
                  <a:cubicBezTo>
                    <a:pt x="21295" y="11412"/>
                    <a:pt x="21005" y="11761"/>
                    <a:pt x="20936" y="12227"/>
                  </a:cubicBezTo>
                  <a:cubicBezTo>
                    <a:pt x="20870" y="12694"/>
                    <a:pt x="20852" y="13129"/>
                    <a:pt x="20682" y="13508"/>
                  </a:cubicBezTo>
                  <a:cubicBezTo>
                    <a:pt x="20649" y="13713"/>
                    <a:pt x="20714" y="13975"/>
                    <a:pt x="20598" y="14175"/>
                  </a:cubicBezTo>
                  <a:cubicBezTo>
                    <a:pt x="20478" y="14380"/>
                    <a:pt x="20290" y="14410"/>
                    <a:pt x="20239" y="14728"/>
                  </a:cubicBezTo>
                  <a:cubicBezTo>
                    <a:pt x="20206" y="14994"/>
                    <a:pt x="20290" y="14933"/>
                    <a:pt x="20155" y="15051"/>
                  </a:cubicBezTo>
                  <a:cubicBezTo>
                    <a:pt x="20002" y="15194"/>
                    <a:pt x="20086" y="15430"/>
                    <a:pt x="19952" y="15548"/>
                  </a:cubicBezTo>
                  <a:cubicBezTo>
                    <a:pt x="19850" y="15635"/>
                    <a:pt x="19679" y="16040"/>
                    <a:pt x="19527" y="15922"/>
                  </a:cubicBezTo>
                  <a:cubicBezTo>
                    <a:pt x="19509" y="15896"/>
                    <a:pt x="19407" y="15635"/>
                    <a:pt x="19389" y="15574"/>
                  </a:cubicBezTo>
                  <a:cubicBezTo>
                    <a:pt x="19320" y="15399"/>
                    <a:pt x="19204" y="15107"/>
                    <a:pt x="19066" y="15082"/>
                  </a:cubicBezTo>
                  <a:cubicBezTo>
                    <a:pt x="18964" y="14994"/>
                    <a:pt x="18881" y="15020"/>
                    <a:pt x="18794" y="15169"/>
                  </a:cubicBezTo>
                  <a:cubicBezTo>
                    <a:pt x="18677" y="15312"/>
                    <a:pt x="18659" y="15169"/>
                    <a:pt x="18590" y="15051"/>
                  </a:cubicBezTo>
                  <a:cubicBezTo>
                    <a:pt x="18456" y="14846"/>
                    <a:pt x="18082" y="15343"/>
                    <a:pt x="18046" y="15574"/>
                  </a:cubicBezTo>
                  <a:cubicBezTo>
                    <a:pt x="17995" y="15922"/>
                    <a:pt x="17911" y="16009"/>
                    <a:pt x="17723" y="16183"/>
                  </a:cubicBezTo>
                  <a:cubicBezTo>
                    <a:pt x="17657" y="16245"/>
                    <a:pt x="17504" y="16158"/>
                    <a:pt x="17468" y="16214"/>
                  </a:cubicBezTo>
                  <a:cubicBezTo>
                    <a:pt x="17367" y="16276"/>
                    <a:pt x="17349" y="16101"/>
                    <a:pt x="17298" y="16040"/>
                  </a:cubicBezTo>
                  <a:cubicBezTo>
                    <a:pt x="17214" y="15922"/>
                    <a:pt x="17196" y="16127"/>
                    <a:pt x="17130" y="16127"/>
                  </a:cubicBezTo>
                  <a:cubicBezTo>
                    <a:pt x="17095" y="16127"/>
                    <a:pt x="17062" y="16040"/>
                    <a:pt x="17044" y="15983"/>
                  </a:cubicBezTo>
                  <a:cubicBezTo>
                    <a:pt x="16942" y="15922"/>
                    <a:pt x="16960" y="15691"/>
                    <a:pt x="16822" y="15691"/>
                  </a:cubicBezTo>
                  <a:cubicBezTo>
                    <a:pt x="16706" y="15691"/>
                    <a:pt x="16601" y="15835"/>
                    <a:pt x="16466" y="15748"/>
                  </a:cubicBezTo>
                  <a:cubicBezTo>
                    <a:pt x="16230" y="15604"/>
                    <a:pt x="15991" y="15835"/>
                    <a:pt x="15751" y="15691"/>
                  </a:cubicBezTo>
                  <a:cubicBezTo>
                    <a:pt x="15599" y="15604"/>
                    <a:pt x="15548" y="15809"/>
                    <a:pt x="15413" y="15748"/>
                  </a:cubicBezTo>
                  <a:cubicBezTo>
                    <a:pt x="15311" y="15722"/>
                    <a:pt x="15311" y="15896"/>
                    <a:pt x="15225" y="15922"/>
                  </a:cubicBezTo>
                  <a:cubicBezTo>
                    <a:pt x="15105" y="16009"/>
                    <a:pt x="14836" y="16363"/>
                    <a:pt x="14716" y="16009"/>
                  </a:cubicBezTo>
                  <a:cubicBezTo>
                    <a:pt x="14614" y="15835"/>
                    <a:pt x="14528" y="16040"/>
                    <a:pt x="14411" y="15835"/>
                  </a:cubicBezTo>
                  <a:cubicBezTo>
                    <a:pt x="14309" y="15691"/>
                    <a:pt x="14205" y="15835"/>
                    <a:pt x="14103" y="15866"/>
                  </a:cubicBezTo>
                  <a:cubicBezTo>
                    <a:pt x="13884" y="15922"/>
                    <a:pt x="13884" y="15922"/>
                    <a:pt x="13884" y="15922"/>
                  </a:cubicBezTo>
                  <a:cubicBezTo>
                    <a:pt x="13768" y="15953"/>
                    <a:pt x="13681" y="15748"/>
                    <a:pt x="13564" y="15722"/>
                  </a:cubicBezTo>
                  <a:cubicBezTo>
                    <a:pt x="13376" y="15661"/>
                    <a:pt x="13205" y="15896"/>
                    <a:pt x="13035" y="15896"/>
                  </a:cubicBezTo>
                  <a:cubicBezTo>
                    <a:pt x="12969" y="15896"/>
                    <a:pt x="12849" y="15748"/>
                    <a:pt x="12763" y="15722"/>
                  </a:cubicBezTo>
                  <a:cubicBezTo>
                    <a:pt x="12595" y="15661"/>
                    <a:pt x="12610" y="15896"/>
                    <a:pt x="12493" y="15896"/>
                  </a:cubicBezTo>
                  <a:cubicBezTo>
                    <a:pt x="12305" y="15953"/>
                    <a:pt x="12101" y="16040"/>
                    <a:pt x="11913" y="15983"/>
                  </a:cubicBezTo>
                  <a:cubicBezTo>
                    <a:pt x="11488" y="15896"/>
                    <a:pt x="11488" y="15896"/>
                    <a:pt x="11488" y="15896"/>
                  </a:cubicBezTo>
                  <a:cubicBezTo>
                    <a:pt x="11404" y="15866"/>
                    <a:pt x="11081" y="16798"/>
                    <a:pt x="10997" y="16942"/>
                  </a:cubicBezTo>
                  <a:cubicBezTo>
                    <a:pt x="10893" y="17116"/>
                    <a:pt x="10707" y="17003"/>
                    <a:pt x="10656" y="17352"/>
                  </a:cubicBezTo>
                  <a:cubicBezTo>
                    <a:pt x="10555" y="17613"/>
                    <a:pt x="10656" y="17582"/>
                    <a:pt x="10468" y="17613"/>
                  </a:cubicBezTo>
                  <a:cubicBezTo>
                    <a:pt x="10366" y="17613"/>
                    <a:pt x="10351" y="17844"/>
                    <a:pt x="10181" y="17787"/>
                  </a:cubicBezTo>
                  <a:cubicBezTo>
                    <a:pt x="9876" y="17700"/>
                    <a:pt x="9738" y="17464"/>
                    <a:pt x="9415" y="17757"/>
                  </a:cubicBezTo>
                  <a:cubicBezTo>
                    <a:pt x="9280" y="17905"/>
                    <a:pt x="9161" y="17992"/>
                    <a:pt x="9008" y="18049"/>
                  </a:cubicBezTo>
                  <a:cubicBezTo>
                    <a:pt x="8939" y="18049"/>
                    <a:pt x="8870" y="18136"/>
                    <a:pt x="8805" y="18197"/>
                  </a:cubicBezTo>
                  <a:cubicBezTo>
                    <a:pt x="8736" y="18254"/>
                    <a:pt x="8583" y="18254"/>
                    <a:pt x="8547" y="18372"/>
                  </a:cubicBezTo>
                  <a:cubicBezTo>
                    <a:pt x="8481" y="18571"/>
                    <a:pt x="8362" y="18633"/>
                    <a:pt x="8362" y="18894"/>
                  </a:cubicBezTo>
                  <a:cubicBezTo>
                    <a:pt x="8362" y="19099"/>
                    <a:pt x="8344" y="19068"/>
                    <a:pt x="8278" y="19186"/>
                  </a:cubicBezTo>
                  <a:cubicBezTo>
                    <a:pt x="8242" y="19243"/>
                    <a:pt x="8242" y="19330"/>
                    <a:pt x="8224" y="19386"/>
                  </a:cubicBezTo>
                  <a:cubicBezTo>
                    <a:pt x="8209" y="19478"/>
                    <a:pt x="8158" y="19535"/>
                    <a:pt x="8122" y="19622"/>
                  </a:cubicBezTo>
                  <a:cubicBezTo>
                    <a:pt x="8090" y="19678"/>
                    <a:pt x="8107" y="19827"/>
                    <a:pt x="8057" y="19883"/>
                  </a:cubicBezTo>
                  <a:cubicBezTo>
                    <a:pt x="8021" y="19940"/>
                    <a:pt x="8021" y="20114"/>
                    <a:pt x="8021" y="20262"/>
                  </a:cubicBezTo>
                  <a:cubicBezTo>
                    <a:pt x="7886" y="20293"/>
                    <a:pt x="7886" y="20293"/>
                    <a:pt x="7886" y="20293"/>
                  </a:cubicBezTo>
                  <a:cubicBezTo>
                    <a:pt x="7853" y="20206"/>
                    <a:pt x="7799" y="20145"/>
                    <a:pt x="7734" y="20114"/>
                  </a:cubicBezTo>
                  <a:cubicBezTo>
                    <a:pt x="7614" y="20114"/>
                    <a:pt x="7581" y="20667"/>
                    <a:pt x="7632" y="20785"/>
                  </a:cubicBezTo>
                  <a:cubicBezTo>
                    <a:pt x="7716" y="21021"/>
                    <a:pt x="7563" y="21164"/>
                    <a:pt x="7461" y="21195"/>
                  </a:cubicBezTo>
                  <a:cubicBezTo>
                    <a:pt x="7360" y="21221"/>
                    <a:pt x="7324" y="21308"/>
                    <a:pt x="7240" y="21369"/>
                  </a:cubicBezTo>
                  <a:cubicBezTo>
                    <a:pt x="7036" y="21600"/>
                    <a:pt x="7001" y="21252"/>
                    <a:pt x="6833" y="21195"/>
                  </a:cubicBezTo>
                  <a:cubicBezTo>
                    <a:pt x="6782" y="21134"/>
                    <a:pt x="6764" y="21047"/>
                    <a:pt x="6677" y="21077"/>
                  </a:cubicBezTo>
                  <a:cubicBezTo>
                    <a:pt x="6630" y="21108"/>
                    <a:pt x="6594" y="21077"/>
                    <a:pt x="6543" y="20990"/>
                  </a:cubicBezTo>
                  <a:cubicBezTo>
                    <a:pt x="6441" y="20872"/>
                    <a:pt x="6357" y="20959"/>
                    <a:pt x="6253" y="20760"/>
                  </a:cubicBezTo>
                  <a:cubicBezTo>
                    <a:pt x="6118" y="20524"/>
                    <a:pt x="6034" y="19970"/>
                    <a:pt x="5777" y="20114"/>
                  </a:cubicBezTo>
                  <a:cubicBezTo>
                    <a:pt x="5675" y="20175"/>
                    <a:pt x="5472" y="20114"/>
                    <a:pt x="5403" y="20001"/>
                  </a:cubicBezTo>
                  <a:cubicBezTo>
                    <a:pt x="5352" y="19914"/>
                    <a:pt x="5167" y="19361"/>
                    <a:pt x="5149" y="19243"/>
                  </a:cubicBezTo>
                  <a:cubicBezTo>
                    <a:pt x="5116" y="19243"/>
                    <a:pt x="5080" y="19273"/>
                    <a:pt x="5047" y="19273"/>
                  </a:cubicBezTo>
                  <a:cubicBezTo>
                    <a:pt x="5047" y="19212"/>
                    <a:pt x="4996" y="19038"/>
                    <a:pt x="4963" y="18951"/>
                  </a:cubicBezTo>
                  <a:cubicBezTo>
                    <a:pt x="4894" y="18720"/>
                    <a:pt x="4894" y="18720"/>
                    <a:pt x="4894" y="18720"/>
                  </a:cubicBezTo>
                  <a:cubicBezTo>
                    <a:pt x="4861" y="18571"/>
                    <a:pt x="4793" y="18459"/>
                    <a:pt x="4757" y="18310"/>
                  </a:cubicBezTo>
                  <a:cubicBezTo>
                    <a:pt x="4691" y="17992"/>
                    <a:pt x="4571" y="17731"/>
                    <a:pt x="4502" y="17408"/>
                  </a:cubicBezTo>
                  <a:cubicBezTo>
                    <a:pt x="4470" y="17234"/>
                    <a:pt x="4604" y="17526"/>
                    <a:pt x="4640" y="17526"/>
                  </a:cubicBezTo>
                  <a:cubicBezTo>
                    <a:pt x="4691" y="17526"/>
                    <a:pt x="4724" y="17439"/>
                    <a:pt x="4742" y="17352"/>
                  </a:cubicBezTo>
                  <a:cubicBezTo>
                    <a:pt x="4811" y="17234"/>
                    <a:pt x="4775" y="17060"/>
                    <a:pt x="4673" y="17003"/>
                  </a:cubicBezTo>
                  <a:cubicBezTo>
                    <a:pt x="4520" y="16942"/>
                    <a:pt x="4589" y="16829"/>
                    <a:pt x="4470" y="16737"/>
                  </a:cubicBezTo>
                  <a:cubicBezTo>
                    <a:pt x="4386" y="16650"/>
                    <a:pt x="4299" y="16650"/>
                    <a:pt x="4215" y="16650"/>
                  </a:cubicBezTo>
                  <a:cubicBezTo>
                    <a:pt x="4096" y="16624"/>
                    <a:pt x="4164" y="16419"/>
                    <a:pt x="4129" y="16301"/>
                  </a:cubicBezTo>
                  <a:cubicBezTo>
                    <a:pt x="4078" y="16127"/>
                    <a:pt x="3925" y="15835"/>
                    <a:pt x="4045" y="15748"/>
                  </a:cubicBezTo>
                  <a:cubicBezTo>
                    <a:pt x="4114" y="15691"/>
                    <a:pt x="4164" y="15604"/>
                    <a:pt x="4215" y="15517"/>
                  </a:cubicBezTo>
                  <a:cubicBezTo>
                    <a:pt x="4266" y="15399"/>
                    <a:pt x="4179" y="15369"/>
                    <a:pt x="4146" y="15281"/>
                  </a:cubicBezTo>
                  <a:cubicBezTo>
                    <a:pt x="4114" y="15169"/>
                    <a:pt x="4063" y="15051"/>
                    <a:pt x="4045" y="14933"/>
                  </a:cubicBezTo>
                  <a:cubicBezTo>
                    <a:pt x="3976" y="14615"/>
                    <a:pt x="3976" y="14615"/>
                    <a:pt x="3976" y="14615"/>
                  </a:cubicBezTo>
                  <a:cubicBezTo>
                    <a:pt x="3892" y="14323"/>
                    <a:pt x="3892" y="14323"/>
                    <a:pt x="3892" y="14323"/>
                  </a:cubicBezTo>
                  <a:cubicBezTo>
                    <a:pt x="3805" y="14118"/>
                    <a:pt x="3722" y="13975"/>
                    <a:pt x="3602" y="13826"/>
                  </a:cubicBezTo>
                  <a:cubicBezTo>
                    <a:pt x="3348" y="13508"/>
                    <a:pt x="3075" y="13160"/>
                    <a:pt x="2803" y="12955"/>
                  </a:cubicBezTo>
                  <a:cubicBezTo>
                    <a:pt x="2669" y="12868"/>
                    <a:pt x="2429" y="12576"/>
                    <a:pt x="2310" y="12576"/>
                  </a:cubicBezTo>
                  <a:cubicBezTo>
                    <a:pt x="2055" y="12458"/>
                    <a:pt x="1870" y="12140"/>
                    <a:pt x="1598" y="12109"/>
                  </a:cubicBezTo>
                  <a:cubicBezTo>
                    <a:pt x="1325" y="12053"/>
                    <a:pt x="1053" y="12140"/>
                    <a:pt x="781" y="12227"/>
                  </a:cubicBezTo>
                  <a:cubicBezTo>
                    <a:pt x="697" y="12284"/>
                    <a:pt x="559" y="12432"/>
                    <a:pt x="440" y="12458"/>
                  </a:cubicBezTo>
                  <a:cubicBezTo>
                    <a:pt x="425" y="12371"/>
                    <a:pt x="407" y="12258"/>
                    <a:pt x="407" y="12171"/>
                  </a:cubicBezTo>
                  <a:cubicBezTo>
                    <a:pt x="407" y="12140"/>
                    <a:pt x="407" y="12109"/>
                    <a:pt x="407" y="12079"/>
                  </a:cubicBezTo>
                  <a:cubicBezTo>
                    <a:pt x="389" y="12053"/>
                    <a:pt x="356" y="11935"/>
                    <a:pt x="338" y="11904"/>
                  </a:cubicBezTo>
                  <a:cubicBezTo>
                    <a:pt x="305" y="11817"/>
                    <a:pt x="356" y="11643"/>
                    <a:pt x="356" y="11525"/>
                  </a:cubicBezTo>
                  <a:cubicBezTo>
                    <a:pt x="356" y="11351"/>
                    <a:pt x="287" y="11207"/>
                    <a:pt x="287" y="11033"/>
                  </a:cubicBezTo>
                  <a:cubicBezTo>
                    <a:pt x="287" y="10915"/>
                    <a:pt x="323" y="10828"/>
                    <a:pt x="305" y="10710"/>
                  </a:cubicBezTo>
                  <a:cubicBezTo>
                    <a:pt x="287" y="10598"/>
                    <a:pt x="218" y="10623"/>
                    <a:pt x="236" y="10480"/>
                  </a:cubicBezTo>
                  <a:cubicBezTo>
                    <a:pt x="254" y="10362"/>
                    <a:pt x="236" y="10275"/>
                    <a:pt x="218" y="10162"/>
                  </a:cubicBezTo>
                  <a:cubicBezTo>
                    <a:pt x="203" y="10013"/>
                    <a:pt x="203" y="9926"/>
                    <a:pt x="153" y="9808"/>
                  </a:cubicBezTo>
                  <a:cubicBezTo>
                    <a:pt x="117" y="9752"/>
                    <a:pt x="33" y="9578"/>
                    <a:pt x="0" y="9516"/>
                  </a:cubicBezTo>
                  <a:cubicBezTo>
                    <a:pt x="15" y="9429"/>
                    <a:pt x="33" y="9255"/>
                    <a:pt x="66" y="9199"/>
                  </a:cubicBezTo>
                  <a:cubicBezTo>
                    <a:pt x="66" y="9168"/>
                    <a:pt x="84" y="9111"/>
                    <a:pt x="84" y="9055"/>
                  </a:cubicBezTo>
                  <a:cubicBezTo>
                    <a:pt x="51" y="8881"/>
                    <a:pt x="135" y="8937"/>
                    <a:pt x="171" y="8819"/>
                  </a:cubicBezTo>
                  <a:cubicBezTo>
                    <a:pt x="185" y="8732"/>
                    <a:pt x="218" y="8645"/>
                    <a:pt x="236" y="8589"/>
                  </a:cubicBezTo>
                  <a:cubicBezTo>
                    <a:pt x="272" y="8502"/>
                    <a:pt x="287" y="8353"/>
                    <a:pt x="272" y="8240"/>
                  </a:cubicBezTo>
                  <a:cubicBezTo>
                    <a:pt x="287" y="8092"/>
                    <a:pt x="407" y="7974"/>
                    <a:pt x="389" y="7830"/>
                  </a:cubicBezTo>
                  <a:cubicBezTo>
                    <a:pt x="356" y="7656"/>
                    <a:pt x="458" y="7712"/>
                    <a:pt x="491" y="7625"/>
                  </a:cubicBezTo>
                  <a:cubicBezTo>
                    <a:pt x="527" y="7569"/>
                    <a:pt x="559" y="7513"/>
                    <a:pt x="595" y="7451"/>
                  </a:cubicBezTo>
                  <a:cubicBezTo>
                    <a:pt x="748" y="7246"/>
                    <a:pt x="883" y="7046"/>
                    <a:pt x="865" y="6693"/>
                  </a:cubicBezTo>
                  <a:cubicBezTo>
                    <a:pt x="865" y="6580"/>
                    <a:pt x="1020" y="6319"/>
                    <a:pt x="1002" y="6114"/>
                  </a:cubicBezTo>
                  <a:cubicBezTo>
                    <a:pt x="984" y="5996"/>
                    <a:pt x="933" y="5939"/>
                    <a:pt x="1035" y="5909"/>
                  </a:cubicBezTo>
                  <a:cubicBezTo>
                    <a:pt x="1104" y="5878"/>
                    <a:pt x="1206" y="5791"/>
                    <a:pt x="1239" y="5821"/>
                  </a:cubicBezTo>
                  <a:cubicBezTo>
                    <a:pt x="1289" y="5878"/>
                    <a:pt x="1478" y="5852"/>
                    <a:pt x="1445" y="5704"/>
                  </a:cubicBezTo>
                  <a:cubicBezTo>
                    <a:pt x="1460" y="5586"/>
                    <a:pt x="1445" y="5529"/>
                    <a:pt x="1529" y="5504"/>
                  </a:cubicBezTo>
                  <a:cubicBezTo>
                    <a:pt x="1562" y="5504"/>
                    <a:pt x="1648" y="5560"/>
                    <a:pt x="1681" y="5617"/>
                  </a:cubicBezTo>
                  <a:cubicBezTo>
                    <a:pt x="1714" y="5647"/>
                    <a:pt x="1714" y="5734"/>
                    <a:pt x="1783" y="5704"/>
                  </a:cubicBezTo>
                  <a:cubicBezTo>
                    <a:pt x="1936" y="5617"/>
                    <a:pt x="1954" y="5386"/>
                    <a:pt x="1954" y="5094"/>
                  </a:cubicBezTo>
                  <a:cubicBezTo>
                    <a:pt x="1954" y="4976"/>
                    <a:pt x="1986" y="5007"/>
                    <a:pt x="2022" y="4950"/>
                  </a:cubicBezTo>
                  <a:cubicBezTo>
                    <a:pt x="2088" y="4771"/>
                    <a:pt x="2022" y="4571"/>
                    <a:pt x="2055" y="4453"/>
                  </a:cubicBezTo>
                  <a:cubicBezTo>
                    <a:pt x="2073" y="4397"/>
                    <a:pt x="2175" y="4223"/>
                    <a:pt x="2157" y="4192"/>
                  </a:cubicBezTo>
                  <a:cubicBezTo>
                    <a:pt x="2310" y="4248"/>
                    <a:pt x="2310" y="4248"/>
                    <a:pt x="2310" y="4248"/>
                  </a:cubicBezTo>
                  <a:cubicBezTo>
                    <a:pt x="2378" y="4397"/>
                    <a:pt x="2480" y="4422"/>
                    <a:pt x="2582" y="4422"/>
                  </a:cubicBezTo>
                  <a:cubicBezTo>
                    <a:pt x="2821" y="4453"/>
                    <a:pt x="2480" y="4684"/>
                    <a:pt x="2600" y="4920"/>
                  </a:cubicBezTo>
                  <a:cubicBezTo>
                    <a:pt x="2633" y="4976"/>
                    <a:pt x="2701" y="4889"/>
                    <a:pt x="2752" y="4950"/>
                  </a:cubicBezTo>
                  <a:cubicBezTo>
                    <a:pt x="2872" y="5150"/>
                    <a:pt x="2836" y="5094"/>
                    <a:pt x="3025" y="5094"/>
                  </a:cubicBezTo>
                  <a:cubicBezTo>
                    <a:pt x="3093" y="5094"/>
                    <a:pt x="3195" y="5007"/>
                    <a:pt x="3261" y="5037"/>
                  </a:cubicBezTo>
                  <a:cubicBezTo>
                    <a:pt x="3297" y="5063"/>
                    <a:pt x="3431" y="5268"/>
                    <a:pt x="3431" y="5355"/>
                  </a:cubicBezTo>
                  <a:cubicBezTo>
                    <a:pt x="3431" y="5704"/>
                    <a:pt x="3449" y="5560"/>
                    <a:pt x="3602" y="5617"/>
                  </a:cubicBezTo>
                  <a:cubicBezTo>
                    <a:pt x="3638" y="5647"/>
                    <a:pt x="3841" y="5791"/>
                    <a:pt x="3841" y="5765"/>
                  </a:cubicBezTo>
                  <a:cubicBezTo>
                    <a:pt x="3907" y="5504"/>
                    <a:pt x="3907" y="5504"/>
                    <a:pt x="3907" y="5504"/>
                  </a:cubicBezTo>
                  <a:cubicBezTo>
                    <a:pt x="3943" y="5386"/>
                    <a:pt x="3907" y="5268"/>
                    <a:pt x="4009" y="5386"/>
                  </a:cubicBezTo>
                  <a:cubicBezTo>
                    <a:pt x="4146" y="5529"/>
                    <a:pt x="4197" y="5324"/>
                    <a:pt x="4248" y="5678"/>
                  </a:cubicBezTo>
                  <a:cubicBezTo>
                    <a:pt x="4248" y="5765"/>
                    <a:pt x="4386" y="5996"/>
                    <a:pt x="4434" y="6026"/>
                  </a:cubicBezTo>
                  <a:cubicBezTo>
                    <a:pt x="4502" y="6052"/>
                    <a:pt x="4571" y="5996"/>
                    <a:pt x="4640" y="6083"/>
                  </a:cubicBezTo>
                  <a:cubicBezTo>
                    <a:pt x="4691" y="6139"/>
                    <a:pt x="4724" y="6139"/>
                    <a:pt x="4793" y="6139"/>
                  </a:cubicBezTo>
                  <a:cubicBezTo>
                    <a:pt x="4861" y="6139"/>
                    <a:pt x="4876" y="6319"/>
                    <a:pt x="4945" y="6257"/>
                  </a:cubicBezTo>
                  <a:cubicBezTo>
                    <a:pt x="5029" y="6201"/>
                    <a:pt x="5116" y="6026"/>
                    <a:pt x="5218" y="5965"/>
                  </a:cubicBezTo>
                  <a:cubicBezTo>
                    <a:pt x="5352" y="5909"/>
                    <a:pt x="5505" y="5909"/>
                    <a:pt x="5642" y="5852"/>
                  </a:cubicBezTo>
                  <a:cubicBezTo>
                    <a:pt x="5813" y="5734"/>
                    <a:pt x="5726" y="5678"/>
                    <a:pt x="5828" y="5504"/>
                  </a:cubicBezTo>
                  <a:cubicBezTo>
                    <a:pt x="5965" y="5268"/>
                    <a:pt x="5795" y="5181"/>
                    <a:pt x="5846" y="5037"/>
                  </a:cubicBezTo>
                  <a:cubicBezTo>
                    <a:pt x="5897" y="4889"/>
                    <a:pt x="5998" y="4832"/>
                    <a:pt x="6034" y="4684"/>
                  </a:cubicBezTo>
                  <a:cubicBezTo>
                    <a:pt x="6067" y="4422"/>
                    <a:pt x="6306" y="4484"/>
                    <a:pt x="6408" y="4397"/>
                  </a:cubicBezTo>
                  <a:cubicBezTo>
                    <a:pt x="6695" y="4105"/>
                    <a:pt x="6797" y="4658"/>
                    <a:pt x="6561" y="4715"/>
                  </a:cubicBezTo>
                  <a:cubicBezTo>
                    <a:pt x="6474" y="4745"/>
                    <a:pt x="6561" y="5125"/>
                    <a:pt x="6612" y="5181"/>
                  </a:cubicBezTo>
                  <a:cubicBezTo>
                    <a:pt x="6713" y="5268"/>
                    <a:pt x="6866" y="4832"/>
                    <a:pt x="6968" y="4771"/>
                  </a:cubicBezTo>
                  <a:cubicBezTo>
                    <a:pt x="7019" y="4771"/>
                    <a:pt x="7051" y="4771"/>
                    <a:pt x="7105" y="4771"/>
                  </a:cubicBezTo>
                  <a:cubicBezTo>
                    <a:pt x="7138" y="4745"/>
                    <a:pt x="7240" y="4597"/>
                    <a:pt x="7258" y="4540"/>
                  </a:cubicBezTo>
                  <a:cubicBezTo>
                    <a:pt x="7273" y="4453"/>
                    <a:pt x="7258" y="4422"/>
                    <a:pt x="7258" y="4335"/>
                  </a:cubicBezTo>
                  <a:cubicBezTo>
                    <a:pt x="7258" y="4248"/>
                    <a:pt x="7324" y="4192"/>
                    <a:pt x="7342" y="4043"/>
                  </a:cubicBezTo>
                  <a:cubicBezTo>
                    <a:pt x="7342" y="3782"/>
                    <a:pt x="7240" y="3638"/>
                    <a:pt x="7240" y="3433"/>
                  </a:cubicBezTo>
                  <a:cubicBezTo>
                    <a:pt x="7240" y="3316"/>
                    <a:pt x="7207" y="3316"/>
                    <a:pt x="7171" y="3259"/>
                  </a:cubicBezTo>
                  <a:cubicBezTo>
                    <a:pt x="7120" y="3203"/>
                    <a:pt x="7189" y="2998"/>
                    <a:pt x="7171" y="2911"/>
                  </a:cubicBezTo>
                  <a:cubicBezTo>
                    <a:pt x="7171" y="2824"/>
                    <a:pt x="7120" y="2793"/>
                    <a:pt x="7120" y="2706"/>
                  </a:cubicBezTo>
                  <a:cubicBezTo>
                    <a:pt x="7120" y="2588"/>
                    <a:pt x="7171" y="2357"/>
                    <a:pt x="7222" y="2270"/>
                  </a:cubicBezTo>
                  <a:cubicBezTo>
                    <a:pt x="7309" y="2096"/>
                    <a:pt x="7410" y="2301"/>
                    <a:pt x="7476" y="2127"/>
                  </a:cubicBezTo>
                  <a:cubicBezTo>
                    <a:pt x="7545" y="2009"/>
                    <a:pt x="7530" y="1891"/>
                    <a:pt x="7632" y="1773"/>
                  </a:cubicBezTo>
                  <a:cubicBezTo>
                    <a:pt x="7716" y="1686"/>
                    <a:pt x="7868" y="1107"/>
                    <a:pt x="7937" y="1133"/>
                  </a:cubicBezTo>
                  <a:cubicBezTo>
                    <a:pt x="8107" y="1220"/>
                    <a:pt x="8090" y="1076"/>
                    <a:pt x="8224" y="902"/>
                  </a:cubicBezTo>
                  <a:cubicBezTo>
                    <a:pt x="8311" y="815"/>
                    <a:pt x="8380" y="610"/>
                    <a:pt x="8463" y="553"/>
                  </a:cubicBezTo>
                  <a:cubicBezTo>
                    <a:pt x="8514" y="492"/>
                    <a:pt x="8601" y="553"/>
                    <a:pt x="8601" y="379"/>
                  </a:cubicBezTo>
                  <a:cubicBezTo>
                    <a:pt x="8601" y="26"/>
                    <a:pt x="8565" y="143"/>
                    <a:pt x="8736" y="87"/>
                  </a:cubicBezTo>
                  <a:cubicBezTo>
                    <a:pt x="8888" y="56"/>
                    <a:pt x="8855" y="231"/>
                    <a:pt x="9041" y="26"/>
                  </a:cubicBezTo>
                  <a:cubicBezTo>
                    <a:pt x="9193" y="0"/>
                    <a:pt x="9193" y="0"/>
                    <a:pt x="9193" y="0"/>
                  </a:cubicBezTo>
                </a:path>
              </a:pathLst>
            </a:custGeom>
            <a:grpFill/>
            <a:ln w="3175" cap="flat" cmpd="sng">
              <a:noFill/>
              <a:prstDash val="solid"/>
              <a:bevel/>
              <a:headEnd type="none" w="sm" len="sm"/>
              <a:tailEnd type="none" w="sm" len="sm"/>
            </a:ln>
            <a:effectLst/>
          </p:spPr>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C2C2C"/>
                </a:solidFill>
                <a:effectLst/>
                <a:uLnTx/>
                <a:uFillTx/>
                <a:latin typeface="Open Sans"/>
                <a:ea typeface="Open Sans"/>
                <a:cs typeface="Open Sans"/>
                <a:sym typeface="Open Sans"/>
              </a:endParaRPr>
            </a:p>
          </p:txBody>
        </p:sp>
        <p:sp>
          <p:nvSpPr>
            <p:cNvPr id="29" name="Google Shape;11992;p276" descr="Freeform 163">
              <a:extLst>
                <a:ext uri="{FF2B5EF4-FFF2-40B4-BE49-F238E27FC236}">
                  <a16:creationId xmlns:a16="http://schemas.microsoft.com/office/drawing/2014/main" id="{5BB7962F-3682-7CC2-E018-7222DDDC09FA}"/>
                </a:ext>
              </a:extLst>
            </p:cNvPr>
            <p:cNvSpPr/>
            <p:nvPr/>
          </p:nvSpPr>
          <p:spPr>
            <a:xfrm>
              <a:off x="4463925" y="1717976"/>
              <a:ext cx="1069496" cy="647577"/>
            </a:xfrm>
            <a:custGeom>
              <a:avLst/>
              <a:gdLst/>
              <a:ahLst/>
              <a:cxnLst/>
              <a:rect l="l" t="t" r="r" b="b"/>
              <a:pathLst>
                <a:path w="21443" h="21600" extrusionOk="0">
                  <a:moveTo>
                    <a:pt x="19861" y="56"/>
                  </a:moveTo>
                  <a:cubicBezTo>
                    <a:pt x="19702" y="584"/>
                    <a:pt x="19572" y="320"/>
                    <a:pt x="19220" y="424"/>
                  </a:cubicBezTo>
                  <a:cubicBezTo>
                    <a:pt x="18931" y="480"/>
                    <a:pt x="18320" y="320"/>
                    <a:pt x="18059" y="584"/>
                  </a:cubicBezTo>
                  <a:cubicBezTo>
                    <a:pt x="17997" y="584"/>
                    <a:pt x="17866" y="960"/>
                    <a:pt x="17866" y="1017"/>
                  </a:cubicBezTo>
                  <a:cubicBezTo>
                    <a:pt x="17770" y="1441"/>
                    <a:pt x="17934" y="1337"/>
                    <a:pt x="18093" y="1337"/>
                  </a:cubicBezTo>
                  <a:cubicBezTo>
                    <a:pt x="18093" y="1657"/>
                    <a:pt x="18093" y="2081"/>
                    <a:pt x="18031" y="2410"/>
                  </a:cubicBezTo>
                  <a:cubicBezTo>
                    <a:pt x="17997" y="2674"/>
                    <a:pt x="18546" y="2571"/>
                    <a:pt x="18637" y="2514"/>
                  </a:cubicBezTo>
                  <a:cubicBezTo>
                    <a:pt x="18897" y="2458"/>
                    <a:pt x="19124" y="2297"/>
                    <a:pt x="19379" y="2514"/>
                  </a:cubicBezTo>
                  <a:cubicBezTo>
                    <a:pt x="19798" y="2834"/>
                    <a:pt x="20155" y="3418"/>
                    <a:pt x="20569" y="3691"/>
                  </a:cubicBezTo>
                  <a:cubicBezTo>
                    <a:pt x="21085" y="4115"/>
                    <a:pt x="21470" y="4651"/>
                    <a:pt x="21442" y="3267"/>
                  </a:cubicBezTo>
                  <a:cubicBezTo>
                    <a:pt x="21408" y="2571"/>
                    <a:pt x="21215" y="1874"/>
                    <a:pt x="21119" y="1281"/>
                  </a:cubicBezTo>
                  <a:cubicBezTo>
                    <a:pt x="20892" y="1281"/>
                    <a:pt x="20507" y="960"/>
                    <a:pt x="20473" y="640"/>
                  </a:cubicBezTo>
                  <a:cubicBezTo>
                    <a:pt x="20410" y="160"/>
                    <a:pt x="20348" y="217"/>
                    <a:pt x="20155" y="424"/>
                  </a:cubicBezTo>
                  <a:cubicBezTo>
                    <a:pt x="19861" y="640"/>
                    <a:pt x="20053" y="104"/>
                    <a:pt x="19929" y="0"/>
                  </a:cubicBezTo>
                  <a:cubicBezTo>
                    <a:pt x="19861" y="56"/>
                    <a:pt x="19861" y="56"/>
                    <a:pt x="19861" y="56"/>
                  </a:cubicBezTo>
                  <a:close/>
                  <a:moveTo>
                    <a:pt x="9979" y="4651"/>
                  </a:moveTo>
                  <a:cubicBezTo>
                    <a:pt x="9820" y="4868"/>
                    <a:pt x="9627" y="5348"/>
                    <a:pt x="9463" y="5612"/>
                  </a:cubicBezTo>
                  <a:cubicBezTo>
                    <a:pt x="9367" y="5725"/>
                    <a:pt x="9270" y="5772"/>
                    <a:pt x="9146" y="5828"/>
                  </a:cubicBezTo>
                  <a:cubicBezTo>
                    <a:pt x="8947" y="5885"/>
                    <a:pt x="8726" y="6309"/>
                    <a:pt x="8562" y="6525"/>
                  </a:cubicBezTo>
                  <a:cubicBezTo>
                    <a:pt x="8046" y="7165"/>
                    <a:pt x="8046" y="7165"/>
                    <a:pt x="8046" y="7165"/>
                  </a:cubicBezTo>
                  <a:cubicBezTo>
                    <a:pt x="7661" y="7542"/>
                    <a:pt x="7661" y="7542"/>
                    <a:pt x="7661" y="7542"/>
                  </a:cubicBezTo>
                  <a:cubicBezTo>
                    <a:pt x="7599" y="7599"/>
                    <a:pt x="8114" y="8446"/>
                    <a:pt x="8239" y="8446"/>
                  </a:cubicBezTo>
                  <a:cubicBezTo>
                    <a:pt x="8307" y="8446"/>
                    <a:pt x="8562" y="8390"/>
                    <a:pt x="8630" y="8493"/>
                  </a:cubicBezTo>
                  <a:cubicBezTo>
                    <a:pt x="8630" y="8493"/>
                    <a:pt x="8562" y="8710"/>
                    <a:pt x="8562" y="8813"/>
                  </a:cubicBezTo>
                  <a:cubicBezTo>
                    <a:pt x="8596" y="9086"/>
                    <a:pt x="9015" y="9614"/>
                    <a:pt x="9112" y="9133"/>
                  </a:cubicBezTo>
                  <a:cubicBezTo>
                    <a:pt x="9174" y="8926"/>
                    <a:pt x="9236" y="8446"/>
                    <a:pt x="9367" y="8333"/>
                  </a:cubicBezTo>
                  <a:cubicBezTo>
                    <a:pt x="9435" y="8277"/>
                    <a:pt x="9463" y="8333"/>
                    <a:pt x="9531" y="8277"/>
                  </a:cubicBezTo>
                  <a:cubicBezTo>
                    <a:pt x="9559" y="8277"/>
                    <a:pt x="9593" y="8069"/>
                    <a:pt x="9627" y="8069"/>
                  </a:cubicBezTo>
                  <a:cubicBezTo>
                    <a:pt x="9627" y="8022"/>
                    <a:pt x="9724" y="8173"/>
                    <a:pt x="9752" y="8116"/>
                  </a:cubicBezTo>
                  <a:cubicBezTo>
                    <a:pt x="9786" y="8022"/>
                    <a:pt x="9820" y="7862"/>
                    <a:pt x="9848" y="7806"/>
                  </a:cubicBezTo>
                  <a:cubicBezTo>
                    <a:pt x="10013" y="7759"/>
                    <a:pt x="10398" y="8277"/>
                    <a:pt x="10494" y="8446"/>
                  </a:cubicBezTo>
                  <a:cubicBezTo>
                    <a:pt x="10653" y="8653"/>
                    <a:pt x="10460" y="8973"/>
                    <a:pt x="10460" y="9246"/>
                  </a:cubicBezTo>
                  <a:cubicBezTo>
                    <a:pt x="10460" y="9463"/>
                    <a:pt x="10653" y="9567"/>
                    <a:pt x="10591" y="9830"/>
                  </a:cubicBezTo>
                  <a:cubicBezTo>
                    <a:pt x="10528" y="10150"/>
                    <a:pt x="10687" y="10527"/>
                    <a:pt x="10851" y="10744"/>
                  </a:cubicBezTo>
                  <a:cubicBezTo>
                    <a:pt x="11010" y="11007"/>
                    <a:pt x="11333" y="10904"/>
                    <a:pt x="11560" y="10904"/>
                  </a:cubicBezTo>
                  <a:cubicBezTo>
                    <a:pt x="11684" y="10904"/>
                    <a:pt x="11684" y="11007"/>
                    <a:pt x="11781" y="10904"/>
                  </a:cubicBezTo>
                  <a:cubicBezTo>
                    <a:pt x="11979" y="10800"/>
                    <a:pt x="12007" y="10744"/>
                    <a:pt x="12172" y="11007"/>
                  </a:cubicBezTo>
                  <a:cubicBezTo>
                    <a:pt x="12268" y="11167"/>
                    <a:pt x="12172" y="11487"/>
                    <a:pt x="12330" y="11544"/>
                  </a:cubicBezTo>
                  <a:cubicBezTo>
                    <a:pt x="12461" y="11600"/>
                    <a:pt x="12619" y="12184"/>
                    <a:pt x="12750" y="12344"/>
                  </a:cubicBezTo>
                  <a:cubicBezTo>
                    <a:pt x="12846" y="12457"/>
                    <a:pt x="13169" y="11760"/>
                    <a:pt x="13265" y="11647"/>
                  </a:cubicBezTo>
                  <a:cubicBezTo>
                    <a:pt x="13328" y="11544"/>
                    <a:pt x="13650" y="11327"/>
                    <a:pt x="13650" y="11280"/>
                  </a:cubicBezTo>
                  <a:cubicBezTo>
                    <a:pt x="13684" y="11064"/>
                    <a:pt x="13713" y="11007"/>
                    <a:pt x="13843" y="10960"/>
                  </a:cubicBezTo>
                  <a:cubicBezTo>
                    <a:pt x="14200" y="10744"/>
                    <a:pt x="14228" y="9783"/>
                    <a:pt x="14325" y="9293"/>
                  </a:cubicBezTo>
                  <a:cubicBezTo>
                    <a:pt x="14455" y="8973"/>
                    <a:pt x="14551" y="8446"/>
                    <a:pt x="14744" y="8229"/>
                  </a:cubicBezTo>
                  <a:cubicBezTo>
                    <a:pt x="14874" y="8022"/>
                    <a:pt x="14971" y="7806"/>
                    <a:pt x="15101" y="7702"/>
                  </a:cubicBezTo>
                  <a:cubicBezTo>
                    <a:pt x="15294" y="7542"/>
                    <a:pt x="15033" y="7439"/>
                    <a:pt x="15129" y="7165"/>
                  </a:cubicBezTo>
                  <a:cubicBezTo>
                    <a:pt x="15197" y="6845"/>
                    <a:pt x="15549" y="6685"/>
                    <a:pt x="15549" y="6205"/>
                  </a:cubicBezTo>
                  <a:cubicBezTo>
                    <a:pt x="15549" y="5988"/>
                    <a:pt x="15679" y="5508"/>
                    <a:pt x="15617" y="5405"/>
                  </a:cubicBezTo>
                  <a:cubicBezTo>
                    <a:pt x="15390" y="5085"/>
                    <a:pt x="15033" y="4651"/>
                    <a:pt x="14710" y="4548"/>
                  </a:cubicBezTo>
                  <a:cubicBezTo>
                    <a:pt x="14682" y="4548"/>
                    <a:pt x="14489" y="5085"/>
                    <a:pt x="14393" y="5188"/>
                  </a:cubicBezTo>
                  <a:cubicBezTo>
                    <a:pt x="14132" y="5508"/>
                    <a:pt x="13843" y="5292"/>
                    <a:pt x="13616" y="5028"/>
                  </a:cubicBezTo>
                  <a:cubicBezTo>
                    <a:pt x="13588" y="4868"/>
                    <a:pt x="13395" y="4435"/>
                    <a:pt x="13294" y="4331"/>
                  </a:cubicBezTo>
                  <a:cubicBezTo>
                    <a:pt x="13039" y="3955"/>
                    <a:pt x="13486" y="3955"/>
                    <a:pt x="13616" y="3795"/>
                  </a:cubicBezTo>
                  <a:cubicBezTo>
                    <a:pt x="13713" y="3635"/>
                    <a:pt x="13713" y="3531"/>
                    <a:pt x="13650" y="3418"/>
                  </a:cubicBezTo>
                  <a:cubicBezTo>
                    <a:pt x="13588" y="3267"/>
                    <a:pt x="13713" y="3154"/>
                    <a:pt x="13713" y="2994"/>
                  </a:cubicBezTo>
                  <a:cubicBezTo>
                    <a:pt x="13684" y="2994"/>
                    <a:pt x="13328" y="3267"/>
                    <a:pt x="13265" y="3314"/>
                  </a:cubicBezTo>
                  <a:cubicBezTo>
                    <a:pt x="13169" y="3314"/>
                    <a:pt x="13039" y="3371"/>
                    <a:pt x="13039" y="3154"/>
                  </a:cubicBezTo>
                  <a:cubicBezTo>
                    <a:pt x="13039" y="2731"/>
                    <a:pt x="13197" y="2571"/>
                    <a:pt x="13424" y="2458"/>
                  </a:cubicBezTo>
                  <a:cubicBezTo>
                    <a:pt x="13520" y="2354"/>
                    <a:pt x="13905" y="2137"/>
                    <a:pt x="13905" y="1921"/>
                  </a:cubicBezTo>
                  <a:cubicBezTo>
                    <a:pt x="13713" y="1921"/>
                    <a:pt x="13486" y="1874"/>
                    <a:pt x="13328" y="2081"/>
                  </a:cubicBezTo>
                  <a:cubicBezTo>
                    <a:pt x="13073" y="2514"/>
                    <a:pt x="12874" y="2250"/>
                    <a:pt x="12585" y="2297"/>
                  </a:cubicBezTo>
                  <a:cubicBezTo>
                    <a:pt x="12427" y="2354"/>
                    <a:pt x="12427" y="2514"/>
                    <a:pt x="12330" y="2618"/>
                  </a:cubicBezTo>
                  <a:cubicBezTo>
                    <a:pt x="12200" y="2731"/>
                    <a:pt x="12041" y="2674"/>
                    <a:pt x="11911" y="2674"/>
                  </a:cubicBezTo>
                  <a:cubicBezTo>
                    <a:pt x="11752" y="2834"/>
                    <a:pt x="11588" y="2938"/>
                    <a:pt x="11463" y="3098"/>
                  </a:cubicBezTo>
                  <a:cubicBezTo>
                    <a:pt x="11333" y="3267"/>
                    <a:pt x="11203" y="3371"/>
                    <a:pt x="11044" y="3371"/>
                  </a:cubicBezTo>
                  <a:cubicBezTo>
                    <a:pt x="10948" y="3371"/>
                    <a:pt x="10880" y="3418"/>
                    <a:pt x="10817" y="3587"/>
                  </a:cubicBezTo>
                  <a:cubicBezTo>
                    <a:pt x="10653" y="3955"/>
                    <a:pt x="10239" y="3955"/>
                    <a:pt x="10075" y="4435"/>
                  </a:cubicBezTo>
                  <a:cubicBezTo>
                    <a:pt x="9979" y="4651"/>
                    <a:pt x="9979" y="4651"/>
                    <a:pt x="9979" y="4651"/>
                  </a:cubicBezTo>
                  <a:close/>
                  <a:moveTo>
                    <a:pt x="1224" y="18069"/>
                  </a:moveTo>
                  <a:cubicBezTo>
                    <a:pt x="1190" y="17692"/>
                    <a:pt x="2029" y="17485"/>
                    <a:pt x="2125" y="16949"/>
                  </a:cubicBezTo>
                  <a:cubicBezTo>
                    <a:pt x="2188" y="16628"/>
                    <a:pt x="2091" y="16515"/>
                    <a:pt x="2284" y="16468"/>
                  </a:cubicBezTo>
                  <a:cubicBezTo>
                    <a:pt x="2545" y="16355"/>
                    <a:pt x="2477" y="15932"/>
                    <a:pt x="2669" y="15819"/>
                  </a:cubicBezTo>
                  <a:cubicBezTo>
                    <a:pt x="2607" y="15668"/>
                    <a:pt x="2511" y="15499"/>
                    <a:pt x="2545" y="15235"/>
                  </a:cubicBezTo>
                  <a:cubicBezTo>
                    <a:pt x="2545" y="14858"/>
                    <a:pt x="2669" y="14858"/>
                    <a:pt x="2352" y="14858"/>
                  </a:cubicBezTo>
                  <a:cubicBezTo>
                    <a:pt x="2159" y="14858"/>
                    <a:pt x="2256" y="14698"/>
                    <a:pt x="2159" y="14595"/>
                  </a:cubicBezTo>
                  <a:cubicBezTo>
                    <a:pt x="2159" y="14538"/>
                    <a:pt x="1933" y="14858"/>
                    <a:pt x="1802" y="14858"/>
                  </a:cubicBezTo>
                  <a:cubicBezTo>
                    <a:pt x="1644" y="14858"/>
                    <a:pt x="1417" y="15018"/>
                    <a:pt x="1253" y="15178"/>
                  </a:cubicBezTo>
                  <a:cubicBezTo>
                    <a:pt x="1162" y="15338"/>
                    <a:pt x="1094" y="15291"/>
                    <a:pt x="964" y="15291"/>
                  </a:cubicBezTo>
                  <a:cubicBezTo>
                    <a:pt x="839" y="15291"/>
                    <a:pt x="323" y="16308"/>
                    <a:pt x="482" y="16468"/>
                  </a:cubicBezTo>
                  <a:cubicBezTo>
                    <a:pt x="743" y="16788"/>
                    <a:pt x="578" y="16836"/>
                    <a:pt x="352" y="16836"/>
                  </a:cubicBezTo>
                  <a:cubicBezTo>
                    <a:pt x="-130" y="16836"/>
                    <a:pt x="131" y="16788"/>
                    <a:pt x="63" y="17269"/>
                  </a:cubicBezTo>
                  <a:cubicBezTo>
                    <a:pt x="63" y="17485"/>
                    <a:pt x="0" y="17645"/>
                    <a:pt x="0" y="17852"/>
                  </a:cubicBezTo>
                  <a:cubicBezTo>
                    <a:pt x="0" y="18229"/>
                    <a:pt x="193" y="18446"/>
                    <a:pt x="289" y="18022"/>
                  </a:cubicBezTo>
                  <a:cubicBezTo>
                    <a:pt x="386" y="18069"/>
                    <a:pt x="386" y="18069"/>
                    <a:pt x="386" y="18069"/>
                  </a:cubicBezTo>
                  <a:cubicBezTo>
                    <a:pt x="482" y="18126"/>
                    <a:pt x="771" y="18286"/>
                    <a:pt x="839" y="18286"/>
                  </a:cubicBezTo>
                  <a:cubicBezTo>
                    <a:pt x="901" y="18286"/>
                    <a:pt x="935" y="18389"/>
                    <a:pt x="935" y="18446"/>
                  </a:cubicBezTo>
                  <a:cubicBezTo>
                    <a:pt x="964" y="18549"/>
                    <a:pt x="1032" y="18662"/>
                    <a:pt x="1094" y="18662"/>
                  </a:cubicBezTo>
                  <a:cubicBezTo>
                    <a:pt x="1128" y="18662"/>
                    <a:pt x="1190" y="18662"/>
                    <a:pt x="1224" y="18709"/>
                  </a:cubicBezTo>
                  <a:cubicBezTo>
                    <a:pt x="1253" y="18709"/>
                    <a:pt x="1287" y="18766"/>
                    <a:pt x="1321" y="18709"/>
                  </a:cubicBezTo>
                  <a:cubicBezTo>
                    <a:pt x="1355" y="18549"/>
                    <a:pt x="1224" y="18342"/>
                    <a:pt x="1224" y="18126"/>
                  </a:cubicBezTo>
                  <a:cubicBezTo>
                    <a:pt x="1224" y="18069"/>
                    <a:pt x="1224" y="18069"/>
                    <a:pt x="1224" y="18069"/>
                  </a:cubicBezTo>
                  <a:close/>
                  <a:moveTo>
                    <a:pt x="2091" y="21120"/>
                  </a:moveTo>
                  <a:cubicBezTo>
                    <a:pt x="2029" y="21120"/>
                    <a:pt x="1933" y="20960"/>
                    <a:pt x="1865" y="20903"/>
                  </a:cubicBezTo>
                  <a:cubicBezTo>
                    <a:pt x="1836" y="20856"/>
                    <a:pt x="1672" y="20527"/>
                    <a:pt x="1644" y="20480"/>
                  </a:cubicBezTo>
                  <a:cubicBezTo>
                    <a:pt x="1576" y="20480"/>
                    <a:pt x="1513" y="20527"/>
                    <a:pt x="1417" y="20480"/>
                  </a:cubicBezTo>
                  <a:cubicBezTo>
                    <a:pt x="1355" y="20480"/>
                    <a:pt x="1224" y="20423"/>
                    <a:pt x="1162" y="20480"/>
                  </a:cubicBezTo>
                  <a:cubicBezTo>
                    <a:pt x="1128" y="20640"/>
                    <a:pt x="1162" y="20903"/>
                    <a:pt x="1162" y="21063"/>
                  </a:cubicBezTo>
                  <a:cubicBezTo>
                    <a:pt x="1162" y="21223"/>
                    <a:pt x="1162" y="21440"/>
                    <a:pt x="1190" y="21600"/>
                  </a:cubicBezTo>
                  <a:cubicBezTo>
                    <a:pt x="1224" y="21600"/>
                    <a:pt x="1417" y="21120"/>
                    <a:pt x="1479" y="21016"/>
                  </a:cubicBezTo>
                  <a:cubicBezTo>
                    <a:pt x="1644" y="20856"/>
                    <a:pt x="1865" y="21016"/>
                    <a:pt x="1995" y="21223"/>
                  </a:cubicBezTo>
                  <a:cubicBezTo>
                    <a:pt x="2063" y="21336"/>
                    <a:pt x="2125" y="21440"/>
                    <a:pt x="2188" y="21440"/>
                  </a:cubicBezTo>
                  <a:cubicBezTo>
                    <a:pt x="2222" y="21440"/>
                    <a:pt x="2414" y="21440"/>
                    <a:pt x="2414" y="21383"/>
                  </a:cubicBezTo>
                  <a:lnTo>
                    <a:pt x="2448" y="21383"/>
                  </a:lnTo>
                  <a:cubicBezTo>
                    <a:pt x="2448" y="21280"/>
                    <a:pt x="2511" y="21063"/>
                    <a:pt x="2448" y="20960"/>
                  </a:cubicBezTo>
                  <a:cubicBezTo>
                    <a:pt x="2414" y="20856"/>
                    <a:pt x="2284" y="21016"/>
                    <a:pt x="2256" y="21063"/>
                  </a:cubicBezTo>
                  <a:lnTo>
                    <a:pt x="2091" y="21120"/>
                  </a:lnTo>
                  <a:close/>
                </a:path>
              </a:pathLst>
            </a:custGeom>
            <a:grpFill/>
            <a:ln w="3175" cap="flat" cmpd="sng">
              <a:noFill/>
              <a:prstDash val="solid"/>
              <a:bevel/>
              <a:headEnd type="none" w="sm" len="sm"/>
              <a:tailEnd type="none" w="sm" len="sm"/>
            </a:ln>
          </p:spPr>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C2C2C"/>
                </a:solidFill>
                <a:effectLst/>
                <a:uLnTx/>
                <a:uFillTx/>
                <a:latin typeface="Open Sans"/>
                <a:ea typeface="Open Sans"/>
                <a:cs typeface="Open Sans"/>
                <a:sym typeface="Open Sans"/>
              </a:endParaRPr>
            </a:p>
          </p:txBody>
        </p:sp>
        <p:sp>
          <p:nvSpPr>
            <p:cNvPr id="30" name="Google Shape;11994;p276" descr="Freeform 165">
              <a:extLst>
                <a:ext uri="{FF2B5EF4-FFF2-40B4-BE49-F238E27FC236}">
                  <a16:creationId xmlns:a16="http://schemas.microsoft.com/office/drawing/2014/main" id="{550B48E0-C1A0-F1EB-A40E-1142C5197101}"/>
                </a:ext>
              </a:extLst>
            </p:cNvPr>
            <p:cNvSpPr/>
            <p:nvPr/>
          </p:nvSpPr>
          <p:spPr>
            <a:xfrm>
              <a:off x="2458363" y="1227099"/>
              <a:ext cx="523299" cy="584811"/>
            </a:xfrm>
            <a:custGeom>
              <a:avLst/>
              <a:gdLst/>
              <a:ahLst/>
              <a:cxnLst/>
              <a:rect l="l" t="t" r="r" b="b"/>
              <a:pathLst>
                <a:path w="21461" h="21089" extrusionOk="0">
                  <a:moveTo>
                    <a:pt x="4417" y="8161"/>
                  </a:moveTo>
                  <a:cubicBezTo>
                    <a:pt x="4347" y="8049"/>
                    <a:pt x="4150" y="7988"/>
                    <a:pt x="4023" y="8110"/>
                  </a:cubicBezTo>
                  <a:cubicBezTo>
                    <a:pt x="3884" y="8161"/>
                    <a:pt x="3826" y="8161"/>
                    <a:pt x="3687" y="8283"/>
                  </a:cubicBezTo>
                  <a:cubicBezTo>
                    <a:pt x="3559" y="8395"/>
                    <a:pt x="3687" y="8630"/>
                    <a:pt x="3884" y="8518"/>
                  </a:cubicBezTo>
                  <a:cubicBezTo>
                    <a:pt x="4023" y="8518"/>
                    <a:pt x="4081" y="8457"/>
                    <a:pt x="4220" y="8518"/>
                  </a:cubicBezTo>
                  <a:cubicBezTo>
                    <a:pt x="4278" y="8518"/>
                    <a:pt x="4347" y="8518"/>
                    <a:pt x="4347" y="8518"/>
                  </a:cubicBezTo>
                  <a:cubicBezTo>
                    <a:pt x="4417" y="8457"/>
                    <a:pt x="4417" y="8345"/>
                    <a:pt x="4417" y="8283"/>
                  </a:cubicBezTo>
                  <a:cubicBezTo>
                    <a:pt x="4417" y="8161"/>
                    <a:pt x="4417" y="8161"/>
                    <a:pt x="4417" y="8161"/>
                  </a:cubicBezTo>
                  <a:close/>
                  <a:moveTo>
                    <a:pt x="0" y="15691"/>
                  </a:moveTo>
                  <a:cubicBezTo>
                    <a:pt x="394" y="15405"/>
                    <a:pt x="-70" y="14825"/>
                    <a:pt x="463" y="14478"/>
                  </a:cubicBezTo>
                  <a:cubicBezTo>
                    <a:pt x="730" y="14356"/>
                    <a:pt x="324" y="13724"/>
                    <a:pt x="394" y="13551"/>
                  </a:cubicBezTo>
                  <a:cubicBezTo>
                    <a:pt x="463" y="13490"/>
                    <a:pt x="660" y="13490"/>
                    <a:pt x="660" y="13551"/>
                  </a:cubicBezTo>
                  <a:cubicBezTo>
                    <a:pt x="788" y="13724"/>
                    <a:pt x="730" y="14009"/>
                    <a:pt x="1055" y="14009"/>
                  </a:cubicBezTo>
                  <a:cubicBezTo>
                    <a:pt x="1124" y="14009"/>
                    <a:pt x="1646" y="13958"/>
                    <a:pt x="1646" y="13958"/>
                  </a:cubicBezTo>
                  <a:cubicBezTo>
                    <a:pt x="1646" y="13836"/>
                    <a:pt x="1576" y="13724"/>
                    <a:pt x="1646" y="13663"/>
                  </a:cubicBezTo>
                  <a:cubicBezTo>
                    <a:pt x="1913" y="13490"/>
                    <a:pt x="1913" y="13551"/>
                    <a:pt x="1982" y="13255"/>
                  </a:cubicBezTo>
                  <a:cubicBezTo>
                    <a:pt x="2040" y="12858"/>
                    <a:pt x="1843" y="12736"/>
                    <a:pt x="2307" y="12512"/>
                  </a:cubicBezTo>
                  <a:cubicBezTo>
                    <a:pt x="2504" y="12451"/>
                    <a:pt x="2771" y="12512"/>
                    <a:pt x="2968" y="12451"/>
                  </a:cubicBezTo>
                  <a:cubicBezTo>
                    <a:pt x="3165" y="12389"/>
                    <a:pt x="3559" y="12563"/>
                    <a:pt x="3559" y="12277"/>
                  </a:cubicBezTo>
                  <a:cubicBezTo>
                    <a:pt x="3489" y="12155"/>
                    <a:pt x="3362" y="12104"/>
                    <a:pt x="3362" y="11992"/>
                  </a:cubicBezTo>
                  <a:cubicBezTo>
                    <a:pt x="3362" y="11870"/>
                    <a:pt x="3559" y="11697"/>
                    <a:pt x="3629" y="11585"/>
                  </a:cubicBezTo>
                  <a:cubicBezTo>
                    <a:pt x="3559" y="11350"/>
                    <a:pt x="3559" y="11177"/>
                    <a:pt x="3559" y="10892"/>
                  </a:cubicBezTo>
                  <a:cubicBezTo>
                    <a:pt x="3629" y="10769"/>
                    <a:pt x="3489" y="10596"/>
                    <a:pt x="3489" y="10423"/>
                  </a:cubicBezTo>
                  <a:cubicBezTo>
                    <a:pt x="3489" y="10362"/>
                    <a:pt x="3629" y="10311"/>
                    <a:pt x="3756" y="10250"/>
                  </a:cubicBezTo>
                  <a:cubicBezTo>
                    <a:pt x="4081" y="10189"/>
                    <a:pt x="4150" y="9669"/>
                    <a:pt x="4220" y="9435"/>
                  </a:cubicBezTo>
                  <a:cubicBezTo>
                    <a:pt x="4220" y="9262"/>
                    <a:pt x="3953" y="9037"/>
                    <a:pt x="4150" y="8803"/>
                  </a:cubicBezTo>
                  <a:cubicBezTo>
                    <a:pt x="4220" y="8742"/>
                    <a:pt x="4417" y="9149"/>
                    <a:pt x="4475" y="9211"/>
                  </a:cubicBezTo>
                  <a:cubicBezTo>
                    <a:pt x="4614" y="9435"/>
                    <a:pt x="5333" y="9211"/>
                    <a:pt x="5530" y="9149"/>
                  </a:cubicBezTo>
                  <a:cubicBezTo>
                    <a:pt x="5669" y="9149"/>
                    <a:pt x="5924" y="9088"/>
                    <a:pt x="5797" y="8915"/>
                  </a:cubicBezTo>
                  <a:cubicBezTo>
                    <a:pt x="5669" y="8742"/>
                    <a:pt x="5727" y="8518"/>
                    <a:pt x="5727" y="8345"/>
                  </a:cubicBezTo>
                  <a:cubicBezTo>
                    <a:pt x="5994" y="7937"/>
                    <a:pt x="6191" y="7468"/>
                    <a:pt x="6527" y="7061"/>
                  </a:cubicBezTo>
                  <a:cubicBezTo>
                    <a:pt x="6655" y="6949"/>
                    <a:pt x="7118" y="6256"/>
                    <a:pt x="7176" y="6256"/>
                  </a:cubicBezTo>
                  <a:cubicBezTo>
                    <a:pt x="7640" y="6256"/>
                    <a:pt x="8301" y="6490"/>
                    <a:pt x="8429" y="5960"/>
                  </a:cubicBezTo>
                  <a:cubicBezTo>
                    <a:pt x="8429" y="5848"/>
                    <a:pt x="8626" y="5848"/>
                    <a:pt x="8695" y="5736"/>
                  </a:cubicBezTo>
                  <a:cubicBezTo>
                    <a:pt x="8765" y="5502"/>
                    <a:pt x="8626" y="5441"/>
                    <a:pt x="8765" y="5217"/>
                  </a:cubicBezTo>
                  <a:cubicBezTo>
                    <a:pt x="8962" y="5043"/>
                    <a:pt x="8892" y="4870"/>
                    <a:pt x="8892" y="4636"/>
                  </a:cubicBezTo>
                  <a:cubicBezTo>
                    <a:pt x="9020" y="4177"/>
                    <a:pt x="9356" y="3648"/>
                    <a:pt x="9681" y="3362"/>
                  </a:cubicBezTo>
                  <a:cubicBezTo>
                    <a:pt x="10017" y="3077"/>
                    <a:pt x="10342" y="3077"/>
                    <a:pt x="10805" y="2955"/>
                  </a:cubicBezTo>
                  <a:cubicBezTo>
                    <a:pt x="11466" y="2843"/>
                    <a:pt x="11721" y="2028"/>
                    <a:pt x="12116" y="1681"/>
                  </a:cubicBezTo>
                  <a:cubicBezTo>
                    <a:pt x="12382" y="1447"/>
                    <a:pt x="12649" y="1447"/>
                    <a:pt x="12904" y="1223"/>
                  </a:cubicBezTo>
                  <a:cubicBezTo>
                    <a:pt x="13565" y="469"/>
                    <a:pt x="13565" y="469"/>
                    <a:pt x="13565" y="469"/>
                  </a:cubicBezTo>
                  <a:cubicBezTo>
                    <a:pt x="13692" y="408"/>
                    <a:pt x="13750" y="346"/>
                    <a:pt x="13820" y="234"/>
                  </a:cubicBezTo>
                  <a:cubicBezTo>
                    <a:pt x="13889" y="183"/>
                    <a:pt x="14087" y="61"/>
                    <a:pt x="14214" y="61"/>
                  </a:cubicBezTo>
                  <a:cubicBezTo>
                    <a:pt x="14284" y="61"/>
                    <a:pt x="14353" y="0"/>
                    <a:pt x="14411" y="0"/>
                  </a:cubicBezTo>
                  <a:cubicBezTo>
                    <a:pt x="14481" y="0"/>
                    <a:pt x="14608" y="61"/>
                    <a:pt x="14678" y="61"/>
                  </a:cubicBezTo>
                  <a:cubicBezTo>
                    <a:pt x="14678" y="295"/>
                    <a:pt x="14678" y="408"/>
                    <a:pt x="14944" y="530"/>
                  </a:cubicBezTo>
                  <a:cubicBezTo>
                    <a:pt x="15269" y="581"/>
                    <a:pt x="15339" y="876"/>
                    <a:pt x="15397" y="1100"/>
                  </a:cubicBezTo>
                  <a:cubicBezTo>
                    <a:pt x="15466" y="1396"/>
                    <a:pt x="16058" y="1335"/>
                    <a:pt x="16255" y="1396"/>
                  </a:cubicBezTo>
                  <a:cubicBezTo>
                    <a:pt x="16255" y="1569"/>
                    <a:pt x="16000" y="1854"/>
                    <a:pt x="16127" y="2028"/>
                  </a:cubicBezTo>
                  <a:cubicBezTo>
                    <a:pt x="16197" y="2262"/>
                    <a:pt x="16591" y="2323"/>
                    <a:pt x="16591" y="2608"/>
                  </a:cubicBezTo>
                  <a:cubicBezTo>
                    <a:pt x="16463" y="2894"/>
                    <a:pt x="16324" y="3128"/>
                    <a:pt x="16197" y="3423"/>
                  </a:cubicBezTo>
                  <a:cubicBezTo>
                    <a:pt x="16127" y="3648"/>
                    <a:pt x="16127" y="3882"/>
                    <a:pt x="16000" y="4055"/>
                  </a:cubicBezTo>
                  <a:cubicBezTo>
                    <a:pt x="15930" y="4228"/>
                    <a:pt x="15733" y="4177"/>
                    <a:pt x="15930" y="4402"/>
                  </a:cubicBezTo>
                  <a:cubicBezTo>
                    <a:pt x="16324" y="4748"/>
                    <a:pt x="15802" y="4697"/>
                    <a:pt x="15733" y="4982"/>
                  </a:cubicBezTo>
                  <a:cubicBezTo>
                    <a:pt x="15536" y="5441"/>
                    <a:pt x="15466" y="5797"/>
                    <a:pt x="15211" y="6195"/>
                  </a:cubicBezTo>
                  <a:cubicBezTo>
                    <a:pt x="15142" y="6429"/>
                    <a:pt x="15663" y="6368"/>
                    <a:pt x="15860" y="6429"/>
                  </a:cubicBezTo>
                  <a:cubicBezTo>
                    <a:pt x="16058" y="6490"/>
                    <a:pt x="16000" y="7010"/>
                    <a:pt x="16000" y="7183"/>
                  </a:cubicBezTo>
                  <a:cubicBezTo>
                    <a:pt x="15930" y="7468"/>
                    <a:pt x="15733" y="7815"/>
                    <a:pt x="16000" y="8049"/>
                  </a:cubicBezTo>
                  <a:cubicBezTo>
                    <a:pt x="16255" y="8283"/>
                    <a:pt x="16591" y="7988"/>
                    <a:pt x="16916" y="7988"/>
                  </a:cubicBezTo>
                  <a:cubicBezTo>
                    <a:pt x="17182" y="7988"/>
                    <a:pt x="17055" y="8345"/>
                    <a:pt x="17182" y="8518"/>
                  </a:cubicBezTo>
                  <a:cubicBezTo>
                    <a:pt x="17310" y="8691"/>
                    <a:pt x="17704" y="8457"/>
                    <a:pt x="17704" y="8630"/>
                  </a:cubicBezTo>
                  <a:cubicBezTo>
                    <a:pt x="17843" y="8915"/>
                    <a:pt x="17449" y="9384"/>
                    <a:pt x="17843" y="9608"/>
                  </a:cubicBezTo>
                  <a:cubicBezTo>
                    <a:pt x="18040" y="9791"/>
                    <a:pt x="18237" y="9669"/>
                    <a:pt x="18237" y="10015"/>
                  </a:cubicBezTo>
                  <a:cubicBezTo>
                    <a:pt x="18237" y="10423"/>
                    <a:pt x="18759" y="10311"/>
                    <a:pt x="19095" y="10535"/>
                  </a:cubicBezTo>
                  <a:cubicBezTo>
                    <a:pt x="19489" y="10831"/>
                    <a:pt x="19547" y="11177"/>
                    <a:pt x="19547" y="11635"/>
                  </a:cubicBezTo>
                  <a:cubicBezTo>
                    <a:pt x="19547" y="12043"/>
                    <a:pt x="19884" y="11870"/>
                    <a:pt x="20150" y="12043"/>
                  </a:cubicBezTo>
                  <a:cubicBezTo>
                    <a:pt x="20278" y="12104"/>
                    <a:pt x="20475" y="12451"/>
                    <a:pt x="20475" y="12563"/>
                  </a:cubicBezTo>
                  <a:cubicBezTo>
                    <a:pt x="20405" y="12736"/>
                    <a:pt x="20081" y="12909"/>
                    <a:pt x="20208" y="13143"/>
                  </a:cubicBezTo>
                  <a:cubicBezTo>
                    <a:pt x="20347" y="13490"/>
                    <a:pt x="19884" y="13897"/>
                    <a:pt x="19814" y="14244"/>
                  </a:cubicBezTo>
                  <a:cubicBezTo>
                    <a:pt x="19756" y="14356"/>
                    <a:pt x="19756" y="14529"/>
                    <a:pt x="19756" y="14651"/>
                  </a:cubicBezTo>
                  <a:cubicBezTo>
                    <a:pt x="19756" y="14763"/>
                    <a:pt x="19617" y="14875"/>
                    <a:pt x="19617" y="14937"/>
                  </a:cubicBezTo>
                  <a:cubicBezTo>
                    <a:pt x="19547" y="14998"/>
                    <a:pt x="19756" y="15456"/>
                    <a:pt x="19884" y="15283"/>
                  </a:cubicBezTo>
                  <a:cubicBezTo>
                    <a:pt x="20011" y="15110"/>
                    <a:pt x="20602" y="14417"/>
                    <a:pt x="20869" y="14702"/>
                  </a:cubicBezTo>
                  <a:cubicBezTo>
                    <a:pt x="21066" y="15059"/>
                    <a:pt x="21205" y="15517"/>
                    <a:pt x="21205" y="15864"/>
                  </a:cubicBezTo>
                  <a:cubicBezTo>
                    <a:pt x="21460" y="16445"/>
                    <a:pt x="21460" y="16445"/>
                    <a:pt x="21460" y="16445"/>
                  </a:cubicBezTo>
                  <a:cubicBezTo>
                    <a:pt x="20939" y="17311"/>
                    <a:pt x="21530" y="18238"/>
                    <a:pt x="19547" y="18238"/>
                  </a:cubicBezTo>
                  <a:cubicBezTo>
                    <a:pt x="19026" y="18238"/>
                    <a:pt x="18562" y="18299"/>
                    <a:pt x="18110" y="18350"/>
                  </a:cubicBezTo>
                  <a:cubicBezTo>
                    <a:pt x="17971" y="18126"/>
                    <a:pt x="17843" y="17718"/>
                    <a:pt x="17449" y="17779"/>
                  </a:cubicBezTo>
                  <a:cubicBezTo>
                    <a:pt x="17310" y="17779"/>
                    <a:pt x="17113" y="17830"/>
                    <a:pt x="17113" y="17952"/>
                  </a:cubicBezTo>
                  <a:cubicBezTo>
                    <a:pt x="17113" y="18126"/>
                    <a:pt x="17055" y="18238"/>
                    <a:pt x="17055" y="18411"/>
                  </a:cubicBezTo>
                  <a:cubicBezTo>
                    <a:pt x="16985" y="18472"/>
                    <a:pt x="16985" y="18472"/>
                    <a:pt x="16985" y="18472"/>
                  </a:cubicBezTo>
                  <a:cubicBezTo>
                    <a:pt x="16858" y="18472"/>
                    <a:pt x="16788" y="18472"/>
                    <a:pt x="16718" y="18472"/>
                  </a:cubicBezTo>
                  <a:cubicBezTo>
                    <a:pt x="16197" y="18472"/>
                    <a:pt x="15733" y="18472"/>
                    <a:pt x="15339" y="18523"/>
                  </a:cubicBezTo>
                  <a:cubicBezTo>
                    <a:pt x="14805" y="18992"/>
                    <a:pt x="14284" y="18706"/>
                    <a:pt x="13820" y="19165"/>
                  </a:cubicBezTo>
                  <a:cubicBezTo>
                    <a:pt x="13623" y="19277"/>
                    <a:pt x="13495" y="19572"/>
                    <a:pt x="13356" y="19685"/>
                  </a:cubicBezTo>
                  <a:cubicBezTo>
                    <a:pt x="13031" y="19858"/>
                    <a:pt x="12382" y="19919"/>
                    <a:pt x="11918" y="20153"/>
                  </a:cubicBezTo>
                  <a:cubicBezTo>
                    <a:pt x="11524" y="20377"/>
                    <a:pt x="10678" y="21600"/>
                    <a:pt x="10272" y="20846"/>
                  </a:cubicBezTo>
                  <a:cubicBezTo>
                    <a:pt x="10214" y="20724"/>
                    <a:pt x="9947" y="20204"/>
                    <a:pt x="10214" y="20204"/>
                  </a:cubicBezTo>
                  <a:cubicBezTo>
                    <a:pt x="10411" y="20204"/>
                    <a:pt x="10678" y="19970"/>
                    <a:pt x="10863" y="19858"/>
                  </a:cubicBezTo>
                  <a:cubicBezTo>
                    <a:pt x="11072" y="19797"/>
                    <a:pt x="11269" y="19970"/>
                    <a:pt x="11466" y="19970"/>
                  </a:cubicBezTo>
                  <a:cubicBezTo>
                    <a:pt x="11663" y="19970"/>
                    <a:pt x="11524" y="19797"/>
                    <a:pt x="11663" y="19746"/>
                  </a:cubicBezTo>
                  <a:cubicBezTo>
                    <a:pt x="11988" y="19226"/>
                    <a:pt x="12452" y="18992"/>
                    <a:pt x="12962" y="18645"/>
                  </a:cubicBezTo>
                  <a:cubicBezTo>
                    <a:pt x="13356" y="18411"/>
                    <a:pt x="13356" y="18299"/>
                    <a:pt x="13565" y="18003"/>
                  </a:cubicBezTo>
                  <a:cubicBezTo>
                    <a:pt x="13889" y="17657"/>
                    <a:pt x="13623" y="17545"/>
                    <a:pt x="13426" y="17249"/>
                  </a:cubicBezTo>
                  <a:cubicBezTo>
                    <a:pt x="12962" y="17076"/>
                    <a:pt x="12452" y="16730"/>
                    <a:pt x="11988" y="16903"/>
                  </a:cubicBezTo>
                  <a:cubicBezTo>
                    <a:pt x="11327" y="17249"/>
                    <a:pt x="11072" y="16322"/>
                    <a:pt x="10805" y="16445"/>
                  </a:cubicBezTo>
                  <a:cubicBezTo>
                    <a:pt x="10342" y="16557"/>
                    <a:pt x="9681" y="15803"/>
                    <a:pt x="9089" y="15925"/>
                  </a:cubicBezTo>
                  <a:cubicBezTo>
                    <a:pt x="8892" y="15976"/>
                    <a:pt x="8626" y="15691"/>
                    <a:pt x="8301" y="15629"/>
                  </a:cubicBezTo>
                  <a:cubicBezTo>
                    <a:pt x="7965" y="15578"/>
                    <a:pt x="7640" y="15059"/>
                    <a:pt x="7571" y="15059"/>
                  </a:cubicBezTo>
                  <a:cubicBezTo>
                    <a:pt x="7571" y="14998"/>
                    <a:pt x="7176" y="15059"/>
                    <a:pt x="7049" y="15059"/>
                  </a:cubicBezTo>
                  <a:cubicBezTo>
                    <a:pt x="6260" y="15110"/>
                    <a:pt x="5600" y="14651"/>
                    <a:pt x="4881" y="14651"/>
                  </a:cubicBezTo>
                  <a:cubicBezTo>
                    <a:pt x="4672" y="14702"/>
                    <a:pt x="3826" y="16037"/>
                    <a:pt x="3559" y="15691"/>
                  </a:cubicBezTo>
                  <a:cubicBezTo>
                    <a:pt x="3292" y="15405"/>
                    <a:pt x="3165" y="14825"/>
                    <a:pt x="3165" y="14417"/>
                  </a:cubicBezTo>
                  <a:cubicBezTo>
                    <a:pt x="3165" y="14305"/>
                    <a:pt x="2771" y="13775"/>
                    <a:pt x="2771" y="14183"/>
                  </a:cubicBezTo>
                  <a:cubicBezTo>
                    <a:pt x="2771" y="14417"/>
                    <a:pt x="1913" y="14998"/>
                    <a:pt x="1716" y="15171"/>
                  </a:cubicBezTo>
                  <a:cubicBezTo>
                    <a:pt x="1518" y="15344"/>
                    <a:pt x="1252" y="15405"/>
                    <a:pt x="1055" y="15578"/>
                  </a:cubicBezTo>
                  <a:cubicBezTo>
                    <a:pt x="858" y="15691"/>
                    <a:pt x="730" y="15976"/>
                    <a:pt x="394" y="15864"/>
                  </a:cubicBezTo>
                  <a:cubicBezTo>
                    <a:pt x="0" y="15691"/>
                    <a:pt x="0" y="15691"/>
                    <a:pt x="0" y="15691"/>
                  </a:cubicBezTo>
                  <a:close/>
                </a:path>
              </a:pathLst>
            </a:custGeom>
            <a:grpFill/>
            <a:ln w="3175" cap="flat" cmpd="sng">
              <a:noFill/>
              <a:prstDash val="solid"/>
              <a:bevel/>
              <a:headEnd type="none" w="sm" len="sm"/>
              <a:tailEnd type="none" w="sm" len="sm"/>
            </a:ln>
          </p:spPr>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C2C2C"/>
                </a:solidFill>
                <a:effectLst/>
                <a:uLnTx/>
                <a:uFillTx/>
                <a:latin typeface="Open Sans"/>
                <a:ea typeface="Open Sans"/>
                <a:cs typeface="Open Sans"/>
                <a:sym typeface="Open Sans"/>
              </a:endParaRPr>
            </a:p>
          </p:txBody>
        </p:sp>
      </p:grpSp>
      <p:grpSp>
        <p:nvGrpSpPr>
          <p:cNvPr id="31" name="Group 30">
            <a:extLst>
              <a:ext uri="{FF2B5EF4-FFF2-40B4-BE49-F238E27FC236}">
                <a16:creationId xmlns:a16="http://schemas.microsoft.com/office/drawing/2014/main" id="{569660F1-20FE-53C1-BF58-D16B762F571A}"/>
              </a:ext>
            </a:extLst>
          </p:cNvPr>
          <p:cNvGrpSpPr/>
          <p:nvPr/>
        </p:nvGrpSpPr>
        <p:grpSpPr>
          <a:xfrm>
            <a:off x="7247185" y="1212727"/>
            <a:ext cx="1364929" cy="2060784"/>
            <a:chOff x="5545315" y="2311918"/>
            <a:chExt cx="1850128" cy="2793343"/>
          </a:xfrm>
          <a:solidFill>
            <a:srgbClr val="CCCDF1"/>
          </a:solidFill>
        </p:grpSpPr>
        <p:sp>
          <p:nvSpPr>
            <p:cNvPr id="32" name="Freeform: Shape 31">
              <a:extLst>
                <a:ext uri="{FF2B5EF4-FFF2-40B4-BE49-F238E27FC236}">
                  <a16:creationId xmlns:a16="http://schemas.microsoft.com/office/drawing/2014/main" id="{2C5754E0-0738-1C08-B709-12A2A3DCE7F1}"/>
                </a:ext>
              </a:extLst>
            </p:cNvPr>
            <p:cNvSpPr/>
            <p:nvPr/>
          </p:nvSpPr>
          <p:spPr>
            <a:xfrm>
              <a:off x="6130247" y="3081242"/>
              <a:ext cx="1585" cy="1589"/>
            </a:xfrm>
            <a:custGeom>
              <a:avLst/>
              <a:gdLst>
                <a:gd name="connsiteX0" fmla="*/ 1585 w 1585"/>
                <a:gd name="connsiteY0" fmla="*/ 0 h 1589"/>
                <a:gd name="connsiteX1" fmla="*/ 0 w 1585"/>
                <a:gd name="connsiteY1" fmla="*/ 1589 h 1589"/>
                <a:gd name="connsiteX2" fmla="*/ 76 w 1585"/>
                <a:gd name="connsiteY2" fmla="*/ 1469 h 1589"/>
                <a:gd name="connsiteX3" fmla="*/ 1585 w 1585"/>
                <a:gd name="connsiteY3" fmla="*/ 0 h 1589"/>
              </a:gdLst>
              <a:ahLst/>
              <a:cxnLst>
                <a:cxn ang="0">
                  <a:pos x="connsiteX0" y="connsiteY0"/>
                </a:cxn>
                <a:cxn ang="0">
                  <a:pos x="connsiteX1" y="connsiteY1"/>
                </a:cxn>
                <a:cxn ang="0">
                  <a:pos x="connsiteX2" y="connsiteY2"/>
                </a:cxn>
                <a:cxn ang="0">
                  <a:pos x="connsiteX3" y="connsiteY3"/>
                </a:cxn>
              </a:cxnLst>
              <a:rect l="l" t="t" r="r" b="b"/>
              <a:pathLst>
                <a:path w="1585" h="1589">
                  <a:moveTo>
                    <a:pt x="1585" y="0"/>
                  </a:moveTo>
                  <a:cubicBezTo>
                    <a:pt x="1585" y="19"/>
                    <a:pt x="0" y="1589"/>
                    <a:pt x="0" y="1589"/>
                  </a:cubicBezTo>
                  <a:lnTo>
                    <a:pt x="76" y="1469"/>
                  </a:lnTo>
                  <a:lnTo>
                    <a:pt x="1585" y="0"/>
                  </a:lnTo>
                  <a:close/>
                </a:path>
              </a:pathLst>
            </a:cu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CA0827C5-DDA6-7C82-AD1D-19A136C9C05E}"/>
                </a:ext>
              </a:extLst>
            </p:cNvPr>
            <p:cNvSpPr/>
            <p:nvPr/>
          </p:nvSpPr>
          <p:spPr>
            <a:xfrm>
              <a:off x="6197764" y="3532818"/>
              <a:ext cx="2377" cy="1108"/>
            </a:xfrm>
            <a:custGeom>
              <a:avLst/>
              <a:gdLst>
                <a:gd name="connsiteX0" fmla="*/ 2377 w 2377"/>
                <a:gd name="connsiteY0" fmla="*/ 0 h 1108"/>
                <a:gd name="connsiteX1" fmla="*/ 792 w 2377"/>
                <a:gd name="connsiteY1" fmla="*/ 785 h 1108"/>
                <a:gd name="connsiteX2" fmla="*/ 140 w 2377"/>
                <a:gd name="connsiteY2" fmla="*/ 1108 h 1108"/>
                <a:gd name="connsiteX3" fmla="*/ 0 w 2377"/>
                <a:gd name="connsiteY3" fmla="*/ 785 h 1108"/>
                <a:gd name="connsiteX4" fmla="*/ 2377 w 2377"/>
                <a:gd name="connsiteY4" fmla="*/ 0 h 1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7" h="1108">
                  <a:moveTo>
                    <a:pt x="2377" y="0"/>
                  </a:moveTo>
                  <a:cubicBezTo>
                    <a:pt x="2377" y="0"/>
                    <a:pt x="2377" y="0"/>
                    <a:pt x="792" y="785"/>
                  </a:cubicBezTo>
                  <a:lnTo>
                    <a:pt x="140" y="1108"/>
                  </a:lnTo>
                  <a:lnTo>
                    <a:pt x="0" y="785"/>
                  </a:lnTo>
                  <a:cubicBezTo>
                    <a:pt x="792" y="0"/>
                    <a:pt x="2377" y="0"/>
                    <a:pt x="2377" y="0"/>
                  </a:cubicBezTo>
                  <a:close/>
                </a:path>
              </a:pathLst>
            </a:cu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17AF4E18-3933-E8F3-6B84-26986025B78B}"/>
                </a:ext>
              </a:extLst>
            </p:cNvPr>
            <p:cNvSpPr/>
            <p:nvPr/>
          </p:nvSpPr>
          <p:spPr>
            <a:xfrm>
              <a:off x="6001476" y="2311918"/>
              <a:ext cx="214244" cy="228291"/>
            </a:xfrm>
            <a:custGeom>
              <a:avLst/>
              <a:gdLst>
                <a:gd name="connsiteX0" fmla="*/ 198664 w 214244"/>
                <a:gd name="connsiteY0" fmla="*/ 0 h 228291"/>
                <a:gd name="connsiteX1" fmla="*/ 211426 w 214244"/>
                <a:gd name="connsiteY1" fmla="*/ 18527 h 228291"/>
                <a:gd name="connsiteX2" fmla="*/ 211426 w 214244"/>
                <a:gd name="connsiteY2" fmla="*/ 43177 h 228291"/>
                <a:gd name="connsiteX3" fmla="*/ 198664 w 214244"/>
                <a:gd name="connsiteY3" fmla="*/ 55581 h 228291"/>
                <a:gd name="connsiteX4" fmla="*/ 173225 w 214244"/>
                <a:gd name="connsiteY4" fmla="*/ 74108 h 228291"/>
                <a:gd name="connsiteX5" fmla="*/ 179649 w 214244"/>
                <a:gd name="connsiteY5" fmla="*/ 86355 h 228291"/>
                <a:gd name="connsiteX6" fmla="*/ 198664 w 214244"/>
                <a:gd name="connsiteY6" fmla="*/ 80231 h 228291"/>
                <a:gd name="connsiteX7" fmla="*/ 192326 w 214244"/>
                <a:gd name="connsiteY7" fmla="*/ 104882 h 228291"/>
                <a:gd name="connsiteX8" fmla="*/ 166886 w 214244"/>
                <a:gd name="connsiteY8" fmla="*/ 98758 h 228291"/>
                <a:gd name="connsiteX9" fmla="*/ 154209 w 214244"/>
                <a:gd name="connsiteY9" fmla="*/ 117285 h 228291"/>
                <a:gd name="connsiteX10" fmla="*/ 141447 w 214244"/>
                <a:gd name="connsiteY10" fmla="*/ 117285 h 228291"/>
                <a:gd name="connsiteX11" fmla="*/ 147871 w 214244"/>
                <a:gd name="connsiteY11" fmla="*/ 135655 h 228291"/>
                <a:gd name="connsiteX12" fmla="*/ 135109 w 214244"/>
                <a:gd name="connsiteY12" fmla="*/ 148059 h 228291"/>
                <a:gd name="connsiteX13" fmla="*/ 116008 w 214244"/>
                <a:gd name="connsiteY13" fmla="*/ 148059 h 228291"/>
                <a:gd name="connsiteX14" fmla="*/ 128770 w 214244"/>
                <a:gd name="connsiteY14" fmla="*/ 166586 h 228291"/>
                <a:gd name="connsiteX15" fmla="*/ 116008 w 214244"/>
                <a:gd name="connsiteY15" fmla="*/ 178833 h 228291"/>
                <a:gd name="connsiteX16" fmla="*/ 84230 w 214244"/>
                <a:gd name="connsiteY16" fmla="*/ 178833 h 228291"/>
                <a:gd name="connsiteX17" fmla="*/ 77892 w 214244"/>
                <a:gd name="connsiteY17" fmla="*/ 172710 h 228291"/>
                <a:gd name="connsiteX18" fmla="*/ 71553 w 214244"/>
                <a:gd name="connsiteY18" fmla="*/ 191237 h 228291"/>
                <a:gd name="connsiteX19" fmla="*/ 71553 w 214244"/>
                <a:gd name="connsiteY19" fmla="*/ 203483 h 228291"/>
                <a:gd name="connsiteX20" fmla="*/ 46114 w 214244"/>
                <a:gd name="connsiteY20" fmla="*/ 209764 h 228291"/>
                <a:gd name="connsiteX21" fmla="*/ 39776 w 214244"/>
                <a:gd name="connsiteY21" fmla="*/ 209764 h 228291"/>
                <a:gd name="connsiteX22" fmla="*/ 27013 w 214244"/>
                <a:gd name="connsiteY22" fmla="*/ 228291 h 228291"/>
                <a:gd name="connsiteX23" fmla="*/ 1574 w 214244"/>
                <a:gd name="connsiteY23" fmla="*/ 209764 h 228291"/>
                <a:gd name="connsiteX24" fmla="*/ 7998 w 214244"/>
                <a:gd name="connsiteY24" fmla="*/ 185113 h 228291"/>
                <a:gd name="connsiteX25" fmla="*/ 33352 w 214244"/>
                <a:gd name="connsiteY25" fmla="*/ 178833 h 228291"/>
                <a:gd name="connsiteX26" fmla="*/ 27013 w 214244"/>
                <a:gd name="connsiteY26" fmla="*/ 160463 h 228291"/>
                <a:gd name="connsiteX27" fmla="*/ 33352 w 214244"/>
                <a:gd name="connsiteY27" fmla="*/ 148059 h 228291"/>
                <a:gd name="connsiteX28" fmla="*/ 27013 w 214244"/>
                <a:gd name="connsiteY28" fmla="*/ 129532 h 228291"/>
                <a:gd name="connsiteX29" fmla="*/ 33352 w 214244"/>
                <a:gd name="connsiteY29" fmla="*/ 117285 h 228291"/>
                <a:gd name="connsiteX30" fmla="*/ 20675 w 214244"/>
                <a:gd name="connsiteY30" fmla="*/ 98758 h 228291"/>
                <a:gd name="connsiteX31" fmla="*/ 33352 w 214244"/>
                <a:gd name="connsiteY31" fmla="*/ 74108 h 228291"/>
                <a:gd name="connsiteX32" fmla="*/ 52452 w 214244"/>
                <a:gd name="connsiteY32" fmla="*/ 55581 h 228291"/>
                <a:gd name="connsiteX33" fmla="*/ 58791 w 214244"/>
                <a:gd name="connsiteY33" fmla="*/ 74108 h 228291"/>
                <a:gd name="connsiteX34" fmla="*/ 71553 w 214244"/>
                <a:gd name="connsiteY34" fmla="*/ 86355 h 228291"/>
                <a:gd name="connsiteX35" fmla="*/ 84230 w 214244"/>
                <a:gd name="connsiteY35" fmla="*/ 67828 h 228291"/>
                <a:gd name="connsiteX36" fmla="*/ 96993 w 214244"/>
                <a:gd name="connsiteY36" fmla="*/ 43177 h 228291"/>
                <a:gd name="connsiteX37" fmla="*/ 116008 w 214244"/>
                <a:gd name="connsiteY37" fmla="*/ 43177 h 228291"/>
                <a:gd name="connsiteX38" fmla="*/ 135109 w 214244"/>
                <a:gd name="connsiteY38" fmla="*/ 30931 h 228291"/>
                <a:gd name="connsiteX39" fmla="*/ 166886 w 214244"/>
                <a:gd name="connsiteY39" fmla="*/ 18527 h 228291"/>
                <a:gd name="connsiteX40" fmla="*/ 179649 w 214244"/>
                <a:gd name="connsiteY40" fmla="*/ 12404 h 228291"/>
                <a:gd name="connsiteX41" fmla="*/ 198664 w 214244"/>
                <a:gd name="connsiteY41" fmla="*/ 0 h 22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14244" h="228291">
                  <a:moveTo>
                    <a:pt x="198664" y="0"/>
                  </a:moveTo>
                  <a:cubicBezTo>
                    <a:pt x="205088" y="6280"/>
                    <a:pt x="211426" y="12404"/>
                    <a:pt x="211426" y="18527"/>
                  </a:cubicBezTo>
                  <a:cubicBezTo>
                    <a:pt x="211426" y="24807"/>
                    <a:pt x="217765" y="37054"/>
                    <a:pt x="211426" y="43177"/>
                  </a:cubicBezTo>
                  <a:cubicBezTo>
                    <a:pt x="205088" y="49458"/>
                    <a:pt x="205088" y="55581"/>
                    <a:pt x="198664" y="55581"/>
                  </a:cubicBezTo>
                  <a:cubicBezTo>
                    <a:pt x="192326" y="61704"/>
                    <a:pt x="173225" y="74108"/>
                    <a:pt x="173225" y="74108"/>
                  </a:cubicBezTo>
                  <a:cubicBezTo>
                    <a:pt x="173225" y="74108"/>
                    <a:pt x="173225" y="86355"/>
                    <a:pt x="179649" y="86355"/>
                  </a:cubicBezTo>
                  <a:cubicBezTo>
                    <a:pt x="185987" y="86355"/>
                    <a:pt x="198664" y="67828"/>
                    <a:pt x="198664" y="80231"/>
                  </a:cubicBezTo>
                  <a:cubicBezTo>
                    <a:pt x="192326" y="92635"/>
                    <a:pt x="211426" y="98758"/>
                    <a:pt x="192326" y="104882"/>
                  </a:cubicBezTo>
                  <a:cubicBezTo>
                    <a:pt x="179649" y="104882"/>
                    <a:pt x="166886" y="98758"/>
                    <a:pt x="166886" y="98758"/>
                  </a:cubicBezTo>
                  <a:cubicBezTo>
                    <a:pt x="154209" y="117285"/>
                    <a:pt x="154209" y="117285"/>
                    <a:pt x="154209" y="117285"/>
                  </a:cubicBezTo>
                  <a:cubicBezTo>
                    <a:pt x="154209" y="117285"/>
                    <a:pt x="141447" y="111005"/>
                    <a:pt x="141447" y="117285"/>
                  </a:cubicBezTo>
                  <a:cubicBezTo>
                    <a:pt x="141447" y="123409"/>
                    <a:pt x="147871" y="135655"/>
                    <a:pt x="147871" y="135655"/>
                  </a:cubicBezTo>
                  <a:cubicBezTo>
                    <a:pt x="135109" y="148059"/>
                    <a:pt x="135109" y="148059"/>
                    <a:pt x="135109" y="148059"/>
                  </a:cubicBezTo>
                  <a:cubicBezTo>
                    <a:pt x="135109" y="148059"/>
                    <a:pt x="116008" y="141936"/>
                    <a:pt x="116008" y="148059"/>
                  </a:cubicBezTo>
                  <a:cubicBezTo>
                    <a:pt x="122432" y="154183"/>
                    <a:pt x="128770" y="166586"/>
                    <a:pt x="128770" y="166586"/>
                  </a:cubicBezTo>
                  <a:cubicBezTo>
                    <a:pt x="128770" y="166586"/>
                    <a:pt x="128770" y="178833"/>
                    <a:pt x="116008" y="178833"/>
                  </a:cubicBezTo>
                  <a:cubicBezTo>
                    <a:pt x="103331" y="178833"/>
                    <a:pt x="90654" y="178833"/>
                    <a:pt x="84230" y="178833"/>
                  </a:cubicBezTo>
                  <a:cubicBezTo>
                    <a:pt x="77892" y="172710"/>
                    <a:pt x="77892" y="172710"/>
                    <a:pt x="77892" y="172710"/>
                  </a:cubicBezTo>
                  <a:cubicBezTo>
                    <a:pt x="71553" y="191237"/>
                    <a:pt x="71553" y="191237"/>
                    <a:pt x="71553" y="191237"/>
                  </a:cubicBezTo>
                  <a:cubicBezTo>
                    <a:pt x="71553" y="191237"/>
                    <a:pt x="77892" y="197360"/>
                    <a:pt x="71553" y="203483"/>
                  </a:cubicBezTo>
                  <a:cubicBezTo>
                    <a:pt x="65215" y="209764"/>
                    <a:pt x="46114" y="209764"/>
                    <a:pt x="46114" y="209764"/>
                  </a:cubicBezTo>
                  <a:cubicBezTo>
                    <a:pt x="46114" y="209764"/>
                    <a:pt x="39776" y="209764"/>
                    <a:pt x="39776" y="209764"/>
                  </a:cubicBezTo>
                  <a:cubicBezTo>
                    <a:pt x="39776" y="215887"/>
                    <a:pt x="33352" y="228291"/>
                    <a:pt x="27013" y="228291"/>
                  </a:cubicBezTo>
                  <a:cubicBezTo>
                    <a:pt x="20675" y="222010"/>
                    <a:pt x="7998" y="215887"/>
                    <a:pt x="1574" y="209764"/>
                  </a:cubicBezTo>
                  <a:cubicBezTo>
                    <a:pt x="1574" y="203483"/>
                    <a:pt x="-4765" y="178833"/>
                    <a:pt x="7998" y="185113"/>
                  </a:cubicBezTo>
                  <a:cubicBezTo>
                    <a:pt x="20675" y="185113"/>
                    <a:pt x="33352" y="191237"/>
                    <a:pt x="33352" y="178833"/>
                  </a:cubicBezTo>
                  <a:cubicBezTo>
                    <a:pt x="33352" y="166586"/>
                    <a:pt x="27013" y="160463"/>
                    <a:pt x="27013" y="160463"/>
                  </a:cubicBezTo>
                  <a:cubicBezTo>
                    <a:pt x="33352" y="148059"/>
                    <a:pt x="33352" y="148059"/>
                    <a:pt x="33352" y="148059"/>
                  </a:cubicBezTo>
                  <a:cubicBezTo>
                    <a:pt x="27013" y="141936"/>
                    <a:pt x="27013" y="129532"/>
                    <a:pt x="27013" y="129532"/>
                  </a:cubicBezTo>
                  <a:cubicBezTo>
                    <a:pt x="33352" y="117285"/>
                    <a:pt x="33352" y="117285"/>
                    <a:pt x="33352" y="117285"/>
                  </a:cubicBezTo>
                  <a:cubicBezTo>
                    <a:pt x="33352" y="117285"/>
                    <a:pt x="20675" y="104882"/>
                    <a:pt x="20675" y="98758"/>
                  </a:cubicBezTo>
                  <a:cubicBezTo>
                    <a:pt x="20675" y="92635"/>
                    <a:pt x="20675" y="80231"/>
                    <a:pt x="33352" y="74108"/>
                  </a:cubicBezTo>
                  <a:cubicBezTo>
                    <a:pt x="39776" y="67828"/>
                    <a:pt x="46114" y="55581"/>
                    <a:pt x="52452" y="55581"/>
                  </a:cubicBezTo>
                  <a:cubicBezTo>
                    <a:pt x="52452" y="61704"/>
                    <a:pt x="52452" y="61704"/>
                    <a:pt x="58791" y="74108"/>
                  </a:cubicBezTo>
                  <a:cubicBezTo>
                    <a:pt x="65215" y="80231"/>
                    <a:pt x="65215" y="92635"/>
                    <a:pt x="71553" y="86355"/>
                  </a:cubicBezTo>
                  <a:cubicBezTo>
                    <a:pt x="77892" y="80231"/>
                    <a:pt x="77892" y="74108"/>
                    <a:pt x="84230" y="67828"/>
                  </a:cubicBezTo>
                  <a:cubicBezTo>
                    <a:pt x="90654" y="61704"/>
                    <a:pt x="96993" y="43177"/>
                    <a:pt x="96993" y="43177"/>
                  </a:cubicBezTo>
                  <a:cubicBezTo>
                    <a:pt x="96993" y="43177"/>
                    <a:pt x="109669" y="49458"/>
                    <a:pt x="116008" y="43177"/>
                  </a:cubicBezTo>
                  <a:cubicBezTo>
                    <a:pt x="128770" y="37054"/>
                    <a:pt x="116008" y="37054"/>
                    <a:pt x="135109" y="30931"/>
                  </a:cubicBezTo>
                  <a:cubicBezTo>
                    <a:pt x="154209" y="30931"/>
                    <a:pt x="160548" y="30931"/>
                    <a:pt x="166886" y="18527"/>
                  </a:cubicBezTo>
                  <a:cubicBezTo>
                    <a:pt x="173225" y="12404"/>
                    <a:pt x="173225" y="18527"/>
                    <a:pt x="179649" y="12404"/>
                  </a:cubicBezTo>
                  <a:cubicBezTo>
                    <a:pt x="185987" y="6280"/>
                    <a:pt x="192326" y="0"/>
                    <a:pt x="198664" y="0"/>
                  </a:cubicBezTo>
                  <a:close/>
                </a:path>
              </a:pathLst>
            </a:cu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35" name="Freeform: Shape 34">
              <a:extLst>
                <a:ext uri="{FF2B5EF4-FFF2-40B4-BE49-F238E27FC236}">
                  <a16:creationId xmlns:a16="http://schemas.microsoft.com/office/drawing/2014/main" id="{D33CD5B2-67B3-B708-22BA-67992C659D11}"/>
                </a:ext>
              </a:extLst>
            </p:cNvPr>
            <p:cNvSpPr/>
            <p:nvPr/>
          </p:nvSpPr>
          <p:spPr>
            <a:xfrm>
              <a:off x="5691526" y="2324321"/>
              <a:ext cx="1703917" cy="2780940"/>
            </a:xfrm>
            <a:custGeom>
              <a:avLst/>
              <a:gdLst>
                <a:gd name="connsiteX0" fmla="*/ 762921 w 1703917"/>
                <a:gd name="connsiteY0" fmla="*/ 0 h 2780940"/>
                <a:gd name="connsiteX1" fmla="*/ 769345 w 1703917"/>
                <a:gd name="connsiteY1" fmla="*/ 12403 h 2780940"/>
                <a:gd name="connsiteX2" fmla="*/ 782022 w 1703917"/>
                <a:gd name="connsiteY2" fmla="*/ 18527 h 2780940"/>
                <a:gd name="connsiteX3" fmla="*/ 794784 w 1703917"/>
                <a:gd name="connsiteY3" fmla="*/ 24650 h 2780940"/>
                <a:gd name="connsiteX4" fmla="*/ 801123 w 1703917"/>
                <a:gd name="connsiteY4" fmla="*/ 24650 h 2780940"/>
                <a:gd name="connsiteX5" fmla="*/ 801123 w 1703917"/>
                <a:gd name="connsiteY5" fmla="*/ 37054 h 2780940"/>
                <a:gd name="connsiteX6" fmla="*/ 782022 w 1703917"/>
                <a:gd name="connsiteY6" fmla="*/ 49300 h 2780940"/>
                <a:gd name="connsiteX7" fmla="*/ 775684 w 1703917"/>
                <a:gd name="connsiteY7" fmla="*/ 55424 h 2780940"/>
                <a:gd name="connsiteX8" fmla="*/ 801123 w 1703917"/>
                <a:gd name="connsiteY8" fmla="*/ 43177 h 2780940"/>
                <a:gd name="connsiteX9" fmla="*/ 813800 w 1703917"/>
                <a:gd name="connsiteY9" fmla="*/ 24650 h 2780940"/>
                <a:gd name="connsiteX10" fmla="*/ 826562 w 1703917"/>
                <a:gd name="connsiteY10" fmla="*/ 30773 h 2780940"/>
                <a:gd name="connsiteX11" fmla="*/ 839239 w 1703917"/>
                <a:gd name="connsiteY11" fmla="*/ 37054 h 2780940"/>
                <a:gd name="connsiteX12" fmla="*/ 826562 w 1703917"/>
                <a:gd name="connsiteY12" fmla="*/ 55424 h 2780940"/>
                <a:gd name="connsiteX13" fmla="*/ 826562 w 1703917"/>
                <a:gd name="connsiteY13" fmla="*/ 67827 h 2780940"/>
                <a:gd name="connsiteX14" fmla="*/ 852001 w 1703917"/>
                <a:gd name="connsiteY14" fmla="*/ 49300 h 2780940"/>
                <a:gd name="connsiteX15" fmla="*/ 864678 w 1703917"/>
                <a:gd name="connsiteY15" fmla="*/ 55424 h 2780940"/>
                <a:gd name="connsiteX16" fmla="*/ 883779 w 1703917"/>
                <a:gd name="connsiteY16" fmla="*/ 43177 h 2780940"/>
                <a:gd name="connsiteX17" fmla="*/ 921895 w 1703917"/>
                <a:gd name="connsiteY17" fmla="*/ 55424 h 2780940"/>
                <a:gd name="connsiteX18" fmla="*/ 940996 w 1703917"/>
                <a:gd name="connsiteY18" fmla="*/ 55424 h 2780940"/>
                <a:gd name="connsiteX19" fmla="*/ 953673 w 1703917"/>
                <a:gd name="connsiteY19" fmla="*/ 55424 h 2780940"/>
                <a:gd name="connsiteX20" fmla="*/ 979112 w 1703917"/>
                <a:gd name="connsiteY20" fmla="*/ 37054 h 2780940"/>
                <a:gd name="connsiteX21" fmla="*/ 1010890 w 1703917"/>
                <a:gd name="connsiteY21" fmla="*/ 55424 h 2780940"/>
                <a:gd name="connsiteX22" fmla="*/ 1023652 w 1703917"/>
                <a:gd name="connsiteY22" fmla="*/ 43177 h 2780940"/>
                <a:gd name="connsiteX23" fmla="*/ 1061768 w 1703917"/>
                <a:gd name="connsiteY23" fmla="*/ 43177 h 2780940"/>
                <a:gd name="connsiteX24" fmla="*/ 1080869 w 1703917"/>
                <a:gd name="connsiteY24" fmla="*/ 49300 h 2780940"/>
                <a:gd name="connsiteX25" fmla="*/ 1080869 w 1703917"/>
                <a:gd name="connsiteY25" fmla="*/ 67827 h 2780940"/>
                <a:gd name="connsiteX26" fmla="*/ 1068107 w 1703917"/>
                <a:gd name="connsiteY26" fmla="*/ 92478 h 2780940"/>
                <a:gd name="connsiteX27" fmla="*/ 1074531 w 1703917"/>
                <a:gd name="connsiteY27" fmla="*/ 123251 h 2780940"/>
                <a:gd name="connsiteX28" fmla="*/ 1061768 w 1703917"/>
                <a:gd name="connsiteY28" fmla="*/ 135655 h 2780940"/>
                <a:gd name="connsiteX29" fmla="*/ 1036329 w 1703917"/>
                <a:gd name="connsiteY29" fmla="*/ 160306 h 2780940"/>
                <a:gd name="connsiteX30" fmla="*/ 1017314 w 1703917"/>
                <a:gd name="connsiteY30" fmla="*/ 160306 h 2780940"/>
                <a:gd name="connsiteX31" fmla="*/ 991874 w 1703917"/>
                <a:gd name="connsiteY31" fmla="*/ 191079 h 2780940"/>
                <a:gd name="connsiteX32" fmla="*/ 953673 w 1703917"/>
                <a:gd name="connsiteY32" fmla="*/ 203483 h 2780940"/>
                <a:gd name="connsiteX33" fmla="*/ 909218 w 1703917"/>
                <a:gd name="connsiteY33" fmla="*/ 228133 h 2780940"/>
                <a:gd name="connsiteX34" fmla="*/ 890117 w 1703917"/>
                <a:gd name="connsiteY34" fmla="*/ 246660 h 2780940"/>
                <a:gd name="connsiteX35" fmla="*/ 883779 w 1703917"/>
                <a:gd name="connsiteY35" fmla="*/ 252784 h 2780940"/>
                <a:gd name="connsiteX36" fmla="*/ 864678 w 1703917"/>
                <a:gd name="connsiteY36" fmla="*/ 265187 h 2780940"/>
                <a:gd name="connsiteX37" fmla="*/ 839239 w 1703917"/>
                <a:gd name="connsiteY37" fmla="*/ 271311 h 2780940"/>
                <a:gd name="connsiteX38" fmla="*/ 826562 w 1703917"/>
                <a:gd name="connsiteY38" fmla="*/ 265187 h 2780940"/>
                <a:gd name="connsiteX39" fmla="*/ 813800 w 1703917"/>
                <a:gd name="connsiteY39" fmla="*/ 252784 h 2780940"/>
                <a:gd name="connsiteX40" fmla="*/ 807461 w 1703917"/>
                <a:gd name="connsiteY40" fmla="*/ 258907 h 2780940"/>
                <a:gd name="connsiteX41" fmla="*/ 826562 w 1703917"/>
                <a:gd name="connsiteY41" fmla="*/ 271311 h 2780940"/>
                <a:gd name="connsiteX42" fmla="*/ 832900 w 1703917"/>
                <a:gd name="connsiteY42" fmla="*/ 277434 h 2780940"/>
                <a:gd name="connsiteX43" fmla="*/ 858340 w 1703917"/>
                <a:gd name="connsiteY43" fmla="*/ 289838 h 2780940"/>
                <a:gd name="connsiteX44" fmla="*/ 871017 w 1703917"/>
                <a:gd name="connsiteY44" fmla="*/ 283715 h 2780940"/>
                <a:gd name="connsiteX45" fmla="*/ 909218 w 1703917"/>
                <a:gd name="connsiteY45" fmla="*/ 283715 h 2780940"/>
                <a:gd name="connsiteX46" fmla="*/ 896456 w 1703917"/>
                <a:gd name="connsiteY46" fmla="*/ 302085 h 2780940"/>
                <a:gd name="connsiteX47" fmla="*/ 883779 w 1703917"/>
                <a:gd name="connsiteY47" fmla="*/ 314488 h 2780940"/>
                <a:gd name="connsiteX48" fmla="*/ 858340 w 1703917"/>
                <a:gd name="connsiteY48" fmla="*/ 308365 h 2780940"/>
                <a:gd name="connsiteX49" fmla="*/ 839239 w 1703917"/>
                <a:gd name="connsiteY49" fmla="*/ 314488 h 2780940"/>
                <a:gd name="connsiteX50" fmla="*/ 820138 w 1703917"/>
                <a:gd name="connsiteY50" fmla="*/ 320612 h 2780940"/>
                <a:gd name="connsiteX51" fmla="*/ 801123 w 1703917"/>
                <a:gd name="connsiteY51" fmla="*/ 333015 h 2780940"/>
                <a:gd name="connsiteX52" fmla="*/ 762921 w 1703917"/>
                <a:gd name="connsiteY52" fmla="*/ 351542 h 2780940"/>
                <a:gd name="connsiteX53" fmla="*/ 801123 w 1703917"/>
                <a:gd name="connsiteY53" fmla="*/ 339139 h 2780940"/>
                <a:gd name="connsiteX54" fmla="*/ 820138 w 1703917"/>
                <a:gd name="connsiteY54" fmla="*/ 333015 h 2780940"/>
                <a:gd name="connsiteX55" fmla="*/ 832900 w 1703917"/>
                <a:gd name="connsiteY55" fmla="*/ 333015 h 2780940"/>
                <a:gd name="connsiteX56" fmla="*/ 852001 w 1703917"/>
                <a:gd name="connsiteY56" fmla="*/ 320612 h 2780940"/>
                <a:gd name="connsiteX57" fmla="*/ 871017 w 1703917"/>
                <a:gd name="connsiteY57" fmla="*/ 326735 h 2780940"/>
                <a:gd name="connsiteX58" fmla="*/ 852001 w 1703917"/>
                <a:gd name="connsiteY58" fmla="*/ 339139 h 2780940"/>
                <a:gd name="connsiteX59" fmla="*/ 839239 w 1703917"/>
                <a:gd name="connsiteY59" fmla="*/ 351542 h 2780940"/>
                <a:gd name="connsiteX60" fmla="*/ 826562 w 1703917"/>
                <a:gd name="connsiteY60" fmla="*/ 369912 h 2780940"/>
                <a:gd name="connsiteX61" fmla="*/ 807461 w 1703917"/>
                <a:gd name="connsiteY61" fmla="*/ 376193 h 2780940"/>
                <a:gd name="connsiteX62" fmla="*/ 794784 w 1703917"/>
                <a:gd name="connsiteY62" fmla="*/ 388439 h 2780940"/>
                <a:gd name="connsiteX63" fmla="*/ 788360 w 1703917"/>
                <a:gd name="connsiteY63" fmla="*/ 406966 h 2780940"/>
                <a:gd name="connsiteX64" fmla="*/ 807461 w 1703917"/>
                <a:gd name="connsiteY64" fmla="*/ 388439 h 2780940"/>
                <a:gd name="connsiteX65" fmla="*/ 826562 w 1703917"/>
                <a:gd name="connsiteY65" fmla="*/ 382316 h 2780940"/>
                <a:gd name="connsiteX66" fmla="*/ 839239 w 1703917"/>
                <a:gd name="connsiteY66" fmla="*/ 363789 h 2780940"/>
                <a:gd name="connsiteX67" fmla="*/ 864678 w 1703917"/>
                <a:gd name="connsiteY67" fmla="*/ 369912 h 2780940"/>
                <a:gd name="connsiteX68" fmla="*/ 877441 w 1703917"/>
                <a:gd name="connsiteY68" fmla="*/ 369912 h 2780940"/>
                <a:gd name="connsiteX69" fmla="*/ 890117 w 1703917"/>
                <a:gd name="connsiteY69" fmla="*/ 363789 h 2780940"/>
                <a:gd name="connsiteX70" fmla="*/ 902794 w 1703917"/>
                <a:gd name="connsiteY70" fmla="*/ 357666 h 2780940"/>
                <a:gd name="connsiteX71" fmla="*/ 915557 w 1703917"/>
                <a:gd name="connsiteY71" fmla="*/ 357666 h 2780940"/>
                <a:gd name="connsiteX72" fmla="*/ 940996 w 1703917"/>
                <a:gd name="connsiteY72" fmla="*/ 357666 h 2780940"/>
                <a:gd name="connsiteX73" fmla="*/ 947334 w 1703917"/>
                <a:gd name="connsiteY73" fmla="*/ 345262 h 2780940"/>
                <a:gd name="connsiteX74" fmla="*/ 985450 w 1703917"/>
                <a:gd name="connsiteY74" fmla="*/ 345262 h 2780940"/>
                <a:gd name="connsiteX75" fmla="*/ 1004551 w 1703917"/>
                <a:gd name="connsiteY75" fmla="*/ 363789 h 2780940"/>
                <a:gd name="connsiteX76" fmla="*/ 1017314 w 1703917"/>
                <a:gd name="connsiteY76" fmla="*/ 369912 h 2780940"/>
                <a:gd name="connsiteX77" fmla="*/ 1036329 w 1703917"/>
                <a:gd name="connsiteY77" fmla="*/ 369912 h 2780940"/>
                <a:gd name="connsiteX78" fmla="*/ 1061768 w 1703917"/>
                <a:gd name="connsiteY78" fmla="*/ 363789 h 2780940"/>
                <a:gd name="connsiteX79" fmla="*/ 1074531 w 1703917"/>
                <a:gd name="connsiteY79" fmla="*/ 369912 h 2780940"/>
                <a:gd name="connsiteX80" fmla="*/ 1099884 w 1703917"/>
                <a:gd name="connsiteY80" fmla="*/ 369912 h 2780940"/>
                <a:gd name="connsiteX81" fmla="*/ 1106308 w 1703917"/>
                <a:gd name="connsiteY81" fmla="*/ 382316 h 2780940"/>
                <a:gd name="connsiteX82" fmla="*/ 1138086 w 1703917"/>
                <a:gd name="connsiteY82" fmla="*/ 388439 h 2780940"/>
                <a:gd name="connsiteX83" fmla="*/ 1163525 w 1703917"/>
                <a:gd name="connsiteY83" fmla="*/ 382316 h 2780940"/>
                <a:gd name="connsiteX84" fmla="*/ 1182541 w 1703917"/>
                <a:gd name="connsiteY84" fmla="*/ 394563 h 2780940"/>
                <a:gd name="connsiteX85" fmla="*/ 1188965 w 1703917"/>
                <a:gd name="connsiteY85" fmla="*/ 388439 h 2780940"/>
                <a:gd name="connsiteX86" fmla="*/ 1214404 w 1703917"/>
                <a:gd name="connsiteY86" fmla="*/ 388439 h 2780940"/>
                <a:gd name="connsiteX87" fmla="*/ 1227081 w 1703917"/>
                <a:gd name="connsiteY87" fmla="*/ 406966 h 2780940"/>
                <a:gd name="connsiteX88" fmla="*/ 1239758 w 1703917"/>
                <a:gd name="connsiteY88" fmla="*/ 425493 h 2780940"/>
                <a:gd name="connsiteX89" fmla="*/ 1246182 w 1703917"/>
                <a:gd name="connsiteY89" fmla="*/ 444021 h 2780940"/>
                <a:gd name="connsiteX90" fmla="*/ 1252520 w 1703917"/>
                <a:gd name="connsiteY90" fmla="*/ 456267 h 2780940"/>
                <a:gd name="connsiteX91" fmla="*/ 1246182 w 1703917"/>
                <a:gd name="connsiteY91" fmla="*/ 487198 h 2780940"/>
                <a:gd name="connsiteX92" fmla="*/ 1201641 w 1703917"/>
                <a:gd name="connsiteY92" fmla="*/ 524095 h 2780940"/>
                <a:gd name="connsiteX93" fmla="*/ 1176202 w 1703917"/>
                <a:gd name="connsiteY93" fmla="*/ 542622 h 2780940"/>
                <a:gd name="connsiteX94" fmla="*/ 1176202 w 1703917"/>
                <a:gd name="connsiteY94" fmla="*/ 573396 h 2780940"/>
                <a:gd name="connsiteX95" fmla="*/ 1157101 w 1703917"/>
                <a:gd name="connsiteY95" fmla="*/ 598046 h 2780940"/>
                <a:gd name="connsiteX96" fmla="*/ 1144424 w 1703917"/>
                <a:gd name="connsiteY96" fmla="*/ 622854 h 2780940"/>
                <a:gd name="connsiteX97" fmla="*/ 1131748 w 1703917"/>
                <a:gd name="connsiteY97" fmla="*/ 653627 h 2780940"/>
                <a:gd name="connsiteX98" fmla="*/ 1106308 w 1703917"/>
                <a:gd name="connsiteY98" fmla="*/ 678278 h 2780940"/>
                <a:gd name="connsiteX99" fmla="*/ 1080869 w 1703917"/>
                <a:gd name="connsiteY99" fmla="*/ 696805 h 2780940"/>
                <a:gd name="connsiteX100" fmla="*/ 1068107 w 1703917"/>
                <a:gd name="connsiteY100" fmla="*/ 715332 h 2780940"/>
                <a:gd name="connsiteX101" fmla="*/ 1068107 w 1703917"/>
                <a:gd name="connsiteY101" fmla="*/ 733702 h 2780940"/>
                <a:gd name="connsiteX102" fmla="*/ 1036329 w 1703917"/>
                <a:gd name="connsiteY102" fmla="*/ 746106 h 2780940"/>
                <a:gd name="connsiteX103" fmla="*/ 1017314 w 1703917"/>
                <a:gd name="connsiteY103" fmla="*/ 764633 h 2780940"/>
                <a:gd name="connsiteX104" fmla="*/ 985450 w 1703917"/>
                <a:gd name="connsiteY104" fmla="*/ 764633 h 2780940"/>
                <a:gd name="connsiteX105" fmla="*/ 960011 w 1703917"/>
                <a:gd name="connsiteY105" fmla="*/ 758509 h 2780940"/>
                <a:gd name="connsiteX106" fmla="*/ 953673 w 1703917"/>
                <a:gd name="connsiteY106" fmla="*/ 764633 h 2780940"/>
                <a:gd name="connsiteX107" fmla="*/ 934658 w 1703917"/>
                <a:gd name="connsiteY107" fmla="*/ 776879 h 2780940"/>
                <a:gd name="connsiteX108" fmla="*/ 902794 w 1703917"/>
                <a:gd name="connsiteY108" fmla="*/ 783160 h 2780940"/>
                <a:gd name="connsiteX109" fmla="*/ 902794 w 1703917"/>
                <a:gd name="connsiteY109" fmla="*/ 789283 h 2780940"/>
                <a:gd name="connsiteX110" fmla="*/ 934658 w 1703917"/>
                <a:gd name="connsiteY110" fmla="*/ 783160 h 2780940"/>
                <a:gd name="connsiteX111" fmla="*/ 960011 w 1703917"/>
                <a:gd name="connsiteY111" fmla="*/ 776879 h 2780940"/>
                <a:gd name="connsiteX112" fmla="*/ 972774 w 1703917"/>
                <a:gd name="connsiteY112" fmla="*/ 770756 h 2780940"/>
                <a:gd name="connsiteX113" fmla="*/ 985450 w 1703917"/>
                <a:gd name="connsiteY113" fmla="*/ 770756 h 2780940"/>
                <a:gd name="connsiteX114" fmla="*/ 998213 w 1703917"/>
                <a:gd name="connsiteY114" fmla="*/ 783160 h 2780940"/>
                <a:gd name="connsiteX115" fmla="*/ 998213 w 1703917"/>
                <a:gd name="connsiteY115" fmla="*/ 801530 h 2780940"/>
                <a:gd name="connsiteX116" fmla="*/ 1004551 w 1703917"/>
                <a:gd name="connsiteY116" fmla="*/ 807810 h 2780940"/>
                <a:gd name="connsiteX117" fmla="*/ 1017314 w 1703917"/>
                <a:gd name="connsiteY117" fmla="*/ 826337 h 2780940"/>
                <a:gd name="connsiteX118" fmla="*/ 1023652 w 1703917"/>
                <a:gd name="connsiteY118" fmla="*/ 838584 h 2780940"/>
                <a:gd name="connsiteX119" fmla="*/ 1004551 w 1703917"/>
                <a:gd name="connsiteY119" fmla="*/ 850987 h 2780940"/>
                <a:gd name="connsiteX120" fmla="*/ 985450 w 1703917"/>
                <a:gd name="connsiteY120" fmla="*/ 857111 h 2780940"/>
                <a:gd name="connsiteX121" fmla="*/ 966435 w 1703917"/>
                <a:gd name="connsiteY121" fmla="*/ 850987 h 2780940"/>
                <a:gd name="connsiteX122" fmla="*/ 953673 w 1703917"/>
                <a:gd name="connsiteY122" fmla="*/ 850987 h 2780940"/>
                <a:gd name="connsiteX123" fmla="*/ 940996 w 1703917"/>
                <a:gd name="connsiteY123" fmla="*/ 857111 h 2780940"/>
                <a:gd name="connsiteX124" fmla="*/ 921895 w 1703917"/>
                <a:gd name="connsiteY124" fmla="*/ 863234 h 2780940"/>
                <a:gd name="connsiteX125" fmla="*/ 915557 w 1703917"/>
                <a:gd name="connsiteY125" fmla="*/ 881761 h 2780940"/>
                <a:gd name="connsiteX126" fmla="*/ 896456 w 1703917"/>
                <a:gd name="connsiteY126" fmla="*/ 894165 h 2780940"/>
                <a:gd name="connsiteX127" fmla="*/ 871017 w 1703917"/>
                <a:gd name="connsiteY127" fmla="*/ 894165 h 2780940"/>
                <a:gd name="connsiteX128" fmla="*/ 858340 w 1703917"/>
                <a:gd name="connsiteY128" fmla="*/ 887885 h 2780940"/>
                <a:gd name="connsiteX129" fmla="*/ 839239 w 1703917"/>
                <a:gd name="connsiteY129" fmla="*/ 881761 h 2780940"/>
                <a:gd name="connsiteX130" fmla="*/ 820138 w 1703917"/>
                <a:gd name="connsiteY130" fmla="*/ 875638 h 2780940"/>
                <a:gd name="connsiteX131" fmla="*/ 807461 w 1703917"/>
                <a:gd name="connsiteY131" fmla="*/ 875638 h 2780940"/>
                <a:gd name="connsiteX132" fmla="*/ 807461 w 1703917"/>
                <a:gd name="connsiteY132" fmla="*/ 881761 h 2780940"/>
                <a:gd name="connsiteX133" fmla="*/ 820138 w 1703917"/>
                <a:gd name="connsiteY133" fmla="*/ 881761 h 2780940"/>
                <a:gd name="connsiteX134" fmla="*/ 845577 w 1703917"/>
                <a:gd name="connsiteY134" fmla="*/ 887885 h 2780940"/>
                <a:gd name="connsiteX135" fmla="*/ 864678 w 1703917"/>
                <a:gd name="connsiteY135" fmla="*/ 906412 h 2780940"/>
                <a:gd name="connsiteX136" fmla="*/ 909218 w 1703917"/>
                <a:gd name="connsiteY136" fmla="*/ 924939 h 2780940"/>
                <a:gd name="connsiteX137" fmla="*/ 934658 w 1703917"/>
                <a:gd name="connsiteY137" fmla="*/ 918815 h 2780940"/>
                <a:gd name="connsiteX138" fmla="*/ 960011 w 1703917"/>
                <a:gd name="connsiteY138" fmla="*/ 912535 h 2780940"/>
                <a:gd name="connsiteX139" fmla="*/ 985450 w 1703917"/>
                <a:gd name="connsiteY139" fmla="*/ 900288 h 2780940"/>
                <a:gd name="connsiteX140" fmla="*/ 1010890 w 1703917"/>
                <a:gd name="connsiteY140" fmla="*/ 906412 h 2780940"/>
                <a:gd name="connsiteX141" fmla="*/ 1042667 w 1703917"/>
                <a:gd name="connsiteY141" fmla="*/ 943466 h 2780940"/>
                <a:gd name="connsiteX142" fmla="*/ 1061768 w 1703917"/>
                <a:gd name="connsiteY142" fmla="*/ 949589 h 2780940"/>
                <a:gd name="connsiteX143" fmla="*/ 1087208 w 1703917"/>
                <a:gd name="connsiteY143" fmla="*/ 980363 h 2780940"/>
                <a:gd name="connsiteX144" fmla="*/ 1125324 w 1703917"/>
                <a:gd name="connsiteY144" fmla="*/ 1017417 h 2780940"/>
                <a:gd name="connsiteX145" fmla="*/ 1138086 w 1703917"/>
                <a:gd name="connsiteY145" fmla="*/ 1054471 h 2780940"/>
                <a:gd name="connsiteX146" fmla="*/ 1169864 w 1703917"/>
                <a:gd name="connsiteY146" fmla="*/ 1091368 h 2780940"/>
                <a:gd name="connsiteX147" fmla="*/ 1169864 w 1703917"/>
                <a:gd name="connsiteY147" fmla="*/ 1128422 h 2780940"/>
                <a:gd name="connsiteX148" fmla="*/ 1169864 w 1703917"/>
                <a:gd name="connsiteY148" fmla="*/ 1171600 h 2780940"/>
                <a:gd name="connsiteX149" fmla="*/ 1169864 w 1703917"/>
                <a:gd name="connsiteY149" fmla="*/ 1220900 h 2780940"/>
                <a:gd name="connsiteX150" fmla="*/ 1176202 w 1703917"/>
                <a:gd name="connsiteY150" fmla="*/ 1270201 h 2780940"/>
                <a:gd name="connsiteX151" fmla="*/ 1188965 w 1703917"/>
                <a:gd name="connsiteY151" fmla="*/ 1319502 h 2780940"/>
                <a:gd name="connsiteX152" fmla="*/ 1188965 w 1703917"/>
                <a:gd name="connsiteY152" fmla="*/ 1344152 h 2780940"/>
                <a:gd name="connsiteX153" fmla="*/ 1201641 w 1703917"/>
                <a:gd name="connsiteY153" fmla="*/ 1387330 h 2780940"/>
                <a:gd name="connsiteX154" fmla="*/ 1227081 w 1703917"/>
                <a:gd name="connsiteY154" fmla="*/ 1424384 h 2780940"/>
                <a:gd name="connsiteX155" fmla="*/ 1265197 w 1703917"/>
                <a:gd name="connsiteY155" fmla="*/ 1442911 h 2780940"/>
                <a:gd name="connsiteX156" fmla="*/ 1284298 w 1703917"/>
                <a:gd name="connsiteY156" fmla="*/ 1449034 h 2780940"/>
                <a:gd name="connsiteX157" fmla="*/ 1303399 w 1703917"/>
                <a:gd name="connsiteY157" fmla="*/ 1467561 h 2780940"/>
                <a:gd name="connsiteX158" fmla="*/ 1335176 w 1703917"/>
                <a:gd name="connsiteY158" fmla="*/ 1498335 h 2780940"/>
                <a:gd name="connsiteX159" fmla="*/ 1341515 w 1703917"/>
                <a:gd name="connsiteY159" fmla="*/ 1541512 h 2780940"/>
                <a:gd name="connsiteX160" fmla="*/ 1347853 w 1703917"/>
                <a:gd name="connsiteY160" fmla="*/ 1566163 h 2780940"/>
                <a:gd name="connsiteX161" fmla="*/ 1366954 w 1703917"/>
                <a:gd name="connsiteY161" fmla="*/ 1578566 h 2780940"/>
                <a:gd name="connsiteX162" fmla="*/ 1386055 w 1703917"/>
                <a:gd name="connsiteY162" fmla="*/ 1603217 h 2780940"/>
                <a:gd name="connsiteX163" fmla="*/ 1392393 w 1703917"/>
                <a:gd name="connsiteY163" fmla="*/ 1609340 h 2780940"/>
                <a:gd name="connsiteX164" fmla="*/ 1379631 w 1703917"/>
                <a:gd name="connsiteY164" fmla="*/ 1621744 h 2780940"/>
                <a:gd name="connsiteX165" fmla="*/ 1366954 w 1703917"/>
                <a:gd name="connsiteY165" fmla="*/ 1627867 h 2780940"/>
                <a:gd name="connsiteX166" fmla="*/ 1366954 w 1703917"/>
                <a:gd name="connsiteY166" fmla="*/ 1658641 h 2780940"/>
                <a:gd name="connsiteX167" fmla="*/ 1373292 w 1703917"/>
                <a:gd name="connsiteY167" fmla="*/ 1677168 h 2780940"/>
                <a:gd name="connsiteX168" fmla="*/ 1392393 w 1703917"/>
                <a:gd name="connsiteY168" fmla="*/ 1720345 h 2780940"/>
                <a:gd name="connsiteX169" fmla="*/ 1405070 w 1703917"/>
                <a:gd name="connsiteY169" fmla="*/ 1744996 h 2780940"/>
                <a:gd name="connsiteX170" fmla="*/ 1424171 w 1703917"/>
                <a:gd name="connsiteY170" fmla="*/ 1775927 h 2780940"/>
                <a:gd name="connsiteX171" fmla="*/ 1417832 w 1703917"/>
                <a:gd name="connsiteY171" fmla="*/ 1794297 h 2780940"/>
                <a:gd name="connsiteX172" fmla="*/ 1405070 w 1703917"/>
                <a:gd name="connsiteY172" fmla="*/ 1775927 h 2780940"/>
                <a:gd name="connsiteX173" fmla="*/ 1392393 w 1703917"/>
                <a:gd name="connsiteY173" fmla="*/ 1775927 h 2780940"/>
                <a:gd name="connsiteX174" fmla="*/ 1360615 w 1703917"/>
                <a:gd name="connsiteY174" fmla="*/ 1757399 h 2780940"/>
                <a:gd name="connsiteX175" fmla="*/ 1354277 w 1703917"/>
                <a:gd name="connsiteY175" fmla="*/ 1744996 h 2780940"/>
                <a:gd name="connsiteX176" fmla="*/ 1347853 w 1703917"/>
                <a:gd name="connsiteY176" fmla="*/ 1732749 h 2780940"/>
                <a:gd name="connsiteX177" fmla="*/ 1341515 w 1703917"/>
                <a:gd name="connsiteY177" fmla="*/ 1726469 h 2780940"/>
                <a:gd name="connsiteX178" fmla="*/ 1335176 w 1703917"/>
                <a:gd name="connsiteY178" fmla="*/ 1738872 h 2780940"/>
                <a:gd name="connsiteX179" fmla="*/ 1341515 w 1703917"/>
                <a:gd name="connsiteY179" fmla="*/ 1757399 h 2780940"/>
                <a:gd name="connsiteX180" fmla="*/ 1360615 w 1703917"/>
                <a:gd name="connsiteY180" fmla="*/ 1782050 h 2780940"/>
                <a:gd name="connsiteX181" fmla="*/ 1386055 w 1703917"/>
                <a:gd name="connsiteY181" fmla="*/ 1800577 h 2780940"/>
                <a:gd name="connsiteX182" fmla="*/ 1398732 w 1703917"/>
                <a:gd name="connsiteY182" fmla="*/ 1800577 h 2780940"/>
                <a:gd name="connsiteX183" fmla="*/ 1411494 w 1703917"/>
                <a:gd name="connsiteY183" fmla="*/ 1825227 h 2780940"/>
                <a:gd name="connsiteX184" fmla="*/ 1430509 w 1703917"/>
                <a:gd name="connsiteY184" fmla="*/ 1849878 h 2780940"/>
                <a:gd name="connsiteX185" fmla="*/ 1443272 w 1703917"/>
                <a:gd name="connsiteY185" fmla="*/ 1899178 h 2780940"/>
                <a:gd name="connsiteX186" fmla="*/ 1436848 w 1703917"/>
                <a:gd name="connsiteY186" fmla="*/ 1948479 h 2780940"/>
                <a:gd name="connsiteX187" fmla="*/ 1417832 w 1703917"/>
                <a:gd name="connsiteY187" fmla="*/ 1960883 h 2780940"/>
                <a:gd name="connsiteX188" fmla="*/ 1405070 w 1703917"/>
                <a:gd name="connsiteY188" fmla="*/ 1979410 h 2780940"/>
                <a:gd name="connsiteX189" fmla="*/ 1373292 w 1703917"/>
                <a:gd name="connsiteY189" fmla="*/ 1991657 h 2780940"/>
                <a:gd name="connsiteX190" fmla="*/ 1347853 w 1703917"/>
                <a:gd name="connsiteY190" fmla="*/ 2010184 h 2780940"/>
                <a:gd name="connsiteX191" fmla="*/ 1373292 w 1703917"/>
                <a:gd name="connsiteY191" fmla="*/ 2016307 h 2780940"/>
                <a:gd name="connsiteX192" fmla="*/ 1392393 w 1703917"/>
                <a:gd name="connsiteY192" fmla="*/ 2034834 h 2780940"/>
                <a:gd name="connsiteX193" fmla="*/ 1411494 w 1703917"/>
                <a:gd name="connsiteY193" fmla="*/ 2053361 h 2780940"/>
                <a:gd name="connsiteX194" fmla="*/ 1430509 w 1703917"/>
                <a:gd name="connsiteY194" fmla="*/ 2040957 h 2780940"/>
                <a:gd name="connsiteX195" fmla="*/ 1449610 w 1703917"/>
                <a:gd name="connsiteY195" fmla="*/ 2028711 h 2780940"/>
                <a:gd name="connsiteX196" fmla="*/ 1455949 w 1703917"/>
                <a:gd name="connsiteY196" fmla="*/ 2010184 h 2780940"/>
                <a:gd name="connsiteX197" fmla="*/ 1481388 w 1703917"/>
                <a:gd name="connsiteY197" fmla="*/ 1997780 h 2780940"/>
                <a:gd name="connsiteX198" fmla="*/ 1532266 w 1703917"/>
                <a:gd name="connsiteY198" fmla="*/ 2010184 h 2780940"/>
                <a:gd name="connsiteX199" fmla="*/ 1614923 w 1703917"/>
                <a:gd name="connsiteY199" fmla="*/ 2028711 h 2780940"/>
                <a:gd name="connsiteX200" fmla="*/ 1665801 w 1703917"/>
                <a:gd name="connsiteY200" fmla="*/ 2065608 h 2780940"/>
                <a:gd name="connsiteX201" fmla="*/ 1697579 w 1703917"/>
                <a:gd name="connsiteY201" fmla="*/ 2115066 h 2780940"/>
                <a:gd name="connsiteX202" fmla="*/ 1703917 w 1703917"/>
                <a:gd name="connsiteY202" fmla="*/ 2189017 h 2780940"/>
                <a:gd name="connsiteX203" fmla="*/ 1672140 w 1703917"/>
                <a:gd name="connsiteY203" fmla="*/ 2244441 h 2780940"/>
                <a:gd name="connsiteX204" fmla="*/ 1665801 w 1703917"/>
                <a:gd name="connsiteY204" fmla="*/ 2281495 h 2780940"/>
                <a:gd name="connsiteX205" fmla="*/ 1640362 w 1703917"/>
                <a:gd name="connsiteY205" fmla="*/ 2318549 h 2780940"/>
                <a:gd name="connsiteX206" fmla="*/ 1576721 w 1703917"/>
                <a:gd name="connsiteY206" fmla="*/ 2361570 h 2780940"/>
                <a:gd name="connsiteX207" fmla="*/ 1576721 w 1703917"/>
                <a:gd name="connsiteY207" fmla="*/ 2380097 h 2780940"/>
                <a:gd name="connsiteX208" fmla="*/ 1564044 w 1703917"/>
                <a:gd name="connsiteY208" fmla="*/ 2398624 h 2780940"/>
                <a:gd name="connsiteX209" fmla="*/ 1532266 w 1703917"/>
                <a:gd name="connsiteY209" fmla="*/ 2398624 h 2780940"/>
                <a:gd name="connsiteX210" fmla="*/ 1513165 w 1703917"/>
                <a:gd name="connsiteY210" fmla="*/ 2386377 h 2780940"/>
                <a:gd name="connsiteX211" fmla="*/ 1500489 w 1703917"/>
                <a:gd name="connsiteY211" fmla="*/ 2398624 h 2780940"/>
                <a:gd name="connsiteX212" fmla="*/ 1462287 w 1703917"/>
                <a:gd name="connsiteY212" fmla="*/ 2417151 h 2780940"/>
                <a:gd name="connsiteX213" fmla="*/ 1487726 w 1703917"/>
                <a:gd name="connsiteY213" fmla="*/ 2411027 h 2780940"/>
                <a:gd name="connsiteX214" fmla="*/ 1500489 w 1703917"/>
                <a:gd name="connsiteY214" fmla="*/ 2423274 h 2780940"/>
                <a:gd name="connsiteX215" fmla="*/ 1506827 w 1703917"/>
                <a:gd name="connsiteY215" fmla="*/ 2441801 h 2780940"/>
                <a:gd name="connsiteX216" fmla="*/ 1481388 w 1703917"/>
                <a:gd name="connsiteY216" fmla="*/ 2472575 h 2780940"/>
                <a:gd name="connsiteX217" fmla="*/ 1449610 w 1703917"/>
                <a:gd name="connsiteY217" fmla="*/ 2472575 h 2780940"/>
                <a:gd name="connsiteX218" fmla="*/ 1417832 w 1703917"/>
                <a:gd name="connsiteY218" fmla="*/ 2472575 h 2780940"/>
                <a:gd name="connsiteX219" fmla="*/ 1392393 w 1703917"/>
                <a:gd name="connsiteY219" fmla="*/ 2484978 h 2780940"/>
                <a:gd name="connsiteX220" fmla="*/ 1417832 w 1703917"/>
                <a:gd name="connsiteY220" fmla="*/ 2484978 h 2780940"/>
                <a:gd name="connsiteX221" fmla="*/ 1436848 w 1703917"/>
                <a:gd name="connsiteY221" fmla="*/ 2491102 h 2780940"/>
                <a:gd name="connsiteX222" fmla="*/ 1455949 w 1703917"/>
                <a:gd name="connsiteY222" fmla="*/ 2503506 h 2780940"/>
                <a:gd name="connsiteX223" fmla="*/ 1468711 w 1703917"/>
                <a:gd name="connsiteY223" fmla="*/ 2509629 h 2780940"/>
                <a:gd name="connsiteX224" fmla="*/ 1481388 w 1703917"/>
                <a:gd name="connsiteY224" fmla="*/ 2522033 h 2780940"/>
                <a:gd name="connsiteX225" fmla="*/ 1487726 w 1703917"/>
                <a:gd name="connsiteY225" fmla="*/ 2534279 h 2780940"/>
                <a:gd name="connsiteX226" fmla="*/ 1519504 w 1703917"/>
                <a:gd name="connsiteY226" fmla="*/ 2534279 h 2780940"/>
                <a:gd name="connsiteX227" fmla="*/ 1557706 w 1703917"/>
                <a:gd name="connsiteY227" fmla="*/ 2540403 h 2780940"/>
                <a:gd name="connsiteX228" fmla="*/ 1583145 w 1703917"/>
                <a:gd name="connsiteY228" fmla="*/ 2540403 h 2780940"/>
                <a:gd name="connsiteX229" fmla="*/ 1576721 w 1703917"/>
                <a:gd name="connsiteY229" fmla="*/ 2571333 h 2780940"/>
                <a:gd name="connsiteX230" fmla="*/ 1564044 w 1703917"/>
                <a:gd name="connsiteY230" fmla="*/ 2602107 h 2780940"/>
                <a:gd name="connsiteX231" fmla="*/ 1544943 w 1703917"/>
                <a:gd name="connsiteY231" fmla="*/ 2626757 h 2780940"/>
                <a:gd name="connsiteX232" fmla="*/ 1506827 w 1703917"/>
                <a:gd name="connsiteY232" fmla="*/ 2632881 h 2780940"/>
                <a:gd name="connsiteX233" fmla="*/ 1487726 w 1703917"/>
                <a:gd name="connsiteY233" fmla="*/ 2645284 h 2780940"/>
                <a:gd name="connsiteX234" fmla="*/ 1462287 w 1703917"/>
                <a:gd name="connsiteY234" fmla="*/ 2676058 h 2780940"/>
                <a:gd name="connsiteX235" fmla="*/ 1436848 w 1703917"/>
                <a:gd name="connsiteY235" fmla="*/ 2676058 h 2780940"/>
                <a:gd name="connsiteX236" fmla="*/ 1392393 w 1703917"/>
                <a:gd name="connsiteY236" fmla="*/ 2682339 h 2780940"/>
                <a:gd name="connsiteX237" fmla="*/ 1354277 w 1703917"/>
                <a:gd name="connsiteY237" fmla="*/ 2694585 h 2780940"/>
                <a:gd name="connsiteX238" fmla="*/ 1335176 w 1703917"/>
                <a:gd name="connsiteY238" fmla="*/ 2713112 h 2780940"/>
                <a:gd name="connsiteX239" fmla="*/ 1303399 w 1703917"/>
                <a:gd name="connsiteY239" fmla="*/ 2713112 h 2780940"/>
                <a:gd name="connsiteX240" fmla="*/ 1271621 w 1703917"/>
                <a:gd name="connsiteY240" fmla="*/ 2706989 h 2780940"/>
                <a:gd name="connsiteX241" fmla="*/ 1246182 w 1703917"/>
                <a:gd name="connsiteY241" fmla="*/ 2688462 h 2780940"/>
                <a:gd name="connsiteX242" fmla="*/ 1201641 w 1703917"/>
                <a:gd name="connsiteY242" fmla="*/ 2682339 h 2780940"/>
                <a:gd name="connsiteX243" fmla="*/ 1125324 w 1703917"/>
                <a:gd name="connsiteY243" fmla="*/ 2676058 h 2780940"/>
                <a:gd name="connsiteX244" fmla="*/ 1099884 w 1703917"/>
                <a:gd name="connsiteY244" fmla="*/ 2688462 h 2780940"/>
                <a:gd name="connsiteX245" fmla="*/ 1074531 w 1703917"/>
                <a:gd name="connsiteY245" fmla="*/ 2688462 h 2780940"/>
                <a:gd name="connsiteX246" fmla="*/ 1061768 w 1703917"/>
                <a:gd name="connsiteY246" fmla="*/ 2663812 h 2780940"/>
                <a:gd name="connsiteX247" fmla="*/ 1036329 w 1703917"/>
                <a:gd name="connsiteY247" fmla="*/ 2657688 h 2780940"/>
                <a:gd name="connsiteX248" fmla="*/ 1017314 w 1703917"/>
                <a:gd name="connsiteY248" fmla="*/ 2669935 h 2780940"/>
                <a:gd name="connsiteX249" fmla="*/ 998213 w 1703917"/>
                <a:gd name="connsiteY249" fmla="*/ 2651408 h 2780940"/>
                <a:gd name="connsiteX250" fmla="*/ 991874 w 1703917"/>
                <a:gd name="connsiteY250" fmla="*/ 2651408 h 2780940"/>
                <a:gd name="connsiteX251" fmla="*/ 985450 w 1703917"/>
                <a:gd name="connsiteY251" fmla="*/ 2676058 h 2780940"/>
                <a:gd name="connsiteX252" fmla="*/ 1017314 w 1703917"/>
                <a:gd name="connsiteY252" fmla="*/ 2682339 h 2780940"/>
                <a:gd name="connsiteX253" fmla="*/ 1029991 w 1703917"/>
                <a:gd name="connsiteY253" fmla="*/ 2694585 h 2780940"/>
                <a:gd name="connsiteX254" fmla="*/ 1010890 w 1703917"/>
                <a:gd name="connsiteY254" fmla="*/ 2713112 h 2780940"/>
                <a:gd name="connsiteX255" fmla="*/ 972774 w 1703917"/>
                <a:gd name="connsiteY255" fmla="*/ 2719236 h 2780940"/>
                <a:gd name="connsiteX256" fmla="*/ 966435 w 1703917"/>
                <a:gd name="connsiteY256" fmla="*/ 2713112 h 2780940"/>
                <a:gd name="connsiteX257" fmla="*/ 928233 w 1703917"/>
                <a:gd name="connsiteY257" fmla="*/ 2688462 h 2780940"/>
                <a:gd name="connsiteX258" fmla="*/ 940996 w 1703917"/>
                <a:gd name="connsiteY258" fmla="*/ 2682339 h 2780940"/>
                <a:gd name="connsiteX259" fmla="*/ 979112 w 1703917"/>
                <a:gd name="connsiteY259" fmla="*/ 2669935 h 2780940"/>
                <a:gd name="connsiteX260" fmla="*/ 979112 w 1703917"/>
                <a:gd name="connsiteY260" fmla="*/ 2657688 h 2780940"/>
                <a:gd name="connsiteX261" fmla="*/ 953673 w 1703917"/>
                <a:gd name="connsiteY261" fmla="*/ 2663812 h 2780940"/>
                <a:gd name="connsiteX262" fmla="*/ 921895 w 1703917"/>
                <a:gd name="connsiteY262" fmla="*/ 2669935 h 2780940"/>
                <a:gd name="connsiteX263" fmla="*/ 852001 w 1703917"/>
                <a:gd name="connsiteY263" fmla="*/ 2663812 h 2780940"/>
                <a:gd name="connsiteX264" fmla="*/ 826562 w 1703917"/>
                <a:gd name="connsiteY264" fmla="*/ 2657688 h 2780940"/>
                <a:gd name="connsiteX265" fmla="*/ 839239 w 1703917"/>
                <a:gd name="connsiteY265" fmla="*/ 2676058 h 2780940"/>
                <a:gd name="connsiteX266" fmla="*/ 820138 w 1703917"/>
                <a:gd name="connsiteY266" fmla="*/ 2694585 h 2780940"/>
                <a:gd name="connsiteX267" fmla="*/ 801123 w 1703917"/>
                <a:gd name="connsiteY267" fmla="*/ 2694585 h 2780940"/>
                <a:gd name="connsiteX268" fmla="*/ 775684 w 1703917"/>
                <a:gd name="connsiteY268" fmla="*/ 2688462 h 2780940"/>
                <a:gd name="connsiteX269" fmla="*/ 750244 w 1703917"/>
                <a:gd name="connsiteY269" fmla="*/ 2663812 h 2780940"/>
                <a:gd name="connsiteX270" fmla="*/ 731143 w 1703917"/>
                <a:gd name="connsiteY270" fmla="*/ 2700709 h 2780940"/>
                <a:gd name="connsiteX271" fmla="*/ 712128 w 1703917"/>
                <a:gd name="connsiteY271" fmla="*/ 2682339 h 2780940"/>
                <a:gd name="connsiteX272" fmla="*/ 680265 w 1703917"/>
                <a:gd name="connsiteY272" fmla="*/ 2651408 h 2780940"/>
                <a:gd name="connsiteX273" fmla="*/ 648487 w 1703917"/>
                <a:gd name="connsiteY273" fmla="*/ 2626757 h 2780940"/>
                <a:gd name="connsiteX274" fmla="*/ 623048 w 1703917"/>
                <a:gd name="connsiteY274" fmla="*/ 2626757 h 2780940"/>
                <a:gd name="connsiteX275" fmla="*/ 546816 w 1703917"/>
                <a:gd name="connsiteY275" fmla="*/ 2632881 h 2780940"/>
                <a:gd name="connsiteX276" fmla="*/ 515038 w 1703917"/>
                <a:gd name="connsiteY276" fmla="*/ 2639161 h 2780940"/>
                <a:gd name="connsiteX277" fmla="*/ 495937 w 1703917"/>
                <a:gd name="connsiteY277" fmla="*/ 2663812 h 2780940"/>
                <a:gd name="connsiteX278" fmla="*/ 489599 w 1703917"/>
                <a:gd name="connsiteY278" fmla="*/ 2700709 h 2780940"/>
                <a:gd name="connsiteX279" fmla="*/ 489599 w 1703917"/>
                <a:gd name="connsiteY279" fmla="*/ 2719236 h 2780940"/>
                <a:gd name="connsiteX280" fmla="*/ 464159 w 1703917"/>
                <a:gd name="connsiteY280" fmla="*/ 2725516 h 2780940"/>
                <a:gd name="connsiteX281" fmla="*/ 451397 w 1703917"/>
                <a:gd name="connsiteY281" fmla="*/ 2750166 h 2780940"/>
                <a:gd name="connsiteX282" fmla="*/ 432382 w 1703917"/>
                <a:gd name="connsiteY282" fmla="*/ 2756290 h 2780940"/>
                <a:gd name="connsiteX283" fmla="*/ 413281 w 1703917"/>
                <a:gd name="connsiteY283" fmla="*/ 2743886 h 2780940"/>
                <a:gd name="connsiteX284" fmla="*/ 394180 w 1703917"/>
                <a:gd name="connsiteY284" fmla="*/ 2719236 h 2780940"/>
                <a:gd name="connsiteX285" fmla="*/ 375165 w 1703917"/>
                <a:gd name="connsiteY285" fmla="*/ 2719236 h 2780940"/>
                <a:gd name="connsiteX286" fmla="*/ 362402 w 1703917"/>
                <a:gd name="connsiteY286" fmla="*/ 2700709 h 2780940"/>
                <a:gd name="connsiteX287" fmla="*/ 343302 w 1703917"/>
                <a:gd name="connsiteY287" fmla="*/ 2682339 h 2780940"/>
                <a:gd name="connsiteX288" fmla="*/ 292509 w 1703917"/>
                <a:gd name="connsiteY288" fmla="*/ 2694585 h 2780940"/>
                <a:gd name="connsiteX289" fmla="*/ 241630 w 1703917"/>
                <a:gd name="connsiteY289" fmla="*/ 2676058 h 2780940"/>
                <a:gd name="connsiteX290" fmla="*/ 222529 w 1703917"/>
                <a:gd name="connsiteY290" fmla="*/ 2694585 h 2780940"/>
                <a:gd name="connsiteX291" fmla="*/ 209852 w 1703917"/>
                <a:gd name="connsiteY291" fmla="*/ 2713112 h 2780940"/>
                <a:gd name="connsiteX292" fmla="*/ 190752 w 1703917"/>
                <a:gd name="connsiteY292" fmla="*/ 2719236 h 2780940"/>
                <a:gd name="connsiteX293" fmla="*/ 158974 w 1703917"/>
                <a:gd name="connsiteY293" fmla="*/ 2725516 h 2780940"/>
                <a:gd name="connsiteX294" fmla="*/ 127196 w 1703917"/>
                <a:gd name="connsiteY294" fmla="*/ 2731639 h 2780940"/>
                <a:gd name="connsiteX295" fmla="*/ 139873 w 1703917"/>
                <a:gd name="connsiteY295" fmla="*/ 2756290 h 2780940"/>
                <a:gd name="connsiteX296" fmla="*/ 101757 w 1703917"/>
                <a:gd name="connsiteY296" fmla="*/ 2780940 h 2780940"/>
                <a:gd name="connsiteX297" fmla="*/ 95419 w 1703917"/>
                <a:gd name="connsiteY297" fmla="*/ 2756290 h 2780940"/>
                <a:gd name="connsiteX298" fmla="*/ 76318 w 1703917"/>
                <a:gd name="connsiteY298" fmla="*/ 2731639 h 2780940"/>
                <a:gd name="connsiteX299" fmla="*/ 38202 w 1703917"/>
                <a:gd name="connsiteY299" fmla="*/ 2719236 h 2780940"/>
                <a:gd name="connsiteX300" fmla="*/ 25439 w 1703917"/>
                <a:gd name="connsiteY300" fmla="*/ 2737763 h 2780940"/>
                <a:gd name="connsiteX301" fmla="*/ 6338 w 1703917"/>
                <a:gd name="connsiteY301" fmla="*/ 2725516 h 2780940"/>
                <a:gd name="connsiteX302" fmla="*/ 0 w 1703917"/>
                <a:gd name="connsiteY302" fmla="*/ 2700709 h 2780940"/>
                <a:gd name="connsiteX303" fmla="*/ 19101 w 1703917"/>
                <a:gd name="connsiteY303" fmla="*/ 2688462 h 2780940"/>
                <a:gd name="connsiteX304" fmla="*/ 38202 w 1703917"/>
                <a:gd name="connsiteY304" fmla="*/ 2676058 h 2780940"/>
                <a:gd name="connsiteX305" fmla="*/ 63555 w 1703917"/>
                <a:gd name="connsiteY305" fmla="*/ 2688462 h 2780940"/>
                <a:gd name="connsiteX306" fmla="*/ 88994 w 1703917"/>
                <a:gd name="connsiteY306" fmla="*/ 2682339 h 2780940"/>
                <a:gd name="connsiteX307" fmla="*/ 120858 w 1703917"/>
                <a:gd name="connsiteY307" fmla="*/ 2669935 h 2780940"/>
                <a:gd name="connsiteX308" fmla="*/ 139873 w 1703917"/>
                <a:gd name="connsiteY308" fmla="*/ 2639161 h 2780940"/>
                <a:gd name="connsiteX309" fmla="*/ 165312 w 1703917"/>
                <a:gd name="connsiteY309" fmla="*/ 2632881 h 2780940"/>
                <a:gd name="connsiteX310" fmla="*/ 178075 w 1703917"/>
                <a:gd name="connsiteY310" fmla="*/ 2608230 h 2780940"/>
                <a:gd name="connsiteX311" fmla="*/ 228868 w 1703917"/>
                <a:gd name="connsiteY311" fmla="*/ 2589860 h 2780940"/>
                <a:gd name="connsiteX312" fmla="*/ 235292 w 1703917"/>
                <a:gd name="connsiteY312" fmla="*/ 2583580 h 2780940"/>
                <a:gd name="connsiteX313" fmla="*/ 267069 w 1703917"/>
                <a:gd name="connsiteY313" fmla="*/ 2558930 h 2780940"/>
                <a:gd name="connsiteX314" fmla="*/ 279746 w 1703917"/>
                <a:gd name="connsiteY314" fmla="*/ 2546683 h 2780940"/>
                <a:gd name="connsiteX315" fmla="*/ 292509 w 1703917"/>
                <a:gd name="connsiteY315" fmla="*/ 2522033 h 2780940"/>
                <a:gd name="connsiteX316" fmla="*/ 292509 w 1703917"/>
                <a:gd name="connsiteY316" fmla="*/ 2497225 h 2780940"/>
                <a:gd name="connsiteX317" fmla="*/ 317948 w 1703917"/>
                <a:gd name="connsiteY317" fmla="*/ 2478855 h 2780940"/>
                <a:gd name="connsiteX318" fmla="*/ 349726 w 1703917"/>
                <a:gd name="connsiteY318" fmla="*/ 2478855 h 2780940"/>
                <a:gd name="connsiteX319" fmla="*/ 375165 w 1703917"/>
                <a:gd name="connsiteY319" fmla="*/ 2472575 h 2780940"/>
                <a:gd name="connsiteX320" fmla="*/ 381503 w 1703917"/>
                <a:gd name="connsiteY320" fmla="*/ 2454205 h 2780940"/>
                <a:gd name="connsiteX321" fmla="*/ 381503 w 1703917"/>
                <a:gd name="connsiteY321" fmla="*/ 2435678 h 2780940"/>
                <a:gd name="connsiteX322" fmla="*/ 400604 w 1703917"/>
                <a:gd name="connsiteY322" fmla="*/ 2423274 h 2780940"/>
                <a:gd name="connsiteX323" fmla="*/ 419619 w 1703917"/>
                <a:gd name="connsiteY323" fmla="*/ 2417151 h 2780940"/>
                <a:gd name="connsiteX324" fmla="*/ 495937 w 1703917"/>
                <a:gd name="connsiteY324" fmla="*/ 2435678 h 2780940"/>
                <a:gd name="connsiteX325" fmla="*/ 521376 w 1703917"/>
                <a:gd name="connsiteY325" fmla="*/ 2441801 h 2780940"/>
                <a:gd name="connsiteX326" fmla="*/ 559493 w 1703917"/>
                <a:gd name="connsiteY326" fmla="*/ 2447924 h 2780940"/>
                <a:gd name="connsiteX327" fmla="*/ 616709 w 1703917"/>
                <a:gd name="connsiteY327" fmla="*/ 2460328 h 2780940"/>
                <a:gd name="connsiteX328" fmla="*/ 642149 w 1703917"/>
                <a:gd name="connsiteY328" fmla="*/ 2447924 h 2780940"/>
                <a:gd name="connsiteX329" fmla="*/ 654911 w 1703917"/>
                <a:gd name="connsiteY329" fmla="*/ 2435678 h 2780940"/>
                <a:gd name="connsiteX330" fmla="*/ 680265 w 1703917"/>
                <a:gd name="connsiteY330" fmla="*/ 2411027 h 2780940"/>
                <a:gd name="connsiteX331" fmla="*/ 699366 w 1703917"/>
                <a:gd name="connsiteY331" fmla="*/ 2404747 h 2780940"/>
                <a:gd name="connsiteX332" fmla="*/ 718467 w 1703917"/>
                <a:gd name="connsiteY332" fmla="*/ 2373973 h 2780940"/>
                <a:gd name="connsiteX333" fmla="*/ 737567 w 1703917"/>
                <a:gd name="connsiteY333" fmla="*/ 2361570 h 2780940"/>
                <a:gd name="connsiteX334" fmla="*/ 750244 w 1703917"/>
                <a:gd name="connsiteY334" fmla="*/ 2349323 h 2780940"/>
                <a:gd name="connsiteX335" fmla="*/ 775684 w 1703917"/>
                <a:gd name="connsiteY335" fmla="*/ 2330796 h 2780940"/>
                <a:gd name="connsiteX336" fmla="*/ 788360 w 1703917"/>
                <a:gd name="connsiteY336" fmla="*/ 2318549 h 2780940"/>
                <a:gd name="connsiteX337" fmla="*/ 826562 w 1703917"/>
                <a:gd name="connsiteY337" fmla="*/ 2306145 h 2780940"/>
                <a:gd name="connsiteX338" fmla="*/ 782022 w 1703917"/>
                <a:gd name="connsiteY338" fmla="*/ 2318549 h 2780940"/>
                <a:gd name="connsiteX339" fmla="*/ 750244 w 1703917"/>
                <a:gd name="connsiteY339" fmla="*/ 2336919 h 2780940"/>
                <a:gd name="connsiteX340" fmla="*/ 731143 w 1703917"/>
                <a:gd name="connsiteY340" fmla="*/ 2355446 h 2780940"/>
                <a:gd name="connsiteX341" fmla="*/ 680265 w 1703917"/>
                <a:gd name="connsiteY341" fmla="*/ 2361570 h 2780940"/>
                <a:gd name="connsiteX342" fmla="*/ 654911 w 1703917"/>
                <a:gd name="connsiteY342" fmla="*/ 2361570 h 2780940"/>
                <a:gd name="connsiteX343" fmla="*/ 629472 w 1703917"/>
                <a:gd name="connsiteY343" fmla="*/ 2380097 h 2780940"/>
                <a:gd name="connsiteX344" fmla="*/ 610371 w 1703917"/>
                <a:gd name="connsiteY344" fmla="*/ 2398624 h 2780940"/>
                <a:gd name="connsiteX345" fmla="*/ 591270 w 1703917"/>
                <a:gd name="connsiteY345" fmla="*/ 2392500 h 2780940"/>
                <a:gd name="connsiteX346" fmla="*/ 565831 w 1703917"/>
                <a:gd name="connsiteY346" fmla="*/ 2392500 h 2780940"/>
                <a:gd name="connsiteX347" fmla="*/ 540392 w 1703917"/>
                <a:gd name="connsiteY347" fmla="*/ 2386377 h 2780940"/>
                <a:gd name="connsiteX348" fmla="*/ 527715 w 1703917"/>
                <a:gd name="connsiteY348" fmla="*/ 2367850 h 2780940"/>
                <a:gd name="connsiteX349" fmla="*/ 508614 w 1703917"/>
                <a:gd name="connsiteY349" fmla="*/ 2349323 h 2780940"/>
                <a:gd name="connsiteX350" fmla="*/ 502276 w 1703917"/>
                <a:gd name="connsiteY350" fmla="*/ 2330796 h 2780940"/>
                <a:gd name="connsiteX351" fmla="*/ 495937 w 1703917"/>
                <a:gd name="connsiteY351" fmla="*/ 2312269 h 2780940"/>
                <a:gd name="connsiteX352" fmla="*/ 495937 w 1703917"/>
                <a:gd name="connsiteY352" fmla="*/ 2300022 h 2780940"/>
                <a:gd name="connsiteX353" fmla="*/ 476836 w 1703917"/>
                <a:gd name="connsiteY353" fmla="*/ 2312269 h 2780940"/>
                <a:gd name="connsiteX354" fmla="*/ 464159 w 1703917"/>
                <a:gd name="connsiteY354" fmla="*/ 2318549 h 2780940"/>
                <a:gd name="connsiteX355" fmla="*/ 432382 w 1703917"/>
                <a:gd name="connsiteY355" fmla="*/ 2318549 h 2780940"/>
                <a:gd name="connsiteX356" fmla="*/ 394180 w 1703917"/>
                <a:gd name="connsiteY356" fmla="*/ 2312269 h 2780940"/>
                <a:gd name="connsiteX357" fmla="*/ 400604 w 1703917"/>
                <a:gd name="connsiteY357" fmla="*/ 2281495 h 2780940"/>
                <a:gd name="connsiteX358" fmla="*/ 413281 w 1703917"/>
                <a:gd name="connsiteY358" fmla="*/ 2281495 h 2780940"/>
                <a:gd name="connsiteX359" fmla="*/ 438720 w 1703917"/>
                <a:gd name="connsiteY359" fmla="*/ 2287618 h 2780940"/>
                <a:gd name="connsiteX360" fmla="*/ 457821 w 1703917"/>
                <a:gd name="connsiteY360" fmla="*/ 2281495 h 2780940"/>
                <a:gd name="connsiteX361" fmla="*/ 419619 w 1703917"/>
                <a:gd name="connsiteY361" fmla="*/ 2269091 h 2780940"/>
                <a:gd name="connsiteX362" fmla="*/ 400604 w 1703917"/>
                <a:gd name="connsiteY362" fmla="*/ 2244441 h 2780940"/>
                <a:gd name="connsiteX363" fmla="*/ 394180 w 1703917"/>
                <a:gd name="connsiteY363" fmla="*/ 2238318 h 2780940"/>
                <a:gd name="connsiteX364" fmla="*/ 336963 w 1703917"/>
                <a:gd name="connsiteY364" fmla="*/ 2238318 h 2780940"/>
                <a:gd name="connsiteX365" fmla="*/ 326960 w 1703917"/>
                <a:gd name="connsiteY365" fmla="*/ 2238318 h 2780940"/>
                <a:gd name="connsiteX366" fmla="*/ 324286 w 1703917"/>
                <a:gd name="connsiteY366" fmla="*/ 2238318 h 2780940"/>
                <a:gd name="connsiteX367" fmla="*/ 311524 w 1703917"/>
                <a:gd name="connsiteY367" fmla="*/ 2256845 h 2780940"/>
                <a:gd name="connsiteX368" fmla="*/ 292509 w 1703917"/>
                <a:gd name="connsiteY368" fmla="*/ 2250721 h 2780940"/>
                <a:gd name="connsiteX369" fmla="*/ 273408 w 1703917"/>
                <a:gd name="connsiteY369" fmla="*/ 2262968 h 2780940"/>
                <a:gd name="connsiteX370" fmla="*/ 247968 w 1703917"/>
                <a:gd name="connsiteY370" fmla="*/ 2262968 h 2780940"/>
                <a:gd name="connsiteX371" fmla="*/ 241630 w 1703917"/>
                <a:gd name="connsiteY371" fmla="*/ 2250721 h 2780940"/>
                <a:gd name="connsiteX372" fmla="*/ 247968 w 1703917"/>
                <a:gd name="connsiteY372" fmla="*/ 2232194 h 2780940"/>
                <a:gd name="connsiteX373" fmla="*/ 279746 w 1703917"/>
                <a:gd name="connsiteY373" fmla="*/ 2213667 h 2780940"/>
                <a:gd name="connsiteX374" fmla="*/ 241630 w 1703917"/>
                <a:gd name="connsiteY374" fmla="*/ 2225914 h 2780940"/>
                <a:gd name="connsiteX375" fmla="*/ 228868 w 1703917"/>
                <a:gd name="connsiteY375" fmla="*/ 2219791 h 2780940"/>
                <a:gd name="connsiteX376" fmla="*/ 216191 w 1703917"/>
                <a:gd name="connsiteY376" fmla="*/ 2213667 h 2780940"/>
                <a:gd name="connsiteX377" fmla="*/ 216191 w 1703917"/>
                <a:gd name="connsiteY377" fmla="*/ 2201263 h 2780940"/>
                <a:gd name="connsiteX378" fmla="*/ 241630 w 1703917"/>
                <a:gd name="connsiteY378" fmla="*/ 2195140 h 2780940"/>
                <a:gd name="connsiteX379" fmla="*/ 254307 w 1703917"/>
                <a:gd name="connsiteY379" fmla="*/ 2195140 h 2780940"/>
                <a:gd name="connsiteX380" fmla="*/ 247968 w 1703917"/>
                <a:gd name="connsiteY380" fmla="*/ 2176613 h 2780940"/>
                <a:gd name="connsiteX381" fmla="*/ 216191 w 1703917"/>
                <a:gd name="connsiteY381" fmla="*/ 2158086 h 2780940"/>
                <a:gd name="connsiteX382" fmla="*/ 241630 w 1703917"/>
                <a:gd name="connsiteY382" fmla="*/ 2145839 h 2780940"/>
                <a:gd name="connsiteX383" fmla="*/ 273408 w 1703917"/>
                <a:gd name="connsiteY383" fmla="*/ 2121189 h 2780940"/>
                <a:gd name="connsiteX384" fmla="*/ 305185 w 1703917"/>
                <a:gd name="connsiteY384" fmla="*/ 2127312 h 2780940"/>
                <a:gd name="connsiteX385" fmla="*/ 324286 w 1703917"/>
                <a:gd name="connsiteY385" fmla="*/ 2127312 h 2780940"/>
                <a:gd name="connsiteX386" fmla="*/ 349726 w 1703917"/>
                <a:gd name="connsiteY386" fmla="*/ 2108785 h 2780940"/>
                <a:gd name="connsiteX387" fmla="*/ 381503 w 1703917"/>
                <a:gd name="connsiteY387" fmla="*/ 2096539 h 2780940"/>
                <a:gd name="connsiteX388" fmla="*/ 438720 w 1703917"/>
                <a:gd name="connsiteY388" fmla="*/ 2084135 h 2780940"/>
                <a:gd name="connsiteX389" fmla="*/ 470498 w 1703917"/>
                <a:gd name="connsiteY389" fmla="*/ 2065608 h 2780940"/>
                <a:gd name="connsiteX390" fmla="*/ 495937 w 1703917"/>
                <a:gd name="connsiteY390" fmla="*/ 2028711 h 2780940"/>
                <a:gd name="connsiteX391" fmla="*/ 508614 w 1703917"/>
                <a:gd name="connsiteY391" fmla="*/ 1991657 h 2780940"/>
                <a:gd name="connsiteX392" fmla="*/ 502276 w 1703917"/>
                <a:gd name="connsiteY392" fmla="*/ 1985533 h 2780940"/>
                <a:gd name="connsiteX393" fmla="*/ 508614 w 1703917"/>
                <a:gd name="connsiteY393" fmla="*/ 1967006 h 2780940"/>
                <a:gd name="connsiteX394" fmla="*/ 515038 w 1703917"/>
                <a:gd name="connsiteY394" fmla="*/ 1936233 h 2780940"/>
                <a:gd name="connsiteX395" fmla="*/ 521376 w 1703917"/>
                <a:gd name="connsiteY395" fmla="*/ 1899178 h 2780940"/>
                <a:gd name="connsiteX396" fmla="*/ 521376 w 1703917"/>
                <a:gd name="connsiteY396" fmla="*/ 1868405 h 2780940"/>
                <a:gd name="connsiteX397" fmla="*/ 495937 w 1703917"/>
                <a:gd name="connsiteY397" fmla="*/ 1862124 h 2780940"/>
                <a:gd name="connsiteX398" fmla="*/ 457821 w 1703917"/>
                <a:gd name="connsiteY398" fmla="*/ 1874528 h 2780940"/>
                <a:gd name="connsiteX399" fmla="*/ 432382 w 1703917"/>
                <a:gd name="connsiteY399" fmla="*/ 1899178 h 2780940"/>
                <a:gd name="connsiteX400" fmla="*/ 387842 w 1703917"/>
                <a:gd name="connsiteY400" fmla="*/ 1886775 h 2780940"/>
                <a:gd name="connsiteX401" fmla="*/ 387842 w 1703917"/>
                <a:gd name="connsiteY401" fmla="*/ 1868405 h 2780940"/>
                <a:gd name="connsiteX402" fmla="*/ 400604 w 1703917"/>
                <a:gd name="connsiteY402" fmla="*/ 1856001 h 2780940"/>
                <a:gd name="connsiteX403" fmla="*/ 451397 w 1703917"/>
                <a:gd name="connsiteY403" fmla="*/ 1843754 h 2780940"/>
                <a:gd name="connsiteX404" fmla="*/ 470498 w 1703917"/>
                <a:gd name="connsiteY404" fmla="*/ 1825227 h 2780940"/>
                <a:gd name="connsiteX405" fmla="*/ 483175 w 1703917"/>
                <a:gd name="connsiteY405" fmla="*/ 1806700 h 2780940"/>
                <a:gd name="connsiteX406" fmla="*/ 515038 w 1703917"/>
                <a:gd name="connsiteY406" fmla="*/ 1782050 h 2780940"/>
                <a:gd name="connsiteX407" fmla="*/ 470498 w 1703917"/>
                <a:gd name="connsiteY407" fmla="*/ 1782050 h 2780940"/>
                <a:gd name="connsiteX408" fmla="*/ 457821 w 1703917"/>
                <a:gd name="connsiteY408" fmla="*/ 1751119 h 2780940"/>
                <a:gd name="connsiteX409" fmla="*/ 438720 w 1703917"/>
                <a:gd name="connsiteY409" fmla="*/ 1720345 h 2780940"/>
                <a:gd name="connsiteX410" fmla="*/ 470498 w 1703917"/>
                <a:gd name="connsiteY410" fmla="*/ 1708099 h 2780940"/>
                <a:gd name="connsiteX411" fmla="*/ 483175 w 1703917"/>
                <a:gd name="connsiteY411" fmla="*/ 1695695 h 2780940"/>
                <a:gd name="connsiteX412" fmla="*/ 508614 w 1703917"/>
                <a:gd name="connsiteY412" fmla="*/ 1695695 h 2780940"/>
                <a:gd name="connsiteX413" fmla="*/ 521376 w 1703917"/>
                <a:gd name="connsiteY413" fmla="*/ 1714222 h 2780940"/>
                <a:gd name="connsiteX414" fmla="*/ 540392 w 1703917"/>
                <a:gd name="connsiteY414" fmla="*/ 1738872 h 2780940"/>
                <a:gd name="connsiteX415" fmla="*/ 553154 w 1703917"/>
                <a:gd name="connsiteY415" fmla="*/ 1744996 h 2780940"/>
                <a:gd name="connsiteX416" fmla="*/ 540392 w 1703917"/>
                <a:gd name="connsiteY416" fmla="*/ 1769646 h 2780940"/>
                <a:gd name="connsiteX417" fmla="*/ 591270 w 1703917"/>
                <a:gd name="connsiteY417" fmla="*/ 1757399 h 2780940"/>
                <a:gd name="connsiteX418" fmla="*/ 610371 w 1703917"/>
                <a:gd name="connsiteY418" fmla="*/ 1751119 h 2780940"/>
                <a:gd name="connsiteX419" fmla="*/ 616709 w 1703917"/>
                <a:gd name="connsiteY419" fmla="*/ 1751119 h 2780940"/>
                <a:gd name="connsiteX420" fmla="*/ 654911 w 1703917"/>
                <a:gd name="connsiteY420" fmla="*/ 1769646 h 2780940"/>
                <a:gd name="connsiteX421" fmla="*/ 680265 w 1703917"/>
                <a:gd name="connsiteY421" fmla="*/ 1763523 h 2780940"/>
                <a:gd name="connsiteX422" fmla="*/ 705704 w 1703917"/>
                <a:gd name="connsiteY422" fmla="*/ 1763523 h 2780940"/>
                <a:gd name="connsiteX423" fmla="*/ 724805 w 1703917"/>
                <a:gd name="connsiteY423" fmla="*/ 1782050 h 2780940"/>
                <a:gd name="connsiteX424" fmla="*/ 743906 w 1703917"/>
                <a:gd name="connsiteY424" fmla="*/ 1788173 h 2780940"/>
                <a:gd name="connsiteX425" fmla="*/ 743906 w 1703917"/>
                <a:gd name="connsiteY425" fmla="*/ 1763523 h 2780940"/>
                <a:gd name="connsiteX426" fmla="*/ 737567 w 1703917"/>
                <a:gd name="connsiteY426" fmla="*/ 1744996 h 2780940"/>
                <a:gd name="connsiteX427" fmla="*/ 750244 w 1703917"/>
                <a:gd name="connsiteY427" fmla="*/ 1744996 h 2780940"/>
                <a:gd name="connsiteX428" fmla="*/ 769345 w 1703917"/>
                <a:gd name="connsiteY428" fmla="*/ 1744996 h 2780940"/>
                <a:gd name="connsiteX429" fmla="*/ 782022 w 1703917"/>
                <a:gd name="connsiteY429" fmla="*/ 1726469 h 2780940"/>
                <a:gd name="connsiteX430" fmla="*/ 769345 w 1703917"/>
                <a:gd name="connsiteY430" fmla="*/ 1689572 h 2780940"/>
                <a:gd name="connsiteX431" fmla="*/ 782022 w 1703917"/>
                <a:gd name="connsiteY431" fmla="*/ 1683291 h 2780940"/>
                <a:gd name="connsiteX432" fmla="*/ 801123 w 1703917"/>
                <a:gd name="connsiteY432" fmla="*/ 1664921 h 2780940"/>
                <a:gd name="connsiteX433" fmla="*/ 788360 w 1703917"/>
                <a:gd name="connsiteY433" fmla="*/ 1646394 h 2780940"/>
                <a:gd name="connsiteX434" fmla="*/ 782022 w 1703917"/>
                <a:gd name="connsiteY434" fmla="*/ 1627867 h 2780940"/>
                <a:gd name="connsiteX435" fmla="*/ 794784 w 1703917"/>
                <a:gd name="connsiteY435" fmla="*/ 1597093 h 2780940"/>
                <a:gd name="connsiteX436" fmla="*/ 801123 w 1703917"/>
                <a:gd name="connsiteY436" fmla="*/ 1590813 h 2780940"/>
                <a:gd name="connsiteX437" fmla="*/ 826562 w 1703917"/>
                <a:gd name="connsiteY437" fmla="*/ 1584690 h 2780940"/>
                <a:gd name="connsiteX438" fmla="*/ 839239 w 1703917"/>
                <a:gd name="connsiteY438" fmla="*/ 1566163 h 2780940"/>
                <a:gd name="connsiteX439" fmla="*/ 839239 w 1703917"/>
                <a:gd name="connsiteY439" fmla="*/ 1553916 h 2780940"/>
                <a:gd name="connsiteX440" fmla="*/ 858340 w 1703917"/>
                <a:gd name="connsiteY440" fmla="*/ 1541512 h 2780940"/>
                <a:gd name="connsiteX441" fmla="*/ 864678 w 1703917"/>
                <a:gd name="connsiteY441" fmla="*/ 1510739 h 2780940"/>
                <a:gd name="connsiteX442" fmla="*/ 813800 w 1703917"/>
                <a:gd name="connsiteY442" fmla="*/ 1522985 h 2780940"/>
                <a:gd name="connsiteX443" fmla="*/ 782022 w 1703917"/>
                <a:gd name="connsiteY443" fmla="*/ 1535389 h 2780940"/>
                <a:gd name="connsiteX444" fmla="*/ 775684 w 1703917"/>
                <a:gd name="connsiteY444" fmla="*/ 1516862 h 2780940"/>
                <a:gd name="connsiteX445" fmla="*/ 775684 w 1703917"/>
                <a:gd name="connsiteY445" fmla="*/ 1498335 h 2780940"/>
                <a:gd name="connsiteX446" fmla="*/ 769345 w 1703917"/>
                <a:gd name="connsiteY446" fmla="*/ 1498335 h 2780940"/>
                <a:gd name="connsiteX447" fmla="*/ 756583 w 1703917"/>
                <a:gd name="connsiteY447" fmla="*/ 1467561 h 2780940"/>
                <a:gd name="connsiteX448" fmla="*/ 750244 w 1703917"/>
                <a:gd name="connsiteY448" fmla="*/ 1442911 h 2780940"/>
                <a:gd name="connsiteX449" fmla="*/ 750244 w 1703917"/>
                <a:gd name="connsiteY449" fmla="*/ 1424384 h 2780940"/>
                <a:gd name="connsiteX450" fmla="*/ 731143 w 1703917"/>
                <a:gd name="connsiteY450" fmla="*/ 1399733 h 2780940"/>
                <a:gd name="connsiteX451" fmla="*/ 724805 w 1703917"/>
                <a:gd name="connsiteY451" fmla="*/ 1375083 h 2780940"/>
                <a:gd name="connsiteX452" fmla="*/ 737567 w 1703917"/>
                <a:gd name="connsiteY452" fmla="*/ 1344152 h 2780940"/>
                <a:gd name="connsiteX453" fmla="*/ 750244 w 1703917"/>
                <a:gd name="connsiteY453" fmla="*/ 1325782 h 2780940"/>
                <a:gd name="connsiteX454" fmla="*/ 775684 w 1703917"/>
                <a:gd name="connsiteY454" fmla="*/ 1301132 h 2780940"/>
                <a:gd name="connsiteX455" fmla="*/ 788360 w 1703917"/>
                <a:gd name="connsiteY455" fmla="*/ 1288728 h 2780940"/>
                <a:gd name="connsiteX456" fmla="*/ 794784 w 1703917"/>
                <a:gd name="connsiteY456" fmla="*/ 1270201 h 2780940"/>
                <a:gd name="connsiteX457" fmla="*/ 807461 w 1703917"/>
                <a:gd name="connsiteY457" fmla="*/ 1257954 h 2780940"/>
                <a:gd name="connsiteX458" fmla="*/ 826562 w 1703917"/>
                <a:gd name="connsiteY458" fmla="*/ 1251674 h 2780940"/>
                <a:gd name="connsiteX459" fmla="*/ 852001 w 1703917"/>
                <a:gd name="connsiteY459" fmla="*/ 1257954 h 2780940"/>
                <a:gd name="connsiteX460" fmla="*/ 858340 w 1703917"/>
                <a:gd name="connsiteY460" fmla="*/ 1245551 h 2780940"/>
                <a:gd name="connsiteX461" fmla="*/ 775684 w 1703917"/>
                <a:gd name="connsiteY461" fmla="*/ 1220900 h 2780940"/>
                <a:gd name="connsiteX462" fmla="*/ 762921 w 1703917"/>
                <a:gd name="connsiteY462" fmla="*/ 1233304 h 2780940"/>
                <a:gd name="connsiteX463" fmla="*/ 743906 w 1703917"/>
                <a:gd name="connsiteY463" fmla="*/ 1264078 h 2780940"/>
                <a:gd name="connsiteX464" fmla="*/ 724805 w 1703917"/>
                <a:gd name="connsiteY464" fmla="*/ 1264078 h 2780940"/>
                <a:gd name="connsiteX465" fmla="*/ 712128 w 1703917"/>
                <a:gd name="connsiteY465" fmla="*/ 1270201 h 2780940"/>
                <a:gd name="connsiteX466" fmla="*/ 699366 w 1703917"/>
                <a:gd name="connsiteY466" fmla="*/ 1276324 h 2780940"/>
                <a:gd name="connsiteX467" fmla="*/ 686689 w 1703917"/>
                <a:gd name="connsiteY467" fmla="*/ 1288728 h 2780940"/>
                <a:gd name="connsiteX468" fmla="*/ 648487 w 1703917"/>
                <a:gd name="connsiteY468" fmla="*/ 1270201 h 2780940"/>
                <a:gd name="connsiteX469" fmla="*/ 629472 w 1703917"/>
                <a:gd name="connsiteY469" fmla="*/ 1264078 h 2780940"/>
                <a:gd name="connsiteX470" fmla="*/ 616709 w 1703917"/>
                <a:gd name="connsiteY470" fmla="*/ 1239427 h 2780940"/>
                <a:gd name="connsiteX471" fmla="*/ 604033 w 1703917"/>
                <a:gd name="connsiteY471" fmla="*/ 1227024 h 2780940"/>
                <a:gd name="connsiteX472" fmla="*/ 597694 w 1703917"/>
                <a:gd name="connsiteY472" fmla="*/ 1233304 h 2780940"/>
                <a:gd name="connsiteX473" fmla="*/ 604033 w 1703917"/>
                <a:gd name="connsiteY473" fmla="*/ 1257954 h 2780940"/>
                <a:gd name="connsiteX474" fmla="*/ 597694 w 1703917"/>
                <a:gd name="connsiteY474" fmla="*/ 1282605 h 2780940"/>
                <a:gd name="connsiteX475" fmla="*/ 584932 w 1703917"/>
                <a:gd name="connsiteY475" fmla="*/ 1294851 h 2780940"/>
                <a:gd name="connsiteX476" fmla="*/ 565831 w 1703917"/>
                <a:gd name="connsiteY476" fmla="*/ 1276324 h 2780940"/>
                <a:gd name="connsiteX477" fmla="*/ 540392 w 1703917"/>
                <a:gd name="connsiteY477" fmla="*/ 1251674 h 2780940"/>
                <a:gd name="connsiteX478" fmla="*/ 521376 w 1703917"/>
                <a:gd name="connsiteY478" fmla="*/ 1227024 h 2780940"/>
                <a:gd name="connsiteX479" fmla="*/ 508614 w 1703917"/>
                <a:gd name="connsiteY479" fmla="*/ 1214777 h 2780940"/>
                <a:gd name="connsiteX480" fmla="*/ 506377 w 1703917"/>
                <a:gd name="connsiteY480" fmla="*/ 1209605 h 2780940"/>
                <a:gd name="connsiteX481" fmla="*/ 507029 w 1703917"/>
                <a:gd name="connsiteY481" fmla="*/ 1209282 h 2780940"/>
                <a:gd name="connsiteX482" fmla="*/ 508614 w 1703917"/>
                <a:gd name="connsiteY482" fmla="*/ 1208497 h 2780940"/>
                <a:gd name="connsiteX483" fmla="*/ 506237 w 1703917"/>
                <a:gd name="connsiteY483" fmla="*/ 1209282 h 2780940"/>
                <a:gd name="connsiteX484" fmla="*/ 506377 w 1703917"/>
                <a:gd name="connsiteY484" fmla="*/ 1209605 h 2780940"/>
                <a:gd name="connsiteX485" fmla="*/ 495937 w 1703917"/>
                <a:gd name="connsiteY485" fmla="*/ 1214777 h 2780940"/>
                <a:gd name="connsiteX486" fmla="*/ 483175 w 1703917"/>
                <a:gd name="connsiteY486" fmla="*/ 1245551 h 2780940"/>
                <a:gd name="connsiteX487" fmla="*/ 495937 w 1703917"/>
                <a:gd name="connsiteY487" fmla="*/ 1270201 h 2780940"/>
                <a:gd name="connsiteX488" fmla="*/ 483175 w 1703917"/>
                <a:gd name="connsiteY488" fmla="*/ 1294851 h 2780940"/>
                <a:gd name="connsiteX489" fmla="*/ 476836 w 1703917"/>
                <a:gd name="connsiteY489" fmla="*/ 1276324 h 2780940"/>
                <a:gd name="connsiteX490" fmla="*/ 470498 w 1703917"/>
                <a:gd name="connsiteY490" fmla="*/ 1245551 h 2780940"/>
                <a:gd name="connsiteX491" fmla="*/ 464159 w 1703917"/>
                <a:gd name="connsiteY491" fmla="*/ 1239427 h 2780940"/>
                <a:gd name="connsiteX492" fmla="*/ 445059 w 1703917"/>
                <a:gd name="connsiteY492" fmla="*/ 1214777 h 2780940"/>
                <a:gd name="connsiteX493" fmla="*/ 445059 w 1703917"/>
                <a:gd name="connsiteY493" fmla="*/ 1196250 h 2780940"/>
                <a:gd name="connsiteX494" fmla="*/ 464159 w 1703917"/>
                <a:gd name="connsiteY494" fmla="*/ 1171600 h 2780940"/>
                <a:gd name="connsiteX495" fmla="*/ 476836 w 1703917"/>
                <a:gd name="connsiteY495" fmla="*/ 1146949 h 2780940"/>
                <a:gd name="connsiteX496" fmla="*/ 508614 w 1703917"/>
                <a:gd name="connsiteY496" fmla="*/ 1116018 h 2780940"/>
                <a:gd name="connsiteX497" fmla="*/ 534053 w 1703917"/>
                <a:gd name="connsiteY497" fmla="*/ 1103772 h 2780940"/>
                <a:gd name="connsiteX498" fmla="*/ 546816 w 1703917"/>
                <a:gd name="connsiteY498" fmla="*/ 1085245 h 2780940"/>
                <a:gd name="connsiteX499" fmla="*/ 553154 w 1703917"/>
                <a:gd name="connsiteY499" fmla="*/ 1060594 h 2780940"/>
                <a:gd name="connsiteX500" fmla="*/ 572255 w 1703917"/>
                <a:gd name="connsiteY500" fmla="*/ 1042067 h 2780940"/>
                <a:gd name="connsiteX501" fmla="*/ 584932 w 1703917"/>
                <a:gd name="connsiteY501" fmla="*/ 1035944 h 2780940"/>
                <a:gd name="connsiteX502" fmla="*/ 597694 w 1703917"/>
                <a:gd name="connsiteY502" fmla="*/ 1011294 h 2780940"/>
                <a:gd name="connsiteX503" fmla="*/ 591270 w 1703917"/>
                <a:gd name="connsiteY503" fmla="*/ 992766 h 2780940"/>
                <a:gd name="connsiteX504" fmla="*/ 591270 w 1703917"/>
                <a:gd name="connsiteY504" fmla="*/ 980363 h 2780940"/>
                <a:gd name="connsiteX505" fmla="*/ 559493 w 1703917"/>
                <a:gd name="connsiteY505" fmla="*/ 955712 h 2780940"/>
                <a:gd name="connsiteX506" fmla="*/ 540392 w 1703917"/>
                <a:gd name="connsiteY506" fmla="*/ 918815 h 2780940"/>
                <a:gd name="connsiteX507" fmla="*/ 495937 w 1703917"/>
                <a:gd name="connsiteY507" fmla="*/ 881761 h 2780940"/>
                <a:gd name="connsiteX508" fmla="*/ 495937 w 1703917"/>
                <a:gd name="connsiteY508" fmla="*/ 850987 h 2780940"/>
                <a:gd name="connsiteX509" fmla="*/ 495937 w 1703917"/>
                <a:gd name="connsiteY509" fmla="*/ 832460 h 2780940"/>
                <a:gd name="connsiteX510" fmla="*/ 483175 w 1703917"/>
                <a:gd name="connsiteY510" fmla="*/ 832460 h 2780940"/>
                <a:gd name="connsiteX511" fmla="*/ 476836 w 1703917"/>
                <a:gd name="connsiteY511" fmla="*/ 844707 h 2780940"/>
                <a:gd name="connsiteX512" fmla="*/ 476836 w 1703917"/>
                <a:gd name="connsiteY512" fmla="*/ 894165 h 2780940"/>
                <a:gd name="connsiteX513" fmla="*/ 470498 w 1703917"/>
                <a:gd name="connsiteY513" fmla="*/ 906412 h 2780940"/>
                <a:gd name="connsiteX514" fmla="*/ 464159 w 1703917"/>
                <a:gd name="connsiteY514" fmla="*/ 912535 h 2780940"/>
                <a:gd name="connsiteX515" fmla="*/ 457821 w 1703917"/>
                <a:gd name="connsiteY515" fmla="*/ 931062 h 2780940"/>
                <a:gd name="connsiteX516" fmla="*/ 445059 w 1703917"/>
                <a:gd name="connsiteY516" fmla="*/ 937185 h 2780940"/>
                <a:gd name="connsiteX517" fmla="*/ 432382 w 1703917"/>
                <a:gd name="connsiteY517" fmla="*/ 955712 h 2780940"/>
                <a:gd name="connsiteX518" fmla="*/ 432382 w 1703917"/>
                <a:gd name="connsiteY518" fmla="*/ 980363 h 2780940"/>
                <a:gd name="connsiteX519" fmla="*/ 419619 w 1703917"/>
                <a:gd name="connsiteY519" fmla="*/ 998890 h 2780940"/>
                <a:gd name="connsiteX520" fmla="*/ 419619 w 1703917"/>
                <a:gd name="connsiteY520" fmla="*/ 1029821 h 2780940"/>
                <a:gd name="connsiteX521" fmla="*/ 400604 w 1703917"/>
                <a:gd name="connsiteY521" fmla="*/ 1042067 h 2780940"/>
                <a:gd name="connsiteX522" fmla="*/ 387842 w 1703917"/>
                <a:gd name="connsiteY522" fmla="*/ 1042067 h 2780940"/>
                <a:gd name="connsiteX523" fmla="*/ 368741 w 1703917"/>
                <a:gd name="connsiteY523" fmla="*/ 1035944 h 2780940"/>
                <a:gd name="connsiteX524" fmla="*/ 362402 w 1703917"/>
                <a:gd name="connsiteY524" fmla="*/ 1017417 h 2780940"/>
                <a:gd name="connsiteX525" fmla="*/ 375165 w 1703917"/>
                <a:gd name="connsiteY525" fmla="*/ 1011294 h 2780940"/>
                <a:gd name="connsiteX526" fmla="*/ 381503 w 1703917"/>
                <a:gd name="connsiteY526" fmla="*/ 986643 h 2780940"/>
                <a:gd name="connsiteX527" fmla="*/ 381503 w 1703917"/>
                <a:gd name="connsiteY527" fmla="*/ 968116 h 2780940"/>
                <a:gd name="connsiteX528" fmla="*/ 394180 w 1703917"/>
                <a:gd name="connsiteY528" fmla="*/ 949589 h 2780940"/>
                <a:gd name="connsiteX529" fmla="*/ 406943 w 1703917"/>
                <a:gd name="connsiteY529" fmla="*/ 931062 h 2780940"/>
                <a:gd name="connsiteX530" fmla="*/ 425958 w 1703917"/>
                <a:gd name="connsiteY530" fmla="*/ 912535 h 2780940"/>
                <a:gd name="connsiteX531" fmla="*/ 438720 w 1703917"/>
                <a:gd name="connsiteY531" fmla="*/ 900288 h 2780940"/>
                <a:gd name="connsiteX532" fmla="*/ 432382 w 1703917"/>
                <a:gd name="connsiteY532" fmla="*/ 887885 h 2780940"/>
                <a:gd name="connsiteX533" fmla="*/ 419619 w 1703917"/>
                <a:gd name="connsiteY533" fmla="*/ 875638 h 2780940"/>
                <a:gd name="connsiteX534" fmla="*/ 432382 w 1703917"/>
                <a:gd name="connsiteY534" fmla="*/ 850987 h 2780940"/>
                <a:gd name="connsiteX535" fmla="*/ 425958 w 1703917"/>
                <a:gd name="connsiteY535" fmla="*/ 844707 h 2780940"/>
                <a:gd name="connsiteX536" fmla="*/ 425958 w 1703917"/>
                <a:gd name="connsiteY536" fmla="*/ 832460 h 2780940"/>
                <a:gd name="connsiteX537" fmla="*/ 445059 w 1703917"/>
                <a:gd name="connsiteY537" fmla="*/ 820057 h 2780940"/>
                <a:gd name="connsiteX538" fmla="*/ 438720 w 1703917"/>
                <a:gd name="connsiteY538" fmla="*/ 807810 h 2780940"/>
                <a:gd name="connsiteX539" fmla="*/ 457821 w 1703917"/>
                <a:gd name="connsiteY539" fmla="*/ 795406 h 2780940"/>
                <a:gd name="connsiteX540" fmla="*/ 457821 w 1703917"/>
                <a:gd name="connsiteY540" fmla="*/ 783160 h 2780940"/>
                <a:gd name="connsiteX541" fmla="*/ 470498 w 1703917"/>
                <a:gd name="connsiteY541" fmla="*/ 764633 h 2780940"/>
                <a:gd name="connsiteX542" fmla="*/ 464159 w 1703917"/>
                <a:gd name="connsiteY542" fmla="*/ 764633 h 2780940"/>
                <a:gd name="connsiteX543" fmla="*/ 438720 w 1703917"/>
                <a:gd name="connsiteY543" fmla="*/ 776879 h 2780940"/>
                <a:gd name="connsiteX544" fmla="*/ 438720 w 1703917"/>
                <a:gd name="connsiteY544" fmla="*/ 789283 h 2780940"/>
                <a:gd name="connsiteX545" fmla="*/ 419619 w 1703917"/>
                <a:gd name="connsiteY545" fmla="*/ 807810 h 2780940"/>
                <a:gd name="connsiteX546" fmla="*/ 406943 w 1703917"/>
                <a:gd name="connsiteY546" fmla="*/ 813933 h 2780940"/>
                <a:gd name="connsiteX547" fmla="*/ 400604 w 1703917"/>
                <a:gd name="connsiteY547" fmla="*/ 826337 h 2780940"/>
                <a:gd name="connsiteX548" fmla="*/ 387842 w 1703917"/>
                <a:gd name="connsiteY548" fmla="*/ 838584 h 2780940"/>
                <a:gd name="connsiteX549" fmla="*/ 375165 w 1703917"/>
                <a:gd name="connsiteY549" fmla="*/ 857111 h 2780940"/>
                <a:gd name="connsiteX550" fmla="*/ 368741 w 1703917"/>
                <a:gd name="connsiteY550" fmla="*/ 869358 h 2780940"/>
                <a:gd name="connsiteX551" fmla="*/ 356064 w 1703917"/>
                <a:gd name="connsiteY551" fmla="*/ 869358 h 2780940"/>
                <a:gd name="connsiteX552" fmla="*/ 349726 w 1703917"/>
                <a:gd name="connsiteY552" fmla="*/ 887885 h 2780940"/>
                <a:gd name="connsiteX553" fmla="*/ 349726 w 1703917"/>
                <a:gd name="connsiteY553" fmla="*/ 900288 h 2780940"/>
                <a:gd name="connsiteX554" fmla="*/ 330625 w 1703917"/>
                <a:gd name="connsiteY554" fmla="*/ 918815 h 2780940"/>
                <a:gd name="connsiteX555" fmla="*/ 298847 w 1703917"/>
                <a:gd name="connsiteY555" fmla="*/ 931062 h 2780940"/>
                <a:gd name="connsiteX556" fmla="*/ 279746 w 1703917"/>
                <a:gd name="connsiteY556" fmla="*/ 943466 h 2780940"/>
                <a:gd name="connsiteX557" fmla="*/ 279746 w 1703917"/>
                <a:gd name="connsiteY557" fmla="*/ 918815 h 2780940"/>
                <a:gd name="connsiteX558" fmla="*/ 286085 w 1703917"/>
                <a:gd name="connsiteY558" fmla="*/ 912535 h 2780940"/>
                <a:gd name="connsiteX559" fmla="*/ 292509 w 1703917"/>
                <a:gd name="connsiteY559" fmla="*/ 906412 h 2780940"/>
                <a:gd name="connsiteX560" fmla="*/ 298847 w 1703917"/>
                <a:gd name="connsiteY560" fmla="*/ 881761 h 2780940"/>
                <a:gd name="connsiteX561" fmla="*/ 298847 w 1703917"/>
                <a:gd name="connsiteY561" fmla="*/ 869358 h 2780940"/>
                <a:gd name="connsiteX562" fmla="*/ 286085 w 1703917"/>
                <a:gd name="connsiteY562" fmla="*/ 875638 h 2780940"/>
                <a:gd name="connsiteX563" fmla="*/ 260731 w 1703917"/>
                <a:gd name="connsiteY563" fmla="*/ 894165 h 2780940"/>
                <a:gd name="connsiteX564" fmla="*/ 254307 w 1703917"/>
                <a:gd name="connsiteY564" fmla="*/ 887885 h 2780940"/>
                <a:gd name="connsiteX565" fmla="*/ 267069 w 1703917"/>
                <a:gd name="connsiteY565" fmla="*/ 875638 h 2780940"/>
                <a:gd name="connsiteX566" fmla="*/ 273408 w 1703917"/>
                <a:gd name="connsiteY566" fmla="*/ 850987 h 2780940"/>
                <a:gd name="connsiteX567" fmla="*/ 279746 w 1703917"/>
                <a:gd name="connsiteY567" fmla="*/ 838584 h 2780940"/>
                <a:gd name="connsiteX568" fmla="*/ 292509 w 1703917"/>
                <a:gd name="connsiteY568" fmla="*/ 826337 h 2780940"/>
                <a:gd name="connsiteX569" fmla="*/ 317948 w 1703917"/>
                <a:gd name="connsiteY569" fmla="*/ 832460 h 2780940"/>
                <a:gd name="connsiteX570" fmla="*/ 330625 w 1703917"/>
                <a:gd name="connsiteY570" fmla="*/ 820057 h 2780940"/>
                <a:gd name="connsiteX571" fmla="*/ 349726 w 1703917"/>
                <a:gd name="connsiteY571" fmla="*/ 826337 h 2780940"/>
                <a:gd name="connsiteX572" fmla="*/ 368741 w 1703917"/>
                <a:gd name="connsiteY572" fmla="*/ 820057 h 2780940"/>
                <a:gd name="connsiteX573" fmla="*/ 375165 w 1703917"/>
                <a:gd name="connsiteY573" fmla="*/ 807810 h 2780940"/>
                <a:gd name="connsiteX574" fmla="*/ 381503 w 1703917"/>
                <a:gd name="connsiteY574" fmla="*/ 795406 h 2780940"/>
                <a:gd name="connsiteX575" fmla="*/ 394180 w 1703917"/>
                <a:gd name="connsiteY575" fmla="*/ 783160 h 2780940"/>
                <a:gd name="connsiteX576" fmla="*/ 432382 w 1703917"/>
                <a:gd name="connsiteY576" fmla="*/ 764633 h 2780940"/>
                <a:gd name="connsiteX577" fmla="*/ 438796 w 1703917"/>
                <a:gd name="connsiteY577" fmla="*/ 758389 h 2780940"/>
                <a:gd name="connsiteX578" fmla="*/ 438720 w 1703917"/>
                <a:gd name="connsiteY578" fmla="*/ 758509 h 2780940"/>
                <a:gd name="connsiteX579" fmla="*/ 440305 w 1703917"/>
                <a:gd name="connsiteY579" fmla="*/ 756920 h 2780940"/>
                <a:gd name="connsiteX580" fmla="*/ 438796 w 1703917"/>
                <a:gd name="connsiteY580" fmla="*/ 758389 h 2780940"/>
                <a:gd name="connsiteX581" fmla="*/ 449063 w 1703917"/>
                <a:gd name="connsiteY581" fmla="*/ 742220 h 2780940"/>
                <a:gd name="connsiteX582" fmla="*/ 464159 w 1703917"/>
                <a:gd name="connsiteY582" fmla="*/ 721455 h 2780940"/>
                <a:gd name="connsiteX583" fmla="*/ 483175 w 1703917"/>
                <a:gd name="connsiteY583" fmla="*/ 709052 h 2780940"/>
                <a:gd name="connsiteX584" fmla="*/ 483175 w 1703917"/>
                <a:gd name="connsiteY584" fmla="*/ 702928 h 2780940"/>
                <a:gd name="connsiteX585" fmla="*/ 495937 w 1703917"/>
                <a:gd name="connsiteY585" fmla="*/ 690681 h 2780940"/>
                <a:gd name="connsiteX586" fmla="*/ 476836 w 1703917"/>
                <a:gd name="connsiteY586" fmla="*/ 672154 h 2780940"/>
                <a:gd name="connsiteX587" fmla="*/ 476836 w 1703917"/>
                <a:gd name="connsiteY587" fmla="*/ 678278 h 2780940"/>
                <a:gd name="connsiteX588" fmla="*/ 457821 w 1703917"/>
                <a:gd name="connsiteY588" fmla="*/ 684401 h 2780940"/>
                <a:gd name="connsiteX589" fmla="*/ 451397 w 1703917"/>
                <a:gd name="connsiteY589" fmla="*/ 690681 h 2780940"/>
                <a:gd name="connsiteX590" fmla="*/ 438720 w 1703917"/>
                <a:gd name="connsiteY590" fmla="*/ 702928 h 2780940"/>
                <a:gd name="connsiteX591" fmla="*/ 400604 w 1703917"/>
                <a:gd name="connsiteY591" fmla="*/ 702928 h 2780940"/>
                <a:gd name="connsiteX592" fmla="*/ 375165 w 1703917"/>
                <a:gd name="connsiteY592" fmla="*/ 709052 h 2780940"/>
                <a:gd name="connsiteX593" fmla="*/ 356064 w 1703917"/>
                <a:gd name="connsiteY593" fmla="*/ 702928 h 2780940"/>
                <a:gd name="connsiteX594" fmla="*/ 362402 w 1703917"/>
                <a:gd name="connsiteY594" fmla="*/ 678278 h 2780940"/>
                <a:gd name="connsiteX595" fmla="*/ 362402 w 1703917"/>
                <a:gd name="connsiteY595" fmla="*/ 665874 h 2780940"/>
                <a:gd name="connsiteX596" fmla="*/ 381503 w 1703917"/>
                <a:gd name="connsiteY596" fmla="*/ 653627 h 2780940"/>
                <a:gd name="connsiteX597" fmla="*/ 381503 w 1703917"/>
                <a:gd name="connsiteY597" fmla="*/ 647504 h 2780940"/>
                <a:gd name="connsiteX598" fmla="*/ 368741 w 1703917"/>
                <a:gd name="connsiteY598" fmla="*/ 628977 h 2780940"/>
                <a:gd name="connsiteX599" fmla="*/ 362402 w 1703917"/>
                <a:gd name="connsiteY599" fmla="*/ 610450 h 2780940"/>
                <a:gd name="connsiteX600" fmla="*/ 375165 w 1703917"/>
                <a:gd name="connsiteY600" fmla="*/ 591923 h 2780940"/>
                <a:gd name="connsiteX601" fmla="*/ 394180 w 1703917"/>
                <a:gd name="connsiteY601" fmla="*/ 585800 h 2780940"/>
                <a:gd name="connsiteX602" fmla="*/ 413281 w 1703917"/>
                <a:gd name="connsiteY602" fmla="*/ 585800 h 2780940"/>
                <a:gd name="connsiteX603" fmla="*/ 425958 w 1703917"/>
                <a:gd name="connsiteY603" fmla="*/ 585800 h 2780940"/>
                <a:gd name="connsiteX604" fmla="*/ 419619 w 1703917"/>
                <a:gd name="connsiteY604" fmla="*/ 579676 h 2780940"/>
                <a:gd name="connsiteX605" fmla="*/ 387842 w 1703917"/>
                <a:gd name="connsiteY605" fmla="*/ 579676 h 2780940"/>
                <a:gd name="connsiteX606" fmla="*/ 387842 w 1703917"/>
                <a:gd name="connsiteY606" fmla="*/ 573396 h 2780940"/>
                <a:gd name="connsiteX607" fmla="*/ 387842 w 1703917"/>
                <a:gd name="connsiteY607" fmla="*/ 567273 h 2780940"/>
                <a:gd name="connsiteX608" fmla="*/ 406943 w 1703917"/>
                <a:gd name="connsiteY608" fmla="*/ 561149 h 2780940"/>
                <a:gd name="connsiteX609" fmla="*/ 438720 w 1703917"/>
                <a:gd name="connsiteY609" fmla="*/ 561149 h 2780940"/>
                <a:gd name="connsiteX610" fmla="*/ 451397 w 1703917"/>
                <a:gd name="connsiteY610" fmla="*/ 555026 h 2780940"/>
                <a:gd name="connsiteX611" fmla="*/ 476836 w 1703917"/>
                <a:gd name="connsiteY611" fmla="*/ 542622 h 2780940"/>
                <a:gd name="connsiteX612" fmla="*/ 489599 w 1703917"/>
                <a:gd name="connsiteY612" fmla="*/ 542622 h 2780940"/>
                <a:gd name="connsiteX613" fmla="*/ 470498 w 1703917"/>
                <a:gd name="connsiteY613" fmla="*/ 530218 h 2780940"/>
                <a:gd name="connsiteX614" fmla="*/ 457821 w 1703917"/>
                <a:gd name="connsiteY614" fmla="*/ 517972 h 2780940"/>
                <a:gd name="connsiteX615" fmla="*/ 457821 w 1703917"/>
                <a:gd name="connsiteY615" fmla="*/ 511848 h 2780940"/>
                <a:gd name="connsiteX616" fmla="*/ 470498 w 1703917"/>
                <a:gd name="connsiteY616" fmla="*/ 493321 h 2780940"/>
                <a:gd name="connsiteX617" fmla="*/ 483175 w 1703917"/>
                <a:gd name="connsiteY617" fmla="*/ 487198 h 2780940"/>
                <a:gd name="connsiteX618" fmla="*/ 495937 w 1703917"/>
                <a:gd name="connsiteY618" fmla="*/ 487198 h 2780940"/>
                <a:gd name="connsiteX619" fmla="*/ 502276 w 1703917"/>
                <a:gd name="connsiteY619" fmla="*/ 487198 h 2780940"/>
                <a:gd name="connsiteX620" fmla="*/ 495937 w 1703917"/>
                <a:gd name="connsiteY620" fmla="*/ 474794 h 2780940"/>
                <a:gd name="connsiteX621" fmla="*/ 502276 w 1703917"/>
                <a:gd name="connsiteY621" fmla="*/ 468671 h 2780940"/>
                <a:gd name="connsiteX622" fmla="*/ 508614 w 1703917"/>
                <a:gd name="connsiteY622" fmla="*/ 462391 h 2780940"/>
                <a:gd name="connsiteX623" fmla="*/ 515038 w 1703917"/>
                <a:gd name="connsiteY623" fmla="*/ 462391 h 2780940"/>
                <a:gd name="connsiteX624" fmla="*/ 526922 w 1703917"/>
                <a:gd name="connsiteY624" fmla="*/ 462391 h 2780940"/>
                <a:gd name="connsiteX625" fmla="*/ 527715 w 1703917"/>
                <a:gd name="connsiteY625" fmla="*/ 462391 h 2780940"/>
                <a:gd name="connsiteX626" fmla="*/ 515038 w 1703917"/>
                <a:gd name="connsiteY626" fmla="*/ 450144 h 2780940"/>
                <a:gd name="connsiteX627" fmla="*/ 521376 w 1703917"/>
                <a:gd name="connsiteY627" fmla="*/ 444021 h 2780940"/>
                <a:gd name="connsiteX628" fmla="*/ 515038 w 1703917"/>
                <a:gd name="connsiteY628" fmla="*/ 444021 h 2780940"/>
                <a:gd name="connsiteX629" fmla="*/ 495937 w 1703917"/>
                <a:gd name="connsiteY629" fmla="*/ 450144 h 2780940"/>
                <a:gd name="connsiteX630" fmla="*/ 483175 w 1703917"/>
                <a:gd name="connsiteY630" fmla="*/ 462391 h 2780940"/>
                <a:gd name="connsiteX631" fmla="*/ 457821 w 1703917"/>
                <a:gd name="connsiteY631" fmla="*/ 480918 h 2780940"/>
                <a:gd name="connsiteX632" fmla="*/ 451397 w 1703917"/>
                <a:gd name="connsiteY632" fmla="*/ 468671 h 2780940"/>
                <a:gd name="connsiteX633" fmla="*/ 457821 w 1703917"/>
                <a:gd name="connsiteY633" fmla="*/ 456267 h 2780940"/>
                <a:gd name="connsiteX634" fmla="*/ 464159 w 1703917"/>
                <a:gd name="connsiteY634" fmla="*/ 444021 h 2780940"/>
                <a:gd name="connsiteX635" fmla="*/ 476836 w 1703917"/>
                <a:gd name="connsiteY635" fmla="*/ 431617 h 2780940"/>
                <a:gd name="connsiteX636" fmla="*/ 464159 w 1703917"/>
                <a:gd name="connsiteY636" fmla="*/ 437740 h 2780940"/>
                <a:gd name="connsiteX637" fmla="*/ 445059 w 1703917"/>
                <a:gd name="connsiteY637" fmla="*/ 437740 h 2780940"/>
                <a:gd name="connsiteX638" fmla="*/ 445059 w 1703917"/>
                <a:gd name="connsiteY638" fmla="*/ 431617 h 2780940"/>
                <a:gd name="connsiteX639" fmla="*/ 451397 w 1703917"/>
                <a:gd name="connsiteY639" fmla="*/ 425493 h 2780940"/>
                <a:gd name="connsiteX640" fmla="*/ 457821 w 1703917"/>
                <a:gd name="connsiteY640" fmla="*/ 419370 h 2780940"/>
                <a:gd name="connsiteX641" fmla="*/ 438720 w 1703917"/>
                <a:gd name="connsiteY641" fmla="*/ 413090 h 2780940"/>
                <a:gd name="connsiteX642" fmla="*/ 425958 w 1703917"/>
                <a:gd name="connsiteY642" fmla="*/ 419370 h 2780940"/>
                <a:gd name="connsiteX643" fmla="*/ 406943 w 1703917"/>
                <a:gd name="connsiteY643" fmla="*/ 413090 h 2780940"/>
                <a:gd name="connsiteX644" fmla="*/ 387842 w 1703917"/>
                <a:gd name="connsiteY644" fmla="*/ 394563 h 2780940"/>
                <a:gd name="connsiteX645" fmla="*/ 387842 w 1703917"/>
                <a:gd name="connsiteY645" fmla="*/ 369912 h 2780940"/>
                <a:gd name="connsiteX646" fmla="*/ 400604 w 1703917"/>
                <a:gd name="connsiteY646" fmla="*/ 369912 h 2780940"/>
                <a:gd name="connsiteX647" fmla="*/ 413281 w 1703917"/>
                <a:gd name="connsiteY647" fmla="*/ 363789 h 2780940"/>
                <a:gd name="connsiteX648" fmla="*/ 413281 w 1703917"/>
                <a:gd name="connsiteY648" fmla="*/ 351542 h 2780940"/>
                <a:gd name="connsiteX649" fmla="*/ 394180 w 1703917"/>
                <a:gd name="connsiteY649" fmla="*/ 333015 h 2780940"/>
                <a:gd name="connsiteX650" fmla="*/ 356064 w 1703917"/>
                <a:gd name="connsiteY650" fmla="*/ 345262 h 2780940"/>
                <a:gd name="connsiteX651" fmla="*/ 343302 w 1703917"/>
                <a:gd name="connsiteY651" fmla="*/ 326735 h 2780940"/>
                <a:gd name="connsiteX652" fmla="*/ 343302 w 1703917"/>
                <a:gd name="connsiteY652" fmla="*/ 314488 h 2780940"/>
                <a:gd name="connsiteX653" fmla="*/ 343302 w 1703917"/>
                <a:gd name="connsiteY653" fmla="*/ 302085 h 2780940"/>
                <a:gd name="connsiteX654" fmla="*/ 356064 w 1703917"/>
                <a:gd name="connsiteY654" fmla="*/ 289838 h 2780940"/>
                <a:gd name="connsiteX655" fmla="*/ 368741 w 1703917"/>
                <a:gd name="connsiteY655" fmla="*/ 295961 h 2780940"/>
                <a:gd name="connsiteX656" fmla="*/ 375165 w 1703917"/>
                <a:gd name="connsiteY656" fmla="*/ 289838 h 2780940"/>
                <a:gd name="connsiteX657" fmla="*/ 368741 w 1703917"/>
                <a:gd name="connsiteY657" fmla="*/ 277434 h 2780940"/>
                <a:gd name="connsiteX658" fmla="*/ 362402 w 1703917"/>
                <a:gd name="connsiteY658" fmla="*/ 265187 h 2780940"/>
                <a:gd name="connsiteX659" fmla="*/ 381503 w 1703917"/>
                <a:gd name="connsiteY659" fmla="*/ 265187 h 2780940"/>
                <a:gd name="connsiteX660" fmla="*/ 394180 w 1703917"/>
                <a:gd name="connsiteY660" fmla="*/ 277434 h 2780940"/>
                <a:gd name="connsiteX661" fmla="*/ 400604 w 1703917"/>
                <a:gd name="connsiteY661" fmla="*/ 283715 h 2780940"/>
                <a:gd name="connsiteX662" fmla="*/ 406943 w 1703917"/>
                <a:gd name="connsiteY662" fmla="*/ 295961 h 2780940"/>
                <a:gd name="connsiteX663" fmla="*/ 419619 w 1703917"/>
                <a:gd name="connsiteY663" fmla="*/ 295961 h 2780940"/>
                <a:gd name="connsiteX664" fmla="*/ 425958 w 1703917"/>
                <a:gd name="connsiteY664" fmla="*/ 277434 h 2780940"/>
                <a:gd name="connsiteX665" fmla="*/ 425958 w 1703917"/>
                <a:gd name="connsiteY665" fmla="*/ 252784 h 2780940"/>
                <a:gd name="connsiteX666" fmla="*/ 445059 w 1703917"/>
                <a:gd name="connsiteY666" fmla="*/ 246660 h 2780940"/>
                <a:gd name="connsiteX667" fmla="*/ 457821 w 1703917"/>
                <a:gd name="connsiteY667" fmla="*/ 271311 h 2780940"/>
                <a:gd name="connsiteX668" fmla="*/ 470498 w 1703917"/>
                <a:gd name="connsiteY668" fmla="*/ 289838 h 2780940"/>
                <a:gd name="connsiteX669" fmla="*/ 457821 w 1703917"/>
                <a:gd name="connsiteY669" fmla="*/ 302085 h 2780940"/>
                <a:gd name="connsiteX670" fmla="*/ 451397 w 1703917"/>
                <a:gd name="connsiteY670" fmla="*/ 326735 h 2780940"/>
                <a:gd name="connsiteX671" fmla="*/ 451397 w 1703917"/>
                <a:gd name="connsiteY671" fmla="*/ 351542 h 2780940"/>
                <a:gd name="connsiteX672" fmla="*/ 470498 w 1703917"/>
                <a:gd name="connsiteY672" fmla="*/ 339139 h 2780940"/>
                <a:gd name="connsiteX673" fmla="*/ 483175 w 1703917"/>
                <a:gd name="connsiteY673" fmla="*/ 351542 h 2780940"/>
                <a:gd name="connsiteX674" fmla="*/ 470498 w 1703917"/>
                <a:gd name="connsiteY674" fmla="*/ 363789 h 2780940"/>
                <a:gd name="connsiteX675" fmla="*/ 464159 w 1703917"/>
                <a:gd name="connsiteY675" fmla="*/ 369912 h 2780940"/>
                <a:gd name="connsiteX676" fmla="*/ 457821 w 1703917"/>
                <a:gd name="connsiteY676" fmla="*/ 388439 h 2780940"/>
                <a:gd name="connsiteX677" fmla="*/ 464159 w 1703917"/>
                <a:gd name="connsiteY677" fmla="*/ 394563 h 2780940"/>
                <a:gd name="connsiteX678" fmla="*/ 483175 w 1703917"/>
                <a:gd name="connsiteY678" fmla="*/ 406966 h 2780940"/>
                <a:gd name="connsiteX679" fmla="*/ 495937 w 1703917"/>
                <a:gd name="connsiteY679" fmla="*/ 413090 h 2780940"/>
                <a:gd name="connsiteX680" fmla="*/ 508614 w 1703917"/>
                <a:gd name="connsiteY680" fmla="*/ 406966 h 2780940"/>
                <a:gd name="connsiteX681" fmla="*/ 515038 w 1703917"/>
                <a:gd name="connsiteY681" fmla="*/ 406966 h 2780940"/>
                <a:gd name="connsiteX682" fmla="*/ 534053 w 1703917"/>
                <a:gd name="connsiteY682" fmla="*/ 413090 h 2780940"/>
                <a:gd name="connsiteX683" fmla="*/ 534053 w 1703917"/>
                <a:gd name="connsiteY683" fmla="*/ 406966 h 2780940"/>
                <a:gd name="connsiteX684" fmla="*/ 527715 w 1703917"/>
                <a:gd name="connsiteY684" fmla="*/ 394563 h 2780940"/>
                <a:gd name="connsiteX685" fmla="*/ 527715 w 1703917"/>
                <a:gd name="connsiteY685" fmla="*/ 382316 h 2780940"/>
                <a:gd name="connsiteX686" fmla="*/ 553154 w 1703917"/>
                <a:gd name="connsiteY686" fmla="*/ 388439 h 2780940"/>
                <a:gd name="connsiteX687" fmla="*/ 565831 w 1703917"/>
                <a:gd name="connsiteY687" fmla="*/ 382316 h 2780940"/>
                <a:gd name="connsiteX688" fmla="*/ 559493 w 1703917"/>
                <a:gd name="connsiteY688" fmla="*/ 382316 h 2780940"/>
                <a:gd name="connsiteX689" fmla="*/ 540392 w 1703917"/>
                <a:gd name="connsiteY689" fmla="*/ 376193 h 2780940"/>
                <a:gd name="connsiteX690" fmla="*/ 534053 w 1703917"/>
                <a:gd name="connsiteY690" fmla="*/ 376193 h 2780940"/>
                <a:gd name="connsiteX691" fmla="*/ 508614 w 1703917"/>
                <a:gd name="connsiteY691" fmla="*/ 369912 h 2780940"/>
                <a:gd name="connsiteX692" fmla="*/ 508614 w 1703917"/>
                <a:gd name="connsiteY692" fmla="*/ 363789 h 2780940"/>
                <a:gd name="connsiteX693" fmla="*/ 515038 w 1703917"/>
                <a:gd name="connsiteY693" fmla="*/ 339139 h 2780940"/>
                <a:gd name="connsiteX694" fmla="*/ 508614 w 1703917"/>
                <a:gd name="connsiteY694" fmla="*/ 326735 h 2780940"/>
                <a:gd name="connsiteX695" fmla="*/ 515038 w 1703917"/>
                <a:gd name="connsiteY695" fmla="*/ 308365 h 2780940"/>
                <a:gd name="connsiteX696" fmla="*/ 527715 w 1703917"/>
                <a:gd name="connsiteY696" fmla="*/ 308365 h 2780940"/>
                <a:gd name="connsiteX697" fmla="*/ 540392 w 1703917"/>
                <a:gd name="connsiteY697" fmla="*/ 314488 h 2780940"/>
                <a:gd name="connsiteX698" fmla="*/ 546816 w 1703917"/>
                <a:gd name="connsiteY698" fmla="*/ 302085 h 2780940"/>
                <a:gd name="connsiteX699" fmla="*/ 534053 w 1703917"/>
                <a:gd name="connsiteY699" fmla="*/ 289838 h 2780940"/>
                <a:gd name="connsiteX700" fmla="*/ 534053 w 1703917"/>
                <a:gd name="connsiteY700" fmla="*/ 277434 h 2780940"/>
                <a:gd name="connsiteX701" fmla="*/ 534053 w 1703917"/>
                <a:gd name="connsiteY701" fmla="*/ 265187 h 2780940"/>
                <a:gd name="connsiteX702" fmla="*/ 559493 w 1703917"/>
                <a:gd name="connsiteY702" fmla="*/ 265187 h 2780940"/>
                <a:gd name="connsiteX703" fmla="*/ 553154 w 1703917"/>
                <a:gd name="connsiteY703" fmla="*/ 258907 h 2780940"/>
                <a:gd name="connsiteX704" fmla="*/ 540392 w 1703917"/>
                <a:gd name="connsiteY704" fmla="*/ 252784 h 2780940"/>
                <a:gd name="connsiteX705" fmla="*/ 540392 w 1703917"/>
                <a:gd name="connsiteY705" fmla="*/ 228133 h 2780940"/>
                <a:gd name="connsiteX706" fmla="*/ 546816 w 1703917"/>
                <a:gd name="connsiteY706" fmla="*/ 222010 h 2780940"/>
                <a:gd name="connsiteX707" fmla="*/ 559493 w 1703917"/>
                <a:gd name="connsiteY707" fmla="*/ 209606 h 2780940"/>
                <a:gd name="connsiteX708" fmla="*/ 565831 w 1703917"/>
                <a:gd name="connsiteY708" fmla="*/ 222010 h 2780940"/>
                <a:gd name="connsiteX709" fmla="*/ 572255 w 1703917"/>
                <a:gd name="connsiteY709" fmla="*/ 246660 h 2780940"/>
                <a:gd name="connsiteX710" fmla="*/ 578593 w 1703917"/>
                <a:gd name="connsiteY710" fmla="*/ 234257 h 2780940"/>
                <a:gd name="connsiteX711" fmla="*/ 572255 w 1703917"/>
                <a:gd name="connsiteY711" fmla="*/ 215887 h 2780940"/>
                <a:gd name="connsiteX712" fmla="*/ 578593 w 1703917"/>
                <a:gd name="connsiteY712" fmla="*/ 203483 h 2780940"/>
                <a:gd name="connsiteX713" fmla="*/ 584932 w 1703917"/>
                <a:gd name="connsiteY713" fmla="*/ 203483 h 2780940"/>
                <a:gd name="connsiteX714" fmla="*/ 591270 w 1703917"/>
                <a:gd name="connsiteY714" fmla="*/ 222010 h 2780940"/>
                <a:gd name="connsiteX715" fmla="*/ 610371 w 1703917"/>
                <a:gd name="connsiteY715" fmla="*/ 222010 h 2780940"/>
                <a:gd name="connsiteX716" fmla="*/ 623048 w 1703917"/>
                <a:gd name="connsiteY716" fmla="*/ 209606 h 2780940"/>
                <a:gd name="connsiteX717" fmla="*/ 623048 w 1703917"/>
                <a:gd name="connsiteY717" fmla="*/ 203483 h 2780940"/>
                <a:gd name="connsiteX718" fmla="*/ 635810 w 1703917"/>
                <a:gd name="connsiteY718" fmla="*/ 197360 h 2780940"/>
                <a:gd name="connsiteX719" fmla="*/ 642149 w 1703917"/>
                <a:gd name="connsiteY719" fmla="*/ 209606 h 2780940"/>
                <a:gd name="connsiteX720" fmla="*/ 654911 w 1703917"/>
                <a:gd name="connsiteY720" fmla="*/ 222010 h 2780940"/>
                <a:gd name="connsiteX721" fmla="*/ 667588 w 1703917"/>
                <a:gd name="connsiteY721" fmla="*/ 240537 h 2780940"/>
                <a:gd name="connsiteX722" fmla="*/ 667588 w 1703917"/>
                <a:gd name="connsiteY722" fmla="*/ 222010 h 2780940"/>
                <a:gd name="connsiteX723" fmla="*/ 654911 w 1703917"/>
                <a:gd name="connsiteY723" fmla="*/ 209606 h 2780940"/>
                <a:gd name="connsiteX724" fmla="*/ 642149 w 1703917"/>
                <a:gd name="connsiteY724" fmla="*/ 197360 h 2780940"/>
                <a:gd name="connsiteX725" fmla="*/ 635810 w 1703917"/>
                <a:gd name="connsiteY725" fmla="*/ 172709 h 2780940"/>
                <a:gd name="connsiteX726" fmla="*/ 648487 w 1703917"/>
                <a:gd name="connsiteY726" fmla="*/ 160306 h 2780940"/>
                <a:gd name="connsiteX727" fmla="*/ 654911 w 1703917"/>
                <a:gd name="connsiteY727" fmla="*/ 154182 h 2780940"/>
                <a:gd name="connsiteX728" fmla="*/ 661250 w 1703917"/>
                <a:gd name="connsiteY728" fmla="*/ 141779 h 2780940"/>
                <a:gd name="connsiteX729" fmla="*/ 654911 w 1703917"/>
                <a:gd name="connsiteY729" fmla="*/ 123251 h 2780940"/>
                <a:gd name="connsiteX730" fmla="*/ 661250 w 1703917"/>
                <a:gd name="connsiteY730" fmla="*/ 104881 h 2780940"/>
                <a:gd name="connsiteX731" fmla="*/ 667588 w 1703917"/>
                <a:gd name="connsiteY731" fmla="*/ 104881 h 2780940"/>
                <a:gd name="connsiteX732" fmla="*/ 693027 w 1703917"/>
                <a:gd name="connsiteY732" fmla="*/ 104881 h 2780940"/>
                <a:gd name="connsiteX733" fmla="*/ 699366 w 1703917"/>
                <a:gd name="connsiteY733" fmla="*/ 117128 h 2780940"/>
                <a:gd name="connsiteX734" fmla="*/ 712128 w 1703917"/>
                <a:gd name="connsiteY734" fmla="*/ 117128 h 2780940"/>
                <a:gd name="connsiteX735" fmla="*/ 705704 w 1703917"/>
                <a:gd name="connsiteY735" fmla="*/ 111005 h 2780940"/>
                <a:gd name="connsiteX736" fmla="*/ 705704 w 1703917"/>
                <a:gd name="connsiteY736" fmla="*/ 98601 h 2780940"/>
                <a:gd name="connsiteX737" fmla="*/ 699366 w 1703917"/>
                <a:gd name="connsiteY737" fmla="*/ 86354 h 2780940"/>
                <a:gd name="connsiteX738" fmla="*/ 693027 w 1703917"/>
                <a:gd name="connsiteY738" fmla="*/ 61704 h 2780940"/>
                <a:gd name="connsiteX739" fmla="*/ 712128 w 1703917"/>
                <a:gd name="connsiteY739" fmla="*/ 61704 h 2780940"/>
                <a:gd name="connsiteX740" fmla="*/ 718467 w 1703917"/>
                <a:gd name="connsiteY740" fmla="*/ 43177 h 2780940"/>
                <a:gd name="connsiteX741" fmla="*/ 712128 w 1703917"/>
                <a:gd name="connsiteY741" fmla="*/ 24650 h 2780940"/>
                <a:gd name="connsiteX742" fmla="*/ 724805 w 1703917"/>
                <a:gd name="connsiteY742" fmla="*/ 24650 h 2780940"/>
                <a:gd name="connsiteX743" fmla="*/ 737567 w 1703917"/>
                <a:gd name="connsiteY743" fmla="*/ 18527 h 2780940"/>
                <a:gd name="connsiteX744" fmla="*/ 743906 w 1703917"/>
                <a:gd name="connsiteY744" fmla="*/ 6123 h 2780940"/>
                <a:gd name="connsiteX745" fmla="*/ 762921 w 1703917"/>
                <a:gd name="connsiteY745" fmla="*/ 0 h 2780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Lst>
              <a:rect l="l" t="t" r="r" b="b"/>
              <a:pathLst>
                <a:path w="1703917" h="2780940">
                  <a:moveTo>
                    <a:pt x="762921" y="0"/>
                  </a:moveTo>
                  <a:cubicBezTo>
                    <a:pt x="762921" y="0"/>
                    <a:pt x="762921" y="0"/>
                    <a:pt x="769345" y="12403"/>
                  </a:cubicBezTo>
                  <a:cubicBezTo>
                    <a:pt x="769345" y="12403"/>
                    <a:pt x="769345" y="12403"/>
                    <a:pt x="782022" y="18527"/>
                  </a:cubicBezTo>
                  <a:cubicBezTo>
                    <a:pt x="782022" y="18527"/>
                    <a:pt x="788360" y="24650"/>
                    <a:pt x="794784" y="24650"/>
                  </a:cubicBezTo>
                  <a:cubicBezTo>
                    <a:pt x="794784" y="24650"/>
                    <a:pt x="801123" y="24650"/>
                    <a:pt x="801123" y="24650"/>
                  </a:cubicBezTo>
                  <a:cubicBezTo>
                    <a:pt x="801123" y="24650"/>
                    <a:pt x="801123" y="24650"/>
                    <a:pt x="801123" y="37054"/>
                  </a:cubicBezTo>
                  <a:cubicBezTo>
                    <a:pt x="801123" y="37054"/>
                    <a:pt x="801123" y="37054"/>
                    <a:pt x="782022" y="49300"/>
                  </a:cubicBezTo>
                  <a:cubicBezTo>
                    <a:pt x="782022" y="49300"/>
                    <a:pt x="782022" y="49300"/>
                    <a:pt x="775684" y="55424"/>
                  </a:cubicBezTo>
                  <a:cubicBezTo>
                    <a:pt x="775684" y="55424"/>
                    <a:pt x="775684" y="55424"/>
                    <a:pt x="801123" y="43177"/>
                  </a:cubicBezTo>
                  <a:cubicBezTo>
                    <a:pt x="801123" y="43177"/>
                    <a:pt x="801123" y="43177"/>
                    <a:pt x="813800" y="24650"/>
                  </a:cubicBezTo>
                  <a:cubicBezTo>
                    <a:pt x="813800" y="24650"/>
                    <a:pt x="826562" y="30773"/>
                    <a:pt x="826562" y="30773"/>
                  </a:cubicBezTo>
                  <a:cubicBezTo>
                    <a:pt x="832900" y="30773"/>
                    <a:pt x="839239" y="37054"/>
                    <a:pt x="839239" y="37054"/>
                  </a:cubicBezTo>
                  <a:cubicBezTo>
                    <a:pt x="839239" y="37054"/>
                    <a:pt x="839239" y="37054"/>
                    <a:pt x="826562" y="55424"/>
                  </a:cubicBezTo>
                  <a:cubicBezTo>
                    <a:pt x="826562" y="55424"/>
                    <a:pt x="826562" y="55424"/>
                    <a:pt x="826562" y="67827"/>
                  </a:cubicBezTo>
                  <a:cubicBezTo>
                    <a:pt x="826562" y="67827"/>
                    <a:pt x="826562" y="67827"/>
                    <a:pt x="852001" y="49300"/>
                  </a:cubicBezTo>
                  <a:cubicBezTo>
                    <a:pt x="852001" y="49300"/>
                    <a:pt x="852001" y="49300"/>
                    <a:pt x="864678" y="55424"/>
                  </a:cubicBezTo>
                  <a:cubicBezTo>
                    <a:pt x="864678" y="55424"/>
                    <a:pt x="864678" y="55424"/>
                    <a:pt x="883779" y="43177"/>
                  </a:cubicBezTo>
                  <a:cubicBezTo>
                    <a:pt x="883779" y="43177"/>
                    <a:pt x="909218" y="49300"/>
                    <a:pt x="921895" y="55424"/>
                  </a:cubicBezTo>
                  <a:cubicBezTo>
                    <a:pt x="934658" y="55424"/>
                    <a:pt x="940996" y="55424"/>
                    <a:pt x="940996" y="55424"/>
                  </a:cubicBezTo>
                  <a:cubicBezTo>
                    <a:pt x="940996" y="55424"/>
                    <a:pt x="940996" y="55424"/>
                    <a:pt x="953673" y="55424"/>
                  </a:cubicBezTo>
                  <a:cubicBezTo>
                    <a:pt x="953673" y="55424"/>
                    <a:pt x="979112" y="37054"/>
                    <a:pt x="979112" y="37054"/>
                  </a:cubicBezTo>
                  <a:cubicBezTo>
                    <a:pt x="985450" y="37054"/>
                    <a:pt x="1010890" y="55424"/>
                    <a:pt x="1010890" y="55424"/>
                  </a:cubicBezTo>
                  <a:cubicBezTo>
                    <a:pt x="1017314" y="61704"/>
                    <a:pt x="1023652" y="43177"/>
                    <a:pt x="1023652" y="43177"/>
                  </a:cubicBezTo>
                  <a:cubicBezTo>
                    <a:pt x="1023652" y="43177"/>
                    <a:pt x="1023652" y="43177"/>
                    <a:pt x="1061768" y="43177"/>
                  </a:cubicBezTo>
                  <a:cubicBezTo>
                    <a:pt x="1061768" y="43177"/>
                    <a:pt x="1061768" y="43177"/>
                    <a:pt x="1080869" y="49300"/>
                  </a:cubicBezTo>
                  <a:cubicBezTo>
                    <a:pt x="1080869" y="49300"/>
                    <a:pt x="1080869" y="49300"/>
                    <a:pt x="1080869" y="67827"/>
                  </a:cubicBezTo>
                  <a:cubicBezTo>
                    <a:pt x="1080869" y="67827"/>
                    <a:pt x="1080869" y="67827"/>
                    <a:pt x="1068107" y="92478"/>
                  </a:cubicBezTo>
                  <a:cubicBezTo>
                    <a:pt x="1068107" y="92478"/>
                    <a:pt x="1068107" y="92478"/>
                    <a:pt x="1074531" y="123251"/>
                  </a:cubicBezTo>
                  <a:cubicBezTo>
                    <a:pt x="1074531" y="123251"/>
                    <a:pt x="1074531" y="123251"/>
                    <a:pt x="1061768" y="135655"/>
                  </a:cubicBezTo>
                  <a:cubicBezTo>
                    <a:pt x="1061768" y="135655"/>
                    <a:pt x="1061768" y="135655"/>
                    <a:pt x="1036329" y="160306"/>
                  </a:cubicBezTo>
                  <a:cubicBezTo>
                    <a:pt x="1036329" y="160306"/>
                    <a:pt x="1036329" y="160306"/>
                    <a:pt x="1017314" y="160306"/>
                  </a:cubicBezTo>
                  <a:cubicBezTo>
                    <a:pt x="1017314" y="160306"/>
                    <a:pt x="1017314" y="160306"/>
                    <a:pt x="991874" y="191079"/>
                  </a:cubicBezTo>
                  <a:cubicBezTo>
                    <a:pt x="991874" y="191079"/>
                    <a:pt x="991874" y="191079"/>
                    <a:pt x="953673" y="203483"/>
                  </a:cubicBezTo>
                  <a:cubicBezTo>
                    <a:pt x="953673" y="203483"/>
                    <a:pt x="921895" y="222010"/>
                    <a:pt x="909218" y="228133"/>
                  </a:cubicBezTo>
                  <a:cubicBezTo>
                    <a:pt x="896456" y="240537"/>
                    <a:pt x="902794" y="234257"/>
                    <a:pt x="890117" y="246660"/>
                  </a:cubicBezTo>
                  <a:cubicBezTo>
                    <a:pt x="871017" y="252784"/>
                    <a:pt x="883779" y="252784"/>
                    <a:pt x="883779" y="252784"/>
                  </a:cubicBezTo>
                  <a:cubicBezTo>
                    <a:pt x="883779" y="252784"/>
                    <a:pt x="871017" y="271311"/>
                    <a:pt x="864678" y="265187"/>
                  </a:cubicBezTo>
                  <a:cubicBezTo>
                    <a:pt x="852001" y="265187"/>
                    <a:pt x="845577" y="271311"/>
                    <a:pt x="839239" y="271311"/>
                  </a:cubicBezTo>
                  <a:cubicBezTo>
                    <a:pt x="832900" y="271311"/>
                    <a:pt x="826562" y="265187"/>
                    <a:pt x="826562" y="265187"/>
                  </a:cubicBezTo>
                  <a:cubicBezTo>
                    <a:pt x="826562" y="265187"/>
                    <a:pt x="826562" y="265187"/>
                    <a:pt x="813800" y="252784"/>
                  </a:cubicBezTo>
                  <a:cubicBezTo>
                    <a:pt x="813800" y="252784"/>
                    <a:pt x="813800" y="252784"/>
                    <a:pt x="807461" y="258907"/>
                  </a:cubicBezTo>
                  <a:cubicBezTo>
                    <a:pt x="807461" y="258907"/>
                    <a:pt x="820138" y="271311"/>
                    <a:pt x="826562" y="271311"/>
                  </a:cubicBezTo>
                  <a:cubicBezTo>
                    <a:pt x="826562" y="271311"/>
                    <a:pt x="832900" y="277434"/>
                    <a:pt x="832900" y="277434"/>
                  </a:cubicBezTo>
                  <a:cubicBezTo>
                    <a:pt x="839239" y="283715"/>
                    <a:pt x="852001" y="283715"/>
                    <a:pt x="858340" y="289838"/>
                  </a:cubicBezTo>
                  <a:cubicBezTo>
                    <a:pt x="864678" y="289838"/>
                    <a:pt x="871017" y="283715"/>
                    <a:pt x="871017" y="283715"/>
                  </a:cubicBezTo>
                  <a:cubicBezTo>
                    <a:pt x="871017" y="283715"/>
                    <a:pt x="871017" y="283715"/>
                    <a:pt x="909218" y="283715"/>
                  </a:cubicBezTo>
                  <a:cubicBezTo>
                    <a:pt x="909218" y="283715"/>
                    <a:pt x="896456" y="295961"/>
                    <a:pt x="896456" y="302085"/>
                  </a:cubicBezTo>
                  <a:cubicBezTo>
                    <a:pt x="890117" y="302085"/>
                    <a:pt x="883779" y="314488"/>
                    <a:pt x="883779" y="314488"/>
                  </a:cubicBezTo>
                  <a:cubicBezTo>
                    <a:pt x="877441" y="320612"/>
                    <a:pt x="864678" y="314488"/>
                    <a:pt x="858340" y="308365"/>
                  </a:cubicBezTo>
                  <a:cubicBezTo>
                    <a:pt x="858340" y="308365"/>
                    <a:pt x="845577" y="314488"/>
                    <a:pt x="839239" y="314488"/>
                  </a:cubicBezTo>
                  <a:cubicBezTo>
                    <a:pt x="839239" y="314488"/>
                    <a:pt x="826562" y="320612"/>
                    <a:pt x="820138" y="320612"/>
                  </a:cubicBezTo>
                  <a:cubicBezTo>
                    <a:pt x="813800" y="326735"/>
                    <a:pt x="801123" y="333015"/>
                    <a:pt x="801123" y="333015"/>
                  </a:cubicBezTo>
                  <a:cubicBezTo>
                    <a:pt x="801123" y="333015"/>
                    <a:pt x="801123" y="333015"/>
                    <a:pt x="762921" y="351542"/>
                  </a:cubicBezTo>
                  <a:cubicBezTo>
                    <a:pt x="762921" y="351542"/>
                    <a:pt x="762921" y="351542"/>
                    <a:pt x="801123" y="339139"/>
                  </a:cubicBezTo>
                  <a:cubicBezTo>
                    <a:pt x="801123" y="339139"/>
                    <a:pt x="820138" y="333015"/>
                    <a:pt x="820138" y="333015"/>
                  </a:cubicBezTo>
                  <a:cubicBezTo>
                    <a:pt x="826562" y="333015"/>
                    <a:pt x="832900" y="333015"/>
                    <a:pt x="832900" y="333015"/>
                  </a:cubicBezTo>
                  <a:cubicBezTo>
                    <a:pt x="832900" y="333015"/>
                    <a:pt x="832900" y="333015"/>
                    <a:pt x="852001" y="320612"/>
                  </a:cubicBezTo>
                  <a:cubicBezTo>
                    <a:pt x="852001" y="320612"/>
                    <a:pt x="852001" y="320612"/>
                    <a:pt x="871017" y="326735"/>
                  </a:cubicBezTo>
                  <a:cubicBezTo>
                    <a:pt x="871017" y="326735"/>
                    <a:pt x="858340" y="339139"/>
                    <a:pt x="852001" y="339139"/>
                  </a:cubicBezTo>
                  <a:cubicBezTo>
                    <a:pt x="852001" y="345262"/>
                    <a:pt x="839239" y="351542"/>
                    <a:pt x="839239" y="351542"/>
                  </a:cubicBezTo>
                  <a:cubicBezTo>
                    <a:pt x="839239" y="351542"/>
                    <a:pt x="839239" y="351542"/>
                    <a:pt x="826562" y="369912"/>
                  </a:cubicBezTo>
                  <a:cubicBezTo>
                    <a:pt x="826562" y="369912"/>
                    <a:pt x="826562" y="369912"/>
                    <a:pt x="807461" y="376193"/>
                  </a:cubicBezTo>
                  <a:cubicBezTo>
                    <a:pt x="807461" y="376193"/>
                    <a:pt x="807461" y="376193"/>
                    <a:pt x="794784" y="388439"/>
                  </a:cubicBezTo>
                  <a:cubicBezTo>
                    <a:pt x="794784" y="388439"/>
                    <a:pt x="794784" y="388439"/>
                    <a:pt x="788360" y="406966"/>
                  </a:cubicBezTo>
                  <a:cubicBezTo>
                    <a:pt x="788360" y="406966"/>
                    <a:pt x="788360" y="406966"/>
                    <a:pt x="807461" y="388439"/>
                  </a:cubicBezTo>
                  <a:cubicBezTo>
                    <a:pt x="807461" y="388439"/>
                    <a:pt x="807461" y="388439"/>
                    <a:pt x="826562" y="382316"/>
                  </a:cubicBezTo>
                  <a:cubicBezTo>
                    <a:pt x="826562" y="382316"/>
                    <a:pt x="826562" y="382316"/>
                    <a:pt x="839239" y="363789"/>
                  </a:cubicBezTo>
                  <a:cubicBezTo>
                    <a:pt x="839239" y="363789"/>
                    <a:pt x="839239" y="363789"/>
                    <a:pt x="864678" y="369912"/>
                  </a:cubicBezTo>
                  <a:cubicBezTo>
                    <a:pt x="864678" y="369912"/>
                    <a:pt x="864678" y="369912"/>
                    <a:pt x="877441" y="369912"/>
                  </a:cubicBezTo>
                  <a:cubicBezTo>
                    <a:pt x="877441" y="369912"/>
                    <a:pt x="877441" y="369912"/>
                    <a:pt x="890117" y="363789"/>
                  </a:cubicBezTo>
                  <a:cubicBezTo>
                    <a:pt x="890117" y="363789"/>
                    <a:pt x="902794" y="357666"/>
                    <a:pt x="902794" y="357666"/>
                  </a:cubicBezTo>
                  <a:cubicBezTo>
                    <a:pt x="909218" y="357666"/>
                    <a:pt x="915557" y="357666"/>
                    <a:pt x="915557" y="357666"/>
                  </a:cubicBezTo>
                  <a:cubicBezTo>
                    <a:pt x="915557" y="357666"/>
                    <a:pt x="915557" y="357666"/>
                    <a:pt x="940996" y="357666"/>
                  </a:cubicBezTo>
                  <a:cubicBezTo>
                    <a:pt x="940996" y="357666"/>
                    <a:pt x="940996" y="357666"/>
                    <a:pt x="947334" y="345262"/>
                  </a:cubicBezTo>
                  <a:cubicBezTo>
                    <a:pt x="947334" y="345262"/>
                    <a:pt x="947334" y="345262"/>
                    <a:pt x="985450" y="345262"/>
                  </a:cubicBezTo>
                  <a:cubicBezTo>
                    <a:pt x="985450" y="345262"/>
                    <a:pt x="985450" y="345262"/>
                    <a:pt x="1004551" y="363789"/>
                  </a:cubicBezTo>
                  <a:cubicBezTo>
                    <a:pt x="1004551" y="363789"/>
                    <a:pt x="1004551" y="363789"/>
                    <a:pt x="1017314" y="369912"/>
                  </a:cubicBezTo>
                  <a:cubicBezTo>
                    <a:pt x="1017314" y="369912"/>
                    <a:pt x="1017314" y="369912"/>
                    <a:pt x="1036329" y="369912"/>
                  </a:cubicBezTo>
                  <a:cubicBezTo>
                    <a:pt x="1036329" y="369912"/>
                    <a:pt x="1036329" y="369912"/>
                    <a:pt x="1061768" y="363789"/>
                  </a:cubicBezTo>
                  <a:cubicBezTo>
                    <a:pt x="1061768" y="363789"/>
                    <a:pt x="1061768" y="363789"/>
                    <a:pt x="1074531" y="369912"/>
                  </a:cubicBezTo>
                  <a:cubicBezTo>
                    <a:pt x="1074531" y="369912"/>
                    <a:pt x="1074531" y="369912"/>
                    <a:pt x="1099884" y="369912"/>
                  </a:cubicBezTo>
                  <a:cubicBezTo>
                    <a:pt x="1099884" y="369912"/>
                    <a:pt x="1099884" y="369912"/>
                    <a:pt x="1106308" y="382316"/>
                  </a:cubicBezTo>
                  <a:cubicBezTo>
                    <a:pt x="1106308" y="382316"/>
                    <a:pt x="1106308" y="382316"/>
                    <a:pt x="1138086" y="388439"/>
                  </a:cubicBezTo>
                  <a:cubicBezTo>
                    <a:pt x="1138086" y="388439"/>
                    <a:pt x="1138086" y="388439"/>
                    <a:pt x="1163525" y="382316"/>
                  </a:cubicBezTo>
                  <a:cubicBezTo>
                    <a:pt x="1163525" y="382316"/>
                    <a:pt x="1176202" y="394563"/>
                    <a:pt x="1182541" y="394563"/>
                  </a:cubicBezTo>
                  <a:cubicBezTo>
                    <a:pt x="1182541" y="400843"/>
                    <a:pt x="1188965" y="388439"/>
                    <a:pt x="1188965" y="388439"/>
                  </a:cubicBezTo>
                  <a:cubicBezTo>
                    <a:pt x="1188965" y="388439"/>
                    <a:pt x="1188965" y="388439"/>
                    <a:pt x="1214404" y="388439"/>
                  </a:cubicBezTo>
                  <a:cubicBezTo>
                    <a:pt x="1214404" y="388439"/>
                    <a:pt x="1214404" y="388439"/>
                    <a:pt x="1227081" y="406966"/>
                  </a:cubicBezTo>
                  <a:cubicBezTo>
                    <a:pt x="1227081" y="406966"/>
                    <a:pt x="1227081" y="406966"/>
                    <a:pt x="1239758" y="425493"/>
                  </a:cubicBezTo>
                  <a:cubicBezTo>
                    <a:pt x="1239758" y="425493"/>
                    <a:pt x="1239758" y="425493"/>
                    <a:pt x="1246182" y="444021"/>
                  </a:cubicBezTo>
                  <a:cubicBezTo>
                    <a:pt x="1246182" y="444021"/>
                    <a:pt x="1246182" y="444021"/>
                    <a:pt x="1252520" y="456267"/>
                  </a:cubicBezTo>
                  <a:cubicBezTo>
                    <a:pt x="1252520" y="456267"/>
                    <a:pt x="1252520" y="456267"/>
                    <a:pt x="1246182" y="487198"/>
                  </a:cubicBezTo>
                  <a:cubicBezTo>
                    <a:pt x="1246182" y="487198"/>
                    <a:pt x="1201641" y="517972"/>
                    <a:pt x="1201641" y="524095"/>
                  </a:cubicBezTo>
                  <a:cubicBezTo>
                    <a:pt x="1195303" y="530218"/>
                    <a:pt x="1176202" y="542622"/>
                    <a:pt x="1176202" y="542622"/>
                  </a:cubicBezTo>
                  <a:cubicBezTo>
                    <a:pt x="1176202" y="542622"/>
                    <a:pt x="1176202" y="561149"/>
                    <a:pt x="1176202" y="573396"/>
                  </a:cubicBezTo>
                  <a:cubicBezTo>
                    <a:pt x="1182541" y="579676"/>
                    <a:pt x="1157101" y="598046"/>
                    <a:pt x="1157101" y="598046"/>
                  </a:cubicBezTo>
                  <a:cubicBezTo>
                    <a:pt x="1157101" y="598046"/>
                    <a:pt x="1157101" y="598046"/>
                    <a:pt x="1144424" y="622854"/>
                  </a:cubicBezTo>
                  <a:cubicBezTo>
                    <a:pt x="1144424" y="622854"/>
                    <a:pt x="1144424" y="622854"/>
                    <a:pt x="1131748" y="653627"/>
                  </a:cubicBezTo>
                  <a:cubicBezTo>
                    <a:pt x="1131748" y="653627"/>
                    <a:pt x="1131748" y="653627"/>
                    <a:pt x="1106308" y="678278"/>
                  </a:cubicBezTo>
                  <a:cubicBezTo>
                    <a:pt x="1106308" y="678278"/>
                    <a:pt x="1080869" y="696805"/>
                    <a:pt x="1080869" y="696805"/>
                  </a:cubicBezTo>
                  <a:cubicBezTo>
                    <a:pt x="1074531" y="696805"/>
                    <a:pt x="1068107" y="715332"/>
                    <a:pt x="1068107" y="715332"/>
                  </a:cubicBezTo>
                  <a:cubicBezTo>
                    <a:pt x="1068107" y="715332"/>
                    <a:pt x="1068107" y="715332"/>
                    <a:pt x="1068107" y="733702"/>
                  </a:cubicBezTo>
                  <a:cubicBezTo>
                    <a:pt x="1068107" y="733702"/>
                    <a:pt x="1042667" y="746106"/>
                    <a:pt x="1036329" y="746106"/>
                  </a:cubicBezTo>
                  <a:cubicBezTo>
                    <a:pt x="1036329" y="752229"/>
                    <a:pt x="1017314" y="764633"/>
                    <a:pt x="1017314" y="764633"/>
                  </a:cubicBezTo>
                  <a:cubicBezTo>
                    <a:pt x="1017314" y="764633"/>
                    <a:pt x="991874" y="764633"/>
                    <a:pt x="985450" y="764633"/>
                  </a:cubicBezTo>
                  <a:cubicBezTo>
                    <a:pt x="985450" y="764633"/>
                    <a:pt x="966435" y="758509"/>
                    <a:pt x="960011" y="758509"/>
                  </a:cubicBezTo>
                  <a:cubicBezTo>
                    <a:pt x="953673" y="758509"/>
                    <a:pt x="953673" y="764633"/>
                    <a:pt x="953673" y="764633"/>
                  </a:cubicBezTo>
                  <a:cubicBezTo>
                    <a:pt x="953673" y="764633"/>
                    <a:pt x="953673" y="764633"/>
                    <a:pt x="934658" y="776879"/>
                  </a:cubicBezTo>
                  <a:cubicBezTo>
                    <a:pt x="934658" y="776879"/>
                    <a:pt x="934658" y="776879"/>
                    <a:pt x="902794" y="783160"/>
                  </a:cubicBezTo>
                  <a:cubicBezTo>
                    <a:pt x="902794" y="783160"/>
                    <a:pt x="902794" y="783160"/>
                    <a:pt x="902794" y="789283"/>
                  </a:cubicBezTo>
                  <a:cubicBezTo>
                    <a:pt x="902794" y="789283"/>
                    <a:pt x="902794" y="789283"/>
                    <a:pt x="934658" y="783160"/>
                  </a:cubicBezTo>
                  <a:cubicBezTo>
                    <a:pt x="934658" y="783160"/>
                    <a:pt x="934658" y="783160"/>
                    <a:pt x="960011" y="776879"/>
                  </a:cubicBezTo>
                  <a:cubicBezTo>
                    <a:pt x="960011" y="776879"/>
                    <a:pt x="966435" y="770756"/>
                    <a:pt x="972774" y="770756"/>
                  </a:cubicBezTo>
                  <a:cubicBezTo>
                    <a:pt x="979112" y="770756"/>
                    <a:pt x="985450" y="770756"/>
                    <a:pt x="985450" y="770756"/>
                  </a:cubicBezTo>
                  <a:cubicBezTo>
                    <a:pt x="985450" y="770756"/>
                    <a:pt x="985450" y="770756"/>
                    <a:pt x="998213" y="783160"/>
                  </a:cubicBezTo>
                  <a:cubicBezTo>
                    <a:pt x="998213" y="783160"/>
                    <a:pt x="998213" y="795406"/>
                    <a:pt x="998213" y="801530"/>
                  </a:cubicBezTo>
                  <a:cubicBezTo>
                    <a:pt x="998213" y="807810"/>
                    <a:pt x="1004551" y="807810"/>
                    <a:pt x="1004551" y="807810"/>
                  </a:cubicBezTo>
                  <a:cubicBezTo>
                    <a:pt x="1004551" y="807810"/>
                    <a:pt x="1017314" y="820057"/>
                    <a:pt x="1017314" y="826337"/>
                  </a:cubicBezTo>
                  <a:cubicBezTo>
                    <a:pt x="1023652" y="826337"/>
                    <a:pt x="1023652" y="832460"/>
                    <a:pt x="1023652" y="838584"/>
                  </a:cubicBezTo>
                  <a:cubicBezTo>
                    <a:pt x="1029991" y="838584"/>
                    <a:pt x="1004551" y="850987"/>
                    <a:pt x="1004551" y="850987"/>
                  </a:cubicBezTo>
                  <a:cubicBezTo>
                    <a:pt x="1004551" y="850987"/>
                    <a:pt x="998213" y="857111"/>
                    <a:pt x="985450" y="857111"/>
                  </a:cubicBezTo>
                  <a:cubicBezTo>
                    <a:pt x="972774" y="863234"/>
                    <a:pt x="966435" y="850987"/>
                    <a:pt x="966435" y="850987"/>
                  </a:cubicBezTo>
                  <a:cubicBezTo>
                    <a:pt x="966435" y="850987"/>
                    <a:pt x="966435" y="850987"/>
                    <a:pt x="953673" y="850987"/>
                  </a:cubicBezTo>
                  <a:cubicBezTo>
                    <a:pt x="953673" y="850987"/>
                    <a:pt x="953673" y="850987"/>
                    <a:pt x="940996" y="857111"/>
                  </a:cubicBezTo>
                  <a:cubicBezTo>
                    <a:pt x="940996" y="857111"/>
                    <a:pt x="940996" y="857111"/>
                    <a:pt x="921895" y="863234"/>
                  </a:cubicBezTo>
                  <a:cubicBezTo>
                    <a:pt x="921895" y="863234"/>
                    <a:pt x="921895" y="863234"/>
                    <a:pt x="915557" y="881761"/>
                  </a:cubicBezTo>
                  <a:cubicBezTo>
                    <a:pt x="915557" y="881761"/>
                    <a:pt x="915557" y="881761"/>
                    <a:pt x="896456" y="894165"/>
                  </a:cubicBezTo>
                  <a:cubicBezTo>
                    <a:pt x="896456" y="894165"/>
                    <a:pt x="877441" y="894165"/>
                    <a:pt x="871017" y="894165"/>
                  </a:cubicBezTo>
                  <a:cubicBezTo>
                    <a:pt x="864678" y="894165"/>
                    <a:pt x="858340" y="887885"/>
                    <a:pt x="858340" y="887885"/>
                  </a:cubicBezTo>
                  <a:cubicBezTo>
                    <a:pt x="858340" y="887885"/>
                    <a:pt x="839239" y="881761"/>
                    <a:pt x="839239" y="881761"/>
                  </a:cubicBezTo>
                  <a:cubicBezTo>
                    <a:pt x="832900" y="881761"/>
                    <a:pt x="820138" y="875638"/>
                    <a:pt x="820138" y="875638"/>
                  </a:cubicBezTo>
                  <a:cubicBezTo>
                    <a:pt x="820138" y="875638"/>
                    <a:pt x="807461" y="875638"/>
                    <a:pt x="807461" y="875638"/>
                  </a:cubicBezTo>
                  <a:cubicBezTo>
                    <a:pt x="807461" y="875638"/>
                    <a:pt x="807461" y="881761"/>
                    <a:pt x="807461" y="881761"/>
                  </a:cubicBezTo>
                  <a:cubicBezTo>
                    <a:pt x="807461" y="881761"/>
                    <a:pt x="807461" y="881761"/>
                    <a:pt x="820138" y="881761"/>
                  </a:cubicBezTo>
                  <a:cubicBezTo>
                    <a:pt x="820138" y="881761"/>
                    <a:pt x="820138" y="881761"/>
                    <a:pt x="845577" y="887885"/>
                  </a:cubicBezTo>
                  <a:cubicBezTo>
                    <a:pt x="845577" y="887885"/>
                    <a:pt x="845577" y="887885"/>
                    <a:pt x="864678" y="906412"/>
                  </a:cubicBezTo>
                  <a:cubicBezTo>
                    <a:pt x="864678" y="906412"/>
                    <a:pt x="864678" y="906412"/>
                    <a:pt x="909218" y="924939"/>
                  </a:cubicBezTo>
                  <a:cubicBezTo>
                    <a:pt x="909218" y="924939"/>
                    <a:pt x="909218" y="924939"/>
                    <a:pt x="934658" y="918815"/>
                  </a:cubicBezTo>
                  <a:cubicBezTo>
                    <a:pt x="934658" y="918815"/>
                    <a:pt x="934658" y="918815"/>
                    <a:pt x="960011" y="912535"/>
                  </a:cubicBezTo>
                  <a:cubicBezTo>
                    <a:pt x="960011" y="912535"/>
                    <a:pt x="960011" y="912535"/>
                    <a:pt x="985450" y="900288"/>
                  </a:cubicBezTo>
                  <a:cubicBezTo>
                    <a:pt x="985450" y="900288"/>
                    <a:pt x="985450" y="900288"/>
                    <a:pt x="1010890" y="906412"/>
                  </a:cubicBezTo>
                  <a:cubicBezTo>
                    <a:pt x="1010890" y="906412"/>
                    <a:pt x="1010890" y="906412"/>
                    <a:pt x="1042667" y="943466"/>
                  </a:cubicBezTo>
                  <a:cubicBezTo>
                    <a:pt x="1042667" y="943466"/>
                    <a:pt x="1042667" y="943466"/>
                    <a:pt x="1061768" y="949589"/>
                  </a:cubicBezTo>
                  <a:cubicBezTo>
                    <a:pt x="1061768" y="949589"/>
                    <a:pt x="1061768" y="949589"/>
                    <a:pt x="1087208" y="980363"/>
                  </a:cubicBezTo>
                  <a:cubicBezTo>
                    <a:pt x="1087208" y="980363"/>
                    <a:pt x="1087208" y="980363"/>
                    <a:pt x="1125324" y="1017417"/>
                  </a:cubicBezTo>
                  <a:cubicBezTo>
                    <a:pt x="1125324" y="1017417"/>
                    <a:pt x="1125324" y="1017417"/>
                    <a:pt x="1138086" y="1054471"/>
                  </a:cubicBezTo>
                  <a:cubicBezTo>
                    <a:pt x="1138086" y="1054471"/>
                    <a:pt x="1138086" y="1054471"/>
                    <a:pt x="1169864" y="1091368"/>
                  </a:cubicBezTo>
                  <a:cubicBezTo>
                    <a:pt x="1169864" y="1091368"/>
                    <a:pt x="1169864" y="1091368"/>
                    <a:pt x="1169864" y="1128422"/>
                  </a:cubicBezTo>
                  <a:cubicBezTo>
                    <a:pt x="1169864" y="1128422"/>
                    <a:pt x="1169864" y="1128422"/>
                    <a:pt x="1169864" y="1171600"/>
                  </a:cubicBezTo>
                  <a:cubicBezTo>
                    <a:pt x="1169864" y="1171600"/>
                    <a:pt x="1169864" y="1171600"/>
                    <a:pt x="1169864" y="1220900"/>
                  </a:cubicBezTo>
                  <a:cubicBezTo>
                    <a:pt x="1169864" y="1220900"/>
                    <a:pt x="1169864" y="1220900"/>
                    <a:pt x="1176202" y="1270201"/>
                  </a:cubicBezTo>
                  <a:cubicBezTo>
                    <a:pt x="1176202" y="1270201"/>
                    <a:pt x="1176202" y="1270201"/>
                    <a:pt x="1188965" y="1319502"/>
                  </a:cubicBezTo>
                  <a:cubicBezTo>
                    <a:pt x="1188965" y="1319502"/>
                    <a:pt x="1188965" y="1319502"/>
                    <a:pt x="1188965" y="1344152"/>
                  </a:cubicBezTo>
                  <a:cubicBezTo>
                    <a:pt x="1188965" y="1344152"/>
                    <a:pt x="1201641" y="1381206"/>
                    <a:pt x="1201641" y="1387330"/>
                  </a:cubicBezTo>
                  <a:cubicBezTo>
                    <a:pt x="1201641" y="1393610"/>
                    <a:pt x="1227081" y="1424384"/>
                    <a:pt x="1227081" y="1424384"/>
                  </a:cubicBezTo>
                  <a:cubicBezTo>
                    <a:pt x="1227081" y="1424384"/>
                    <a:pt x="1258858" y="1442911"/>
                    <a:pt x="1265197" y="1442911"/>
                  </a:cubicBezTo>
                  <a:cubicBezTo>
                    <a:pt x="1265197" y="1442911"/>
                    <a:pt x="1284298" y="1449034"/>
                    <a:pt x="1284298" y="1449034"/>
                  </a:cubicBezTo>
                  <a:cubicBezTo>
                    <a:pt x="1290636" y="1455158"/>
                    <a:pt x="1303399" y="1467561"/>
                    <a:pt x="1303399" y="1467561"/>
                  </a:cubicBezTo>
                  <a:cubicBezTo>
                    <a:pt x="1303399" y="1467561"/>
                    <a:pt x="1303399" y="1467561"/>
                    <a:pt x="1335176" y="1498335"/>
                  </a:cubicBezTo>
                  <a:cubicBezTo>
                    <a:pt x="1335176" y="1498335"/>
                    <a:pt x="1341515" y="1535389"/>
                    <a:pt x="1341515" y="1541512"/>
                  </a:cubicBezTo>
                  <a:cubicBezTo>
                    <a:pt x="1341515" y="1541512"/>
                    <a:pt x="1347853" y="1553916"/>
                    <a:pt x="1347853" y="1566163"/>
                  </a:cubicBezTo>
                  <a:cubicBezTo>
                    <a:pt x="1354277" y="1572443"/>
                    <a:pt x="1366954" y="1578566"/>
                    <a:pt x="1366954" y="1578566"/>
                  </a:cubicBezTo>
                  <a:cubicBezTo>
                    <a:pt x="1366954" y="1578566"/>
                    <a:pt x="1379631" y="1590813"/>
                    <a:pt x="1386055" y="1603217"/>
                  </a:cubicBezTo>
                  <a:cubicBezTo>
                    <a:pt x="1386055" y="1609340"/>
                    <a:pt x="1392393" y="1609340"/>
                    <a:pt x="1392393" y="1609340"/>
                  </a:cubicBezTo>
                  <a:cubicBezTo>
                    <a:pt x="1392393" y="1609340"/>
                    <a:pt x="1392393" y="1609340"/>
                    <a:pt x="1379631" y="1621744"/>
                  </a:cubicBezTo>
                  <a:cubicBezTo>
                    <a:pt x="1379631" y="1621744"/>
                    <a:pt x="1379631" y="1621744"/>
                    <a:pt x="1366954" y="1627867"/>
                  </a:cubicBezTo>
                  <a:cubicBezTo>
                    <a:pt x="1366954" y="1627867"/>
                    <a:pt x="1366954" y="1658641"/>
                    <a:pt x="1366954" y="1658641"/>
                  </a:cubicBezTo>
                  <a:cubicBezTo>
                    <a:pt x="1366954" y="1664921"/>
                    <a:pt x="1373292" y="1677168"/>
                    <a:pt x="1373292" y="1677168"/>
                  </a:cubicBezTo>
                  <a:cubicBezTo>
                    <a:pt x="1373292" y="1677168"/>
                    <a:pt x="1386055" y="1714222"/>
                    <a:pt x="1392393" y="1720345"/>
                  </a:cubicBezTo>
                  <a:cubicBezTo>
                    <a:pt x="1392393" y="1720345"/>
                    <a:pt x="1398732" y="1744996"/>
                    <a:pt x="1405070" y="1744996"/>
                  </a:cubicBezTo>
                  <a:cubicBezTo>
                    <a:pt x="1405070" y="1744996"/>
                    <a:pt x="1424171" y="1769646"/>
                    <a:pt x="1424171" y="1775927"/>
                  </a:cubicBezTo>
                  <a:cubicBezTo>
                    <a:pt x="1424171" y="1775927"/>
                    <a:pt x="1417832" y="1794297"/>
                    <a:pt x="1417832" y="1794297"/>
                  </a:cubicBezTo>
                  <a:cubicBezTo>
                    <a:pt x="1417832" y="1794297"/>
                    <a:pt x="1417832" y="1794297"/>
                    <a:pt x="1405070" y="1775927"/>
                  </a:cubicBezTo>
                  <a:cubicBezTo>
                    <a:pt x="1405070" y="1775927"/>
                    <a:pt x="1405070" y="1775927"/>
                    <a:pt x="1392393" y="1775927"/>
                  </a:cubicBezTo>
                  <a:cubicBezTo>
                    <a:pt x="1392393" y="1775927"/>
                    <a:pt x="1366954" y="1763523"/>
                    <a:pt x="1360615" y="1757399"/>
                  </a:cubicBezTo>
                  <a:cubicBezTo>
                    <a:pt x="1360615" y="1757399"/>
                    <a:pt x="1354277" y="1751119"/>
                    <a:pt x="1354277" y="1744996"/>
                  </a:cubicBezTo>
                  <a:cubicBezTo>
                    <a:pt x="1347853" y="1744996"/>
                    <a:pt x="1347853" y="1732749"/>
                    <a:pt x="1347853" y="1732749"/>
                  </a:cubicBezTo>
                  <a:cubicBezTo>
                    <a:pt x="1347853" y="1732749"/>
                    <a:pt x="1347853" y="1732749"/>
                    <a:pt x="1341515" y="1726469"/>
                  </a:cubicBezTo>
                  <a:cubicBezTo>
                    <a:pt x="1341515" y="1726469"/>
                    <a:pt x="1341515" y="1726469"/>
                    <a:pt x="1335176" y="1738872"/>
                  </a:cubicBezTo>
                  <a:cubicBezTo>
                    <a:pt x="1335176" y="1738872"/>
                    <a:pt x="1335176" y="1738872"/>
                    <a:pt x="1341515" y="1757399"/>
                  </a:cubicBezTo>
                  <a:cubicBezTo>
                    <a:pt x="1341515" y="1757399"/>
                    <a:pt x="1341515" y="1757399"/>
                    <a:pt x="1360615" y="1782050"/>
                  </a:cubicBezTo>
                  <a:cubicBezTo>
                    <a:pt x="1360615" y="1782050"/>
                    <a:pt x="1360615" y="1782050"/>
                    <a:pt x="1386055" y="1800577"/>
                  </a:cubicBezTo>
                  <a:cubicBezTo>
                    <a:pt x="1386055" y="1800577"/>
                    <a:pt x="1386055" y="1800577"/>
                    <a:pt x="1398732" y="1800577"/>
                  </a:cubicBezTo>
                  <a:cubicBezTo>
                    <a:pt x="1398732" y="1800577"/>
                    <a:pt x="1398732" y="1800577"/>
                    <a:pt x="1411494" y="1825227"/>
                  </a:cubicBezTo>
                  <a:cubicBezTo>
                    <a:pt x="1411494" y="1825227"/>
                    <a:pt x="1411494" y="1825227"/>
                    <a:pt x="1430509" y="1849878"/>
                  </a:cubicBezTo>
                  <a:cubicBezTo>
                    <a:pt x="1430509" y="1849878"/>
                    <a:pt x="1430509" y="1849878"/>
                    <a:pt x="1443272" y="1899178"/>
                  </a:cubicBezTo>
                  <a:cubicBezTo>
                    <a:pt x="1443272" y="1899178"/>
                    <a:pt x="1443272" y="1899178"/>
                    <a:pt x="1436848" y="1948479"/>
                  </a:cubicBezTo>
                  <a:cubicBezTo>
                    <a:pt x="1436848" y="1948479"/>
                    <a:pt x="1424171" y="1960883"/>
                    <a:pt x="1417832" y="1960883"/>
                  </a:cubicBezTo>
                  <a:cubicBezTo>
                    <a:pt x="1417832" y="1967006"/>
                    <a:pt x="1405070" y="1979410"/>
                    <a:pt x="1405070" y="1979410"/>
                  </a:cubicBezTo>
                  <a:cubicBezTo>
                    <a:pt x="1405070" y="1979410"/>
                    <a:pt x="1405070" y="1979410"/>
                    <a:pt x="1373292" y="1991657"/>
                  </a:cubicBezTo>
                  <a:cubicBezTo>
                    <a:pt x="1373292" y="1991657"/>
                    <a:pt x="1373292" y="1991657"/>
                    <a:pt x="1347853" y="2010184"/>
                  </a:cubicBezTo>
                  <a:cubicBezTo>
                    <a:pt x="1347853" y="2010184"/>
                    <a:pt x="1366954" y="2016307"/>
                    <a:pt x="1373292" y="2016307"/>
                  </a:cubicBezTo>
                  <a:cubicBezTo>
                    <a:pt x="1373292" y="2016307"/>
                    <a:pt x="1392393" y="2034834"/>
                    <a:pt x="1392393" y="2034834"/>
                  </a:cubicBezTo>
                  <a:cubicBezTo>
                    <a:pt x="1392393" y="2034834"/>
                    <a:pt x="1405070" y="2053361"/>
                    <a:pt x="1411494" y="2053361"/>
                  </a:cubicBezTo>
                  <a:cubicBezTo>
                    <a:pt x="1411494" y="2053361"/>
                    <a:pt x="1430509" y="2040957"/>
                    <a:pt x="1430509" y="2040957"/>
                  </a:cubicBezTo>
                  <a:cubicBezTo>
                    <a:pt x="1430509" y="2040957"/>
                    <a:pt x="1430509" y="2040957"/>
                    <a:pt x="1449610" y="2028711"/>
                  </a:cubicBezTo>
                  <a:cubicBezTo>
                    <a:pt x="1449610" y="2028711"/>
                    <a:pt x="1449610" y="2028711"/>
                    <a:pt x="1455949" y="2010184"/>
                  </a:cubicBezTo>
                  <a:cubicBezTo>
                    <a:pt x="1455949" y="2010184"/>
                    <a:pt x="1455949" y="2010184"/>
                    <a:pt x="1481388" y="1997780"/>
                  </a:cubicBezTo>
                  <a:cubicBezTo>
                    <a:pt x="1481388" y="1997780"/>
                    <a:pt x="1481388" y="1997780"/>
                    <a:pt x="1532266" y="2010184"/>
                  </a:cubicBezTo>
                  <a:cubicBezTo>
                    <a:pt x="1532266" y="2010184"/>
                    <a:pt x="1602160" y="2028711"/>
                    <a:pt x="1614923" y="2028711"/>
                  </a:cubicBezTo>
                  <a:cubicBezTo>
                    <a:pt x="1627599" y="2034834"/>
                    <a:pt x="1665801" y="2065608"/>
                    <a:pt x="1665801" y="2065608"/>
                  </a:cubicBezTo>
                  <a:cubicBezTo>
                    <a:pt x="1665801" y="2065608"/>
                    <a:pt x="1665801" y="2065608"/>
                    <a:pt x="1697579" y="2115066"/>
                  </a:cubicBezTo>
                  <a:cubicBezTo>
                    <a:pt x="1697579" y="2115066"/>
                    <a:pt x="1697579" y="2115066"/>
                    <a:pt x="1703917" y="2189017"/>
                  </a:cubicBezTo>
                  <a:cubicBezTo>
                    <a:pt x="1703917" y="2189017"/>
                    <a:pt x="1703917" y="2189017"/>
                    <a:pt x="1672140" y="2244441"/>
                  </a:cubicBezTo>
                  <a:cubicBezTo>
                    <a:pt x="1672140" y="2244441"/>
                    <a:pt x="1672140" y="2244441"/>
                    <a:pt x="1665801" y="2281495"/>
                  </a:cubicBezTo>
                  <a:cubicBezTo>
                    <a:pt x="1665801" y="2281495"/>
                    <a:pt x="1665801" y="2281495"/>
                    <a:pt x="1640362" y="2318549"/>
                  </a:cubicBezTo>
                  <a:cubicBezTo>
                    <a:pt x="1640362" y="2318549"/>
                    <a:pt x="1640362" y="2318549"/>
                    <a:pt x="1576721" y="2361570"/>
                  </a:cubicBezTo>
                  <a:cubicBezTo>
                    <a:pt x="1576721" y="2361570"/>
                    <a:pt x="1576721" y="2361570"/>
                    <a:pt x="1576721" y="2380097"/>
                  </a:cubicBezTo>
                  <a:cubicBezTo>
                    <a:pt x="1576721" y="2380097"/>
                    <a:pt x="1570382" y="2392500"/>
                    <a:pt x="1564044" y="2398624"/>
                  </a:cubicBezTo>
                  <a:cubicBezTo>
                    <a:pt x="1564044" y="2404747"/>
                    <a:pt x="1532266" y="2398624"/>
                    <a:pt x="1532266" y="2398624"/>
                  </a:cubicBezTo>
                  <a:cubicBezTo>
                    <a:pt x="1532266" y="2398624"/>
                    <a:pt x="1532266" y="2398624"/>
                    <a:pt x="1513165" y="2386377"/>
                  </a:cubicBezTo>
                  <a:cubicBezTo>
                    <a:pt x="1513165" y="2386377"/>
                    <a:pt x="1513165" y="2386377"/>
                    <a:pt x="1500489" y="2398624"/>
                  </a:cubicBezTo>
                  <a:cubicBezTo>
                    <a:pt x="1500489" y="2398624"/>
                    <a:pt x="1500489" y="2398624"/>
                    <a:pt x="1462287" y="2417151"/>
                  </a:cubicBezTo>
                  <a:cubicBezTo>
                    <a:pt x="1462287" y="2417151"/>
                    <a:pt x="1462287" y="2417151"/>
                    <a:pt x="1487726" y="2411027"/>
                  </a:cubicBezTo>
                  <a:cubicBezTo>
                    <a:pt x="1487726" y="2411027"/>
                    <a:pt x="1487726" y="2411027"/>
                    <a:pt x="1500489" y="2423274"/>
                  </a:cubicBezTo>
                  <a:cubicBezTo>
                    <a:pt x="1500489" y="2423274"/>
                    <a:pt x="1500489" y="2423274"/>
                    <a:pt x="1506827" y="2441801"/>
                  </a:cubicBezTo>
                  <a:cubicBezTo>
                    <a:pt x="1506827" y="2441801"/>
                    <a:pt x="1487726" y="2472575"/>
                    <a:pt x="1481388" y="2472575"/>
                  </a:cubicBezTo>
                  <a:cubicBezTo>
                    <a:pt x="1481388" y="2478855"/>
                    <a:pt x="1455949" y="2478855"/>
                    <a:pt x="1449610" y="2472575"/>
                  </a:cubicBezTo>
                  <a:cubicBezTo>
                    <a:pt x="1443272" y="2472575"/>
                    <a:pt x="1417832" y="2472575"/>
                    <a:pt x="1417832" y="2472575"/>
                  </a:cubicBezTo>
                  <a:cubicBezTo>
                    <a:pt x="1417832" y="2472575"/>
                    <a:pt x="1417832" y="2472575"/>
                    <a:pt x="1392393" y="2484978"/>
                  </a:cubicBezTo>
                  <a:cubicBezTo>
                    <a:pt x="1392393" y="2484978"/>
                    <a:pt x="1392393" y="2484978"/>
                    <a:pt x="1417832" y="2484978"/>
                  </a:cubicBezTo>
                  <a:cubicBezTo>
                    <a:pt x="1417832" y="2484978"/>
                    <a:pt x="1417832" y="2484978"/>
                    <a:pt x="1436848" y="2491102"/>
                  </a:cubicBezTo>
                  <a:cubicBezTo>
                    <a:pt x="1436848" y="2491102"/>
                    <a:pt x="1449610" y="2503506"/>
                    <a:pt x="1455949" y="2503506"/>
                  </a:cubicBezTo>
                  <a:cubicBezTo>
                    <a:pt x="1468711" y="2509629"/>
                    <a:pt x="1462287" y="2509629"/>
                    <a:pt x="1468711" y="2509629"/>
                  </a:cubicBezTo>
                  <a:cubicBezTo>
                    <a:pt x="1475049" y="2515752"/>
                    <a:pt x="1481388" y="2522033"/>
                    <a:pt x="1481388" y="2522033"/>
                  </a:cubicBezTo>
                  <a:cubicBezTo>
                    <a:pt x="1481388" y="2522033"/>
                    <a:pt x="1481388" y="2522033"/>
                    <a:pt x="1487726" y="2534279"/>
                  </a:cubicBezTo>
                  <a:cubicBezTo>
                    <a:pt x="1487726" y="2534279"/>
                    <a:pt x="1513165" y="2534279"/>
                    <a:pt x="1519504" y="2534279"/>
                  </a:cubicBezTo>
                  <a:cubicBezTo>
                    <a:pt x="1525928" y="2540403"/>
                    <a:pt x="1551367" y="2534279"/>
                    <a:pt x="1557706" y="2540403"/>
                  </a:cubicBezTo>
                  <a:cubicBezTo>
                    <a:pt x="1564044" y="2540403"/>
                    <a:pt x="1583145" y="2540403"/>
                    <a:pt x="1583145" y="2540403"/>
                  </a:cubicBezTo>
                  <a:cubicBezTo>
                    <a:pt x="1583145" y="2540403"/>
                    <a:pt x="1576721" y="2565053"/>
                    <a:pt x="1576721" y="2571333"/>
                  </a:cubicBezTo>
                  <a:cubicBezTo>
                    <a:pt x="1583145" y="2577457"/>
                    <a:pt x="1570382" y="2595984"/>
                    <a:pt x="1564044" y="2602107"/>
                  </a:cubicBezTo>
                  <a:cubicBezTo>
                    <a:pt x="1557706" y="2608230"/>
                    <a:pt x="1551367" y="2614511"/>
                    <a:pt x="1544943" y="2626757"/>
                  </a:cubicBezTo>
                  <a:cubicBezTo>
                    <a:pt x="1538605" y="2632881"/>
                    <a:pt x="1519504" y="2632881"/>
                    <a:pt x="1506827" y="2632881"/>
                  </a:cubicBezTo>
                  <a:cubicBezTo>
                    <a:pt x="1494150" y="2632881"/>
                    <a:pt x="1487726" y="2645284"/>
                    <a:pt x="1487726" y="2645284"/>
                  </a:cubicBezTo>
                  <a:cubicBezTo>
                    <a:pt x="1487726" y="2645284"/>
                    <a:pt x="1468711" y="2676058"/>
                    <a:pt x="1462287" y="2676058"/>
                  </a:cubicBezTo>
                  <a:cubicBezTo>
                    <a:pt x="1449610" y="2682339"/>
                    <a:pt x="1443272" y="2676058"/>
                    <a:pt x="1436848" y="2676058"/>
                  </a:cubicBezTo>
                  <a:cubicBezTo>
                    <a:pt x="1436848" y="2676058"/>
                    <a:pt x="1405070" y="2682339"/>
                    <a:pt x="1392393" y="2682339"/>
                  </a:cubicBezTo>
                  <a:cubicBezTo>
                    <a:pt x="1386055" y="2682339"/>
                    <a:pt x="1366954" y="2694585"/>
                    <a:pt x="1354277" y="2694585"/>
                  </a:cubicBezTo>
                  <a:cubicBezTo>
                    <a:pt x="1347853" y="2700709"/>
                    <a:pt x="1335176" y="2713112"/>
                    <a:pt x="1335176" y="2713112"/>
                  </a:cubicBezTo>
                  <a:cubicBezTo>
                    <a:pt x="1335176" y="2713112"/>
                    <a:pt x="1335176" y="2713112"/>
                    <a:pt x="1303399" y="2713112"/>
                  </a:cubicBezTo>
                  <a:cubicBezTo>
                    <a:pt x="1303399" y="2713112"/>
                    <a:pt x="1303399" y="2713112"/>
                    <a:pt x="1271621" y="2706989"/>
                  </a:cubicBezTo>
                  <a:cubicBezTo>
                    <a:pt x="1271621" y="2706989"/>
                    <a:pt x="1252520" y="2694585"/>
                    <a:pt x="1246182" y="2688462"/>
                  </a:cubicBezTo>
                  <a:cubicBezTo>
                    <a:pt x="1239758" y="2676058"/>
                    <a:pt x="1201641" y="2682339"/>
                    <a:pt x="1201641" y="2682339"/>
                  </a:cubicBezTo>
                  <a:cubicBezTo>
                    <a:pt x="1201641" y="2682339"/>
                    <a:pt x="1201641" y="2682339"/>
                    <a:pt x="1125324" y="2676058"/>
                  </a:cubicBezTo>
                  <a:cubicBezTo>
                    <a:pt x="1125324" y="2676058"/>
                    <a:pt x="1112647" y="2682339"/>
                    <a:pt x="1099884" y="2688462"/>
                  </a:cubicBezTo>
                  <a:cubicBezTo>
                    <a:pt x="1087208" y="2700709"/>
                    <a:pt x="1074531" y="2688462"/>
                    <a:pt x="1074531" y="2688462"/>
                  </a:cubicBezTo>
                  <a:cubicBezTo>
                    <a:pt x="1074531" y="2688462"/>
                    <a:pt x="1074531" y="2688462"/>
                    <a:pt x="1061768" y="2663812"/>
                  </a:cubicBezTo>
                  <a:cubicBezTo>
                    <a:pt x="1061768" y="2663812"/>
                    <a:pt x="1061768" y="2663812"/>
                    <a:pt x="1036329" y="2657688"/>
                  </a:cubicBezTo>
                  <a:cubicBezTo>
                    <a:pt x="1036329" y="2657688"/>
                    <a:pt x="1036329" y="2657688"/>
                    <a:pt x="1017314" y="2669935"/>
                  </a:cubicBezTo>
                  <a:cubicBezTo>
                    <a:pt x="1017314" y="2669935"/>
                    <a:pt x="1017314" y="2669935"/>
                    <a:pt x="998213" y="2651408"/>
                  </a:cubicBezTo>
                  <a:cubicBezTo>
                    <a:pt x="998213" y="2651408"/>
                    <a:pt x="998213" y="2651408"/>
                    <a:pt x="991874" y="2651408"/>
                  </a:cubicBezTo>
                  <a:cubicBezTo>
                    <a:pt x="991874" y="2651408"/>
                    <a:pt x="991874" y="2651408"/>
                    <a:pt x="985450" y="2676058"/>
                  </a:cubicBezTo>
                  <a:cubicBezTo>
                    <a:pt x="985450" y="2676058"/>
                    <a:pt x="985450" y="2676058"/>
                    <a:pt x="1017314" y="2682339"/>
                  </a:cubicBezTo>
                  <a:cubicBezTo>
                    <a:pt x="1017314" y="2682339"/>
                    <a:pt x="1017314" y="2682339"/>
                    <a:pt x="1029991" y="2694585"/>
                  </a:cubicBezTo>
                  <a:cubicBezTo>
                    <a:pt x="1029991" y="2694585"/>
                    <a:pt x="1029991" y="2694585"/>
                    <a:pt x="1010890" y="2713112"/>
                  </a:cubicBezTo>
                  <a:cubicBezTo>
                    <a:pt x="1010890" y="2713112"/>
                    <a:pt x="998213" y="2719236"/>
                    <a:pt x="972774" y="2719236"/>
                  </a:cubicBezTo>
                  <a:cubicBezTo>
                    <a:pt x="947334" y="2719236"/>
                    <a:pt x="966435" y="2713112"/>
                    <a:pt x="966435" y="2713112"/>
                  </a:cubicBezTo>
                  <a:cubicBezTo>
                    <a:pt x="966435" y="2713112"/>
                    <a:pt x="934658" y="2700709"/>
                    <a:pt x="928233" y="2688462"/>
                  </a:cubicBezTo>
                  <a:cubicBezTo>
                    <a:pt x="921895" y="2682339"/>
                    <a:pt x="940996" y="2682339"/>
                    <a:pt x="940996" y="2682339"/>
                  </a:cubicBezTo>
                  <a:cubicBezTo>
                    <a:pt x="940996" y="2682339"/>
                    <a:pt x="940996" y="2682339"/>
                    <a:pt x="979112" y="2669935"/>
                  </a:cubicBezTo>
                  <a:cubicBezTo>
                    <a:pt x="979112" y="2669935"/>
                    <a:pt x="979112" y="2669935"/>
                    <a:pt x="979112" y="2657688"/>
                  </a:cubicBezTo>
                  <a:cubicBezTo>
                    <a:pt x="979112" y="2657688"/>
                    <a:pt x="979112" y="2657688"/>
                    <a:pt x="953673" y="2663812"/>
                  </a:cubicBezTo>
                  <a:cubicBezTo>
                    <a:pt x="953673" y="2663812"/>
                    <a:pt x="953673" y="2663812"/>
                    <a:pt x="921895" y="2669935"/>
                  </a:cubicBezTo>
                  <a:cubicBezTo>
                    <a:pt x="921895" y="2669935"/>
                    <a:pt x="921895" y="2669935"/>
                    <a:pt x="852001" y="2663812"/>
                  </a:cubicBezTo>
                  <a:cubicBezTo>
                    <a:pt x="852001" y="2663812"/>
                    <a:pt x="852001" y="2663812"/>
                    <a:pt x="826562" y="2657688"/>
                  </a:cubicBezTo>
                  <a:cubicBezTo>
                    <a:pt x="826562" y="2657688"/>
                    <a:pt x="826562" y="2657688"/>
                    <a:pt x="839239" y="2676058"/>
                  </a:cubicBezTo>
                  <a:cubicBezTo>
                    <a:pt x="839239" y="2676058"/>
                    <a:pt x="839239" y="2676058"/>
                    <a:pt x="820138" y="2694585"/>
                  </a:cubicBezTo>
                  <a:cubicBezTo>
                    <a:pt x="820138" y="2694585"/>
                    <a:pt x="820138" y="2694585"/>
                    <a:pt x="801123" y="2694585"/>
                  </a:cubicBezTo>
                  <a:cubicBezTo>
                    <a:pt x="801123" y="2694585"/>
                    <a:pt x="801123" y="2694585"/>
                    <a:pt x="775684" y="2688462"/>
                  </a:cubicBezTo>
                  <a:cubicBezTo>
                    <a:pt x="775684" y="2688462"/>
                    <a:pt x="756583" y="2663812"/>
                    <a:pt x="750244" y="2663812"/>
                  </a:cubicBezTo>
                  <a:cubicBezTo>
                    <a:pt x="743906" y="2663812"/>
                    <a:pt x="737567" y="2688462"/>
                    <a:pt x="731143" y="2700709"/>
                  </a:cubicBezTo>
                  <a:cubicBezTo>
                    <a:pt x="731143" y="2706989"/>
                    <a:pt x="712128" y="2682339"/>
                    <a:pt x="712128" y="2682339"/>
                  </a:cubicBezTo>
                  <a:cubicBezTo>
                    <a:pt x="712128" y="2682339"/>
                    <a:pt x="712128" y="2682339"/>
                    <a:pt x="680265" y="2651408"/>
                  </a:cubicBezTo>
                  <a:cubicBezTo>
                    <a:pt x="680265" y="2651408"/>
                    <a:pt x="680265" y="2651408"/>
                    <a:pt x="648487" y="2626757"/>
                  </a:cubicBezTo>
                  <a:cubicBezTo>
                    <a:pt x="648487" y="2626757"/>
                    <a:pt x="648487" y="2626757"/>
                    <a:pt x="623048" y="2626757"/>
                  </a:cubicBezTo>
                  <a:cubicBezTo>
                    <a:pt x="623048" y="2626757"/>
                    <a:pt x="623048" y="2626757"/>
                    <a:pt x="546816" y="2632881"/>
                  </a:cubicBezTo>
                  <a:cubicBezTo>
                    <a:pt x="546816" y="2632881"/>
                    <a:pt x="546816" y="2632881"/>
                    <a:pt x="515038" y="2639161"/>
                  </a:cubicBezTo>
                  <a:cubicBezTo>
                    <a:pt x="515038" y="2639161"/>
                    <a:pt x="495937" y="2663812"/>
                    <a:pt x="495937" y="2663812"/>
                  </a:cubicBezTo>
                  <a:cubicBezTo>
                    <a:pt x="489599" y="2669935"/>
                    <a:pt x="489599" y="2688462"/>
                    <a:pt x="489599" y="2700709"/>
                  </a:cubicBezTo>
                  <a:cubicBezTo>
                    <a:pt x="489599" y="2706989"/>
                    <a:pt x="489599" y="2719236"/>
                    <a:pt x="489599" y="2719236"/>
                  </a:cubicBezTo>
                  <a:cubicBezTo>
                    <a:pt x="489599" y="2719236"/>
                    <a:pt x="470498" y="2725516"/>
                    <a:pt x="464159" y="2725516"/>
                  </a:cubicBezTo>
                  <a:cubicBezTo>
                    <a:pt x="457821" y="2731639"/>
                    <a:pt x="451397" y="2743886"/>
                    <a:pt x="451397" y="2750166"/>
                  </a:cubicBezTo>
                  <a:cubicBezTo>
                    <a:pt x="451397" y="2756290"/>
                    <a:pt x="432382" y="2756290"/>
                    <a:pt x="432382" y="2756290"/>
                  </a:cubicBezTo>
                  <a:cubicBezTo>
                    <a:pt x="432382" y="2756290"/>
                    <a:pt x="432382" y="2756290"/>
                    <a:pt x="413281" y="2743886"/>
                  </a:cubicBezTo>
                  <a:cubicBezTo>
                    <a:pt x="413281" y="2743886"/>
                    <a:pt x="413281" y="2743886"/>
                    <a:pt x="394180" y="2719236"/>
                  </a:cubicBezTo>
                  <a:cubicBezTo>
                    <a:pt x="394180" y="2719236"/>
                    <a:pt x="387842" y="2719236"/>
                    <a:pt x="375165" y="2719236"/>
                  </a:cubicBezTo>
                  <a:cubicBezTo>
                    <a:pt x="362402" y="2713112"/>
                    <a:pt x="362402" y="2700709"/>
                    <a:pt x="362402" y="2700709"/>
                  </a:cubicBezTo>
                  <a:cubicBezTo>
                    <a:pt x="362402" y="2700709"/>
                    <a:pt x="362402" y="2700709"/>
                    <a:pt x="343302" y="2682339"/>
                  </a:cubicBezTo>
                  <a:cubicBezTo>
                    <a:pt x="343302" y="2682339"/>
                    <a:pt x="298847" y="2694585"/>
                    <a:pt x="292509" y="2694585"/>
                  </a:cubicBezTo>
                  <a:cubicBezTo>
                    <a:pt x="286085" y="2694585"/>
                    <a:pt x="241630" y="2676058"/>
                    <a:pt x="241630" y="2676058"/>
                  </a:cubicBezTo>
                  <a:cubicBezTo>
                    <a:pt x="241630" y="2676058"/>
                    <a:pt x="222529" y="2688462"/>
                    <a:pt x="222529" y="2694585"/>
                  </a:cubicBezTo>
                  <a:cubicBezTo>
                    <a:pt x="222529" y="2694585"/>
                    <a:pt x="209852" y="2713112"/>
                    <a:pt x="209852" y="2713112"/>
                  </a:cubicBezTo>
                  <a:cubicBezTo>
                    <a:pt x="209852" y="2713112"/>
                    <a:pt x="190752" y="2713112"/>
                    <a:pt x="190752" y="2719236"/>
                  </a:cubicBezTo>
                  <a:cubicBezTo>
                    <a:pt x="184413" y="2731639"/>
                    <a:pt x="171651" y="2725516"/>
                    <a:pt x="158974" y="2725516"/>
                  </a:cubicBezTo>
                  <a:cubicBezTo>
                    <a:pt x="146211" y="2725516"/>
                    <a:pt x="127196" y="2731639"/>
                    <a:pt x="127196" y="2731639"/>
                  </a:cubicBezTo>
                  <a:cubicBezTo>
                    <a:pt x="127196" y="2731639"/>
                    <a:pt x="127196" y="2731639"/>
                    <a:pt x="139873" y="2756290"/>
                  </a:cubicBezTo>
                  <a:cubicBezTo>
                    <a:pt x="139873" y="2756290"/>
                    <a:pt x="108095" y="2774817"/>
                    <a:pt x="101757" y="2780940"/>
                  </a:cubicBezTo>
                  <a:cubicBezTo>
                    <a:pt x="95419" y="2780940"/>
                    <a:pt x="95419" y="2762413"/>
                    <a:pt x="95419" y="2756290"/>
                  </a:cubicBezTo>
                  <a:cubicBezTo>
                    <a:pt x="88994" y="2750166"/>
                    <a:pt x="76318" y="2731639"/>
                    <a:pt x="76318" y="2731639"/>
                  </a:cubicBezTo>
                  <a:cubicBezTo>
                    <a:pt x="76318" y="2731639"/>
                    <a:pt x="76318" y="2731639"/>
                    <a:pt x="38202" y="2719236"/>
                  </a:cubicBezTo>
                  <a:cubicBezTo>
                    <a:pt x="38202" y="2719236"/>
                    <a:pt x="38202" y="2719236"/>
                    <a:pt x="25439" y="2737763"/>
                  </a:cubicBezTo>
                  <a:cubicBezTo>
                    <a:pt x="25439" y="2737763"/>
                    <a:pt x="25439" y="2737763"/>
                    <a:pt x="6338" y="2725516"/>
                  </a:cubicBezTo>
                  <a:cubicBezTo>
                    <a:pt x="6338" y="2725516"/>
                    <a:pt x="6338" y="2725516"/>
                    <a:pt x="0" y="2700709"/>
                  </a:cubicBezTo>
                  <a:cubicBezTo>
                    <a:pt x="0" y="2700709"/>
                    <a:pt x="0" y="2700709"/>
                    <a:pt x="19101" y="2688462"/>
                  </a:cubicBezTo>
                  <a:cubicBezTo>
                    <a:pt x="19101" y="2688462"/>
                    <a:pt x="19101" y="2688462"/>
                    <a:pt x="38202" y="2676058"/>
                  </a:cubicBezTo>
                  <a:cubicBezTo>
                    <a:pt x="38202" y="2676058"/>
                    <a:pt x="38202" y="2676058"/>
                    <a:pt x="63555" y="2688462"/>
                  </a:cubicBezTo>
                  <a:cubicBezTo>
                    <a:pt x="63555" y="2688462"/>
                    <a:pt x="63555" y="2688462"/>
                    <a:pt x="88994" y="2682339"/>
                  </a:cubicBezTo>
                  <a:cubicBezTo>
                    <a:pt x="88994" y="2682339"/>
                    <a:pt x="88994" y="2682339"/>
                    <a:pt x="120858" y="2669935"/>
                  </a:cubicBezTo>
                  <a:cubicBezTo>
                    <a:pt x="120858" y="2669935"/>
                    <a:pt x="120858" y="2669935"/>
                    <a:pt x="139873" y="2639161"/>
                  </a:cubicBezTo>
                  <a:cubicBezTo>
                    <a:pt x="139873" y="2639161"/>
                    <a:pt x="139873" y="2639161"/>
                    <a:pt x="165312" y="2632881"/>
                  </a:cubicBezTo>
                  <a:cubicBezTo>
                    <a:pt x="165312" y="2632881"/>
                    <a:pt x="165312" y="2632881"/>
                    <a:pt x="178075" y="2608230"/>
                  </a:cubicBezTo>
                  <a:cubicBezTo>
                    <a:pt x="178075" y="2608230"/>
                    <a:pt x="222529" y="2589860"/>
                    <a:pt x="228868" y="2589860"/>
                  </a:cubicBezTo>
                  <a:cubicBezTo>
                    <a:pt x="235292" y="2589860"/>
                    <a:pt x="235292" y="2583580"/>
                    <a:pt x="235292" y="2583580"/>
                  </a:cubicBezTo>
                  <a:cubicBezTo>
                    <a:pt x="235292" y="2583580"/>
                    <a:pt x="260731" y="2565053"/>
                    <a:pt x="267069" y="2558930"/>
                  </a:cubicBezTo>
                  <a:cubicBezTo>
                    <a:pt x="267069" y="2552806"/>
                    <a:pt x="279746" y="2546683"/>
                    <a:pt x="279746" y="2546683"/>
                  </a:cubicBezTo>
                  <a:cubicBezTo>
                    <a:pt x="279746" y="2546683"/>
                    <a:pt x="279746" y="2546683"/>
                    <a:pt x="292509" y="2522033"/>
                  </a:cubicBezTo>
                  <a:cubicBezTo>
                    <a:pt x="292509" y="2522033"/>
                    <a:pt x="292509" y="2522033"/>
                    <a:pt x="292509" y="2497225"/>
                  </a:cubicBezTo>
                  <a:cubicBezTo>
                    <a:pt x="292509" y="2497225"/>
                    <a:pt x="292509" y="2497225"/>
                    <a:pt x="317948" y="2478855"/>
                  </a:cubicBezTo>
                  <a:cubicBezTo>
                    <a:pt x="317948" y="2478855"/>
                    <a:pt x="317948" y="2478855"/>
                    <a:pt x="349726" y="2478855"/>
                  </a:cubicBezTo>
                  <a:cubicBezTo>
                    <a:pt x="349726" y="2478855"/>
                    <a:pt x="349726" y="2478855"/>
                    <a:pt x="375165" y="2472575"/>
                  </a:cubicBezTo>
                  <a:cubicBezTo>
                    <a:pt x="375165" y="2472575"/>
                    <a:pt x="375165" y="2472575"/>
                    <a:pt x="381503" y="2454205"/>
                  </a:cubicBezTo>
                  <a:cubicBezTo>
                    <a:pt x="381503" y="2454205"/>
                    <a:pt x="381503" y="2447924"/>
                    <a:pt x="381503" y="2435678"/>
                  </a:cubicBezTo>
                  <a:cubicBezTo>
                    <a:pt x="381503" y="2429397"/>
                    <a:pt x="394180" y="2429397"/>
                    <a:pt x="400604" y="2423274"/>
                  </a:cubicBezTo>
                  <a:cubicBezTo>
                    <a:pt x="406943" y="2417151"/>
                    <a:pt x="419619" y="2417151"/>
                    <a:pt x="419619" y="2417151"/>
                  </a:cubicBezTo>
                  <a:cubicBezTo>
                    <a:pt x="419619" y="2417151"/>
                    <a:pt x="483175" y="2435678"/>
                    <a:pt x="495937" y="2435678"/>
                  </a:cubicBezTo>
                  <a:cubicBezTo>
                    <a:pt x="515038" y="2435678"/>
                    <a:pt x="515038" y="2435678"/>
                    <a:pt x="521376" y="2441801"/>
                  </a:cubicBezTo>
                  <a:cubicBezTo>
                    <a:pt x="527715" y="2441801"/>
                    <a:pt x="559493" y="2447924"/>
                    <a:pt x="559493" y="2447924"/>
                  </a:cubicBezTo>
                  <a:cubicBezTo>
                    <a:pt x="559493" y="2447924"/>
                    <a:pt x="584932" y="2454205"/>
                    <a:pt x="616709" y="2460328"/>
                  </a:cubicBezTo>
                  <a:cubicBezTo>
                    <a:pt x="648487" y="2460328"/>
                    <a:pt x="642149" y="2447924"/>
                    <a:pt x="642149" y="2447924"/>
                  </a:cubicBezTo>
                  <a:cubicBezTo>
                    <a:pt x="642149" y="2447924"/>
                    <a:pt x="648487" y="2441801"/>
                    <a:pt x="654911" y="2435678"/>
                  </a:cubicBezTo>
                  <a:cubicBezTo>
                    <a:pt x="661250" y="2423274"/>
                    <a:pt x="680265" y="2411027"/>
                    <a:pt x="680265" y="2411027"/>
                  </a:cubicBezTo>
                  <a:cubicBezTo>
                    <a:pt x="680265" y="2411027"/>
                    <a:pt x="680265" y="2411027"/>
                    <a:pt x="699366" y="2404747"/>
                  </a:cubicBezTo>
                  <a:cubicBezTo>
                    <a:pt x="699366" y="2404747"/>
                    <a:pt x="718467" y="2373973"/>
                    <a:pt x="718467" y="2373973"/>
                  </a:cubicBezTo>
                  <a:cubicBezTo>
                    <a:pt x="724805" y="2367850"/>
                    <a:pt x="737567" y="2361570"/>
                    <a:pt x="737567" y="2361570"/>
                  </a:cubicBezTo>
                  <a:cubicBezTo>
                    <a:pt x="737567" y="2361570"/>
                    <a:pt x="737567" y="2361570"/>
                    <a:pt x="750244" y="2349323"/>
                  </a:cubicBezTo>
                  <a:cubicBezTo>
                    <a:pt x="750244" y="2349323"/>
                    <a:pt x="750244" y="2349323"/>
                    <a:pt x="775684" y="2330796"/>
                  </a:cubicBezTo>
                  <a:cubicBezTo>
                    <a:pt x="775684" y="2330796"/>
                    <a:pt x="775684" y="2330796"/>
                    <a:pt x="788360" y="2318549"/>
                  </a:cubicBezTo>
                  <a:cubicBezTo>
                    <a:pt x="788360" y="2318549"/>
                    <a:pt x="788360" y="2318549"/>
                    <a:pt x="826562" y="2306145"/>
                  </a:cubicBezTo>
                  <a:cubicBezTo>
                    <a:pt x="826562" y="2306145"/>
                    <a:pt x="826562" y="2306145"/>
                    <a:pt x="782022" y="2318549"/>
                  </a:cubicBezTo>
                  <a:cubicBezTo>
                    <a:pt x="782022" y="2318549"/>
                    <a:pt x="756583" y="2330796"/>
                    <a:pt x="750244" y="2336919"/>
                  </a:cubicBezTo>
                  <a:cubicBezTo>
                    <a:pt x="737567" y="2343199"/>
                    <a:pt x="731143" y="2355446"/>
                    <a:pt x="731143" y="2355446"/>
                  </a:cubicBezTo>
                  <a:cubicBezTo>
                    <a:pt x="731143" y="2355446"/>
                    <a:pt x="686689" y="2361570"/>
                    <a:pt x="680265" y="2361570"/>
                  </a:cubicBezTo>
                  <a:cubicBezTo>
                    <a:pt x="667588" y="2361570"/>
                    <a:pt x="654911" y="2361570"/>
                    <a:pt x="654911" y="2361570"/>
                  </a:cubicBezTo>
                  <a:cubicBezTo>
                    <a:pt x="654911" y="2361570"/>
                    <a:pt x="654911" y="2361570"/>
                    <a:pt x="629472" y="2380097"/>
                  </a:cubicBezTo>
                  <a:cubicBezTo>
                    <a:pt x="629472" y="2380097"/>
                    <a:pt x="616709" y="2392500"/>
                    <a:pt x="610371" y="2398624"/>
                  </a:cubicBezTo>
                  <a:cubicBezTo>
                    <a:pt x="610371" y="2404747"/>
                    <a:pt x="597694" y="2398624"/>
                    <a:pt x="591270" y="2392500"/>
                  </a:cubicBezTo>
                  <a:cubicBezTo>
                    <a:pt x="584932" y="2392500"/>
                    <a:pt x="565831" y="2392500"/>
                    <a:pt x="565831" y="2392500"/>
                  </a:cubicBezTo>
                  <a:cubicBezTo>
                    <a:pt x="565831" y="2392500"/>
                    <a:pt x="565831" y="2392500"/>
                    <a:pt x="540392" y="2386377"/>
                  </a:cubicBezTo>
                  <a:cubicBezTo>
                    <a:pt x="540392" y="2386377"/>
                    <a:pt x="540392" y="2386377"/>
                    <a:pt x="527715" y="2367850"/>
                  </a:cubicBezTo>
                  <a:cubicBezTo>
                    <a:pt x="527715" y="2367850"/>
                    <a:pt x="515038" y="2349323"/>
                    <a:pt x="508614" y="2349323"/>
                  </a:cubicBezTo>
                  <a:cubicBezTo>
                    <a:pt x="502276" y="2349323"/>
                    <a:pt x="502276" y="2330796"/>
                    <a:pt x="502276" y="2330796"/>
                  </a:cubicBezTo>
                  <a:cubicBezTo>
                    <a:pt x="502276" y="2330796"/>
                    <a:pt x="495937" y="2318549"/>
                    <a:pt x="495937" y="2312269"/>
                  </a:cubicBezTo>
                  <a:cubicBezTo>
                    <a:pt x="502276" y="2312269"/>
                    <a:pt x="495937" y="2300022"/>
                    <a:pt x="495937" y="2300022"/>
                  </a:cubicBezTo>
                  <a:cubicBezTo>
                    <a:pt x="495937" y="2300022"/>
                    <a:pt x="495937" y="2300022"/>
                    <a:pt x="476836" y="2312269"/>
                  </a:cubicBezTo>
                  <a:cubicBezTo>
                    <a:pt x="476836" y="2312269"/>
                    <a:pt x="476836" y="2312269"/>
                    <a:pt x="464159" y="2318549"/>
                  </a:cubicBezTo>
                  <a:cubicBezTo>
                    <a:pt x="464159" y="2318549"/>
                    <a:pt x="464159" y="2318549"/>
                    <a:pt x="432382" y="2318549"/>
                  </a:cubicBezTo>
                  <a:cubicBezTo>
                    <a:pt x="432382" y="2318549"/>
                    <a:pt x="400604" y="2312269"/>
                    <a:pt x="394180" y="2312269"/>
                  </a:cubicBezTo>
                  <a:cubicBezTo>
                    <a:pt x="394180" y="2312269"/>
                    <a:pt x="400604" y="2293742"/>
                    <a:pt x="400604" y="2281495"/>
                  </a:cubicBezTo>
                  <a:cubicBezTo>
                    <a:pt x="400604" y="2275372"/>
                    <a:pt x="413281" y="2281495"/>
                    <a:pt x="413281" y="2281495"/>
                  </a:cubicBezTo>
                  <a:cubicBezTo>
                    <a:pt x="413281" y="2281495"/>
                    <a:pt x="413281" y="2281495"/>
                    <a:pt x="438720" y="2287618"/>
                  </a:cubicBezTo>
                  <a:cubicBezTo>
                    <a:pt x="438720" y="2287618"/>
                    <a:pt x="438720" y="2287618"/>
                    <a:pt x="457821" y="2281495"/>
                  </a:cubicBezTo>
                  <a:cubicBezTo>
                    <a:pt x="457821" y="2281495"/>
                    <a:pt x="432382" y="2275372"/>
                    <a:pt x="419619" y="2269091"/>
                  </a:cubicBezTo>
                  <a:cubicBezTo>
                    <a:pt x="413281" y="2256845"/>
                    <a:pt x="400604" y="2256845"/>
                    <a:pt x="400604" y="2244441"/>
                  </a:cubicBezTo>
                  <a:cubicBezTo>
                    <a:pt x="400604" y="2238318"/>
                    <a:pt x="394180" y="2238318"/>
                    <a:pt x="394180" y="2238318"/>
                  </a:cubicBezTo>
                  <a:cubicBezTo>
                    <a:pt x="394180" y="2238318"/>
                    <a:pt x="349726" y="2244441"/>
                    <a:pt x="336963" y="2238318"/>
                  </a:cubicBezTo>
                  <a:cubicBezTo>
                    <a:pt x="332209" y="2238318"/>
                    <a:pt x="329040" y="2238318"/>
                    <a:pt x="326960" y="2238318"/>
                  </a:cubicBezTo>
                  <a:lnTo>
                    <a:pt x="324286" y="2238318"/>
                  </a:lnTo>
                  <a:cubicBezTo>
                    <a:pt x="317948" y="2238318"/>
                    <a:pt x="311524" y="2256845"/>
                    <a:pt x="311524" y="2256845"/>
                  </a:cubicBezTo>
                  <a:cubicBezTo>
                    <a:pt x="311524" y="2256845"/>
                    <a:pt x="311524" y="2256845"/>
                    <a:pt x="292509" y="2250721"/>
                  </a:cubicBezTo>
                  <a:cubicBezTo>
                    <a:pt x="279746" y="2250721"/>
                    <a:pt x="273408" y="2262968"/>
                    <a:pt x="273408" y="2262968"/>
                  </a:cubicBezTo>
                  <a:cubicBezTo>
                    <a:pt x="273408" y="2262968"/>
                    <a:pt x="260731" y="2262968"/>
                    <a:pt x="247968" y="2262968"/>
                  </a:cubicBezTo>
                  <a:cubicBezTo>
                    <a:pt x="235292" y="2262968"/>
                    <a:pt x="241630" y="2250721"/>
                    <a:pt x="241630" y="2250721"/>
                  </a:cubicBezTo>
                  <a:cubicBezTo>
                    <a:pt x="241630" y="2250721"/>
                    <a:pt x="241630" y="2250721"/>
                    <a:pt x="247968" y="2232194"/>
                  </a:cubicBezTo>
                  <a:cubicBezTo>
                    <a:pt x="247968" y="2232194"/>
                    <a:pt x="247968" y="2232194"/>
                    <a:pt x="279746" y="2213667"/>
                  </a:cubicBezTo>
                  <a:cubicBezTo>
                    <a:pt x="279746" y="2213667"/>
                    <a:pt x="254307" y="2225914"/>
                    <a:pt x="241630" y="2225914"/>
                  </a:cubicBezTo>
                  <a:cubicBezTo>
                    <a:pt x="235292" y="2225914"/>
                    <a:pt x="228868" y="2219791"/>
                    <a:pt x="228868" y="2219791"/>
                  </a:cubicBezTo>
                  <a:cubicBezTo>
                    <a:pt x="228868" y="2219791"/>
                    <a:pt x="228868" y="2219791"/>
                    <a:pt x="216191" y="2213667"/>
                  </a:cubicBezTo>
                  <a:cubicBezTo>
                    <a:pt x="216191" y="2213667"/>
                    <a:pt x="216191" y="2213667"/>
                    <a:pt x="216191" y="2201263"/>
                  </a:cubicBezTo>
                  <a:cubicBezTo>
                    <a:pt x="216191" y="2201263"/>
                    <a:pt x="216191" y="2201263"/>
                    <a:pt x="241630" y="2195140"/>
                  </a:cubicBezTo>
                  <a:cubicBezTo>
                    <a:pt x="241630" y="2195140"/>
                    <a:pt x="241630" y="2195140"/>
                    <a:pt x="254307" y="2195140"/>
                  </a:cubicBezTo>
                  <a:cubicBezTo>
                    <a:pt x="254307" y="2195140"/>
                    <a:pt x="254307" y="2195140"/>
                    <a:pt x="247968" y="2176613"/>
                  </a:cubicBezTo>
                  <a:cubicBezTo>
                    <a:pt x="247968" y="2176613"/>
                    <a:pt x="216191" y="2164366"/>
                    <a:pt x="216191" y="2158086"/>
                  </a:cubicBezTo>
                  <a:cubicBezTo>
                    <a:pt x="222529" y="2151963"/>
                    <a:pt x="241630" y="2145839"/>
                    <a:pt x="241630" y="2145839"/>
                  </a:cubicBezTo>
                  <a:cubicBezTo>
                    <a:pt x="241630" y="2139716"/>
                    <a:pt x="273408" y="2121189"/>
                    <a:pt x="273408" y="2121189"/>
                  </a:cubicBezTo>
                  <a:cubicBezTo>
                    <a:pt x="273408" y="2121189"/>
                    <a:pt x="273408" y="2121189"/>
                    <a:pt x="305185" y="2127312"/>
                  </a:cubicBezTo>
                  <a:cubicBezTo>
                    <a:pt x="305185" y="2127312"/>
                    <a:pt x="305185" y="2127312"/>
                    <a:pt x="324286" y="2127312"/>
                  </a:cubicBezTo>
                  <a:cubicBezTo>
                    <a:pt x="324286" y="2127312"/>
                    <a:pt x="324286" y="2127312"/>
                    <a:pt x="349726" y="2108785"/>
                  </a:cubicBezTo>
                  <a:cubicBezTo>
                    <a:pt x="349726" y="2108785"/>
                    <a:pt x="349726" y="2108785"/>
                    <a:pt x="381503" y="2096539"/>
                  </a:cubicBezTo>
                  <a:cubicBezTo>
                    <a:pt x="381503" y="2096539"/>
                    <a:pt x="400604" y="2090258"/>
                    <a:pt x="438720" y="2084135"/>
                  </a:cubicBezTo>
                  <a:cubicBezTo>
                    <a:pt x="476836" y="2071888"/>
                    <a:pt x="464159" y="2071888"/>
                    <a:pt x="470498" y="2065608"/>
                  </a:cubicBezTo>
                  <a:cubicBezTo>
                    <a:pt x="476836" y="2065608"/>
                    <a:pt x="495937" y="2028711"/>
                    <a:pt x="495937" y="2028711"/>
                  </a:cubicBezTo>
                  <a:cubicBezTo>
                    <a:pt x="495937" y="2022430"/>
                    <a:pt x="508614" y="1991657"/>
                    <a:pt x="508614" y="1991657"/>
                  </a:cubicBezTo>
                  <a:cubicBezTo>
                    <a:pt x="508614" y="1991657"/>
                    <a:pt x="508614" y="1991657"/>
                    <a:pt x="502276" y="1985533"/>
                  </a:cubicBezTo>
                  <a:cubicBezTo>
                    <a:pt x="495937" y="1985533"/>
                    <a:pt x="508614" y="1967006"/>
                    <a:pt x="508614" y="1967006"/>
                  </a:cubicBezTo>
                  <a:cubicBezTo>
                    <a:pt x="508614" y="1960883"/>
                    <a:pt x="527715" y="1948479"/>
                    <a:pt x="515038" y="1936233"/>
                  </a:cubicBezTo>
                  <a:cubicBezTo>
                    <a:pt x="502276" y="1917706"/>
                    <a:pt x="515038" y="1911582"/>
                    <a:pt x="521376" y="1899178"/>
                  </a:cubicBezTo>
                  <a:cubicBezTo>
                    <a:pt x="521376" y="1886775"/>
                    <a:pt x="521376" y="1880651"/>
                    <a:pt x="521376" y="1868405"/>
                  </a:cubicBezTo>
                  <a:cubicBezTo>
                    <a:pt x="521376" y="1862124"/>
                    <a:pt x="521376" y="1868405"/>
                    <a:pt x="495937" y="1862124"/>
                  </a:cubicBezTo>
                  <a:cubicBezTo>
                    <a:pt x="470498" y="1862124"/>
                    <a:pt x="470498" y="1862124"/>
                    <a:pt x="457821" y="1874528"/>
                  </a:cubicBezTo>
                  <a:cubicBezTo>
                    <a:pt x="451397" y="1880651"/>
                    <a:pt x="432382" y="1899178"/>
                    <a:pt x="432382" y="1899178"/>
                  </a:cubicBezTo>
                  <a:cubicBezTo>
                    <a:pt x="432382" y="1899178"/>
                    <a:pt x="425958" y="1893055"/>
                    <a:pt x="387842" y="1886775"/>
                  </a:cubicBezTo>
                  <a:cubicBezTo>
                    <a:pt x="349726" y="1874528"/>
                    <a:pt x="387842" y="1880651"/>
                    <a:pt x="387842" y="1868405"/>
                  </a:cubicBezTo>
                  <a:cubicBezTo>
                    <a:pt x="387842" y="1862124"/>
                    <a:pt x="394180" y="1862124"/>
                    <a:pt x="400604" y="1856001"/>
                  </a:cubicBezTo>
                  <a:cubicBezTo>
                    <a:pt x="413281" y="1849878"/>
                    <a:pt x="432382" y="1843754"/>
                    <a:pt x="451397" y="1843754"/>
                  </a:cubicBezTo>
                  <a:cubicBezTo>
                    <a:pt x="464159" y="1837474"/>
                    <a:pt x="464159" y="1831351"/>
                    <a:pt x="470498" y="1825227"/>
                  </a:cubicBezTo>
                  <a:cubicBezTo>
                    <a:pt x="476836" y="1818947"/>
                    <a:pt x="476836" y="1812824"/>
                    <a:pt x="483175" y="1806700"/>
                  </a:cubicBezTo>
                  <a:cubicBezTo>
                    <a:pt x="483175" y="1794297"/>
                    <a:pt x="515038" y="1782050"/>
                    <a:pt x="515038" y="1782050"/>
                  </a:cubicBezTo>
                  <a:cubicBezTo>
                    <a:pt x="515038" y="1782050"/>
                    <a:pt x="515038" y="1782050"/>
                    <a:pt x="470498" y="1782050"/>
                  </a:cubicBezTo>
                  <a:cubicBezTo>
                    <a:pt x="470498" y="1782050"/>
                    <a:pt x="457821" y="1757399"/>
                    <a:pt x="457821" y="1751119"/>
                  </a:cubicBezTo>
                  <a:cubicBezTo>
                    <a:pt x="457821" y="1744996"/>
                    <a:pt x="438720" y="1720345"/>
                    <a:pt x="438720" y="1720345"/>
                  </a:cubicBezTo>
                  <a:cubicBezTo>
                    <a:pt x="438720" y="1720345"/>
                    <a:pt x="464159" y="1714222"/>
                    <a:pt x="470498" y="1708099"/>
                  </a:cubicBezTo>
                  <a:cubicBezTo>
                    <a:pt x="470498" y="1701818"/>
                    <a:pt x="476836" y="1701818"/>
                    <a:pt x="483175" y="1695695"/>
                  </a:cubicBezTo>
                  <a:cubicBezTo>
                    <a:pt x="495937" y="1683291"/>
                    <a:pt x="502276" y="1695695"/>
                    <a:pt x="508614" y="1695695"/>
                  </a:cubicBezTo>
                  <a:cubicBezTo>
                    <a:pt x="521376" y="1695695"/>
                    <a:pt x="521376" y="1708099"/>
                    <a:pt x="521376" y="1714222"/>
                  </a:cubicBezTo>
                  <a:cubicBezTo>
                    <a:pt x="521376" y="1720345"/>
                    <a:pt x="534053" y="1732749"/>
                    <a:pt x="540392" y="1738872"/>
                  </a:cubicBezTo>
                  <a:cubicBezTo>
                    <a:pt x="553154" y="1744996"/>
                    <a:pt x="546816" y="1738872"/>
                    <a:pt x="553154" y="1744996"/>
                  </a:cubicBezTo>
                  <a:cubicBezTo>
                    <a:pt x="559493" y="1751119"/>
                    <a:pt x="540392" y="1769646"/>
                    <a:pt x="540392" y="1769646"/>
                  </a:cubicBezTo>
                  <a:cubicBezTo>
                    <a:pt x="540392" y="1769646"/>
                    <a:pt x="565831" y="1763523"/>
                    <a:pt x="591270" y="1757399"/>
                  </a:cubicBezTo>
                  <a:cubicBezTo>
                    <a:pt x="616709" y="1757399"/>
                    <a:pt x="604033" y="1757399"/>
                    <a:pt x="610371" y="1751119"/>
                  </a:cubicBezTo>
                  <a:cubicBezTo>
                    <a:pt x="616709" y="1744996"/>
                    <a:pt x="616709" y="1744996"/>
                    <a:pt x="616709" y="1751119"/>
                  </a:cubicBezTo>
                  <a:cubicBezTo>
                    <a:pt x="623048" y="1757399"/>
                    <a:pt x="654911" y="1769646"/>
                    <a:pt x="654911" y="1769646"/>
                  </a:cubicBezTo>
                  <a:cubicBezTo>
                    <a:pt x="654911" y="1769646"/>
                    <a:pt x="673926" y="1769646"/>
                    <a:pt x="680265" y="1763523"/>
                  </a:cubicBezTo>
                  <a:cubicBezTo>
                    <a:pt x="686689" y="1763523"/>
                    <a:pt x="705704" y="1763523"/>
                    <a:pt x="705704" y="1763523"/>
                  </a:cubicBezTo>
                  <a:cubicBezTo>
                    <a:pt x="705704" y="1763523"/>
                    <a:pt x="705704" y="1763523"/>
                    <a:pt x="724805" y="1782050"/>
                  </a:cubicBezTo>
                  <a:cubicBezTo>
                    <a:pt x="724805" y="1782050"/>
                    <a:pt x="724805" y="1782050"/>
                    <a:pt x="743906" y="1788173"/>
                  </a:cubicBezTo>
                  <a:cubicBezTo>
                    <a:pt x="743906" y="1788173"/>
                    <a:pt x="743906" y="1775927"/>
                    <a:pt x="743906" y="1763523"/>
                  </a:cubicBezTo>
                  <a:cubicBezTo>
                    <a:pt x="743906" y="1751119"/>
                    <a:pt x="737567" y="1744996"/>
                    <a:pt x="737567" y="1744996"/>
                  </a:cubicBezTo>
                  <a:cubicBezTo>
                    <a:pt x="737567" y="1744996"/>
                    <a:pt x="743906" y="1744996"/>
                    <a:pt x="750244" y="1744996"/>
                  </a:cubicBezTo>
                  <a:cubicBezTo>
                    <a:pt x="756583" y="1744996"/>
                    <a:pt x="756583" y="1744996"/>
                    <a:pt x="769345" y="1744996"/>
                  </a:cubicBezTo>
                  <a:cubicBezTo>
                    <a:pt x="782022" y="1744996"/>
                    <a:pt x="782022" y="1726469"/>
                    <a:pt x="782022" y="1726469"/>
                  </a:cubicBezTo>
                  <a:cubicBezTo>
                    <a:pt x="782022" y="1726469"/>
                    <a:pt x="769345" y="1695695"/>
                    <a:pt x="769345" y="1689572"/>
                  </a:cubicBezTo>
                  <a:cubicBezTo>
                    <a:pt x="769345" y="1683291"/>
                    <a:pt x="775684" y="1689572"/>
                    <a:pt x="782022" y="1683291"/>
                  </a:cubicBezTo>
                  <a:cubicBezTo>
                    <a:pt x="788360" y="1677168"/>
                    <a:pt x="801123" y="1664921"/>
                    <a:pt x="801123" y="1664921"/>
                  </a:cubicBezTo>
                  <a:cubicBezTo>
                    <a:pt x="801123" y="1664921"/>
                    <a:pt x="801123" y="1646394"/>
                    <a:pt x="788360" y="1646394"/>
                  </a:cubicBezTo>
                  <a:cubicBezTo>
                    <a:pt x="769345" y="1640271"/>
                    <a:pt x="782022" y="1633991"/>
                    <a:pt x="782022" y="1627867"/>
                  </a:cubicBezTo>
                  <a:cubicBezTo>
                    <a:pt x="782022" y="1621744"/>
                    <a:pt x="788360" y="1609340"/>
                    <a:pt x="794784" y="1597093"/>
                  </a:cubicBezTo>
                  <a:cubicBezTo>
                    <a:pt x="794784" y="1578566"/>
                    <a:pt x="801123" y="1590813"/>
                    <a:pt x="801123" y="1590813"/>
                  </a:cubicBezTo>
                  <a:cubicBezTo>
                    <a:pt x="801123" y="1590813"/>
                    <a:pt x="813800" y="1584690"/>
                    <a:pt x="826562" y="1584690"/>
                  </a:cubicBezTo>
                  <a:cubicBezTo>
                    <a:pt x="832900" y="1584690"/>
                    <a:pt x="839239" y="1566163"/>
                    <a:pt x="839239" y="1566163"/>
                  </a:cubicBezTo>
                  <a:cubicBezTo>
                    <a:pt x="839239" y="1566163"/>
                    <a:pt x="839239" y="1560039"/>
                    <a:pt x="839239" y="1553916"/>
                  </a:cubicBezTo>
                  <a:cubicBezTo>
                    <a:pt x="845577" y="1547636"/>
                    <a:pt x="858340" y="1547636"/>
                    <a:pt x="858340" y="1541512"/>
                  </a:cubicBezTo>
                  <a:cubicBezTo>
                    <a:pt x="858340" y="1535389"/>
                    <a:pt x="864678" y="1510739"/>
                    <a:pt x="864678" y="1510739"/>
                  </a:cubicBezTo>
                  <a:cubicBezTo>
                    <a:pt x="864678" y="1510739"/>
                    <a:pt x="864678" y="1510739"/>
                    <a:pt x="813800" y="1522985"/>
                  </a:cubicBezTo>
                  <a:cubicBezTo>
                    <a:pt x="813800" y="1522985"/>
                    <a:pt x="794784" y="1535389"/>
                    <a:pt x="782022" y="1535389"/>
                  </a:cubicBezTo>
                  <a:cubicBezTo>
                    <a:pt x="775684" y="1535389"/>
                    <a:pt x="775684" y="1516862"/>
                    <a:pt x="775684" y="1516862"/>
                  </a:cubicBezTo>
                  <a:cubicBezTo>
                    <a:pt x="775684" y="1516862"/>
                    <a:pt x="775684" y="1516862"/>
                    <a:pt x="775684" y="1498335"/>
                  </a:cubicBezTo>
                  <a:cubicBezTo>
                    <a:pt x="775684" y="1498335"/>
                    <a:pt x="775684" y="1498335"/>
                    <a:pt x="769345" y="1498335"/>
                  </a:cubicBezTo>
                  <a:cubicBezTo>
                    <a:pt x="769345" y="1498335"/>
                    <a:pt x="762921" y="1473685"/>
                    <a:pt x="756583" y="1467561"/>
                  </a:cubicBezTo>
                  <a:cubicBezTo>
                    <a:pt x="750244" y="1455158"/>
                    <a:pt x="750244" y="1449034"/>
                    <a:pt x="750244" y="1442911"/>
                  </a:cubicBezTo>
                  <a:cubicBezTo>
                    <a:pt x="750244" y="1436787"/>
                    <a:pt x="750244" y="1424384"/>
                    <a:pt x="750244" y="1424384"/>
                  </a:cubicBezTo>
                  <a:cubicBezTo>
                    <a:pt x="750244" y="1424384"/>
                    <a:pt x="737567" y="1405857"/>
                    <a:pt x="731143" y="1399733"/>
                  </a:cubicBezTo>
                  <a:cubicBezTo>
                    <a:pt x="724805" y="1399733"/>
                    <a:pt x="724805" y="1375083"/>
                    <a:pt x="724805" y="1375083"/>
                  </a:cubicBezTo>
                  <a:cubicBezTo>
                    <a:pt x="724805" y="1375083"/>
                    <a:pt x="724805" y="1375083"/>
                    <a:pt x="737567" y="1344152"/>
                  </a:cubicBezTo>
                  <a:cubicBezTo>
                    <a:pt x="737567" y="1344152"/>
                    <a:pt x="737567" y="1344152"/>
                    <a:pt x="750244" y="1325782"/>
                  </a:cubicBezTo>
                  <a:cubicBezTo>
                    <a:pt x="750244" y="1325782"/>
                    <a:pt x="775684" y="1307255"/>
                    <a:pt x="775684" y="1301132"/>
                  </a:cubicBezTo>
                  <a:cubicBezTo>
                    <a:pt x="782022" y="1301132"/>
                    <a:pt x="788360" y="1294851"/>
                    <a:pt x="788360" y="1288728"/>
                  </a:cubicBezTo>
                  <a:cubicBezTo>
                    <a:pt x="794784" y="1282605"/>
                    <a:pt x="794784" y="1276324"/>
                    <a:pt x="794784" y="1270201"/>
                  </a:cubicBezTo>
                  <a:cubicBezTo>
                    <a:pt x="801123" y="1257954"/>
                    <a:pt x="807461" y="1257954"/>
                    <a:pt x="807461" y="1257954"/>
                  </a:cubicBezTo>
                  <a:cubicBezTo>
                    <a:pt x="807461" y="1257954"/>
                    <a:pt x="807461" y="1257954"/>
                    <a:pt x="826562" y="1251674"/>
                  </a:cubicBezTo>
                  <a:cubicBezTo>
                    <a:pt x="826562" y="1251674"/>
                    <a:pt x="826562" y="1251674"/>
                    <a:pt x="852001" y="1257954"/>
                  </a:cubicBezTo>
                  <a:cubicBezTo>
                    <a:pt x="852001" y="1257954"/>
                    <a:pt x="852001" y="1257954"/>
                    <a:pt x="858340" y="1245551"/>
                  </a:cubicBezTo>
                  <a:cubicBezTo>
                    <a:pt x="858340" y="1245551"/>
                    <a:pt x="788360" y="1233304"/>
                    <a:pt x="775684" y="1220900"/>
                  </a:cubicBezTo>
                  <a:cubicBezTo>
                    <a:pt x="756583" y="1214777"/>
                    <a:pt x="762921" y="1233304"/>
                    <a:pt x="762921" y="1233304"/>
                  </a:cubicBezTo>
                  <a:cubicBezTo>
                    <a:pt x="762921" y="1233304"/>
                    <a:pt x="750244" y="1257954"/>
                    <a:pt x="743906" y="1264078"/>
                  </a:cubicBezTo>
                  <a:cubicBezTo>
                    <a:pt x="743906" y="1270201"/>
                    <a:pt x="737567" y="1264078"/>
                    <a:pt x="724805" y="1264078"/>
                  </a:cubicBezTo>
                  <a:cubicBezTo>
                    <a:pt x="705704" y="1257954"/>
                    <a:pt x="712128" y="1270201"/>
                    <a:pt x="712128" y="1270201"/>
                  </a:cubicBezTo>
                  <a:cubicBezTo>
                    <a:pt x="712128" y="1270201"/>
                    <a:pt x="699366" y="1270201"/>
                    <a:pt x="699366" y="1276324"/>
                  </a:cubicBezTo>
                  <a:cubicBezTo>
                    <a:pt x="693027" y="1282605"/>
                    <a:pt x="686689" y="1288728"/>
                    <a:pt x="686689" y="1288728"/>
                  </a:cubicBezTo>
                  <a:cubicBezTo>
                    <a:pt x="686689" y="1288728"/>
                    <a:pt x="654911" y="1282605"/>
                    <a:pt x="648487" y="1270201"/>
                  </a:cubicBezTo>
                  <a:cubicBezTo>
                    <a:pt x="642149" y="1264078"/>
                    <a:pt x="635810" y="1264078"/>
                    <a:pt x="629472" y="1264078"/>
                  </a:cubicBezTo>
                  <a:cubicBezTo>
                    <a:pt x="623048" y="1257954"/>
                    <a:pt x="616709" y="1239427"/>
                    <a:pt x="616709" y="1239427"/>
                  </a:cubicBezTo>
                  <a:cubicBezTo>
                    <a:pt x="616709" y="1239427"/>
                    <a:pt x="616709" y="1227024"/>
                    <a:pt x="604033" y="1227024"/>
                  </a:cubicBezTo>
                  <a:cubicBezTo>
                    <a:pt x="597694" y="1227024"/>
                    <a:pt x="597694" y="1233304"/>
                    <a:pt x="597694" y="1233304"/>
                  </a:cubicBezTo>
                  <a:cubicBezTo>
                    <a:pt x="597694" y="1233304"/>
                    <a:pt x="597694" y="1251674"/>
                    <a:pt x="604033" y="1257954"/>
                  </a:cubicBezTo>
                  <a:cubicBezTo>
                    <a:pt x="604033" y="1270201"/>
                    <a:pt x="597694" y="1270201"/>
                    <a:pt x="597694" y="1282605"/>
                  </a:cubicBezTo>
                  <a:cubicBezTo>
                    <a:pt x="597694" y="1294851"/>
                    <a:pt x="591270" y="1288728"/>
                    <a:pt x="584932" y="1294851"/>
                  </a:cubicBezTo>
                  <a:cubicBezTo>
                    <a:pt x="578593" y="1294851"/>
                    <a:pt x="572255" y="1282605"/>
                    <a:pt x="565831" y="1276324"/>
                  </a:cubicBezTo>
                  <a:cubicBezTo>
                    <a:pt x="559493" y="1270201"/>
                    <a:pt x="540392" y="1251674"/>
                    <a:pt x="540392" y="1251674"/>
                  </a:cubicBezTo>
                  <a:cubicBezTo>
                    <a:pt x="540392" y="1251674"/>
                    <a:pt x="521376" y="1233304"/>
                    <a:pt x="521376" y="1227024"/>
                  </a:cubicBezTo>
                  <a:cubicBezTo>
                    <a:pt x="515038" y="1220900"/>
                    <a:pt x="515038" y="1227024"/>
                    <a:pt x="508614" y="1214777"/>
                  </a:cubicBezTo>
                  <a:lnTo>
                    <a:pt x="506377" y="1209605"/>
                  </a:lnTo>
                  <a:lnTo>
                    <a:pt x="507029" y="1209282"/>
                  </a:lnTo>
                  <a:cubicBezTo>
                    <a:pt x="508614" y="1208497"/>
                    <a:pt x="508614" y="1208497"/>
                    <a:pt x="508614" y="1208497"/>
                  </a:cubicBezTo>
                  <a:cubicBezTo>
                    <a:pt x="508614" y="1208497"/>
                    <a:pt x="507029" y="1208497"/>
                    <a:pt x="506237" y="1209282"/>
                  </a:cubicBezTo>
                  <a:lnTo>
                    <a:pt x="506377" y="1209605"/>
                  </a:lnTo>
                  <a:lnTo>
                    <a:pt x="495937" y="1214777"/>
                  </a:lnTo>
                  <a:cubicBezTo>
                    <a:pt x="495937" y="1214777"/>
                    <a:pt x="483175" y="1233304"/>
                    <a:pt x="483175" y="1245551"/>
                  </a:cubicBezTo>
                  <a:cubicBezTo>
                    <a:pt x="483175" y="1257954"/>
                    <a:pt x="495937" y="1270201"/>
                    <a:pt x="495937" y="1270201"/>
                  </a:cubicBezTo>
                  <a:cubicBezTo>
                    <a:pt x="495937" y="1270201"/>
                    <a:pt x="489599" y="1288728"/>
                    <a:pt x="483175" y="1294851"/>
                  </a:cubicBezTo>
                  <a:cubicBezTo>
                    <a:pt x="476836" y="1294851"/>
                    <a:pt x="476836" y="1276324"/>
                    <a:pt x="476836" y="1276324"/>
                  </a:cubicBezTo>
                  <a:cubicBezTo>
                    <a:pt x="476836" y="1276324"/>
                    <a:pt x="476836" y="1276324"/>
                    <a:pt x="470498" y="1245551"/>
                  </a:cubicBezTo>
                  <a:cubicBezTo>
                    <a:pt x="470498" y="1245551"/>
                    <a:pt x="464159" y="1239427"/>
                    <a:pt x="464159" y="1239427"/>
                  </a:cubicBezTo>
                  <a:cubicBezTo>
                    <a:pt x="457821" y="1239427"/>
                    <a:pt x="445059" y="1214777"/>
                    <a:pt x="445059" y="1214777"/>
                  </a:cubicBezTo>
                  <a:cubicBezTo>
                    <a:pt x="445059" y="1214777"/>
                    <a:pt x="445059" y="1214777"/>
                    <a:pt x="445059" y="1196250"/>
                  </a:cubicBezTo>
                  <a:cubicBezTo>
                    <a:pt x="445059" y="1196250"/>
                    <a:pt x="445059" y="1196250"/>
                    <a:pt x="464159" y="1171600"/>
                  </a:cubicBezTo>
                  <a:cubicBezTo>
                    <a:pt x="464159" y="1171600"/>
                    <a:pt x="464159" y="1171600"/>
                    <a:pt x="476836" y="1146949"/>
                  </a:cubicBezTo>
                  <a:cubicBezTo>
                    <a:pt x="476836" y="1146949"/>
                    <a:pt x="476836" y="1146949"/>
                    <a:pt x="508614" y="1116018"/>
                  </a:cubicBezTo>
                  <a:cubicBezTo>
                    <a:pt x="508614" y="1116018"/>
                    <a:pt x="508614" y="1116018"/>
                    <a:pt x="534053" y="1103772"/>
                  </a:cubicBezTo>
                  <a:cubicBezTo>
                    <a:pt x="534053" y="1103772"/>
                    <a:pt x="534053" y="1103772"/>
                    <a:pt x="546816" y="1085245"/>
                  </a:cubicBezTo>
                  <a:cubicBezTo>
                    <a:pt x="546816" y="1085245"/>
                    <a:pt x="546816" y="1085245"/>
                    <a:pt x="553154" y="1060594"/>
                  </a:cubicBezTo>
                  <a:cubicBezTo>
                    <a:pt x="553154" y="1060594"/>
                    <a:pt x="553154" y="1060594"/>
                    <a:pt x="572255" y="1042067"/>
                  </a:cubicBezTo>
                  <a:cubicBezTo>
                    <a:pt x="572255" y="1042067"/>
                    <a:pt x="572255" y="1042067"/>
                    <a:pt x="584932" y="1035944"/>
                  </a:cubicBezTo>
                  <a:cubicBezTo>
                    <a:pt x="584932" y="1035944"/>
                    <a:pt x="591270" y="1017417"/>
                    <a:pt x="597694" y="1011294"/>
                  </a:cubicBezTo>
                  <a:cubicBezTo>
                    <a:pt x="597694" y="1005013"/>
                    <a:pt x="591270" y="998890"/>
                    <a:pt x="591270" y="992766"/>
                  </a:cubicBezTo>
                  <a:cubicBezTo>
                    <a:pt x="597694" y="986643"/>
                    <a:pt x="591270" y="980363"/>
                    <a:pt x="591270" y="980363"/>
                  </a:cubicBezTo>
                  <a:cubicBezTo>
                    <a:pt x="591270" y="980363"/>
                    <a:pt x="559493" y="955712"/>
                    <a:pt x="559493" y="955712"/>
                  </a:cubicBezTo>
                  <a:cubicBezTo>
                    <a:pt x="559493" y="949589"/>
                    <a:pt x="540392" y="918815"/>
                    <a:pt x="540392" y="918815"/>
                  </a:cubicBezTo>
                  <a:cubicBezTo>
                    <a:pt x="540392" y="918815"/>
                    <a:pt x="540392" y="918815"/>
                    <a:pt x="495937" y="881761"/>
                  </a:cubicBezTo>
                  <a:cubicBezTo>
                    <a:pt x="495937" y="881761"/>
                    <a:pt x="489599" y="863234"/>
                    <a:pt x="495937" y="850987"/>
                  </a:cubicBezTo>
                  <a:cubicBezTo>
                    <a:pt x="495937" y="838584"/>
                    <a:pt x="495937" y="832460"/>
                    <a:pt x="495937" y="832460"/>
                  </a:cubicBezTo>
                  <a:cubicBezTo>
                    <a:pt x="495937" y="832460"/>
                    <a:pt x="489599" y="832460"/>
                    <a:pt x="483175" y="832460"/>
                  </a:cubicBezTo>
                  <a:cubicBezTo>
                    <a:pt x="476836" y="832460"/>
                    <a:pt x="476836" y="844707"/>
                    <a:pt x="476836" y="844707"/>
                  </a:cubicBezTo>
                  <a:cubicBezTo>
                    <a:pt x="476836" y="844707"/>
                    <a:pt x="476836" y="844707"/>
                    <a:pt x="476836" y="894165"/>
                  </a:cubicBezTo>
                  <a:cubicBezTo>
                    <a:pt x="476836" y="894165"/>
                    <a:pt x="476836" y="894165"/>
                    <a:pt x="470498" y="906412"/>
                  </a:cubicBezTo>
                  <a:cubicBezTo>
                    <a:pt x="470498" y="906412"/>
                    <a:pt x="470498" y="906412"/>
                    <a:pt x="464159" y="912535"/>
                  </a:cubicBezTo>
                  <a:cubicBezTo>
                    <a:pt x="464159" y="918815"/>
                    <a:pt x="464159" y="924939"/>
                    <a:pt x="457821" y="931062"/>
                  </a:cubicBezTo>
                  <a:cubicBezTo>
                    <a:pt x="451397" y="931062"/>
                    <a:pt x="457821" y="931062"/>
                    <a:pt x="445059" y="937185"/>
                  </a:cubicBezTo>
                  <a:cubicBezTo>
                    <a:pt x="432382" y="949589"/>
                    <a:pt x="432382" y="955712"/>
                    <a:pt x="432382" y="955712"/>
                  </a:cubicBezTo>
                  <a:cubicBezTo>
                    <a:pt x="432382" y="955712"/>
                    <a:pt x="432382" y="955712"/>
                    <a:pt x="432382" y="980363"/>
                  </a:cubicBezTo>
                  <a:cubicBezTo>
                    <a:pt x="432382" y="980363"/>
                    <a:pt x="419619" y="998890"/>
                    <a:pt x="419619" y="998890"/>
                  </a:cubicBezTo>
                  <a:cubicBezTo>
                    <a:pt x="419619" y="1005013"/>
                    <a:pt x="419619" y="1017417"/>
                    <a:pt x="419619" y="1029821"/>
                  </a:cubicBezTo>
                  <a:cubicBezTo>
                    <a:pt x="419619" y="1042067"/>
                    <a:pt x="406943" y="1042067"/>
                    <a:pt x="400604" y="1042067"/>
                  </a:cubicBezTo>
                  <a:cubicBezTo>
                    <a:pt x="394180" y="1042067"/>
                    <a:pt x="400604" y="1042067"/>
                    <a:pt x="387842" y="1042067"/>
                  </a:cubicBezTo>
                  <a:cubicBezTo>
                    <a:pt x="381503" y="1042067"/>
                    <a:pt x="381503" y="1042067"/>
                    <a:pt x="368741" y="1035944"/>
                  </a:cubicBezTo>
                  <a:cubicBezTo>
                    <a:pt x="356064" y="1035944"/>
                    <a:pt x="362402" y="1017417"/>
                    <a:pt x="362402" y="1017417"/>
                  </a:cubicBezTo>
                  <a:cubicBezTo>
                    <a:pt x="362402" y="1017417"/>
                    <a:pt x="362402" y="1017417"/>
                    <a:pt x="375165" y="1011294"/>
                  </a:cubicBezTo>
                  <a:cubicBezTo>
                    <a:pt x="375165" y="1011294"/>
                    <a:pt x="375165" y="1011294"/>
                    <a:pt x="381503" y="986643"/>
                  </a:cubicBezTo>
                  <a:cubicBezTo>
                    <a:pt x="381503" y="986643"/>
                    <a:pt x="381503" y="986643"/>
                    <a:pt x="381503" y="968116"/>
                  </a:cubicBezTo>
                  <a:cubicBezTo>
                    <a:pt x="381503" y="968116"/>
                    <a:pt x="381503" y="968116"/>
                    <a:pt x="394180" y="949589"/>
                  </a:cubicBezTo>
                  <a:cubicBezTo>
                    <a:pt x="394180" y="949589"/>
                    <a:pt x="394180" y="949589"/>
                    <a:pt x="406943" y="931062"/>
                  </a:cubicBezTo>
                  <a:cubicBezTo>
                    <a:pt x="406943" y="931062"/>
                    <a:pt x="419619" y="912535"/>
                    <a:pt x="425958" y="912535"/>
                  </a:cubicBezTo>
                  <a:cubicBezTo>
                    <a:pt x="432382" y="906412"/>
                    <a:pt x="438720" y="900288"/>
                    <a:pt x="438720" y="900288"/>
                  </a:cubicBezTo>
                  <a:cubicBezTo>
                    <a:pt x="438720" y="900288"/>
                    <a:pt x="438720" y="900288"/>
                    <a:pt x="432382" y="887885"/>
                  </a:cubicBezTo>
                  <a:cubicBezTo>
                    <a:pt x="432382" y="887885"/>
                    <a:pt x="432382" y="887885"/>
                    <a:pt x="419619" y="875638"/>
                  </a:cubicBezTo>
                  <a:cubicBezTo>
                    <a:pt x="419619" y="875638"/>
                    <a:pt x="419619" y="875638"/>
                    <a:pt x="432382" y="850987"/>
                  </a:cubicBezTo>
                  <a:cubicBezTo>
                    <a:pt x="432382" y="850987"/>
                    <a:pt x="432382" y="850987"/>
                    <a:pt x="425958" y="844707"/>
                  </a:cubicBezTo>
                  <a:cubicBezTo>
                    <a:pt x="425958" y="844707"/>
                    <a:pt x="425958" y="844707"/>
                    <a:pt x="425958" y="832460"/>
                  </a:cubicBezTo>
                  <a:cubicBezTo>
                    <a:pt x="425958" y="832460"/>
                    <a:pt x="438720" y="826337"/>
                    <a:pt x="445059" y="820057"/>
                  </a:cubicBezTo>
                  <a:cubicBezTo>
                    <a:pt x="451397" y="813933"/>
                    <a:pt x="438720" y="807810"/>
                    <a:pt x="438720" y="807810"/>
                  </a:cubicBezTo>
                  <a:cubicBezTo>
                    <a:pt x="438720" y="807810"/>
                    <a:pt x="438720" y="807810"/>
                    <a:pt x="457821" y="795406"/>
                  </a:cubicBezTo>
                  <a:cubicBezTo>
                    <a:pt x="457821" y="795406"/>
                    <a:pt x="457821" y="795406"/>
                    <a:pt x="457821" y="783160"/>
                  </a:cubicBezTo>
                  <a:cubicBezTo>
                    <a:pt x="457821" y="783160"/>
                    <a:pt x="464159" y="770756"/>
                    <a:pt x="470498" y="764633"/>
                  </a:cubicBezTo>
                  <a:cubicBezTo>
                    <a:pt x="470498" y="758509"/>
                    <a:pt x="464159" y="764633"/>
                    <a:pt x="464159" y="764633"/>
                  </a:cubicBezTo>
                  <a:cubicBezTo>
                    <a:pt x="464159" y="764633"/>
                    <a:pt x="464159" y="764633"/>
                    <a:pt x="438720" y="776879"/>
                  </a:cubicBezTo>
                  <a:cubicBezTo>
                    <a:pt x="438720" y="776879"/>
                    <a:pt x="438720" y="776879"/>
                    <a:pt x="438720" y="789283"/>
                  </a:cubicBezTo>
                  <a:cubicBezTo>
                    <a:pt x="438720" y="789283"/>
                    <a:pt x="419619" y="801530"/>
                    <a:pt x="419619" y="807810"/>
                  </a:cubicBezTo>
                  <a:cubicBezTo>
                    <a:pt x="419619" y="807810"/>
                    <a:pt x="419619" y="807810"/>
                    <a:pt x="406943" y="813933"/>
                  </a:cubicBezTo>
                  <a:cubicBezTo>
                    <a:pt x="400604" y="820057"/>
                    <a:pt x="406943" y="820057"/>
                    <a:pt x="400604" y="826337"/>
                  </a:cubicBezTo>
                  <a:cubicBezTo>
                    <a:pt x="394180" y="832460"/>
                    <a:pt x="400604" y="826337"/>
                    <a:pt x="387842" y="838584"/>
                  </a:cubicBezTo>
                  <a:cubicBezTo>
                    <a:pt x="375165" y="844707"/>
                    <a:pt x="375165" y="844707"/>
                    <a:pt x="375165" y="857111"/>
                  </a:cubicBezTo>
                  <a:cubicBezTo>
                    <a:pt x="375165" y="875638"/>
                    <a:pt x="375165" y="863234"/>
                    <a:pt x="368741" y="869358"/>
                  </a:cubicBezTo>
                  <a:cubicBezTo>
                    <a:pt x="362402" y="875638"/>
                    <a:pt x="368741" y="869358"/>
                    <a:pt x="356064" y="869358"/>
                  </a:cubicBezTo>
                  <a:cubicBezTo>
                    <a:pt x="336963" y="875638"/>
                    <a:pt x="349726" y="881761"/>
                    <a:pt x="349726" y="887885"/>
                  </a:cubicBezTo>
                  <a:cubicBezTo>
                    <a:pt x="349726" y="894165"/>
                    <a:pt x="349726" y="900288"/>
                    <a:pt x="349726" y="900288"/>
                  </a:cubicBezTo>
                  <a:cubicBezTo>
                    <a:pt x="349726" y="906412"/>
                    <a:pt x="349726" y="918815"/>
                    <a:pt x="330625" y="918815"/>
                  </a:cubicBezTo>
                  <a:cubicBezTo>
                    <a:pt x="305185" y="924939"/>
                    <a:pt x="311524" y="931062"/>
                    <a:pt x="298847" y="931062"/>
                  </a:cubicBezTo>
                  <a:cubicBezTo>
                    <a:pt x="286085" y="937185"/>
                    <a:pt x="292509" y="937185"/>
                    <a:pt x="279746" y="943466"/>
                  </a:cubicBezTo>
                  <a:cubicBezTo>
                    <a:pt x="267069" y="943466"/>
                    <a:pt x="279746" y="918815"/>
                    <a:pt x="279746" y="918815"/>
                  </a:cubicBezTo>
                  <a:cubicBezTo>
                    <a:pt x="279746" y="918815"/>
                    <a:pt x="279746" y="918815"/>
                    <a:pt x="286085" y="912535"/>
                  </a:cubicBezTo>
                  <a:cubicBezTo>
                    <a:pt x="286085" y="912535"/>
                    <a:pt x="286085" y="912535"/>
                    <a:pt x="292509" y="906412"/>
                  </a:cubicBezTo>
                  <a:cubicBezTo>
                    <a:pt x="292509" y="906412"/>
                    <a:pt x="292509" y="906412"/>
                    <a:pt x="298847" y="881761"/>
                  </a:cubicBezTo>
                  <a:cubicBezTo>
                    <a:pt x="298847" y="881761"/>
                    <a:pt x="298847" y="881761"/>
                    <a:pt x="298847" y="869358"/>
                  </a:cubicBezTo>
                  <a:cubicBezTo>
                    <a:pt x="298847" y="869358"/>
                    <a:pt x="286085" y="875638"/>
                    <a:pt x="286085" y="875638"/>
                  </a:cubicBezTo>
                  <a:cubicBezTo>
                    <a:pt x="279746" y="881761"/>
                    <a:pt x="273408" y="887885"/>
                    <a:pt x="260731" y="894165"/>
                  </a:cubicBezTo>
                  <a:cubicBezTo>
                    <a:pt x="247968" y="900288"/>
                    <a:pt x="254307" y="887885"/>
                    <a:pt x="254307" y="887885"/>
                  </a:cubicBezTo>
                  <a:cubicBezTo>
                    <a:pt x="254307" y="887885"/>
                    <a:pt x="254307" y="887885"/>
                    <a:pt x="267069" y="875638"/>
                  </a:cubicBezTo>
                  <a:cubicBezTo>
                    <a:pt x="267069" y="875638"/>
                    <a:pt x="273408" y="857111"/>
                    <a:pt x="273408" y="850987"/>
                  </a:cubicBezTo>
                  <a:cubicBezTo>
                    <a:pt x="273408" y="838584"/>
                    <a:pt x="279746" y="838584"/>
                    <a:pt x="279746" y="838584"/>
                  </a:cubicBezTo>
                  <a:cubicBezTo>
                    <a:pt x="279746" y="838584"/>
                    <a:pt x="286085" y="832460"/>
                    <a:pt x="292509" y="826337"/>
                  </a:cubicBezTo>
                  <a:cubicBezTo>
                    <a:pt x="298847" y="826337"/>
                    <a:pt x="317948" y="832460"/>
                    <a:pt x="317948" y="832460"/>
                  </a:cubicBezTo>
                  <a:cubicBezTo>
                    <a:pt x="317948" y="832460"/>
                    <a:pt x="317948" y="832460"/>
                    <a:pt x="330625" y="820057"/>
                  </a:cubicBezTo>
                  <a:cubicBezTo>
                    <a:pt x="330625" y="820057"/>
                    <a:pt x="330625" y="820057"/>
                    <a:pt x="349726" y="826337"/>
                  </a:cubicBezTo>
                  <a:cubicBezTo>
                    <a:pt x="349726" y="826337"/>
                    <a:pt x="349726" y="826337"/>
                    <a:pt x="368741" y="820057"/>
                  </a:cubicBezTo>
                  <a:cubicBezTo>
                    <a:pt x="368741" y="820057"/>
                    <a:pt x="368741" y="820057"/>
                    <a:pt x="375165" y="807810"/>
                  </a:cubicBezTo>
                  <a:cubicBezTo>
                    <a:pt x="375165" y="807810"/>
                    <a:pt x="381503" y="801530"/>
                    <a:pt x="381503" y="795406"/>
                  </a:cubicBezTo>
                  <a:cubicBezTo>
                    <a:pt x="387842" y="789283"/>
                    <a:pt x="387842" y="795406"/>
                    <a:pt x="394180" y="783160"/>
                  </a:cubicBezTo>
                  <a:cubicBezTo>
                    <a:pt x="406943" y="776879"/>
                    <a:pt x="413281" y="776879"/>
                    <a:pt x="432382" y="764633"/>
                  </a:cubicBezTo>
                  <a:lnTo>
                    <a:pt x="438796" y="758389"/>
                  </a:lnTo>
                  <a:lnTo>
                    <a:pt x="438720" y="758509"/>
                  </a:lnTo>
                  <a:cubicBezTo>
                    <a:pt x="438720" y="758509"/>
                    <a:pt x="440305" y="756939"/>
                    <a:pt x="440305" y="756920"/>
                  </a:cubicBezTo>
                  <a:lnTo>
                    <a:pt x="438796" y="758389"/>
                  </a:lnTo>
                  <a:lnTo>
                    <a:pt x="449063" y="742220"/>
                  </a:lnTo>
                  <a:cubicBezTo>
                    <a:pt x="454630" y="735272"/>
                    <a:pt x="460990" y="727579"/>
                    <a:pt x="464159" y="721455"/>
                  </a:cubicBezTo>
                  <a:cubicBezTo>
                    <a:pt x="470498" y="709052"/>
                    <a:pt x="483175" y="709052"/>
                    <a:pt x="483175" y="709052"/>
                  </a:cubicBezTo>
                  <a:cubicBezTo>
                    <a:pt x="483175" y="709052"/>
                    <a:pt x="483175" y="709052"/>
                    <a:pt x="483175" y="702928"/>
                  </a:cubicBezTo>
                  <a:cubicBezTo>
                    <a:pt x="483175" y="702928"/>
                    <a:pt x="483175" y="702928"/>
                    <a:pt x="495937" y="690681"/>
                  </a:cubicBezTo>
                  <a:cubicBezTo>
                    <a:pt x="495937" y="690681"/>
                    <a:pt x="495937" y="684401"/>
                    <a:pt x="476836" y="672154"/>
                  </a:cubicBezTo>
                  <a:cubicBezTo>
                    <a:pt x="464159" y="659751"/>
                    <a:pt x="476836" y="678278"/>
                    <a:pt x="476836" y="678278"/>
                  </a:cubicBezTo>
                  <a:cubicBezTo>
                    <a:pt x="476836" y="678278"/>
                    <a:pt x="476836" y="678278"/>
                    <a:pt x="457821" y="684401"/>
                  </a:cubicBezTo>
                  <a:cubicBezTo>
                    <a:pt x="438720" y="684401"/>
                    <a:pt x="451397" y="690681"/>
                    <a:pt x="451397" y="690681"/>
                  </a:cubicBezTo>
                  <a:cubicBezTo>
                    <a:pt x="445059" y="696805"/>
                    <a:pt x="445059" y="696805"/>
                    <a:pt x="438720" y="702928"/>
                  </a:cubicBezTo>
                  <a:cubicBezTo>
                    <a:pt x="432382" y="702928"/>
                    <a:pt x="425958" y="709052"/>
                    <a:pt x="400604" y="702928"/>
                  </a:cubicBezTo>
                  <a:cubicBezTo>
                    <a:pt x="375165" y="696805"/>
                    <a:pt x="394180" y="702928"/>
                    <a:pt x="375165" y="709052"/>
                  </a:cubicBezTo>
                  <a:cubicBezTo>
                    <a:pt x="362402" y="715332"/>
                    <a:pt x="368741" y="709052"/>
                    <a:pt x="356064" y="702928"/>
                  </a:cubicBezTo>
                  <a:cubicBezTo>
                    <a:pt x="343302" y="702928"/>
                    <a:pt x="356064" y="684401"/>
                    <a:pt x="362402" y="678278"/>
                  </a:cubicBezTo>
                  <a:cubicBezTo>
                    <a:pt x="362402" y="665874"/>
                    <a:pt x="362402" y="665874"/>
                    <a:pt x="362402" y="665874"/>
                  </a:cubicBezTo>
                  <a:cubicBezTo>
                    <a:pt x="362402" y="665874"/>
                    <a:pt x="375165" y="653627"/>
                    <a:pt x="381503" y="653627"/>
                  </a:cubicBezTo>
                  <a:cubicBezTo>
                    <a:pt x="381503" y="647504"/>
                    <a:pt x="381503" y="647504"/>
                    <a:pt x="381503" y="647504"/>
                  </a:cubicBezTo>
                  <a:cubicBezTo>
                    <a:pt x="381503" y="641224"/>
                    <a:pt x="381503" y="635100"/>
                    <a:pt x="368741" y="628977"/>
                  </a:cubicBezTo>
                  <a:cubicBezTo>
                    <a:pt x="362402" y="616573"/>
                    <a:pt x="362402" y="610450"/>
                    <a:pt x="362402" y="610450"/>
                  </a:cubicBezTo>
                  <a:cubicBezTo>
                    <a:pt x="362402" y="604327"/>
                    <a:pt x="375165" y="591923"/>
                    <a:pt x="375165" y="591923"/>
                  </a:cubicBezTo>
                  <a:cubicBezTo>
                    <a:pt x="375165" y="591923"/>
                    <a:pt x="394180" y="585800"/>
                    <a:pt x="394180" y="585800"/>
                  </a:cubicBezTo>
                  <a:cubicBezTo>
                    <a:pt x="400604" y="585800"/>
                    <a:pt x="413281" y="585800"/>
                    <a:pt x="413281" y="585800"/>
                  </a:cubicBezTo>
                  <a:cubicBezTo>
                    <a:pt x="413281" y="585800"/>
                    <a:pt x="413281" y="585800"/>
                    <a:pt x="425958" y="585800"/>
                  </a:cubicBezTo>
                  <a:cubicBezTo>
                    <a:pt x="425958" y="585800"/>
                    <a:pt x="425958" y="579676"/>
                    <a:pt x="419619" y="579676"/>
                  </a:cubicBezTo>
                  <a:cubicBezTo>
                    <a:pt x="419619" y="579676"/>
                    <a:pt x="394180" y="579676"/>
                    <a:pt x="387842" y="579676"/>
                  </a:cubicBezTo>
                  <a:cubicBezTo>
                    <a:pt x="381503" y="579676"/>
                    <a:pt x="387842" y="573396"/>
                    <a:pt x="387842" y="573396"/>
                  </a:cubicBezTo>
                  <a:cubicBezTo>
                    <a:pt x="387842" y="573396"/>
                    <a:pt x="387842" y="567273"/>
                    <a:pt x="387842" y="567273"/>
                  </a:cubicBezTo>
                  <a:cubicBezTo>
                    <a:pt x="394180" y="561149"/>
                    <a:pt x="400604" y="561149"/>
                    <a:pt x="406943" y="561149"/>
                  </a:cubicBezTo>
                  <a:cubicBezTo>
                    <a:pt x="413281" y="555026"/>
                    <a:pt x="432382" y="561149"/>
                    <a:pt x="438720" y="561149"/>
                  </a:cubicBezTo>
                  <a:cubicBezTo>
                    <a:pt x="445059" y="561149"/>
                    <a:pt x="451397" y="555026"/>
                    <a:pt x="451397" y="555026"/>
                  </a:cubicBezTo>
                  <a:cubicBezTo>
                    <a:pt x="457821" y="548745"/>
                    <a:pt x="464159" y="548745"/>
                    <a:pt x="476836" y="542622"/>
                  </a:cubicBezTo>
                  <a:cubicBezTo>
                    <a:pt x="483175" y="542622"/>
                    <a:pt x="489599" y="542622"/>
                    <a:pt x="489599" y="542622"/>
                  </a:cubicBezTo>
                  <a:cubicBezTo>
                    <a:pt x="489599" y="542622"/>
                    <a:pt x="483175" y="536499"/>
                    <a:pt x="470498" y="530218"/>
                  </a:cubicBezTo>
                  <a:cubicBezTo>
                    <a:pt x="464159" y="524095"/>
                    <a:pt x="457821" y="517972"/>
                    <a:pt x="457821" y="517972"/>
                  </a:cubicBezTo>
                  <a:cubicBezTo>
                    <a:pt x="457821" y="511848"/>
                    <a:pt x="457821" y="511848"/>
                    <a:pt x="457821" y="511848"/>
                  </a:cubicBezTo>
                  <a:cubicBezTo>
                    <a:pt x="457821" y="511848"/>
                    <a:pt x="464159" y="511848"/>
                    <a:pt x="470498" y="493321"/>
                  </a:cubicBezTo>
                  <a:cubicBezTo>
                    <a:pt x="476836" y="474794"/>
                    <a:pt x="470498" y="487198"/>
                    <a:pt x="483175" y="487198"/>
                  </a:cubicBezTo>
                  <a:cubicBezTo>
                    <a:pt x="495937" y="480918"/>
                    <a:pt x="489599" y="487198"/>
                    <a:pt x="495937" y="487198"/>
                  </a:cubicBezTo>
                  <a:cubicBezTo>
                    <a:pt x="502276" y="487198"/>
                    <a:pt x="502276" y="487198"/>
                    <a:pt x="502276" y="487198"/>
                  </a:cubicBezTo>
                  <a:cubicBezTo>
                    <a:pt x="502276" y="480918"/>
                    <a:pt x="495937" y="474794"/>
                    <a:pt x="495937" y="474794"/>
                  </a:cubicBezTo>
                  <a:cubicBezTo>
                    <a:pt x="495937" y="474794"/>
                    <a:pt x="495937" y="474794"/>
                    <a:pt x="502276" y="468671"/>
                  </a:cubicBezTo>
                  <a:cubicBezTo>
                    <a:pt x="502276" y="468671"/>
                    <a:pt x="502276" y="462391"/>
                    <a:pt x="508614" y="462391"/>
                  </a:cubicBezTo>
                  <a:cubicBezTo>
                    <a:pt x="508614" y="462391"/>
                    <a:pt x="515038" y="462391"/>
                    <a:pt x="515038" y="462391"/>
                  </a:cubicBezTo>
                  <a:cubicBezTo>
                    <a:pt x="518207" y="462391"/>
                    <a:pt x="522961" y="462391"/>
                    <a:pt x="526922" y="462391"/>
                  </a:cubicBezTo>
                  <a:lnTo>
                    <a:pt x="527715" y="462391"/>
                  </a:lnTo>
                  <a:cubicBezTo>
                    <a:pt x="521376" y="462391"/>
                    <a:pt x="521376" y="456267"/>
                    <a:pt x="515038" y="450144"/>
                  </a:cubicBezTo>
                  <a:cubicBezTo>
                    <a:pt x="508614" y="444021"/>
                    <a:pt x="515038" y="450144"/>
                    <a:pt x="521376" y="444021"/>
                  </a:cubicBezTo>
                  <a:cubicBezTo>
                    <a:pt x="527715" y="437740"/>
                    <a:pt x="515038" y="437740"/>
                    <a:pt x="515038" y="444021"/>
                  </a:cubicBezTo>
                  <a:cubicBezTo>
                    <a:pt x="508614" y="444021"/>
                    <a:pt x="502276" y="444021"/>
                    <a:pt x="495937" y="450144"/>
                  </a:cubicBezTo>
                  <a:cubicBezTo>
                    <a:pt x="483175" y="456267"/>
                    <a:pt x="483175" y="456267"/>
                    <a:pt x="483175" y="462391"/>
                  </a:cubicBezTo>
                  <a:cubicBezTo>
                    <a:pt x="483175" y="468671"/>
                    <a:pt x="483175" y="462391"/>
                    <a:pt x="457821" y="480918"/>
                  </a:cubicBezTo>
                  <a:cubicBezTo>
                    <a:pt x="438720" y="499445"/>
                    <a:pt x="451397" y="474794"/>
                    <a:pt x="451397" y="468671"/>
                  </a:cubicBezTo>
                  <a:cubicBezTo>
                    <a:pt x="451397" y="462391"/>
                    <a:pt x="457821" y="462391"/>
                    <a:pt x="457821" y="456267"/>
                  </a:cubicBezTo>
                  <a:cubicBezTo>
                    <a:pt x="457821" y="450144"/>
                    <a:pt x="457821" y="450144"/>
                    <a:pt x="464159" y="444021"/>
                  </a:cubicBezTo>
                  <a:cubicBezTo>
                    <a:pt x="470498" y="437740"/>
                    <a:pt x="476836" y="437740"/>
                    <a:pt x="476836" y="431617"/>
                  </a:cubicBezTo>
                  <a:cubicBezTo>
                    <a:pt x="470498" y="425493"/>
                    <a:pt x="464159" y="437740"/>
                    <a:pt x="464159" y="437740"/>
                  </a:cubicBezTo>
                  <a:cubicBezTo>
                    <a:pt x="464159" y="437740"/>
                    <a:pt x="457821" y="437740"/>
                    <a:pt x="445059" y="437740"/>
                  </a:cubicBezTo>
                  <a:cubicBezTo>
                    <a:pt x="438720" y="437740"/>
                    <a:pt x="445059" y="431617"/>
                    <a:pt x="445059" y="431617"/>
                  </a:cubicBezTo>
                  <a:cubicBezTo>
                    <a:pt x="445059" y="425493"/>
                    <a:pt x="451397" y="425493"/>
                    <a:pt x="451397" y="425493"/>
                  </a:cubicBezTo>
                  <a:cubicBezTo>
                    <a:pt x="451397" y="425493"/>
                    <a:pt x="457821" y="425493"/>
                    <a:pt x="457821" y="419370"/>
                  </a:cubicBezTo>
                  <a:cubicBezTo>
                    <a:pt x="451397" y="413090"/>
                    <a:pt x="445059" y="413090"/>
                    <a:pt x="438720" y="413090"/>
                  </a:cubicBezTo>
                  <a:cubicBezTo>
                    <a:pt x="432382" y="406966"/>
                    <a:pt x="432382" y="413090"/>
                    <a:pt x="425958" y="419370"/>
                  </a:cubicBezTo>
                  <a:cubicBezTo>
                    <a:pt x="419619" y="425493"/>
                    <a:pt x="419619" y="419370"/>
                    <a:pt x="406943" y="413090"/>
                  </a:cubicBezTo>
                  <a:cubicBezTo>
                    <a:pt x="394180" y="413090"/>
                    <a:pt x="394180" y="400843"/>
                    <a:pt x="387842" y="394563"/>
                  </a:cubicBezTo>
                  <a:cubicBezTo>
                    <a:pt x="381503" y="388439"/>
                    <a:pt x="387842" y="376193"/>
                    <a:pt x="387842" y="369912"/>
                  </a:cubicBezTo>
                  <a:cubicBezTo>
                    <a:pt x="387842" y="357666"/>
                    <a:pt x="394180" y="369912"/>
                    <a:pt x="400604" y="369912"/>
                  </a:cubicBezTo>
                  <a:cubicBezTo>
                    <a:pt x="406943" y="369912"/>
                    <a:pt x="413281" y="363789"/>
                    <a:pt x="413281" y="363789"/>
                  </a:cubicBezTo>
                  <a:cubicBezTo>
                    <a:pt x="413281" y="363789"/>
                    <a:pt x="413281" y="351542"/>
                    <a:pt x="413281" y="351542"/>
                  </a:cubicBezTo>
                  <a:cubicBezTo>
                    <a:pt x="406943" y="345262"/>
                    <a:pt x="394180" y="339139"/>
                    <a:pt x="394180" y="333015"/>
                  </a:cubicBezTo>
                  <a:cubicBezTo>
                    <a:pt x="394180" y="333015"/>
                    <a:pt x="368741" y="345262"/>
                    <a:pt x="356064" y="345262"/>
                  </a:cubicBezTo>
                  <a:cubicBezTo>
                    <a:pt x="349726" y="345262"/>
                    <a:pt x="349726" y="333015"/>
                    <a:pt x="343302" y="326735"/>
                  </a:cubicBezTo>
                  <a:cubicBezTo>
                    <a:pt x="343302" y="320612"/>
                    <a:pt x="343302" y="314488"/>
                    <a:pt x="343302" y="314488"/>
                  </a:cubicBezTo>
                  <a:cubicBezTo>
                    <a:pt x="343302" y="308365"/>
                    <a:pt x="343302" y="302085"/>
                    <a:pt x="343302" y="302085"/>
                  </a:cubicBezTo>
                  <a:cubicBezTo>
                    <a:pt x="343302" y="302085"/>
                    <a:pt x="356064" y="289838"/>
                    <a:pt x="356064" y="289838"/>
                  </a:cubicBezTo>
                  <a:cubicBezTo>
                    <a:pt x="362402" y="289838"/>
                    <a:pt x="368741" y="295961"/>
                    <a:pt x="368741" y="295961"/>
                  </a:cubicBezTo>
                  <a:cubicBezTo>
                    <a:pt x="368741" y="295961"/>
                    <a:pt x="375165" y="295961"/>
                    <a:pt x="375165" y="289838"/>
                  </a:cubicBezTo>
                  <a:cubicBezTo>
                    <a:pt x="375165" y="283715"/>
                    <a:pt x="368741" y="283715"/>
                    <a:pt x="368741" y="277434"/>
                  </a:cubicBezTo>
                  <a:cubicBezTo>
                    <a:pt x="362402" y="271311"/>
                    <a:pt x="362402" y="271311"/>
                    <a:pt x="362402" y="265187"/>
                  </a:cubicBezTo>
                  <a:cubicBezTo>
                    <a:pt x="362402" y="258907"/>
                    <a:pt x="381503" y="265187"/>
                    <a:pt x="381503" y="265187"/>
                  </a:cubicBezTo>
                  <a:cubicBezTo>
                    <a:pt x="381503" y="265187"/>
                    <a:pt x="387842" y="271311"/>
                    <a:pt x="394180" y="277434"/>
                  </a:cubicBezTo>
                  <a:cubicBezTo>
                    <a:pt x="400604" y="277434"/>
                    <a:pt x="394180" y="277434"/>
                    <a:pt x="400604" y="283715"/>
                  </a:cubicBezTo>
                  <a:cubicBezTo>
                    <a:pt x="406943" y="295961"/>
                    <a:pt x="400604" y="289838"/>
                    <a:pt x="406943" y="295961"/>
                  </a:cubicBezTo>
                  <a:cubicBezTo>
                    <a:pt x="413281" y="302085"/>
                    <a:pt x="413281" y="295961"/>
                    <a:pt x="419619" y="295961"/>
                  </a:cubicBezTo>
                  <a:cubicBezTo>
                    <a:pt x="425958" y="289838"/>
                    <a:pt x="425958" y="283715"/>
                    <a:pt x="425958" y="277434"/>
                  </a:cubicBezTo>
                  <a:cubicBezTo>
                    <a:pt x="419619" y="271311"/>
                    <a:pt x="425958" y="258907"/>
                    <a:pt x="425958" y="252784"/>
                  </a:cubicBezTo>
                  <a:cubicBezTo>
                    <a:pt x="425958" y="252784"/>
                    <a:pt x="438720" y="240537"/>
                    <a:pt x="445059" y="246660"/>
                  </a:cubicBezTo>
                  <a:cubicBezTo>
                    <a:pt x="445059" y="246660"/>
                    <a:pt x="451397" y="258907"/>
                    <a:pt x="457821" y="271311"/>
                  </a:cubicBezTo>
                  <a:cubicBezTo>
                    <a:pt x="470498" y="283715"/>
                    <a:pt x="470498" y="289838"/>
                    <a:pt x="470498" y="289838"/>
                  </a:cubicBezTo>
                  <a:cubicBezTo>
                    <a:pt x="470498" y="289838"/>
                    <a:pt x="464159" y="295961"/>
                    <a:pt x="457821" y="302085"/>
                  </a:cubicBezTo>
                  <a:cubicBezTo>
                    <a:pt x="451397" y="308365"/>
                    <a:pt x="457821" y="308365"/>
                    <a:pt x="451397" y="326735"/>
                  </a:cubicBezTo>
                  <a:cubicBezTo>
                    <a:pt x="445059" y="345262"/>
                    <a:pt x="451397" y="351542"/>
                    <a:pt x="451397" y="351542"/>
                  </a:cubicBezTo>
                  <a:cubicBezTo>
                    <a:pt x="451397" y="351542"/>
                    <a:pt x="464159" y="345262"/>
                    <a:pt x="470498" y="339139"/>
                  </a:cubicBezTo>
                  <a:cubicBezTo>
                    <a:pt x="476836" y="339139"/>
                    <a:pt x="476836" y="339139"/>
                    <a:pt x="483175" y="351542"/>
                  </a:cubicBezTo>
                  <a:cubicBezTo>
                    <a:pt x="495937" y="363789"/>
                    <a:pt x="476836" y="363789"/>
                    <a:pt x="470498" y="363789"/>
                  </a:cubicBezTo>
                  <a:cubicBezTo>
                    <a:pt x="464159" y="363789"/>
                    <a:pt x="470498" y="363789"/>
                    <a:pt x="464159" y="369912"/>
                  </a:cubicBezTo>
                  <a:cubicBezTo>
                    <a:pt x="464159" y="369912"/>
                    <a:pt x="457821" y="382316"/>
                    <a:pt x="457821" y="388439"/>
                  </a:cubicBezTo>
                  <a:cubicBezTo>
                    <a:pt x="457821" y="394563"/>
                    <a:pt x="464159" y="394563"/>
                    <a:pt x="464159" y="394563"/>
                  </a:cubicBezTo>
                  <a:cubicBezTo>
                    <a:pt x="464159" y="394563"/>
                    <a:pt x="476836" y="406966"/>
                    <a:pt x="483175" y="406966"/>
                  </a:cubicBezTo>
                  <a:cubicBezTo>
                    <a:pt x="489599" y="413090"/>
                    <a:pt x="489599" y="413090"/>
                    <a:pt x="495937" y="413090"/>
                  </a:cubicBezTo>
                  <a:cubicBezTo>
                    <a:pt x="502276" y="413090"/>
                    <a:pt x="508614" y="406966"/>
                    <a:pt x="508614" y="406966"/>
                  </a:cubicBezTo>
                  <a:cubicBezTo>
                    <a:pt x="515038" y="406966"/>
                    <a:pt x="515038" y="406966"/>
                    <a:pt x="515038" y="406966"/>
                  </a:cubicBezTo>
                  <a:cubicBezTo>
                    <a:pt x="515038" y="406966"/>
                    <a:pt x="527715" y="413090"/>
                    <a:pt x="534053" y="413090"/>
                  </a:cubicBezTo>
                  <a:cubicBezTo>
                    <a:pt x="540392" y="413090"/>
                    <a:pt x="534053" y="406966"/>
                    <a:pt x="534053" y="406966"/>
                  </a:cubicBezTo>
                  <a:cubicBezTo>
                    <a:pt x="534053" y="406966"/>
                    <a:pt x="534053" y="406966"/>
                    <a:pt x="527715" y="394563"/>
                  </a:cubicBezTo>
                  <a:cubicBezTo>
                    <a:pt x="527715" y="394563"/>
                    <a:pt x="521376" y="382316"/>
                    <a:pt x="527715" y="382316"/>
                  </a:cubicBezTo>
                  <a:cubicBezTo>
                    <a:pt x="534053" y="382316"/>
                    <a:pt x="546816" y="382316"/>
                    <a:pt x="553154" y="388439"/>
                  </a:cubicBezTo>
                  <a:cubicBezTo>
                    <a:pt x="559493" y="394563"/>
                    <a:pt x="565831" y="382316"/>
                    <a:pt x="565831" y="382316"/>
                  </a:cubicBezTo>
                  <a:cubicBezTo>
                    <a:pt x="565831" y="382316"/>
                    <a:pt x="559493" y="382316"/>
                    <a:pt x="559493" y="382316"/>
                  </a:cubicBezTo>
                  <a:cubicBezTo>
                    <a:pt x="553154" y="376193"/>
                    <a:pt x="546816" y="376193"/>
                    <a:pt x="540392" y="376193"/>
                  </a:cubicBezTo>
                  <a:cubicBezTo>
                    <a:pt x="540392" y="376193"/>
                    <a:pt x="540392" y="376193"/>
                    <a:pt x="534053" y="376193"/>
                  </a:cubicBezTo>
                  <a:cubicBezTo>
                    <a:pt x="527715" y="376193"/>
                    <a:pt x="515038" y="376193"/>
                    <a:pt x="508614" y="369912"/>
                  </a:cubicBezTo>
                  <a:cubicBezTo>
                    <a:pt x="502276" y="363789"/>
                    <a:pt x="508614" y="363789"/>
                    <a:pt x="508614" y="363789"/>
                  </a:cubicBezTo>
                  <a:cubicBezTo>
                    <a:pt x="508614" y="363789"/>
                    <a:pt x="508614" y="351542"/>
                    <a:pt x="515038" y="339139"/>
                  </a:cubicBezTo>
                  <a:cubicBezTo>
                    <a:pt x="515038" y="333015"/>
                    <a:pt x="508614" y="326735"/>
                    <a:pt x="508614" y="326735"/>
                  </a:cubicBezTo>
                  <a:cubicBezTo>
                    <a:pt x="508614" y="320612"/>
                    <a:pt x="515038" y="314488"/>
                    <a:pt x="515038" y="308365"/>
                  </a:cubicBezTo>
                  <a:cubicBezTo>
                    <a:pt x="521376" y="308365"/>
                    <a:pt x="521376" y="302085"/>
                    <a:pt x="527715" y="308365"/>
                  </a:cubicBezTo>
                  <a:cubicBezTo>
                    <a:pt x="527715" y="308365"/>
                    <a:pt x="540392" y="314488"/>
                    <a:pt x="540392" y="314488"/>
                  </a:cubicBezTo>
                  <a:cubicBezTo>
                    <a:pt x="540392" y="314488"/>
                    <a:pt x="546816" y="302085"/>
                    <a:pt x="546816" y="302085"/>
                  </a:cubicBezTo>
                  <a:cubicBezTo>
                    <a:pt x="546816" y="302085"/>
                    <a:pt x="534053" y="289838"/>
                    <a:pt x="534053" y="289838"/>
                  </a:cubicBezTo>
                  <a:cubicBezTo>
                    <a:pt x="534053" y="289838"/>
                    <a:pt x="534053" y="277434"/>
                    <a:pt x="534053" y="277434"/>
                  </a:cubicBezTo>
                  <a:cubicBezTo>
                    <a:pt x="527715" y="271311"/>
                    <a:pt x="534053" y="265187"/>
                    <a:pt x="534053" y="265187"/>
                  </a:cubicBezTo>
                  <a:cubicBezTo>
                    <a:pt x="534053" y="265187"/>
                    <a:pt x="534053" y="265187"/>
                    <a:pt x="559493" y="265187"/>
                  </a:cubicBezTo>
                  <a:cubicBezTo>
                    <a:pt x="559493" y="265187"/>
                    <a:pt x="559493" y="258907"/>
                    <a:pt x="553154" y="258907"/>
                  </a:cubicBezTo>
                  <a:cubicBezTo>
                    <a:pt x="546816" y="258907"/>
                    <a:pt x="546816" y="258907"/>
                    <a:pt x="540392" y="252784"/>
                  </a:cubicBezTo>
                  <a:cubicBezTo>
                    <a:pt x="534053" y="246660"/>
                    <a:pt x="540392" y="228133"/>
                    <a:pt x="540392" y="228133"/>
                  </a:cubicBezTo>
                  <a:cubicBezTo>
                    <a:pt x="540392" y="222010"/>
                    <a:pt x="546816" y="222010"/>
                    <a:pt x="546816" y="222010"/>
                  </a:cubicBezTo>
                  <a:cubicBezTo>
                    <a:pt x="546816" y="222010"/>
                    <a:pt x="559493" y="209606"/>
                    <a:pt x="559493" y="209606"/>
                  </a:cubicBezTo>
                  <a:cubicBezTo>
                    <a:pt x="565831" y="209606"/>
                    <a:pt x="565831" y="222010"/>
                    <a:pt x="565831" y="222010"/>
                  </a:cubicBezTo>
                  <a:cubicBezTo>
                    <a:pt x="565831" y="228133"/>
                    <a:pt x="572255" y="240537"/>
                    <a:pt x="572255" y="246660"/>
                  </a:cubicBezTo>
                  <a:cubicBezTo>
                    <a:pt x="572255" y="246660"/>
                    <a:pt x="578593" y="234257"/>
                    <a:pt x="578593" y="234257"/>
                  </a:cubicBezTo>
                  <a:cubicBezTo>
                    <a:pt x="578593" y="234257"/>
                    <a:pt x="578593" y="234257"/>
                    <a:pt x="572255" y="215887"/>
                  </a:cubicBezTo>
                  <a:cubicBezTo>
                    <a:pt x="572255" y="215887"/>
                    <a:pt x="578593" y="209606"/>
                    <a:pt x="578593" y="203483"/>
                  </a:cubicBezTo>
                  <a:cubicBezTo>
                    <a:pt x="578593" y="203483"/>
                    <a:pt x="584932" y="203483"/>
                    <a:pt x="584932" y="203483"/>
                  </a:cubicBezTo>
                  <a:cubicBezTo>
                    <a:pt x="591270" y="209606"/>
                    <a:pt x="591270" y="215887"/>
                    <a:pt x="591270" y="222010"/>
                  </a:cubicBezTo>
                  <a:cubicBezTo>
                    <a:pt x="591270" y="228133"/>
                    <a:pt x="610371" y="222010"/>
                    <a:pt x="610371" y="222010"/>
                  </a:cubicBezTo>
                  <a:cubicBezTo>
                    <a:pt x="610371" y="222010"/>
                    <a:pt x="623048" y="215887"/>
                    <a:pt x="623048" y="209606"/>
                  </a:cubicBezTo>
                  <a:cubicBezTo>
                    <a:pt x="616709" y="203483"/>
                    <a:pt x="623048" y="203483"/>
                    <a:pt x="623048" y="203483"/>
                  </a:cubicBezTo>
                  <a:cubicBezTo>
                    <a:pt x="623048" y="203483"/>
                    <a:pt x="635810" y="197360"/>
                    <a:pt x="635810" y="197360"/>
                  </a:cubicBezTo>
                  <a:cubicBezTo>
                    <a:pt x="635810" y="197360"/>
                    <a:pt x="642149" y="209606"/>
                    <a:pt x="642149" y="209606"/>
                  </a:cubicBezTo>
                  <a:cubicBezTo>
                    <a:pt x="648487" y="215887"/>
                    <a:pt x="654911" y="222010"/>
                    <a:pt x="654911" y="222010"/>
                  </a:cubicBezTo>
                  <a:cubicBezTo>
                    <a:pt x="654911" y="222010"/>
                    <a:pt x="654911" y="222010"/>
                    <a:pt x="667588" y="240537"/>
                  </a:cubicBezTo>
                  <a:cubicBezTo>
                    <a:pt x="667588" y="240537"/>
                    <a:pt x="667588" y="240537"/>
                    <a:pt x="667588" y="222010"/>
                  </a:cubicBezTo>
                  <a:cubicBezTo>
                    <a:pt x="667588" y="222010"/>
                    <a:pt x="654911" y="215887"/>
                    <a:pt x="654911" y="209606"/>
                  </a:cubicBezTo>
                  <a:cubicBezTo>
                    <a:pt x="648487" y="209606"/>
                    <a:pt x="642149" y="197360"/>
                    <a:pt x="642149" y="197360"/>
                  </a:cubicBezTo>
                  <a:cubicBezTo>
                    <a:pt x="642149" y="197360"/>
                    <a:pt x="635810" y="178833"/>
                    <a:pt x="635810" y="172709"/>
                  </a:cubicBezTo>
                  <a:cubicBezTo>
                    <a:pt x="635810" y="172709"/>
                    <a:pt x="648487" y="160306"/>
                    <a:pt x="648487" y="160306"/>
                  </a:cubicBezTo>
                  <a:cubicBezTo>
                    <a:pt x="648487" y="160306"/>
                    <a:pt x="648487" y="160306"/>
                    <a:pt x="654911" y="154182"/>
                  </a:cubicBezTo>
                  <a:cubicBezTo>
                    <a:pt x="654911" y="154182"/>
                    <a:pt x="654911" y="154182"/>
                    <a:pt x="661250" y="141779"/>
                  </a:cubicBezTo>
                  <a:cubicBezTo>
                    <a:pt x="661250" y="141779"/>
                    <a:pt x="661250" y="141779"/>
                    <a:pt x="654911" y="123251"/>
                  </a:cubicBezTo>
                  <a:cubicBezTo>
                    <a:pt x="654911" y="123251"/>
                    <a:pt x="654911" y="123251"/>
                    <a:pt x="661250" y="104881"/>
                  </a:cubicBezTo>
                  <a:cubicBezTo>
                    <a:pt x="661250" y="104881"/>
                    <a:pt x="661250" y="104881"/>
                    <a:pt x="667588" y="104881"/>
                  </a:cubicBezTo>
                  <a:cubicBezTo>
                    <a:pt x="667588" y="104881"/>
                    <a:pt x="667588" y="104881"/>
                    <a:pt x="693027" y="104881"/>
                  </a:cubicBezTo>
                  <a:cubicBezTo>
                    <a:pt x="693027" y="104881"/>
                    <a:pt x="699366" y="117128"/>
                    <a:pt x="699366" y="117128"/>
                  </a:cubicBezTo>
                  <a:cubicBezTo>
                    <a:pt x="705704" y="117128"/>
                    <a:pt x="712128" y="117128"/>
                    <a:pt x="712128" y="117128"/>
                  </a:cubicBezTo>
                  <a:cubicBezTo>
                    <a:pt x="712128" y="117128"/>
                    <a:pt x="712128" y="117128"/>
                    <a:pt x="705704" y="111005"/>
                  </a:cubicBezTo>
                  <a:cubicBezTo>
                    <a:pt x="705704" y="111005"/>
                    <a:pt x="705704" y="111005"/>
                    <a:pt x="705704" y="98601"/>
                  </a:cubicBezTo>
                  <a:cubicBezTo>
                    <a:pt x="705704" y="98601"/>
                    <a:pt x="699366" y="86354"/>
                    <a:pt x="699366" y="86354"/>
                  </a:cubicBezTo>
                  <a:cubicBezTo>
                    <a:pt x="693027" y="86354"/>
                    <a:pt x="693027" y="61704"/>
                    <a:pt x="693027" y="61704"/>
                  </a:cubicBezTo>
                  <a:cubicBezTo>
                    <a:pt x="693027" y="61704"/>
                    <a:pt x="693027" y="61704"/>
                    <a:pt x="712128" y="61704"/>
                  </a:cubicBezTo>
                  <a:cubicBezTo>
                    <a:pt x="712128" y="61704"/>
                    <a:pt x="712128" y="61704"/>
                    <a:pt x="718467" y="43177"/>
                  </a:cubicBezTo>
                  <a:cubicBezTo>
                    <a:pt x="718467" y="43177"/>
                    <a:pt x="718467" y="43177"/>
                    <a:pt x="712128" y="24650"/>
                  </a:cubicBezTo>
                  <a:cubicBezTo>
                    <a:pt x="712128" y="24650"/>
                    <a:pt x="712128" y="24650"/>
                    <a:pt x="724805" y="24650"/>
                  </a:cubicBezTo>
                  <a:cubicBezTo>
                    <a:pt x="724805" y="24650"/>
                    <a:pt x="724805" y="24650"/>
                    <a:pt x="737567" y="18527"/>
                  </a:cubicBezTo>
                  <a:cubicBezTo>
                    <a:pt x="737567" y="18527"/>
                    <a:pt x="737567" y="18527"/>
                    <a:pt x="743906" y="6123"/>
                  </a:cubicBezTo>
                  <a:cubicBezTo>
                    <a:pt x="743906" y="6123"/>
                    <a:pt x="743906" y="6123"/>
                    <a:pt x="762921" y="0"/>
                  </a:cubicBezTo>
                  <a:close/>
                </a:path>
              </a:pathLst>
            </a:cu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36" name="Freeform: Shape 35">
              <a:extLst>
                <a:ext uri="{FF2B5EF4-FFF2-40B4-BE49-F238E27FC236}">
                  <a16:creationId xmlns:a16="http://schemas.microsoft.com/office/drawing/2014/main" id="{D55F4EB2-C6BB-E4BA-25C2-B4E76A6F4344}"/>
                </a:ext>
              </a:extLst>
            </p:cNvPr>
            <p:cNvSpPr/>
            <p:nvPr/>
          </p:nvSpPr>
          <p:spPr>
            <a:xfrm>
              <a:off x="5912472" y="2513785"/>
              <a:ext cx="74381" cy="72234"/>
            </a:xfrm>
            <a:custGeom>
              <a:avLst/>
              <a:gdLst>
                <a:gd name="connsiteX0" fmla="*/ 58801 w 74381"/>
                <a:gd name="connsiteY0" fmla="*/ 1615 h 72234"/>
                <a:gd name="connsiteX1" fmla="*/ 71564 w 74381"/>
                <a:gd name="connsiteY1" fmla="*/ 14019 h 72234"/>
                <a:gd name="connsiteX2" fmla="*/ 71564 w 74381"/>
                <a:gd name="connsiteY2" fmla="*/ 20142 h 72234"/>
                <a:gd name="connsiteX3" fmla="*/ 65140 w 74381"/>
                <a:gd name="connsiteY3" fmla="*/ 44793 h 72234"/>
                <a:gd name="connsiteX4" fmla="*/ 71564 w 74381"/>
                <a:gd name="connsiteY4" fmla="*/ 44793 h 72234"/>
                <a:gd name="connsiteX5" fmla="*/ 71564 w 74381"/>
                <a:gd name="connsiteY5" fmla="*/ 69443 h 72234"/>
                <a:gd name="connsiteX6" fmla="*/ 52463 w 74381"/>
                <a:gd name="connsiteY6" fmla="*/ 69443 h 72234"/>
                <a:gd name="connsiteX7" fmla="*/ 20685 w 74381"/>
                <a:gd name="connsiteY7" fmla="*/ 63320 h 72234"/>
                <a:gd name="connsiteX8" fmla="*/ 1584 w 74381"/>
                <a:gd name="connsiteY8" fmla="*/ 44793 h 72234"/>
                <a:gd name="connsiteX9" fmla="*/ 7923 w 74381"/>
                <a:gd name="connsiteY9" fmla="*/ 26423 h 72234"/>
                <a:gd name="connsiteX10" fmla="*/ 33362 w 74381"/>
                <a:gd name="connsiteY10" fmla="*/ 20142 h 72234"/>
                <a:gd name="connsiteX11" fmla="*/ 46124 w 74381"/>
                <a:gd name="connsiteY11" fmla="*/ 20142 h 72234"/>
                <a:gd name="connsiteX12" fmla="*/ 58801 w 74381"/>
                <a:gd name="connsiteY12" fmla="*/ 1615 h 72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381" h="72234">
                  <a:moveTo>
                    <a:pt x="58801" y="1615"/>
                  </a:moveTo>
                  <a:cubicBezTo>
                    <a:pt x="65140" y="7896"/>
                    <a:pt x="71564" y="14019"/>
                    <a:pt x="71564" y="14019"/>
                  </a:cubicBezTo>
                  <a:cubicBezTo>
                    <a:pt x="71564" y="14019"/>
                    <a:pt x="77902" y="7896"/>
                    <a:pt x="71564" y="20142"/>
                  </a:cubicBezTo>
                  <a:cubicBezTo>
                    <a:pt x="58801" y="38669"/>
                    <a:pt x="58801" y="44793"/>
                    <a:pt x="65140" y="44793"/>
                  </a:cubicBezTo>
                  <a:cubicBezTo>
                    <a:pt x="65140" y="44793"/>
                    <a:pt x="71564" y="44793"/>
                    <a:pt x="71564" y="44793"/>
                  </a:cubicBezTo>
                  <a:cubicBezTo>
                    <a:pt x="71564" y="69443"/>
                    <a:pt x="71564" y="69443"/>
                    <a:pt x="71564" y="69443"/>
                  </a:cubicBezTo>
                  <a:cubicBezTo>
                    <a:pt x="71564" y="69443"/>
                    <a:pt x="71564" y="75723"/>
                    <a:pt x="52463" y="69443"/>
                  </a:cubicBezTo>
                  <a:cubicBezTo>
                    <a:pt x="33362" y="69443"/>
                    <a:pt x="20685" y="63320"/>
                    <a:pt x="20685" y="63320"/>
                  </a:cubicBezTo>
                  <a:cubicBezTo>
                    <a:pt x="1584" y="44793"/>
                    <a:pt x="1584" y="44793"/>
                    <a:pt x="1584" y="44793"/>
                  </a:cubicBezTo>
                  <a:cubicBezTo>
                    <a:pt x="1584" y="44793"/>
                    <a:pt x="-4754" y="38669"/>
                    <a:pt x="7923" y="26423"/>
                  </a:cubicBezTo>
                  <a:cubicBezTo>
                    <a:pt x="14347" y="14019"/>
                    <a:pt x="33362" y="20142"/>
                    <a:pt x="33362" y="20142"/>
                  </a:cubicBezTo>
                  <a:cubicBezTo>
                    <a:pt x="33362" y="20142"/>
                    <a:pt x="39786" y="32546"/>
                    <a:pt x="46124" y="20142"/>
                  </a:cubicBezTo>
                  <a:cubicBezTo>
                    <a:pt x="52463" y="7896"/>
                    <a:pt x="52463" y="-4508"/>
                    <a:pt x="58801" y="1615"/>
                  </a:cubicBezTo>
                  <a:close/>
                </a:path>
              </a:pathLst>
            </a:cu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37" name="Freeform: Shape 36">
              <a:extLst>
                <a:ext uri="{FF2B5EF4-FFF2-40B4-BE49-F238E27FC236}">
                  <a16:creationId xmlns:a16="http://schemas.microsoft.com/office/drawing/2014/main" id="{7F7196D0-D961-519E-2A39-38436EA808B8}"/>
                </a:ext>
              </a:extLst>
            </p:cNvPr>
            <p:cNvSpPr/>
            <p:nvPr/>
          </p:nvSpPr>
          <p:spPr>
            <a:xfrm>
              <a:off x="5920394" y="2586717"/>
              <a:ext cx="47166" cy="54629"/>
            </a:xfrm>
            <a:custGeom>
              <a:avLst/>
              <a:gdLst>
                <a:gd name="connsiteX0" fmla="*/ 13554 w 47166"/>
                <a:gd name="connsiteY0" fmla="*/ 437 h 54629"/>
                <a:gd name="connsiteX1" fmla="*/ 25439 w 47166"/>
                <a:gd name="connsiteY1" fmla="*/ 2792 h 54629"/>
                <a:gd name="connsiteX2" fmla="*/ 38201 w 47166"/>
                <a:gd name="connsiteY2" fmla="*/ 8916 h 54629"/>
                <a:gd name="connsiteX3" fmla="*/ 44540 w 47166"/>
                <a:gd name="connsiteY3" fmla="*/ 27443 h 54629"/>
                <a:gd name="connsiteX4" fmla="*/ 38201 w 47166"/>
                <a:gd name="connsiteY4" fmla="*/ 45970 h 54629"/>
                <a:gd name="connsiteX5" fmla="*/ 25439 w 47166"/>
                <a:gd name="connsiteY5" fmla="*/ 52093 h 54629"/>
                <a:gd name="connsiteX6" fmla="*/ 6424 w 47166"/>
                <a:gd name="connsiteY6" fmla="*/ 39690 h 54629"/>
                <a:gd name="connsiteX7" fmla="*/ 0 w 47166"/>
                <a:gd name="connsiteY7" fmla="*/ 33566 h 54629"/>
                <a:gd name="connsiteX8" fmla="*/ 6424 w 47166"/>
                <a:gd name="connsiteY8" fmla="*/ 2792 h 54629"/>
                <a:gd name="connsiteX9" fmla="*/ 13554 w 47166"/>
                <a:gd name="connsiteY9" fmla="*/ 437 h 5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166" h="54629">
                  <a:moveTo>
                    <a:pt x="13554" y="437"/>
                  </a:moveTo>
                  <a:cubicBezTo>
                    <a:pt x="17516" y="-348"/>
                    <a:pt x="22269" y="-348"/>
                    <a:pt x="25439" y="2792"/>
                  </a:cubicBezTo>
                  <a:cubicBezTo>
                    <a:pt x="31863" y="8916"/>
                    <a:pt x="31863" y="-3488"/>
                    <a:pt x="38201" y="8916"/>
                  </a:cubicBezTo>
                  <a:cubicBezTo>
                    <a:pt x="44540" y="21320"/>
                    <a:pt x="50878" y="21320"/>
                    <a:pt x="44540" y="27443"/>
                  </a:cubicBezTo>
                  <a:cubicBezTo>
                    <a:pt x="44540" y="33566"/>
                    <a:pt x="44540" y="39690"/>
                    <a:pt x="38201" y="45970"/>
                  </a:cubicBezTo>
                  <a:cubicBezTo>
                    <a:pt x="31863" y="52093"/>
                    <a:pt x="38201" y="58217"/>
                    <a:pt x="25439" y="52093"/>
                  </a:cubicBezTo>
                  <a:cubicBezTo>
                    <a:pt x="12762" y="45970"/>
                    <a:pt x="12762" y="45970"/>
                    <a:pt x="6424" y="39690"/>
                  </a:cubicBezTo>
                  <a:cubicBezTo>
                    <a:pt x="0" y="33566"/>
                    <a:pt x="0" y="33566"/>
                    <a:pt x="0" y="33566"/>
                  </a:cubicBezTo>
                  <a:cubicBezTo>
                    <a:pt x="6424" y="2792"/>
                    <a:pt x="6424" y="2792"/>
                    <a:pt x="6424" y="2792"/>
                  </a:cubicBezTo>
                  <a:cubicBezTo>
                    <a:pt x="6424" y="2792"/>
                    <a:pt x="9593" y="1222"/>
                    <a:pt x="13554" y="437"/>
                  </a:cubicBezTo>
                  <a:close/>
                </a:path>
              </a:pathLst>
            </a:cu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38" name="Freeform: Shape 37">
              <a:extLst>
                <a:ext uri="{FF2B5EF4-FFF2-40B4-BE49-F238E27FC236}">
                  <a16:creationId xmlns:a16="http://schemas.microsoft.com/office/drawing/2014/main" id="{EA108A34-3057-A330-9D43-C4E7D6209CF6}"/>
                </a:ext>
              </a:extLst>
            </p:cNvPr>
            <p:cNvSpPr/>
            <p:nvPr/>
          </p:nvSpPr>
          <p:spPr>
            <a:xfrm>
              <a:off x="5888616" y="2638809"/>
              <a:ext cx="53696" cy="92478"/>
            </a:xfrm>
            <a:custGeom>
              <a:avLst/>
              <a:gdLst>
                <a:gd name="connsiteX0" fmla="*/ 25439 w 53696"/>
                <a:gd name="connsiteY0" fmla="*/ 0 h 92478"/>
                <a:gd name="connsiteX1" fmla="*/ 44540 w 53696"/>
                <a:gd name="connsiteY1" fmla="*/ 6124 h 92478"/>
                <a:gd name="connsiteX2" fmla="*/ 50878 w 53696"/>
                <a:gd name="connsiteY2" fmla="*/ 24651 h 92478"/>
                <a:gd name="connsiteX3" fmla="*/ 50878 w 53696"/>
                <a:gd name="connsiteY3" fmla="*/ 37054 h 92478"/>
                <a:gd name="connsiteX4" fmla="*/ 31778 w 53696"/>
                <a:gd name="connsiteY4" fmla="*/ 49301 h 92478"/>
                <a:gd name="connsiteX5" fmla="*/ 31778 w 53696"/>
                <a:gd name="connsiteY5" fmla="*/ 80075 h 92478"/>
                <a:gd name="connsiteX6" fmla="*/ 25439 w 53696"/>
                <a:gd name="connsiteY6" fmla="*/ 92478 h 92478"/>
                <a:gd name="connsiteX7" fmla="*/ 6338 w 53696"/>
                <a:gd name="connsiteY7" fmla="*/ 86355 h 92478"/>
                <a:gd name="connsiteX8" fmla="*/ 6338 w 53696"/>
                <a:gd name="connsiteY8" fmla="*/ 49301 h 92478"/>
                <a:gd name="connsiteX9" fmla="*/ 0 w 53696"/>
                <a:gd name="connsiteY9" fmla="*/ 30774 h 92478"/>
                <a:gd name="connsiteX10" fmla="*/ 19101 w 53696"/>
                <a:gd name="connsiteY10" fmla="*/ 12247 h 92478"/>
                <a:gd name="connsiteX11" fmla="*/ 25439 w 53696"/>
                <a:gd name="connsiteY11" fmla="*/ 0 h 92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696" h="92478">
                  <a:moveTo>
                    <a:pt x="25439" y="0"/>
                  </a:moveTo>
                  <a:cubicBezTo>
                    <a:pt x="25439" y="0"/>
                    <a:pt x="38202" y="0"/>
                    <a:pt x="44540" y="6124"/>
                  </a:cubicBezTo>
                  <a:cubicBezTo>
                    <a:pt x="44540" y="6124"/>
                    <a:pt x="50878" y="24651"/>
                    <a:pt x="50878" y="24651"/>
                  </a:cubicBezTo>
                  <a:cubicBezTo>
                    <a:pt x="50878" y="24651"/>
                    <a:pt x="57217" y="30774"/>
                    <a:pt x="50878" y="37054"/>
                  </a:cubicBezTo>
                  <a:cubicBezTo>
                    <a:pt x="44540" y="43178"/>
                    <a:pt x="31778" y="49301"/>
                    <a:pt x="31778" y="49301"/>
                  </a:cubicBezTo>
                  <a:cubicBezTo>
                    <a:pt x="31778" y="80075"/>
                    <a:pt x="31778" y="80075"/>
                    <a:pt x="31778" y="80075"/>
                  </a:cubicBezTo>
                  <a:cubicBezTo>
                    <a:pt x="25439" y="92478"/>
                    <a:pt x="25439" y="92478"/>
                    <a:pt x="25439" y="92478"/>
                  </a:cubicBezTo>
                  <a:cubicBezTo>
                    <a:pt x="6338" y="86355"/>
                    <a:pt x="6338" y="86355"/>
                    <a:pt x="6338" y="86355"/>
                  </a:cubicBezTo>
                  <a:cubicBezTo>
                    <a:pt x="6338" y="49301"/>
                    <a:pt x="6338" y="49301"/>
                    <a:pt x="6338" y="49301"/>
                  </a:cubicBezTo>
                  <a:cubicBezTo>
                    <a:pt x="0" y="30774"/>
                    <a:pt x="0" y="30774"/>
                    <a:pt x="0" y="30774"/>
                  </a:cubicBezTo>
                  <a:cubicBezTo>
                    <a:pt x="19101" y="12247"/>
                    <a:pt x="19101" y="12247"/>
                    <a:pt x="19101" y="12247"/>
                  </a:cubicBezTo>
                  <a:cubicBezTo>
                    <a:pt x="25439" y="0"/>
                    <a:pt x="25439" y="0"/>
                    <a:pt x="25439" y="0"/>
                  </a:cubicBezTo>
                  <a:close/>
                </a:path>
              </a:pathLst>
            </a:cu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39" name="Freeform: Shape 38">
              <a:extLst>
                <a:ext uri="{FF2B5EF4-FFF2-40B4-BE49-F238E27FC236}">
                  <a16:creationId xmlns:a16="http://schemas.microsoft.com/office/drawing/2014/main" id="{F9A2FAA5-5171-FF9D-CD12-225ABDF2A199}"/>
                </a:ext>
              </a:extLst>
            </p:cNvPr>
            <p:cNvSpPr/>
            <p:nvPr/>
          </p:nvSpPr>
          <p:spPr>
            <a:xfrm>
              <a:off x="5841638" y="2725165"/>
              <a:ext cx="59740" cy="62847"/>
            </a:xfrm>
            <a:custGeom>
              <a:avLst/>
              <a:gdLst>
                <a:gd name="connsiteX0" fmla="*/ 40640 w 59740"/>
                <a:gd name="connsiteY0" fmla="*/ 0 h 62847"/>
                <a:gd name="connsiteX1" fmla="*/ 59740 w 59740"/>
                <a:gd name="connsiteY1" fmla="*/ 18527 h 62847"/>
                <a:gd name="connsiteX2" fmla="*/ 40640 w 59740"/>
                <a:gd name="connsiteY2" fmla="*/ 36897 h 62847"/>
                <a:gd name="connsiteX3" fmla="*/ 21539 w 59740"/>
                <a:gd name="connsiteY3" fmla="*/ 49301 h 62847"/>
                <a:gd name="connsiteX4" fmla="*/ 15200 w 59740"/>
                <a:gd name="connsiteY4" fmla="*/ 61548 h 62847"/>
                <a:gd name="connsiteX5" fmla="*/ 2523 w 59740"/>
                <a:gd name="connsiteY5" fmla="*/ 43178 h 62847"/>
                <a:gd name="connsiteX6" fmla="*/ 15200 w 59740"/>
                <a:gd name="connsiteY6" fmla="*/ 30774 h 62847"/>
                <a:gd name="connsiteX7" fmla="*/ 34301 w 59740"/>
                <a:gd name="connsiteY7" fmla="*/ 6123 h 62847"/>
                <a:gd name="connsiteX8" fmla="*/ 40640 w 59740"/>
                <a:gd name="connsiteY8" fmla="*/ 0 h 62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40" h="62847">
                  <a:moveTo>
                    <a:pt x="40640" y="0"/>
                  </a:moveTo>
                  <a:cubicBezTo>
                    <a:pt x="46978" y="6123"/>
                    <a:pt x="59740" y="18527"/>
                    <a:pt x="59740" y="18527"/>
                  </a:cubicBezTo>
                  <a:cubicBezTo>
                    <a:pt x="40640" y="36897"/>
                    <a:pt x="40640" y="36897"/>
                    <a:pt x="40640" y="36897"/>
                  </a:cubicBezTo>
                  <a:cubicBezTo>
                    <a:pt x="40640" y="36897"/>
                    <a:pt x="21539" y="43178"/>
                    <a:pt x="21539" y="49301"/>
                  </a:cubicBezTo>
                  <a:cubicBezTo>
                    <a:pt x="15200" y="49301"/>
                    <a:pt x="27963" y="67828"/>
                    <a:pt x="15200" y="61548"/>
                  </a:cubicBezTo>
                  <a:cubicBezTo>
                    <a:pt x="2523" y="55424"/>
                    <a:pt x="-3901" y="43178"/>
                    <a:pt x="2523" y="43178"/>
                  </a:cubicBezTo>
                  <a:cubicBezTo>
                    <a:pt x="8862" y="36897"/>
                    <a:pt x="8862" y="36897"/>
                    <a:pt x="15200" y="30774"/>
                  </a:cubicBezTo>
                  <a:cubicBezTo>
                    <a:pt x="21539" y="24650"/>
                    <a:pt x="34301" y="6123"/>
                    <a:pt x="34301" y="6123"/>
                  </a:cubicBezTo>
                  <a:cubicBezTo>
                    <a:pt x="40640" y="0"/>
                    <a:pt x="40640" y="0"/>
                    <a:pt x="40640" y="0"/>
                  </a:cubicBezTo>
                  <a:close/>
                </a:path>
              </a:pathLst>
            </a:cu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40" name="Freeform: Shape 39">
              <a:extLst>
                <a:ext uri="{FF2B5EF4-FFF2-40B4-BE49-F238E27FC236}">
                  <a16:creationId xmlns:a16="http://schemas.microsoft.com/office/drawing/2014/main" id="{A431D1C9-8190-B04C-E2FE-96ABBB586E33}"/>
                </a:ext>
              </a:extLst>
            </p:cNvPr>
            <p:cNvSpPr/>
            <p:nvPr/>
          </p:nvSpPr>
          <p:spPr>
            <a:xfrm>
              <a:off x="6041253" y="2754696"/>
              <a:ext cx="24687" cy="13646"/>
            </a:xfrm>
            <a:custGeom>
              <a:avLst/>
              <a:gdLst>
                <a:gd name="connsiteX0" fmla="*/ 2674 w 24687"/>
                <a:gd name="connsiteY0" fmla="*/ 597 h 13646"/>
                <a:gd name="connsiteX1" fmla="*/ 6338 w 24687"/>
                <a:gd name="connsiteY1" fmla="*/ 1242 h 13646"/>
                <a:gd name="connsiteX2" fmla="*/ 19015 w 24687"/>
                <a:gd name="connsiteY2" fmla="*/ 7365 h 13646"/>
                <a:gd name="connsiteX3" fmla="*/ 19015 w 24687"/>
                <a:gd name="connsiteY3" fmla="*/ 13646 h 13646"/>
                <a:gd name="connsiteX4" fmla="*/ 0 w 24687"/>
                <a:gd name="connsiteY4" fmla="*/ 13646 h 13646"/>
                <a:gd name="connsiteX5" fmla="*/ 2674 w 24687"/>
                <a:gd name="connsiteY5" fmla="*/ 597 h 13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687" h="13646">
                  <a:moveTo>
                    <a:pt x="2674" y="597"/>
                  </a:moveTo>
                  <a:cubicBezTo>
                    <a:pt x="3565" y="-279"/>
                    <a:pt x="4753" y="-289"/>
                    <a:pt x="6338" y="1242"/>
                  </a:cubicBezTo>
                  <a:cubicBezTo>
                    <a:pt x="19015" y="1242"/>
                    <a:pt x="19015" y="1242"/>
                    <a:pt x="19015" y="7365"/>
                  </a:cubicBezTo>
                  <a:cubicBezTo>
                    <a:pt x="19015" y="13646"/>
                    <a:pt x="31777" y="7365"/>
                    <a:pt x="19015" y="13646"/>
                  </a:cubicBezTo>
                  <a:cubicBezTo>
                    <a:pt x="12676" y="13646"/>
                    <a:pt x="0" y="13646"/>
                    <a:pt x="0" y="13646"/>
                  </a:cubicBezTo>
                  <a:cubicBezTo>
                    <a:pt x="0" y="13646"/>
                    <a:pt x="0" y="3224"/>
                    <a:pt x="2674" y="597"/>
                  </a:cubicBezTo>
                  <a:close/>
                </a:path>
              </a:pathLst>
            </a:cu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41" name="Freeform: Shape 40">
              <a:extLst>
                <a:ext uri="{FF2B5EF4-FFF2-40B4-BE49-F238E27FC236}">
                  <a16:creationId xmlns:a16="http://schemas.microsoft.com/office/drawing/2014/main" id="{5C4DC3B5-63C9-CB45-A4DB-BEB621D756F1}"/>
                </a:ext>
              </a:extLst>
            </p:cNvPr>
            <p:cNvSpPr/>
            <p:nvPr/>
          </p:nvSpPr>
          <p:spPr>
            <a:xfrm>
              <a:off x="6065075" y="2774466"/>
              <a:ext cx="46070" cy="39775"/>
            </a:xfrm>
            <a:custGeom>
              <a:avLst/>
              <a:gdLst>
                <a:gd name="connsiteX0" fmla="*/ 27055 w 46070"/>
                <a:gd name="connsiteY0" fmla="*/ 0 h 39775"/>
                <a:gd name="connsiteX1" fmla="*/ 46070 w 46070"/>
                <a:gd name="connsiteY1" fmla="*/ 24650 h 39775"/>
                <a:gd name="connsiteX2" fmla="*/ 27055 w 46070"/>
                <a:gd name="connsiteY2" fmla="*/ 37054 h 39775"/>
                <a:gd name="connsiteX3" fmla="*/ 14293 w 46070"/>
                <a:gd name="connsiteY3" fmla="*/ 37054 h 39775"/>
                <a:gd name="connsiteX4" fmla="*/ 1616 w 46070"/>
                <a:gd name="connsiteY4" fmla="*/ 30774 h 39775"/>
                <a:gd name="connsiteX5" fmla="*/ 7954 w 46070"/>
                <a:gd name="connsiteY5" fmla="*/ 6123 h 39775"/>
                <a:gd name="connsiteX6" fmla="*/ 27055 w 46070"/>
                <a:gd name="connsiteY6" fmla="*/ 0 h 3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70" h="39775">
                  <a:moveTo>
                    <a:pt x="27055" y="0"/>
                  </a:moveTo>
                  <a:cubicBezTo>
                    <a:pt x="27055" y="0"/>
                    <a:pt x="46070" y="24650"/>
                    <a:pt x="46070" y="24650"/>
                  </a:cubicBezTo>
                  <a:cubicBezTo>
                    <a:pt x="39732" y="30774"/>
                    <a:pt x="39732" y="37054"/>
                    <a:pt x="27055" y="37054"/>
                  </a:cubicBezTo>
                  <a:cubicBezTo>
                    <a:pt x="20631" y="37054"/>
                    <a:pt x="14293" y="43177"/>
                    <a:pt x="14293" y="37054"/>
                  </a:cubicBezTo>
                  <a:cubicBezTo>
                    <a:pt x="7954" y="30774"/>
                    <a:pt x="1616" y="30774"/>
                    <a:pt x="1616" y="30774"/>
                  </a:cubicBezTo>
                  <a:cubicBezTo>
                    <a:pt x="1616" y="30774"/>
                    <a:pt x="-4808" y="6123"/>
                    <a:pt x="7954" y="6123"/>
                  </a:cubicBezTo>
                  <a:cubicBezTo>
                    <a:pt x="20631" y="0"/>
                    <a:pt x="27055" y="0"/>
                    <a:pt x="27055" y="0"/>
                  </a:cubicBezTo>
                  <a:close/>
                </a:path>
              </a:pathLst>
            </a:cu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42" name="Freeform: Shape 41">
              <a:extLst>
                <a:ext uri="{FF2B5EF4-FFF2-40B4-BE49-F238E27FC236}">
                  <a16:creationId xmlns:a16="http://schemas.microsoft.com/office/drawing/2014/main" id="{B72C9853-613E-7EE9-D07D-0B2DCB325988}"/>
                </a:ext>
              </a:extLst>
            </p:cNvPr>
            <p:cNvSpPr/>
            <p:nvPr/>
          </p:nvSpPr>
          <p:spPr>
            <a:xfrm>
              <a:off x="5818723" y="2785201"/>
              <a:ext cx="19015" cy="28017"/>
            </a:xfrm>
            <a:custGeom>
              <a:avLst/>
              <a:gdLst>
                <a:gd name="connsiteX0" fmla="*/ 18223 w 19015"/>
                <a:gd name="connsiteY0" fmla="*/ 1 h 28017"/>
                <a:gd name="connsiteX1" fmla="*/ 19015 w 19015"/>
                <a:gd name="connsiteY1" fmla="*/ 7792 h 28017"/>
                <a:gd name="connsiteX2" fmla="*/ 19015 w 19015"/>
                <a:gd name="connsiteY2" fmla="*/ 20039 h 28017"/>
                <a:gd name="connsiteX3" fmla="*/ 6339 w 19015"/>
                <a:gd name="connsiteY3" fmla="*/ 26319 h 28017"/>
                <a:gd name="connsiteX4" fmla="*/ 0 w 19015"/>
                <a:gd name="connsiteY4" fmla="*/ 13915 h 28017"/>
                <a:gd name="connsiteX5" fmla="*/ 12677 w 19015"/>
                <a:gd name="connsiteY5" fmla="*/ 1512 h 28017"/>
                <a:gd name="connsiteX6" fmla="*/ 18223 w 19015"/>
                <a:gd name="connsiteY6" fmla="*/ 1 h 28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15" h="28017">
                  <a:moveTo>
                    <a:pt x="18223" y="1"/>
                  </a:moveTo>
                  <a:cubicBezTo>
                    <a:pt x="19015" y="20"/>
                    <a:pt x="19015" y="1590"/>
                    <a:pt x="19015" y="7792"/>
                  </a:cubicBezTo>
                  <a:cubicBezTo>
                    <a:pt x="19015" y="13915"/>
                    <a:pt x="19015" y="20039"/>
                    <a:pt x="19015" y="20039"/>
                  </a:cubicBezTo>
                  <a:cubicBezTo>
                    <a:pt x="19015" y="20039"/>
                    <a:pt x="12677" y="32442"/>
                    <a:pt x="6339" y="26319"/>
                  </a:cubicBezTo>
                  <a:cubicBezTo>
                    <a:pt x="0" y="20039"/>
                    <a:pt x="0" y="13915"/>
                    <a:pt x="0" y="13915"/>
                  </a:cubicBezTo>
                  <a:cubicBezTo>
                    <a:pt x="12677" y="1512"/>
                    <a:pt x="12677" y="1512"/>
                    <a:pt x="12677" y="1512"/>
                  </a:cubicBezTo>
                  <a:cubicBezTo>
                    <a:pt x="15846" y="1512"/>
                    <a:pt x="17430" y="-19"/>
                    <a:pt x="18223" y="1"/>
                  </a:cubicBezTo>
                  <a:close/>
                </a:path>
              </a:pathLst>
            </a:cu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43" name="Freeform: Shape 42">
              <a:extLst>
                <a:ext uri="{FF2B5EF4-FFF2-40B4-BE49-F238E27FC236}">
                  <a16:creationId xmlns:a16="http://schemas.microsoft.com/office/drawing/2014/main" id="{01F498C9-2F93-69C3-4427-5D9667D5A3B8}"/>
                </a:ext>
              </a:extLst>
            </p:cNvPr>
            <p:cNvSpPr/>
            <p:nvPr/>
          </p:nvSpPr>
          <p:spPr>
            <a:xfrm>
              <a:off x="6095652" y="2817642"/>
              <a:ext cx="21832" cy="27372"/>
            </a:xfrm>
            <a:custGeom>
              <a:avLst/>
              <a:gdLst>
                <a:gd name="connsiteX0" fmla="*/ 15493 w 21832"/>
                <a:gd name="connsiteY0" fmla="*/ 0 h 27372"/>
                <a:gd name="connsiteX1" fmla="*/ 21832 w 21832"/>
                <a:gd name="connsiteY1" fmla="*/ 6124 h 27372"/>
                <a:gd name="connsiteX2" fmla="*/ 15493 w 21832"/>
                <a:gd name="connsiteY2" fmla="*/ 24651 h 27372"/>
                <a:gd name="connsiteX3" fmla="*/ 2817 w 21832"/>
                <a:gd name="connsiteY3" fmla="*/ 24651 h 27372"/>
                <a:gd name="connsiteX4" fmla="*/ 2817 w 21832"/>
                <a:gd name="connsiteY4" fmla="*/ 12247 h 27372"/>
                <a:gd name="connsiteX5" fmla="*/ 15493 w 21832"/>
                <a:gd name="connsiteY5" fmla="*/ 0 h 2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832" h="27372">
                  <a:moveTo>
                    <a:pt x="15493" y="0"/>
                  </a:moveTo>
                  <a:cubicBezTo>
                    <a:pt x="15493" y="0"/>
                    <a:pt x="21832" y="0"/>
                    <a:pt x="21832" y="6124"/>
                  </a:cubicBezTo>
                  <a:cubicBezTo>
                    <a:pt x="21832" y="12247"/>
                    <a:pt x="21832" y="24651"/>
                    <a:pt x="15493" y="24651"/>
                  </a:cubicBezTo>
                  <a:cubicBezTo>
                    <a:pt x="9155" y="24651"/>
                    <a:pt x="9155" y="30774"/>
                    <a:pt x="2817" y="24651"/>
                  </a:cubicBezTo>
                  <a:cubicBezTo>
                    <a:pt x="-3522" y="24651"/>
                    <a:pt x="2817" y="12247"/>
                    <a:pt x="2817" y="12247"/>
                  </a:cubicBezTo>
                  <a:cubicBezTo>
                    <a:pt x="2817" y="12247"/>
                    <a:pt x="9155" y="0"/>
                    <a:pt x="15493" y="0"/>
                  </a:cubicBezTo>
                  <a:close/>
                </a:path>
              </a:pathLst>
            </a:cu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44" name="Freeform: Shape 43">
              <a:extLst>
                <a:ext uri="{FF2B5EF4-FFF2-40B4-BE49-F238E27FC236}">
                  <a16:creationId xmlns:a16="http://schemas.microsoft.com/office/drawing/2014/main" id="{F8B4048B-3E11-5743-5B28-3D8E9800CA49}"/>
                </a:ext>
              </a:extLst>
            </p:cNvPr>
            <p:cNvSpPr/>
            <p:nvPr/>
          </p:nvSpPr>
          <p:spPr>
            <a:xfrm>
              <a:off x="5968648" y="2883756"/>
              <a:ext cx="65305" cy="44893"/>
            </a:xfrm>
            <a:custGeom>
              <a:avLst/>
              <a:gdLst>
                <a:gd name="connsiteX0" fmla="*/ 53504 w 65305"/>
                <a:gd name="connsiteY0" fmla="*/ 1715 h 44893"/>
                <a:gd name="connsiteX1" fmla="*/ 59842 w 65305"/>
                <a:gd name="connsiteY1" fmla="*/ 20242 h 44893"/>
                <a:gd name="connsiteX2" fmla="*/ 40827 w 65305"/>
                <a:gd name="connsiteY2" fmla="*/ 32489 h 44893"/>
                <a:gd name="connsiteX3" fmla="*/ 8964 w 65305"/>
                <a:gd name="connsiteY3" fmla="*/ 44893 h 44893"/>
                <a:gd name="connsiteX4" fmla="*/ 2625 w 65305"/>
                <a:gd name="connsiteY4" fmla="*/ 32489 h 44893"/>
                <a:gd name="connsiteX5" fmla="*/ 21726 w 65305"/>
                <a:gd name="connsiteY5" fmla="*/ 26366 h 44893"/>
                <a:gd name="connsiteX6" fmla="*/ 34403 w 65305"/>
                <a:gd name="connsiteY6" fmla="*/ 7839 h 44893"/>
                <a:gd name="connsiteX7" fmla="*/ 53504 w 65305"/>
                <a:gd name="connsiteY7" fmla="*/ 1715 h 44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05" h="44893">
                  <a:moveTo>
                    <a:pt x="53504" y="1715"/>
                  </a:moveTo>
                  <a:cubicBezTo>
                    <a:pt x="59842" y="7839"/>
                    <a:pt x="72605" y="13962"/>
                    <a:pt x="59842" y="20242"/>
                  </a:cubicBezTo>
                  <a:cubicBezTo>
                    <a:pt x="47165" y="26366"/>
                    <a:pt x="47165" y="26366"/>
                    <a:pt x="40827" y="32489"/>
                  </a:cubicBezTo>
                  <a:cubicBezTo>
                    <a:pt x="28064" y="38612"/>
                    <a:pt x="15388" y="44893"/>
                    <a:pt x="8964" y="44893"/>
                  </a:cubicBezTo>
                  <a:cubicBezTo>
                    <a:pt x="2625" y="44893"/>
                    <a:pt x="-3713" y="32489"/>
                    <a:pt x="2625" y="32489"/>
                  </a:cubicBezTo>
                  <a:cubicBezTo>
                    <a:pt x="8964" y="32489"/>
                    <a:pt x="15388" y="26366"/>
                    <a:pt x="21726" y="26366"/>
                  </a:cubicBezTo>
                  <a:cubicBezTo>
                    <a:pt x="21726" y="20242"/>
                    <a:pt x="34403" y="7839"/>
                    <a:pt x="34403" y="7839"/>
                  </a:cubicBezTo>
                  <a:cubicBezTo>
                    <a:pt x="40827" y="7839"/>
                    <a:pt x="47165" y="-4408"/>
                    <a:pt x="53504" y="1715"/>
                  </a:cubicBezTo>
                  <a:close/>
                </a:path>
              </a:pathLst>
            </a:cu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45" name="Freeform: Shape 44">
              <a:extLst>
                <a:ext uri="{FF2B5EF4-FFF2-40B4-BE49-F238E27FC236}">
                  <a16:creationId xmlns:a16="http://schemas.microsoft.com/office/drawing/2014/main" id="{22D3F995-DC76-E003-B922-B7AB111A8000}"/>
                </a:ext>
              </a:extLst>
            </p:cNvPr>
            <p:cNvSpPr/>
            <p:nvPr/>
          </p:nvSpPr>
          <p:spPr>
            <a:xfrm>
              <a:off x="5903503" y="2922368"/>
              <a:ext cx="57718" cy="28777"/>
            </a:xfrm>
            <a:custGeom>
              <a:avLst/>
              <a:gdLst>
                <a:gd name="connsiteX0" fmla="*/ 29653 w 57718"/>
                <a:gd name="connsiteY0" fmla="*/ 0 h 28777"/>
                <a:gd name="connsiteX1" fmla="*/ 48754 w 57718"/>
                <a:gd name="connsiteY1" fmla="*/ 6281 h 28777"/>
                <a:gd name="connsiteX2" fmla="*/ 55092 w 57718"/>
                <a:gd name="connsiteY2" fmla="*/ 18527 h 28777"/>
                <a:gd name="connsiteX3" fmla="*/ 29653 w 57718"/>
                <a:gd name="connsiteY3" fmla="*/ 24808 h 28777"/>
                <a:gd name="connsiteX4" fmla="*/ 23315 w 57718"/>
                <a:gd name="connsiteY4" fmla="*/ 24808 h 28777"/>
                <a:gd name="connsiteX5" fmla="*/ 4214 w 57718"/>
                <a:gd name="connsiteY5" fmla="*/ 18527 h 28777"/>
                <a:gd name="connsiteX6" fmla="*/ 29653 w 57718"/>
                <a:gd name="connsiteY6" fmla="*/ 0 h 2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18" h="28777">
                  <a:moveTo>
                    <a:pt x="29653" y="0"/>
                  </a:moveTo>
                  <a:cubicBezTo>
                    <a:pt x="42330" y="6281"/>
                    <a:pt x="48754" y="0"/>
                    <a:pt x="48754" y="6281"/>
                  </a:cubicBezTo>
                  <a:cubicBezTo>
                    <a:pt x="55092" y="6281"/>
                    <a:pt x="61431" y="12404"/>
                    <a:pt x="55092" y="18527"/>
                  </a:cubicBezTo>
                  <a:cubicBezTo>
                    <a:pt x="42330" y="24808"/>
                    <a:pt x="42330" y="24808"/>
                    <a:pt x="29653" y="24808"/>
                  </a:cubicBezTo>
                  <a:cubicBezTo>
                    <a:pt x="23315" y="24808"/>
                    <a:pt x="35991" y="24808"/>
                    <a:pt x="23315" y="24808"/>
                  </a:cubicBezTo>
                  <a:cubicBezTo>
                    <a:pt x="10552" y="24808"/>
                    <a:pt x="-8549" y="37054"/>
                    <a:pt x="4214" y="18527"/>
                  </a:cubicBezTo>
                  <a:cubicBezTo>
                    <a:pt x="16891" y="6281"/>
                    <a:pt x="29653" y="0"/>
                    <a:pt x="29653" y="0"/>
                  </a:cubicBezTo>
                  <a:close/>
                </a:path>
              </a:pathLst>
            </a:cu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46" name="Freeform: Shape 45">
              <a:extLst>
                <a:ext uri="{FF2B5EF4-FFF2-40B4-BE49-F238E27FC236}">
                  <a16:creationId xmlns:a16="http://schemas.microsoft.com/office/drawing/2014/main" id="{660BBE2E-C561-1D39-CF9D-7B896358D79F}"/>
                </a:ext>
              </a:extLst>
            </p:cNvPr>
            <p:cNvSpPr/>
            <p:nvPr/>
          </p:nvSpPr>
          <p:spPr>
            <a:xfrm>
              <a:off x="6009475" y="3002599"/>
              <a:ext cx="39405" cy="37054"/>
            </a:xfrm>
            <a:custGeom>
              <a:avLst/>
              <a:gdLst>
                <a:gd name="connsiteX0" fmla="*/ 19015 w 39405"/>
                <a:gd name="connsiteY0" fmla="*/ 0 h 37054"/>
                <a:gd name="connsiteX1" fmla="*/ 25354 w 39405"/>
                <a:gd name="connsiteY1" fmla="*/ 18527 h 37054"/>
                <a:gd name="connsiteX2" fmla="*/ 38116 w 39405"/>
                <a:gd name="connsiteY2" fmla="*/ 30774 h 37054"/>
                <a:gd name="connsiteX3" fmla="*/ 19015 w 39405"/>
                <a:gd name="connsiteY3" fmla="*/ 37054 h 37054"/>
                <a:gd name="connsiteX4" fmla="*/ 12677 w 39405"/>
                <a:gd name="connsiteY4" fmla="*/ 30774 h 37054"/>
                <a:gd name="connsiteX5" fmla="*/ 0 w 39405"/>
                <a:gd name="connsiteY5" fmla="*/ 18527 h 37054"/>
                <a:gd name="connsiteX6" fmla="*/ 6338 w 39405"/>
                <a:gd name="connsiteY6" fmla="*/ 6123 h 37054"/>
                <a:gd name="connsiteX7" fmla="*/ 19015 w 39405"/>
                <a:gd name="connsiteY7" fmla="*/ 0 h 37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405" h="37054">
                  <a:moveTo>
                    <a:pt x="19015" y="0"/>
                  </a:moveTo>
                  <a:cubicBezTo>
                    <a:pt x="25354" y="6123"/>
                    <a:pt x="25354" y="12403"/>
                    <a:pt x="25354" y="18527"/>
                  </a:cubicBezTo>
                  <a:cubicBezTo>
                    <a:pt x="25354" y="24650"/>
                    <a:pt x="44454" y="24650"/>
                    <a:pt x="38116" y="30774"/>
                  </a:cubicBezTo>
                  <a:cubicBezTo>
                    <a:pt x="25354" y="37054"/>
                    <a:pt x="19015" y="37054"/>
                    <a:pt x="19015" y="37054"/>
                  </a:cubicBezTo>
                  <a:cubicBezTo>
                    <a:pt x="19015" y="30774"/>
                    <a:pt x="12677" y="37054"/>
                    <a:pt x="12677" y="30774"/>
                  </a:cubicBezTo>
                  <a:cubicBezTo>
                    <a:pt x="12677" y="24650"/>
                    <a:pt x="0" y="18527"/>
                    <a:pt x="0" y="18527"/>
                  </a:cubicBezTo>
                  <a:cubicBezTo>
                    <a:pt x="0" y="18527"/>
                    <a:pt x="6338" y="6123"/>
                    <a:pt x="6338" y="6123"/>
                  </a:cubicBezTo>
                  <a:cubicBezTo>
                    <a:pt x="6338" y="6123"/>
                    <a:pt x="6338" y="0"/>
                    <a:pt x="19015" y="0"/>
                  </a:cubicBezTo>
                  <a:close/>
                </a:path>
              </a:pathLst>
            </a:cu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47" name="Freeform: Shape 46">
              <a:extLst>
                <a:ext uri="{FF2B5EF4-FFF2-40B4-BE49-F238E27FC236}">
                  <a16:creationId xmlns:a16="http://schemas.microsoft.com/office/drawing/2014/main" id="{2441C9C2-B80C-326C-F77B-B390C66E0591}"/>
                </a:ext>
              </a:extLst>
            </p:cNvPr>
            <p:cNvSpPr/>
            <p:nvPr/>
          </p:nvSpPr>
          <p:spPr>
            <a:xfrm>
              <a:off x="6012996" y="3081056"/>
              <a:ext cx="39348" cy="32549"/>
            </a:xfrm>
            <a:custGeom>
              <a:avLst/>
              <a:gdLst>
                <a:gd name="connsiteX0" fmla="*/ 34594 w 39348"/>
                <a:gd name="connsiteY0" fmla="*/ 1775 h 32549"/>
                <a:gd name="connsiteX1" fmla="*/ 34594 w 39348"/>
                <a:gd name="connsiteY1" fmla="*/ 14022 h 32549"/>
                <a:gd name="connsiteX2" fmla="*/ 21832 w 39348"/>
                <a:gd name="connsiteY2" fmla="*/ 26426 h 32549"/>
                <a:gd name="connsiteX3" fmla="*/ 9155 w 39348"/>
                <a:gd name="connsiteY3" fmla="*/ 32549 h 32549"/>
                <a:gd name="connsiteX4" fmla="*/ 2816 w 39348"/>
                <a:gd name="connsiteY4" fmla="*/ 32549 h 32549"/>
                <a:gd name="connsiteX5" fmla="*/ 2816 w 39348"/>
                <a:gd name="connsiteY5" fmla="*/ 14022 h 32549"/>
                <a:gd name="connsiteX6" fmla="*/ 28256 w 39348"/>
                <a:gd name="connsiteY6" fmla="*/ 7899 h 32549"/>
                <a:gd name="connsiteX7" fmla="*/ 34594 w 39348"/>
                <a:gd name="connsiteY7" fmla="*/ 1775 h 3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8" h="32549">
                  <a:moveTo>
                    <a:pt x="34594" y="1775"/>
                  </a:moveTo>
                  <a:cubicBezTo>
                    <a:pt x="40932" y="1775"/>
                    <a:pt x="40932" y="14022"/>
                    <a:pt x="34594" y="14022"/>
                  </a:cubicBezTo>
                  <a:cubicBezTo>
                    <a:pt x="34594" y="14022"/>
                    <a:pt x="21832" y="26426"/>
                    <a:pt x="21832" y="26426"/>
                  </a:cubicBezTo>
                  <a:cubicBezTo>
                    <a:pt x="21832" y="26426"/>
                    <a:pt x="9155" y="32549"/>
                    <a:pt x="9155" y="32549"/>
                  </a:cubicBezTo>
                  <a:cubicBezTo>
                    <a:pt x="2816" y="32549"/>
                    <a:pt x="2816" y="32549"/>
                    <a:pt x="2816" y="32549"/>
                  </a:cubicBezTo>
                  <a:cubicBezTo>
                    <a:pt x="2816" y="32549"/>
                    <a:pt x="-3522" y="14022"/>
                    <a:pt x="2816" y="14022"/>
                  </a:cubicBezTo>
                  <a:cubicBezTo>
                    <a:pt x="9155" y="14022"/>
                    <a:pt x="28256" y="7899"/>
                    <a:pt x="28256" y="7899"/>
                  </a:cubicBezTo>
                  <a:cubicBezTo>
                    <a:pt x="28256" y="7899"/>
                    <a:pt x="34594" y="-4505"/>
                    <a:pt x="34594" y="1775"/>
                  </a:cubicBezTo>
                  <a:close/>
                </a:path>
              </a:pathLst>
            </a:cu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48" name="Freeform: Shape 47">
              <a:extLst>
                <a:ext uri="{FF2B5EF4-FFF2-40B4-BE49-F238E27FC236}">
                  <a16:creationId xmlns:a16="http://schemas.microsoft.com/office/drawing/2014/main" id="{D3E1220E-F2F5-15AB-7221-A80260174CA4}"/>
                </a:ext>
              </a:extLst>
            </p:cNvPr>
            <p:cNvSpPr/>
            <p:nvPr/>
          </p:nvSpPr>
          <p:spPr>
            <a:xfrm>
              <a:off x="6073029" y="3218486"/>
              <a:ext cx="31778" cy="30774"/>
            </a:xfrm>
            <a:custGeom>
              <a:avLst/>
              <a:gdLst>
                <a:gd name="connsiteX0" fmla="*/ 19101 w 31778"/>
                <a:gd name="connsiteY0" fmla="*/ 0 h 30774"/>
                <a:gd name="connsiteX1" fmla="*/ 31778 w 31778"/>
                <a:gd name="connsiteY1" fmla="*/ 12247 h 30774"/>
                <a:gd name="connsiteX2" fmla="*/ 25440 w 31778"/>
                <a:gd name="connsiteY2" fmla="*/ 24650 h 30774"/>
                <a:gd name="connsiteX3" fmla="*/ 19101 w 31778"/>
                <a:gd name="connsiteY3" fmla="*/ 30774 h 30774"/>
                <a:gd name="connsiteX4" fmla="*/ 0 w 31778"/>
                <a:gd name="connsiteY4" fmla="*/ 24650 h 30774"/>
                <a:gd name="connsiteX5" fmla="*/ 12677 w 31778"/>
                <a:gd name="connsiteY5" fmla="*/ 12247 h 30774"/>
                <a:gd name="connsiteX6" fmla="*/ 19101 w 31778"/>
                <a:gd name="connsiteY6" fmla="*/ 6123 h 30774"/>
                <a:gd name="connsiteX7" fmla="*/ 19101 w 31778"/>
                <a:gd name="connsiteY7" fmla="*/ 0 h 3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778" h="30774">
                  <a:moveTo>
                    <a:pt x="19101" y="0"/>
                  </a:moveTo>
                  <a:cubicBezTo>
                    <a:pt x="25440" y="0"/>
                    <a:pt x="31778" y="12247"/>
                    <a:pt x="31778" y="12247"/>
                  </a:cubicBezTo>
                  <a:cubicBezTo>
                    <a:pt x="25440" y="24650"/>
                    <a:pt x="25440" y="24650"/>
                    <a:pt x="25440" y="24650"/>
                  </a:cubicBezTo>
                  <a:cubicBezTo>
                    <a:pt x="25440" y="24650"/>
                    <a:pt x="25440" y="30774"/>
                    <a:pt x="19101" y="30774"/>
                  </a:cubicBezTo>
                  <a:cubicBezTo>
                    <a:pt x="12677" y="30774"/>
                    <a:pt x="0" y="30774"/>
                    <a:pt x="0" y="24650"/>
                  </a:cubicBezTo>
                  <a:cubicBezTo>
                    <a:pt x="0" y="24650"/>
                    <a:pt x="6339" y="12247"/>
                    <a:pt x="12677" y="12247"/>
                  </a:cubicBezTo>
                  <a:cubicBezTo>
                    <a:pt x="12677" y="12247"/>
                    <a:pt x="19101" y="6123"/>
                    <a:pt x="19101" y="6123"/>
                  </a:cubicBezTo>
                  <a:cubicBezTo>
                    <a:pt x="19101" y="6123"/>
                    <a:pt x="19101" y="0"/>
                    <a:pt x="19101" y="0"/>
                  </a:cubicBezTo>
                  <a:close/>
                </a:path>
              </a:pathLst>
            </a:cu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49" name="Freeform: Shape 48">
              <a:extLst>
                <a:ext uri="{FF2B5EF4-FFF2-40B4-BE49-F238E27FC236}">
                  <a16:creationId xmlns:a16="http://schemas.microsoft.com/office/drawing/2014/main" id="{22E4EE01-89BA-F1DA-D619-6EE3A8DD45B3}"/>
                </a:ext>
              </a:extLst>
            </p:cNvPr>
            <p:cNvSpPr/>
            <p:nvPr/>
          </p:nvSpPr>
          <p:spPr>
            <a:xfrm>
              <a:off x="6142923" y="3249261"/>
              <a:ext cx="65320" cy="98601"/>
            </a:xfrm>
            <a:custGeom>
              <a:avLst/>
              <a:gdLst>
                <a:gd name="connsiteX0" fmla="*/ 44540 w 65320"/>
                <a:gd name="connsiteY0" fmla="*/ 0 h 98601"/>
                <a:gd name="connsiteX1" fmla="*/ 63641 w 65320"/>
                <a:gd name="connsiteY1" fmla="*/ 18527 h 98601"/>
                <a:gd name="connsiteX2" fmla="*/ 57217 w 65320"/>
                <a:gd name="connsiteY2" fmla="*/ 37054 h 98601"/>
                <a:gd name="connsiteX3" fmla="*/ 57217 w 65320"/>
                <a:gd name="connsiteY3" fmla="*/ 61704 h 98601"/>
                <a:gd name="connsiteX4" fmla="*/ 57217 w 65320"/>
                <a:gd name="connsiteY4" fmla="*/ 86355 h 98601"/>
                <a:gd name="connsiteX5" fmla="*/ 44540 w 65320"/>
                <a:gd name="connsiteY5" fmla="*/ 98601 h 98601"/>
                <a:gd name="connsiteX6" fmla="*/ 31778 w 65320"/>
                <a:gd name="connsiteY6" fmla="*/ 92478 h 98601"/>
                <a:gd name="connsiteX7" fmla="*/ 6424 w 65320"/>
                <a:gd name="connsiteY7" fmla="*/ 80074 h 98601"/>
                <a:gd name="connsiteX8" fmla="*/ 6424 w 65320"/>
                <a:gd name="connsiteY8" fmla="*/ 49300 h 98601"/>
                <a:gd name="connsiteX9" fmla="*/ 0 w 65320"/>
                <a:gd name="connsiteY9" fmla="*/ 37054 h 98601"/>
                <a:gd name="connsiteX10" fmla="*/ 6424 w 65320"/>
                <a:gd name="connsiteY10" fmla="*/ 37054 h 98601"/>
                <a:gd name="connsiteX11" fmla="*/ 19101 w 65320"/>
                <a:gd name="connsiteY11" fmla="*/ 12246 h 98601"/>
                <a:gd name="connsiteX12" fmla="*/ 25439 w 65320"/>
                <a:gd name="connsiteY12" fmla="*/ 6123 h 98601"/>
                <a:gd name="connsiteX13" fmla="*/ 44540 w 65320"/>
                <a:gd name="connsiteY13" fmla="*/ 0 h 9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320" h="98601">
                  <a:moveTo>
                    <a:pt x="44540" y="0"/>
                  </a:moveTo>
                  <a:cubicBezTo>
                    <a:pt x="57217" y="6123"/>
                    <a:pt x="69979" y="18527"/>
                    <a:pt x="63641" y="18527"/>
                  </a:cubicBezTo>
                  <a:cubicBezTo>
                    <a:pt x="63641" y="24650"/>
                    <a:pt x="57217" y="18527"/>
                    <a:pt x="57217" y="37054"/>
                  </a:cubicBezTo>
                  <a:cubicBezTo>
                    <a:pt x="57217" y="55424"/>
                    <a:pt x="57217" y="55424"/>
                    <a:pt x="57217" y="61704"/>
                  </a:cubicBezTo>
                  <a:cubicBezTo>
                    <a:pt x="63641" y="67827"/>
                    <a:pt x="57217" y="86355"/>
                    <a:pt x="57217" y="86355"/>
                  </a:cubicBezTo>
                  <a:cubicBezTo>
                    <a:pt x="57217" y="86355"/>
                    <a:pt x="50879" y="98601"/>
                    <a:pt x="44540" y="98601"/>
                  </a:cubicBezTo>
                  <a:cubicBezTo>
                    <a:pt x="44540" y="98601"/>
                    <a:pt x="44540" y="98601"/>
                    <a:pt x="31778" y="92478"/>
                  </a:cubicBezTo>
                  <a:cubicBezTo>
                    <a:pt x="25439" y="92478"/>
                    <a:pt x="6424" y="80074"/>
                    <a:pt x="6424" y="80074"/>
                  </a:cubicBezTo>
                  <a:cubicBezTo>
                    <a:pt x="6424" y="80074"/>
                    <a:pt x="6424" y="49300"/>
                    <a:pt x="6424" y="49300"/>
                  </a:cubicBezTo>
                  <a:cubicBezTo>
                    <a:pt x="6424" y="43177"/>
                    <a:pt x="0" y="37054"/>
                    <a:pt x="0" y="37054"/>
                  </a:cubicBezTo>
                  <a:cubicBezTo>
                    <a:pt x="6424" y="37054"/>
                    <a:pt x="6424" y="37054"/>
                    <a:pt x="6424" y="37054"/>
                  </a:cubicBezTo>
                  <a:cubicBezTo>
                    <a:pt x="6424" y="30773"/>
                    <a:pt x="19101" y="18527"/>
                    <a:pt x="19101" y="12246"/>
                  </a:cubicBezTo>
                  <a:cubicBezTo>
                    <a:pt x="25439" y="12246"/>
                    <a:pt x="25439" y="6123"/>
                    <a:pt x="25439" y="6123"/>
                  </a:cubicBezTo>
                  <a:cubicBezTo>
                    <a:pt x="31778" y="0"/>
                    <a:pt x="38202" y="0"/>
                    <a:pt x="44540" y="0"/>
                  </a:cubicBezTo>
                  <a:close/>
                </a:path>
              </a:pathLst>
            </a:cu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50" name="Freeform: Shape 49">
              <a:extLst>
                <a:ext uri="{FF2B5EF4-FFF2-40B4-BE49-F238E27FC236}">
                  <a16:creationId xmlns:a16="http://schemas.microsoft.com/office/drawing/2014/main" id="{8D0DD6E7-6FEC-87E5-AF34-87236F8822E5}"/>
                </a:ext>
              </a:extLst>
            </p:cNvPr>
            <p:cNvSpPr/>
            <p:nvPr/>
          </p:nvSpPr>
          <p:spPr>
            <a:xfrm>
              <a:off x="5545315" y="3352367"/>
              <a:ext cx="514953" cy="396339"/>
            </a:xfrm>
            <a:custGeom>
              <a:avLst/>
              <a:gdLst>
                <a:gd name="connsiteX0" fmla="*/ 273408 w 514953"/>
                <a:gd name="connsiteY0" fmla="*/ 1776 h 396339"/>
                <a:gd name="connsiteX1" fmla="*/ 317863 w 514953"/>
                <a:gd name="connsiteY1" fmla="*/ 1776 h 396339"/>
                <a:gd name="connsiteX2" fmla="*/ 343302 w 514953"/>
                <a:gd name="connsiteY2" fmla="*/ 1776 h 396339"/>
                <a:gd name="connsiteX3" fmla="*/ 381504 w 514953"/>
                <a:gd name="connsiteY3" fmla="*/ 1776 h 396339"/>
                <a:gd name="connsiteX4" fmla="*/ 394180 w 514953"/>
                <a:gd name="connsiteY4" fmla="*/ 7899 h 396339"/>
                <a:gd name="connsiteX5" fmla="*/ 413281 w 514953"/>
                <a:gd name="connsiteY5" fmla="*/ 1776 h 396339"/>
                <a:gd name="connsiteX6" fmla="*/ 432297 w 514953"/>
                <a:gd name="connsiteY6" fmla="*/ 20146 h 396339"/>
                <a:gd name="connsiteX7" fmla="*/ 445059 w 514953"/>
                <a:gd name="connsiteY7" fmla="*/ 51076 h 396339"/>
                <a:gd name="connsiteX8" fmla="*/ 451397 w 514953"/>
                <a:gd name="connsiteY8" fmla="*/ 87973 h 396339"/>
                <a:gd name="connsiteX9" fmla="*/ 457736 w 514953"/>
                <a:gd name="connsiteY9" fmla="*/ 118904 h 396339"/>
                <a:gd name="connsiteX10" fmla="*/ 483175 w 514953"/>
                <a:gd name="connsiteY10" fmla="*/ 149678 h 396339"/>
                <a:gd name="connsiteX11" fmla="*/ 470498 w 514953"/>
                <a:gd name="connsiteY11" fmla="*/ 168205 h 396339"/>
                <a:gd name="connsiteX12" fmla="*/ 470498 w 514953"/>
                <a:gd name="connsiteY12" fmla="*/ 192855 h 396339"/>
                <a:gd name="connsiteX13" fmla="*/ 445059 w 514953"/>
                <a:gd name="connsiteY13" fmla="*/ 198979 h 396339"/>
                <a:gd name="connsiteX14" fmla="*/ 432297 w 514953"/>
                <a:gd name="connsiteY14" fmla="*/ 223629 h 396339"/>
                <a:gd name="connsiteX15" fmla="*/ 464160 w 514953"/>
                <a:gd name="connsiteY15" fmla="*/ 205259 h 396339"/>
                <a:gd name="connsiteX16" fmla="*/ 489514 w 514953"/>
                <a:gd name="connsiteY16" fmla="*/ 205259 h 396339"/>
                <a:gd name="connsiteX17" fmla="*/ 502276 w 514953"/>
                <a:gd name="connsiteY17" fmla="*/ 217506 h 396339"/>
                <a:gd name="connsiteX18" fmla="*/ 514953 w 514953"/>
                <a:gd name="connsiteY18" fmla="*/ 242156 h 396339"/>
                <a:gd name="connsiteX19" fmla="*/ 514953 w 514953"/>
                <a:gd name="connsiteY19" fmla="*/ 273087 h 396339"/>
                <a:gd name="connsiteX20" fmla="*/ 508614 w 514953"/>
                <a:gd name="connsiteY20" fmla="*/ 297737 h 396339"/>
                <a:gd name="connsiteX21" fmla="*/ 495938 w 514953"/>
                <a:gd name="connsiteY21" fmla="*/ 309984 h 396339"/>
                <a:gd name="connsiteX22" fmla="*/ 489514 w 514953"/>
                <a:gd name="connsiteY22" fmla="*/ 297737 h 396339"/>
                <a:gd name="connsiteX23" fmla="*/ 495938 w 514953"/>
                <a:gd name="connsiteY23" fmla="*/ 273087 h 396339"/>
                <a:gd name="connsiteX24" fmla="*/ 495938 w 514953"/>
                <a:gd name="connsiteY24" fmla="*/ 242156 h 396339"/>
                <a:gd name="connsiteX25" fmla="*/ 476837 w 514953"/>
                <a:gd name="connsiteY25" fmla="*/ 242156 h 396339"/>
                <a:gd name="connsiteX26" fmla="*/ 476837 w 514953"/>
                <a:gd name="connsiteY26" fmla="*/ 273087 h 396339"/>
                <a:gd name="connsiteX27" fmla="*/ 483175 w 514953"/>
                <a:gd name="connsiteY27" fmla="*/ 285334 h 396339"/>
                <a:gd name="connsiteX28" fmla="*/ 470498 w 514953"/>
                <a:gd name="connsiteY28" fmla="*/ 297737 h 396339"/>
                <a:gd name="connsiteX29" fmla="*/ 476837 w 514953"/>
                <a:gd name="connsiteY29" fmla="*/ 309984 h 396339"/>
                <a:gd name="connsiteX30" fmla="*/ 483175 w 514953"/>
                <a:gd name="connsiteY30" fmla="*/ 322388 h 396339"/>
                <a:gd name="connsiteX31" fmla="*/ 476837 w 514953"/>
                <a:gd name="connsiteY31" fmla="*/ 340915 h 396339"/>
                <a:gd name="connsiteX32" fmla="*/ 445059 w 514953"/>
                <a:gd name="connsiteY32" fmla="*/ 340915 h 396339"/>
                <a:gd name="connsiteX33" fmla="*/ 413281 w 514953"/>
                <a:gd name="connsiteY33" fmla="*/ 328511 h 396339"/>
                <a:gd name="connsiteX34" fmla="*/ 406943 w 514953"/>
                <a:gd name="connsiteY34" fmla="*/ 359285 h 396339"/>
                <a:gd name="connsiteX35" fmla="*/ 394180 w 514953"/>
                <a:gd name="connsiteY35" fmla="*/ 383935 h 396339"/>
                <a:gd name="connsiteX36" fmla="*/ 349640 w 514953"/>
                <a:gd name="connsiteY36" fmla="*/ 396339 h 396339"/>
                <a:gd name="connsiteX37" fmla="*/ 324287 w 514953"/>
                <a:gd name="connsiteY37" fmla="*/ 365565 h 396339"/>
                <a:gd name="connsiteX38" fmla="*/ 298847 w 514953"/>
                <a:gd name="connsiteY38" fmla="*/ 371688 h 396339"/>
                <a:gd name="connsiteX39" fmla="*/ 260646 w 514953"/>
                <a:gd name="connsiteY39" fmla="*/ 359285 h 396339"/>
                <a:gd name="connsiteX40" fmla="*/ 254307 w 514953"/>
                <a:gd name="connsiteY40" fmla="*/ 328511 h 396339"/>
                <a:gd name="connsiteX41" fmla="*/ 222530 w 514953"/>
                <a:gd name="connsiteY41" fmla="*/ 297737 h 396339"/>
                <a:gd name="connsiteX42" fmla="*/ 228868 w 514953"/>
                <a:gd name="connsiteY42" fmla="*/ 273087 h 396339"/>
                <a:gd name="connsiteX43" fmla="*/ 209767 w 514953"/>
                <a:gd name="connsiteY43" fmla="*/ 236033 h 396339"/>
                <a:gd name="connsiteX44" fmla="*/ 171651 w 514953"/>
                <a:gd name="connsiteY44" fmla="*/ 242156 h 396339"/>
                <a:gd name="connsiteX45" fmla="*/ 158974 w 514953"/>
                <a:gd name="connsiteY45" fmla="*/ 273087 h 396339"/>
                <a:gd name="connsiteX46" fmla="*/ 158974 w 514953"/>
                <a:gd name="connsiteY46" fmla="*/ 291457 h 396339"/>
                <a:gd name="connsiteX47" fmla="*/ 120773 w 514953"/>
                <a:gd name="connsiteY47" fmla="*/ 297737 h 396339"/>
                <a:gd name="connsiteX48" fmla="*/ 82656 w 514953"/>
                <a:gd name="connsiteY48" fmla="*/ 303861 h 396339"/>
                <a:gd name="connsiteX49" fmla="*/ 57217 w 514953"/>
                <a:gd name="connsiteY49" fmla="*/ 266806 h 396339"/>
                <a:gd name="connsiteX50" fmla="*/ 38116 w 514953"/>
                <a:gd name="connsiteY50" fmla="*/ 266806 h 396339"/>
                <a:gd name="connsiteX51" fmla="*/ 31778 w 514953"/>
                <a:gd name="connsiteY51" fmla="*/ 260683 h 396339"/>
                <a:gd name="connsiteX52" fmla="*/ 25440 w 514953"/>
                <a:gd name="connsiteY52" fmla="*/ 229909 h 396339"/>
                <a:gd name="connsiteX53" fmla="*/ 25440 w 514953"/>
                <a:gd name="connsiteY53" fmla="*/ 223629 h 396339"/>
                <a:gd name="connsiteX54" fmla="*/ 0 w 514953"/>
                <a:gd name="connsiteY54" fmla="*/ 174328 h 396339"/>
                <a:gd name="connsiteX55" fmla="*/ 31778 w 514953"/>
                <a:gd name="connsiteY55" fmla="*/ 155801 h 396339"/>
                <a:gd name="connsiteX56" fmla="*/ 69894 w 514953"/>
                <a:gd name="connsiteY56" fmla="*/ 162082 h 396339"/>
                <a:gd name="connsiteX57" fmla="*/ 82656 w 514953"/>
                <a:gd name="connsiteY57" fmla="*/ 149678 h 396339"/>
                <a:gd name="connsiteX58" fmla="*/ 82656 w 514953"/>
                <a:gd name="connsiteY58" fmla="*/ 131151 h 396339"/>
                <a:gd name="connsiteX59" fmla="*/ 63556 w 514953"/>
                <a:gd name="connsiteY59" fmla="*/ 118904 h 396339"/>
                <a:gd name="connsiteX60" fmla="*/ 69894 w 514953"/>
                <a:gd name="connsiteY60" fmla="*/ 100377 h 396339"/>
                <a:gd name="connsiteX61" fmla="*/ 101757 w 514953"/>
                <a:gd name="connsiteY61" fmla="*/ 100377 h 396339"/>
                <a:gd name="connsiteX62" fmla="*/ 127197 w 514953"/>
                <a:gd name="connsiteY62" fmla="*/ 100377 h 396339"/>
                <a:gd name="connsiteX63" fmla="*/ 139873 w 514953"/>
                <a:gd name="connsiteY63" fmla="*/ 75727 h 396339"/>
                <a:gd name="connsiteX64" fmla="*/ 171651 w 514953"/>
                <a:gd name="connsiteY64" fmla="*/ 63323 h 396339"/>
                <a:gd name="connsiteX65" fmla="*/ 177990 w 514953"/>
                <a:gd name="connsiteY65" fmla="*/ 32549 h 396339"/>
                <a:gd name="connsiteX66" fmla="*/ 216191 w 514953"/>
                <a:gd name="connsiteY66" fmla="*/ 38673 h 396339"/>
                <a:gd name="connsiteX67" fmla="*/ 241631 w 514953"/>
                <a:gd name="connsiteY67" fmla="*/ 32549 h 396339"/>
                <a:gd name="connsiteX68" fmla="*/ 260646 w 514953"/>
                <a:gd name="connsiteY68" fmla="*/ 26426 h 396339"/>
                <a:gd name="connsiteX69" fmla="*/ 273408 w 514953"/>
                <a:gd name="connsiteY69" fmla="*/ 1776 h 396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14953" h="396339">
                  <a:moveTo>
                    <a:pt x="273408" y="1776"/>
                  </a:moveTo>
                  <a:cubicBezTo>
                    <a:pt x="279747" y="1776"/>
                    <a:pt x="317863" y="1776"/>
                    <a:pt x="317863" y="1776"/>
                  </a:cubicBezTo>
                  <a:cubicBezTo>
                    <a:pt x="343302" y="1776"/>
                    <a:pt x="343302" y="1776"/>
                    <a:pt x="343302" y="1776"/>
                  </a:cubicBezTo>
                  <a:cubicBezTo>
                    <a:pt x="343302" y="1776"/>
                    <a:pt x="375080" y="1776"/>
                    <a:pt x="381504" y="1776"/>
                  </a:cubicBezTo>
                  <a:cubicBezTo>
                    <a:pt x="387842" y="1776"/>
                    <a:pt x="394180" y="7899"/>
                    <a:pt x="394180" y="7899"/>
                  </a:cubicBezTo>
                  <a:cubicBezTo>
                    <a:pt x="394180" y="7899"/>
                    <a:pt x="406943" y="-4505"/>
                    <a:pt x="413281" y="1776"/>
                  </a:cubicBezTo>
                  <a:cubicBezTo>
                    <a:pt x="419620" y="1776"/>
                    <a:pt x="432297" y="20146"/>
                    <a:pt x="432297" y="20146"/>
                  </a:cubicBezTo>
                  <a:cubicBezTo>
                    <a:pt x="445059" y="51076"/>
                    <a:pt x="445059" y="51076"/>
                    <a:pt x="445059" y="51076"/>
                  </a:cubicBezTo>
                  <a:cubicBezTo>
                    <a:pt x="451397" y="87973"/>
                    <a:pt x="451397" y="87973"/>
                    <a:pt x="451397" y="87973"/>
                  </a:cubicBezTo>
                  <a:cubicBezTo>
                    <a:pt x="457736" y="118904"/>
                    <a:pt x="457736" y="118904"/>
                    <a:pt x="457736" y="118904"/>
                  </a:cubicBezTo>
                  <a:cubicBezTo>
                    <a:pt x="483175" y="149678"/>
                    <a:pt x="483175" y="149678"/>
                    <a:pt x="483175" y="149678"/>
                  </a:cubicBezTo>
                  <a:cubicBezTo>
                    <a:pt x="470498" y="168205"/>
                    <a:pt x="470498" y="168205"/>
                    <a:pt x="470498" y="168205"/>
                  </a:cubicBezTo>
                  <a:cubicBezTo>
                    <a:pt x="470498" y="168205"/>
                    <a:pt x="470498" y="192855"/>
                    <a:pt x="470498" y="192855"/>
                  </a:cubicBezTo>
                  <a:cubicBezTo>
                    <a:pt x="464160" y="192855"/>
                    <a:pt x="445059" y="198979"/>
                    <a:pt x="445059" y="198979"/>
                  </a:cubicBezTo>
                  <a:cubicBezTo>
                    <a:pt x="438721" y="205259"/>
                    <a:pt x="432297" y="223629"/>
                    <a:pt x="432297" y="223629"/>
                  </a:cubicBezTo>
                  <a:cubicBezTo>
                    <a:pt x="432297" y="223629"/>
                    <a:pt x="457736" y="198979"/>
                    <a:pt x="464160" y="205259"/>
                  </a:cubicBezTo>
                  <a:cubicBezTo>
                    <a:pt x="470498" y="205259"/>
                    <a:pt x="489514" y="205259"/>
                    <a:pt x="489514" y="205259"/>
                  </a:cubicBezTo>
                  <a:cubicBezTo>
                    <a:pt x="502276" y="217506"/>
                    <a:pt x="502276" y="217506"/>
                    <a:pt x="502276" y="217506"/>
                  </a:cubicBezTo>
                  <a:cubicBezTo>
                    <a:pt x="514953" y="242156"/>
                    <a:pt x="514953" y="242156"/>
                    <a:pt x="514953" y="242156"/>
                  </a:cubicBezTo>
                  <a:cubicBezTo>
                    <a:pt x="514953" y="273087"/>
                    <a:pt x="514953" y="273087"/>
                    <a:pt x="514953" y="273087"/>
                  </a:cubicBezTo>
                  <a:cubicBezTo>
                    <a:pt x="514953" y="273087"/>
                    <a:pt x="514953" y="297737"/>
                    <a:pt x="508614" y="297737"/>
                  </a:cubicBezTo>
                  <a:cubicBezTo>
                    <a:pt x="508614" y="303861"/>
                    <a:pt x="502276" y="309984"/>
                    <a:pt x="495938" y="309984"/>
                  </a:cubicBezTo>
                  <a:cubicBezTo>
                    <a:pt x="489514" y="309984"/>
                    <a:pt x="483175" y="309984"/>
                    <a:pt x="489514" y="297737"/>
                  </a:cubicBezTo>
                  <a:cubicBezTo>
                    <a:pt x="489514" y="285334"/>
                    <a:pt x="495938" y="273087"/>
                    <a:pt x="495938" y="273087"/>
                  </a:cubicBezTo>
                  <a:cubicBezTo>
                    <a:pt x="495938" y="266806"/>
                    <a:pt x="502276" y="242156"/>
                    <a:pt x="495938" y="242156"/>
                  </a:cubicBezTo>
                  <a:cubicBezTo>
                    <a:pt x="483175" y="242156"/>
                    <a:pt x="476837" y="229909"/>
                    <a:pt x="476837" y="242156"/>
                  </a:cubicBezTo>
                  <a:cubicBezTo>
                    <a:pt x="470498" y="248279"/>
                    <a:pt x="476837" y="273087"/>
                    <a:pt x="476837" y="273087"/>
                  </a:cubicBezTo>
                  <a:cubicBezTo>
                    <a:pt x="476837" y="273087"/>
                    <a:pt x="483175" y="279210"/>
                    <a:pt x="483175" y="285334"/>
                  </a:cubicBezTo>
                  <a:cubicBezTo>
                    <a:pt x="476837" y="291457"/>
                    <a:pt x="476837" y="285334"/>
                    <a:pt x="470498" y="297737"/>
                  </a:cubicBezTo>
                  <a:cubicBezTo>
                    <a:pt x="457736" y="303861"/>
                    <a:pt x="476837" y="309984"/>
                    <a:pt x="476837" y="309984"/>
                  </a:cubicBezTo>
                  <a:cubicBezTo>
                    <a:pt x="483175" y="322388"/>
                    <a:pt x="483175" y="322388"/>
                    <a:pt x="483175" y="322388"/>
                  </a:cubicBezTo>
                  <a:cubicBezTo>
                    <a:pt x="483175" y="322388"/>
                    <a:pt x="483175" y="340915"/>
                    <a:pt x="476837" y="340915"/>
                  </a:cubicBezTo>
                  <a:cubicBezTo>
                    <a:pt x="470498" y="347038"/>
                    <a:pt x="470498" y="353161"/>
                    <a:pt x="445059" y="340915"/>
                  </a:cubicBezTo>
                  <a:cubicBezTo>
                    <a:pt x="419620" y="334634"/>
                    <a:pt x="413281" y="328511"/>
                    <a:pt x="413281" y="328511"/>
                  </a:cubicBezTo>
                  <a:cubicBezTo>
                    <a:pt x="406943" y="359285"/>
                    <a:pt x="406943" y="359285"/>
                    <a:pt x="406943" y="359285"/>
                  </a:cubicBezTo>
                  <a:cubicBezTo>
                    <a:pt x="394180" y="383935"/>
                    <a:pt x="394180" y="383935"/>
                    <a:pt x="394180" y="383935"/>
                  </a:cubicBezTo>
                  <a:cubicBezTo>
                    <a:pt x="349640" y="396339"/>
                    <a:pt x="349640" y="396339"/>
                    <a:pt x="349640" y="396339"/>
                  </a:cubicBezTo>
                  <a:cubicBezTo>
                    <a:pt x="324287" y="365565"/>
                    <a:pt x="324287" y="365565"/>
                    <a:pt x="324287" y="365565"/>
                  </a:cubicBezTo>
                  <a:cubicBezTo>
                    <a:pt x="324287" y="365565"/>
                    <a:pt x="305186" y="371688"/>
                    <a:pt x="298847" y="371688"/>
                  </a:cubicBezTo>
                  <a:cubicBezTo>
                    <a:pt x="292423" y="365565"/>
                    <a:pt x="260646" y="359285"/>
                    <a:pt x="260646" y="359285"/>
                  </a:cubicBezTo>
                  <a:cubicBezTo>
                    <a:pt x="254307" y="328511"/>
                    <a:pt x="254307" y="328511"/>
                    <a:pt x="254307" y="328511"/>
                  </a:cubicBezTo>
                  <a:cubicBezTo>
                    <a:pt x="222530" y="297737"/>
                    <a:pt x="222530" y="297737"/>
                    <a:pt x="222530" y="297737"/>
                  </a:cubicBezTo>
                  <a:cubicBezTo>
                    <a:pt x="228868" y="273087"/>
                    <a:pt x="228868" y="273087"/>
                    <a:pt x="228868" y="273087"/>
                  </a:cubicBezTo>
                  <a:cubicBezTo>
                    <a:pt x="209767" y="236033"/>
                    <a:pt x="209767" y="236033"/>
                    <a:pt x="209767" y="236033"/>
                  </a:cubicBezTo>
                  <a:cubicBezTo>
                    <a:pt x="171651" y="242156"/>
                    <a:pt x="171651" y="242156"/>
                    <a:pt x="171651" y="242156"/>
                  </a:cubicBezTo>
                  <a:cubicBezTo>
                    <a:pt x="158974" y="273087"/>
                    <a:pt x="158974" y="273087"/>
                    <a:pt x="158974" y="273087"/>
                  </a:cubicBezTo>
                  <a:cubicBezTo>
                    <a:pt x="158974" y="273087"/>
                    <a:pt x="171651" y="285334"/>
                    <a:pt x="158974" y="291457"/>
                  </a:cubicBezTo>
                  <a:cubicBezTo>
                    <a:pt x="146212" y="291457"/>
                    <a:pt x="120773" y="297737"/>
                    <a:pt x="120773" y="297737"/>
                  </a:cubicBezTo>
                  <a:cubicBezTo>
                    <a:pt x="120773" y="297737"/>
                    <a:pt x="88995" y="303861"/>
                    <a:pt x="82656" y="303861"/>
                  </a:cubicBezTo>
                  <a:cubicBezTo>
                    <a:pt x="82656" y="303861"/>
                    <a:pt x="57217" y="266806"/>
                    <a:pt x="57217" y="266806"/>
                  </a:cubicBezTo>
                  <a:cubicBezTo>
                    <a:pt x="57217" y="266806"/>
                    <a:pt x="44540" y="266806"/>
                    <a:pt x="38116" y="266806"/>
                  </a:cubicBezTo>
                  <a:cubicBezTo>
                    <a:pt x="31778" y="266806"/>
                    <a:pt x="31778" y="273087"/>
                    <a:pt x="31778" y="260683"/>
                  </a:cubicBezTo>
                  <a:cubicBezTo>
                    <a:pt x="31778" y="248279"/>
                    <a:pt x="25440" y="229909"/>
                    <a:pt x="25440" y="229909"/>
                  </a:cubicBezTo>
                  <a:cubicBezTo>
                    <a:pt x="25440" y="229909"/>
                    <a:pt x="44540" y="248279"/>
                    <a:pt x="25440" y="223629"/>
                  </a:cubicBezTo>
                  <a:cubicBezTo>
                    <a:pt x="6339" y="198979"/>
                    <a:pt x="0" y="174328"/>
                    <a:pt x="0" y="174328"/>
                  </a:cubicBezTo>
                  <a:cubicBezTo>
                    <a:pt x="31778" y="155801"/>
                    <a:pt x="31778" y="155801"/>
                    <a:pt x="31778" y="155801"/>
                  </a:cubicBezTo>
                  <a:cubicBezTo>
                    <a:pt x="31778" y="155801"/>
                    <a:pt x="63556" y="155801"/>
                    <a:pt x="69894" y="162082"/>
                  </a:cubicBezTo>
                  <a:cubicBezTo>
                    <a:pt x="76318" y="162082"/>
                    <a:pt x="82656" y="149678"/>
                    <a:pt x="82656" y="149678"/>
                  </a:cubicBezTo>
                  <a:cubicBezTo>
                    <a:pt x="82656" y="149678"/>
                    <a:pt x="95333" y="137431"/>
                    <a:pt x="82656" y="131151"/>
                  </a:cubicBezTo>
                  <a:cubicBezTo>
                    <a:pt x="76318" y="131151"/>
                    <a:pt x="63556" y="118904"/>
                    <a:pt x="63556" y="118904"/>
                  </a:cubicBezTo>
                  <a:cubicBezTo>
                    <a:pt x="63556" y="118904"/>
                    <a:pt x="50879" y="106500"/>
                    <a:pt x="69894" y="100377"/>
                  </a:cubicBezTo>
                  <a:cubicBezTo>
                    <a:pt x="88995" y="100377"/>
                    <a:pt x="88995" y="100377"/>
                    <a:pt x="101757" y="100377"/>
                  </a:cubicBezTo>
                  <a:cubicBezTo>
                    <a:pt x="114434" y="106500"/>
                    <a:pt x="120773" y="125028"/>
                    <a:pt x="127197" y="100377"/>
                  </a:cubicBezTo>
                  <a:cubicBezTo>
                    <a:pt x="133535" y="81850"/>
                    <a:pt x="120773" y="81850"/>
                    <a:pt x="139873" y="75727"/>
                  </a:cubicBezTo>
                  <a:cubicBezTo>
                    <a:pt x="158974" y="75727"/>
                    <a:pt x="171651" y="69603"/>
                    <a:pt x="171651" y="63323"/>
                  </a:cubicBezTo>
                  <a:cubicBezTo>
                    <a:pt x="171651" y="57200"/>
                    <a:pt x="171651" y="32549"/>
                    <a:pt x="177990" y="32549"/>
                  </a:cubicBezTo>
                  <a:cubicBezTo>
                    <a:pt x="184414" y="32549"/>
                    <a:pt x="216191" y="38673"/>
                    <a:pt x="216191" y="38673"/>
                  </a:cubicBezTo>
                  <a:cubicBezTo>
                    <a:pt x="216191" y="38673"/>
                    <a:pt x="228868" y="26426"/>
                    <a:pt x="241631" y="32549"/>
                  </a:cubicBezTo>
                  <a:cubicBezTo>
                    <a:pt x="254307" y="32549"/>
                    <a:pt x="260646" y="26426"/>
                    <a:pt x="260646" y="26426"/>
                  </a:cubicBezTo>
                  <a:cubicBezTo>
                    <a:pt x="260646" y="26426"/>
                    <a:pt x="273408" y="1776"/>
                    <a:pt x="273408" y="1776"/>
                  </a:cubicBezTo>
                  <a:close/>
                </a:path>
              </a:pathLst>
            </a:cu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61" name="Group 60">
            <a:extLst>
              <a:ext uri="{FF2B5EF4-FFF2-40B4-BE49-F238E27FC236}">
                <a16:creationId xmlns:a16="http://schemas.microsoft.com/office/drawing/2014/main" id="{4EB2A428-00B6-D459-02CD-E6D29F9D78CB}"/>
              </a:ext>
            </a:extLst>
          </p:cNvPr>
          <p:cNvGrpSpPr/>
          <p:nvPr/>
        </p:nvGrpSpPr>
        <p:grpSpPr>
          <a:xfrm>
            <a:off x="8227097" y="3396342"/>
            <a:ext cx="1311079" cy="643067"/>
            <a:chOff x="8460840" y="3458688"/>
            <a:chExt cx="1311079" cy="643067"/>
          </a:xfrm>
        </p:grpSpPr>
        <p:pic>
          <p:nvPicPr>
            <p:cNvPr id="51" name="Picture 50">
              <a:extLst>
                <a:ext uri="{FF2B5EF4-FFF2-40B4-BE49-F238E27FC236}">
                  <a16:creationId xmlns:a16="http://schemas.microsoft.com/office/drawing/2014/main" id="{98D9502C-0388-BB33-D258-3C6A73B55D6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28852" y="3458688"/>
              <a:ext cx="643067" cy="643067"/>
            </a:xfrm>
            <a:prstGeom prst="rect">
              <a:avLst/>
            </a:prstGeom>
          </p:spPr>
        </p:pic>
        <p:pic>
          <p:nvPicPr>
            <p:cNvPr id="54" name="Picture 53">
              <a:extLst>
                <a:ext uri="{FF2B5EF4-FFF2-40B4-BE49-F238E27FC236}">
                  <a16:creationId xmlns:a16="http://schemas.microsoft.com/office/drawing/2014/main" id="{B7909793-5D22-B38E-B120-93879FF09F5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460840" y="3491990"/>
              <a:ext cx="576462" cy="576462"/>
            </a:xfrm>
            <a:prstGeom prst="rect">
              <a:avLst/>
            </a:prstGeom>
          </p:spPr>
        </p:pic>
      </p:grpSp>
      <p:grpSp>
        <p:nvGrpSpPr>
          <p:cNvPr id="56" name="Group 55">
            <a:extLst>
              <a:ext uri="{FF2B5EF4-FFF2-40B4-BE49-F238E27FC236}">
                <a16:creationId xmlns:a16="http://schemas.microsoft.com/office/drawing/2014/main" id="{76853922-F41F-C4CB-ABC2-45A133250821}"/>
              </a:ext>
            </a:extLst>
          </p:cNvPr>
          <p:cNvGrpSpPr/>
          <p:nvPr/>
        </p:nvGrpSpPr>
        <p:grpSpPr>
          <a:xfrm>
            <a:off x="3944145" y="2089550"/>
            <a:ext cx="851767" cy="1214817"/>
            <a:chOff x="4444031" y="2100151"/>
            <a:chExt cx="533227" cy="760505"/>
          </a:xfrm>
        </p:grpSpPr>
        <p:sp>
          <p:nvSpPr>
            <p:cNvPr id="4" name="Google Shape;11612;p273" descr="Freeform 51">
              <a:extLst>
                <a:ext uri="{FF2B5EF4-FFF2-40B4-BE49-F238E27FC236}">
                  <a16:creationId xmlns:a16="http://schemas.microsoft.com/office/drawing/2014/main" id="{4E54F2FE-BC2F-6AD1-A0F9-C831E67E82DD}"/>
                </a:ext>
              </a:extLst>
            </p:cNvPr>
            <p:cNvSpPr/>
            <p:nvPr/>
          </p:nvSpPr>
          <p:spPr>
            <a:xfrm>
              <a:off x="4444031" y="2319570"/>
              <a:ext cx="533227" cy="319366"/>
            </a:xfrm>
            <a:custGeom>
              <a:avLst/>
              <a:gdLst/>
              <a:ahLst/>
              <a:cxnLst/>
              <a:rect l="l" t="t" r="r" b="b"/>
              <a:pathLst>
                <a:path w="21600" h="21600" extrusionOk="0">
                  <a:moveTo>
                    <a:pt x="1891" y="7254"/>
                  </a:moveTo>
                  <a:cubicBezTo>
                    <a:pt x="2389" y="6448"/>
                    <a:pt x="2389" y="6448"/>
                    <a:pt x="2389" y="6448"/>
                  </a:cubicBezTo>
                  <a:cubicBezTo>
                    <a:pt x="2389" y="6448"/>
                    <a:pt x="2986" y="5642"/>
                    <a:pt x="3086" y="5642"/>
                  </a:cubicBezTo>
                  <a:cubicBezTo>
                    <a:pt x="3285" y="5481"/>
                    <a:pt x="3583" y="5158"/>
                    <a:pt x="3583" y="5319"/>
                  </a:cubicBezTo>
                  <a:cubicBezTo>
                    <a:pt x="3583" y="5481"/>
                    <a:pt x="3683" y="6609"/>
                    <a:pt x="3683" y="6609"/>
                  </a:cubicBezTo>
                  <a:cubicBezTo>
                    <a:pt x="4181" y="6931"/>
                    <a:pt x="4181" y="6931"/>
                    <a:pt x="4181" y="6931"/>
                  </a:cubicBezTo>
                  <a:cubicBezTo>
                    <a:pt x="4579" y="7415"/>
                    <a:pt x="4579" y="7415"/>
                    <a:pt x="4579" y="7415"/>
                  </a:cubicBezTo>
                  <a:cubicBezTo>
                    <a:pt x="5375" y="8060"/>
                    <a:pt x="5375" y="8060"/>
                    <a:pt x="5375" y="8060"/>
                  </a:cubicBezTo>
                  <a:cubicBezTo>
                    <a:pt x="5475" y="8543"/>
                    <a:pt x="5475" y="8543"/>
                    <a:pt x="5475" y="8543"/>
                  </a:cubicBezTo>
                  <a:cubicBezTo>
                    <a:pt x="5475" y="8543"/>
                    <a:pt x="5375" y="8866"/>
                    <a:pt x="5574" y="9349"/>
                  </a:cubicBezTo>
                  <a:cubicBezTo>
                    <a:pt x="5873" y="9833"/>
                    <a:pt x="5972" y="9833"/>
                    <a:pt x="6072" y="10316"/>
                  </a:cubicBezTo>
                  <a:cubicBezTo>
                    <a:pt x="6171" y="10639"/>
                    <a:pt x="6570" y="10961"/>
                    <a:pt x="6570" y="10961"/>
                  </a:cubicBezTo>
                  <a:cubicBezTo>
                    <a:pt x="7067" y="11122"/>
                    <a:pt x="7067" y="11122"/>
                    <a:pt x="7067" y="11122"/>
                  </a:cubicBezTo>
                  <a:cubicBezTo>
                    <a:pt x="7067" y="11122"/>
                    <a:pt x="7565" y="11445"/>
                    <a:pt x="7665" y="11284"/>
                  </a:cubicBezTo>
                  <a:cubicBezTo>
                    <a:pt x="7764" y="11122"/>
                    <a:pt x="8262" y="10478"/>
                    <a:pt x="8262" y="10316"/>
                  </a:cubicBezTo>
                  <a:cubicBezTo>
                    <a:pt x="8361" y="10155"/>
                    <a:pt x="8660" y="9510"/>
                    <a:pt x="8759" y="9349"/>
                  </a:cubicBezTo>
                  <a:cubicBezTo>
                    <a:pt x="8859" y="9188"/>
                    <a:pt x="9158" y="8060"/>
                    <a:pt x="9158" y="7899"/>
                  </a:cubicBezTo>
                  <a:cubicBezTo>
                    <a:pt x="9158" y="7576"/>
                    <a:pt x="8759" y="6287"/>
                    <a:pt x="8660" y="5964"/>
                  </a:cubicBezTo>
                  <a:cubicBezTo>
                    <a:pt x="8660" y="5642"/>
                    <a:pt x="8560" y="4675"/>
                    <a:pt x="8560" y="4675"/>
                  </a:cubicBezTo>
                  <a:cubicBezTo>
                    <a:pt x="8162" y="3385"/>
                    <a:pt x="8162" y="3385"/>
                    <a:pt x="8162" y="3385"/>
                  </a:cubicBezTo>
                  <a:cubicBezTo>
                    <a:pt x="8162" y="3385"/>
                    <a:pt x="8162" y="2579"/>
                    <a:pt x="8262" y="2579"/>
                  </a:cubicBezTo>
                  <a:cubicBezTo>
                    <a:pt x="8361" y="2418"/>
                    <a:pt x="8859" y="1773"/>
                    <a:pt x="8859" y="1773"/>
                  </a:cubicBezTo>
                  <a:cubicBezTo>
                    <a:pt x="9357" y="967"/>
                    <a:pt x="9357" y="967"/>
                    <a:pt x="9357" y="967"/>
                  </a:cubicBezTo>
                  <a:cubicBezTo>
                    <a:pt x="9854" y="484"/>
                    <a:pt x="9854" y="484"/>
                    <a:pt x="9854" y="484"/>
                  </a:cubicBezTo>
                  <a:cubicBezTo>
                    <a:pt x="10253" y="0"/>
                    <a:pt x="10253" y="0"/>
                    <a:pt x="10253" y="0"/>
                  </a:cubicBezTo>
                  <a:cubicBezTo>
                    <a:pt x="10750" y="322"/>
                    <a:pt x="10750" y="322"/>
                    <a:pt x="10750" y="322"/>
                  </a:cubicBezTo>
                  <a:cubicBezTo>
                    <a:pt x="11148" y="322"/>
                    <a:pt x="11148" y="322"/>
                    <a:pt x="11148" y="322"/>
                  </a:cubicBezTo>
                  <a:cubicBezTo>
                    <a:pt x="11547" y="645"/>
                    <a:pt x="11547" y="645"/>
                    <a:pt x="11547" y="645"/>
                  </a:cubicBezTo>
                  <a:cubicBezTo>
                    <a:pt x="12044" y="645"/>
                    <a:pt x="12044" y="645"/>
                    <a:pt x="12044" y="645"/>
                  </a:cubicBezTo>
                  <a:cubicBezTo>
                    <a:pt x="12442" y="806"/>
                    <a:pt x="12442" y="806"/>
                    <a:pt x="12442" y="806"/>
                  </a:cubicBezTo>
                  <a:cubicBezTo>
                    <a:pt x="12940" y="1128"/>
                    <a:pt x="12940" y="1128"/>
                    <a:pt x="12940" y="1128"/>
                  </a:cubicBezTo>
                  <a:cubicBezTo>
                    <a:pt x="13836" y="2096"/>
                    <a:pt x="13836" y="2096"/>
                    <a:pt x="13836" y="2096"/>
                  </a:cubicBezTo>
                  <a:cubicBezTo>
                    <a:pt x="14135" y="2740"/>
                    <a:pt x="14135" y="2740"/>
                    <a:pt x="14135" y="2740"/>
                  </a:cubicBezTo>
                  <a:cubicBezTo>
                    <a:pt x="14433" y="2901"/>
                    <a:pt x="14433" y="2901"/>
                    <a:pt x="14433" y="2901"/>
                  </a:cubicBezTo>
                  <a:cubicBezTo>
                    <a:pt x="14433" y="2901"/>
                    <a:pt x="14632" y="3224"/>
                    <a:pt x="14831" y="3063"/>
                  </a:cubicBezTo>
                  <a:cubicBezTo>
                    <a:pt x="14931" y="3063"/>
                    <a:pt x="15030" y="2901"/>
                    <a:pt x="15130" y="2740"/>
                  </a:cubicBezTo>
                  <a:cubicBezTo>
                    <a:pt x="15329" y="2579"/>
                    <a:pt x="15429" y="2257"/>
                    <a:pt x="15429" y="2257"/>
                  </a:cubicBezTo>
                  <a:cubicBezTo>
                    <a:pt x="15628" y="2257"/>
                    <a:pt x="15628" y="2257"/>
                    <a:pt x="15628" y="2257"/>
                  </a:cubicBezTo>
                  <a:cubicBezTo>
                    <a:pt x="15827" y="1773"/>
                    <a:pt x="15827" y="1773"/>
                    <a:pt x="15827" y="1773"/>
                  </a:cubicBezTo>
                  <a:cubicBezTo>
                    <a:pt x="16623" y="2096"/>
                    <a:pt x="16623" y="2096"/>
                    <a:pt x="16623" y="2096"/>
                  </a:cubicBezTo>
                  <a:cubicBezTo>
                    <a:pt x="17021" y="2096"/>
                    <a:pt x="17021" y="2096"/>
                    <a:pt x="17021" y="2096"/>
                  </a:cubicBezTo>
                  <a:cubicBezTo>
                    <a:pt x="17618" y="1773"/>
                    <a:pt x="17618" y="1773"/>
                    <a:pt x="17618" y="1773"/>
                  </a:cubicBezTo>
                  <a:cubicBezTo>
                    <a:pt x="17917" y="2257"/>
                    <a:pt x="17917" y="2257"/>
                    <a:pt x="17917" y="2257"/>
                  </a:cubicBezTo>
                  <a:cubicBezTo>
                    <a:pt x="17917" y="2740"/>
                    <a:pt x="17917" y="2740"/>
                    <a:pt x="17917" y="2740"/>
                  </a:cubicBezTo>
                  <a:cubicBezTo>
                    <a:pt x="18315" y="2901"/>
                    <a:pt x="18315" y="2901"/>
                    <a:pt x="18315" y="2901"/>
                  </a:cubicBezTo>
                  <a:cubicBezTo>
                    <a:pt x="18315" y="2901"/>
                    <a:pt x="18614" y="3224"/>
                    <a:pt x="18713" y="3224"/>
                  </a:cubicBezTo>
                  <a:cubicBezTo>
                    <a:pt x="18813" y="3224"/>
                    <a:pt x="19012" y="3385"/>
                    <a:pt x="19012" y="3385"/>
                  </a:cubicBezTo>
                  <a:cubicBezTo>
                    <a:pt x="19112" y="4997"/>
                    <a:pt x="19112" y="4997"/>
                    <a:pt x="19112" y="4997"/>
                  </a:cubicBezTo>
                  <a:cubicBezTo>
                    <a:pt x="18912" y="5481"/>
                    <a:pt x="18912" y="5481"/>
                    <a:pt x="18912" y="5481"/>
                  </a:cubicBezTo>
                  <a:cubicBezTo>
                    <a:pt x="19112" y="6770"/>
                    <a:pt x="19112" y="6770"/>
                    <a:pt x="19112" y="6770"/>
                  </a:cubicBezTo>
                  <a:cubicBezTo>
                    <a:pt x="19112" y="7415"/>
                    <a:pt x="19112" y="7415"/>
                    <a:pt x="19112" y="7415"/>
                  </a:cubicBezTo>
                  <a:cubicBezTo>
                    <a:pt x="19510" y="6931"/>
                    <a:pt x="19510" y="6931"/>
                    <a:pt x="19510" y="6931"/>
                  </a:cubicBezTo>
                  <a:cubicBezTo>
                    <a:pt x="19908" y="7415"/>
                    <a:pt x="19908" y="7415"/>
                    <a:pt x="19908" y="7415"/>
                  </a:cubicBezTo>
                  <a:cubicBezTo>
                    <a:pt x="19709" y="7899"/>
                    <a:pt x="19709" y="7899"/>
                    <a:pt x="19709" y="7899"/>
                  </a:cubicBezTo>
                  <a:cubicBezTo>
                    <a:pt x="20206" y="8543"/>
                    <a:pt x="20206" y="8543"/>
                    <a:pt x="20206" y="8543"/>
                  </a:cubicBezTo>
                  <a:cubicBezTo>
                    <a:pt x="20605" y="8866"/>
                    <a:pt x="20605" y="8866"/>
                    <a:pt x="20605" y="8866"/>
                  </a:cubicBezTo>
                  <a:cubicBezTo>
                    <a:pt x="20505" y="9349"/>
                    <a:pt x="20505" y="9349"/>
                    <a:pt x="20505" y="9349"/>
                  </a:cubicBezTo>
                  <a:cubicBezTo>
                    <a:pt x="20505" y="9349"/>
                    <a:pt x="20605" y="9510"/>
                    <a:pt x="20704" y="9510"/>
                  </a:cubicBezTo>
                  <a:cubicBezTo>
                    <a:pt x="20804" y="9672"/>
                    <a:pt x="21003" y="9833"/>
                    <a:pt x="21003" y="9833"/>
                  </a:cubicBezTo>
                  <a:cubicBezTo>
                    <a:pt x="21003" y="9833"/>
                    <a:pt x="21102" y="10316"/>
                    <a:pt x="21102" y="10639"/>
                  </a:cubicBezTo>
                  <a:cubicBezTo>
                    <a:pt x="21202" y="10800"/>
                    <a:pt x="21600" y="11284"/>
                    <a:pt x="21600" y="11284"/>
                  </a:cubicBezTo>
                  <a:cubicBezTo>
                    <a:pt x="21500" y="12090"/>
                    <a:pt x="21500" y="12090"/>
                    <a:pt x="21500" y="12090"/>
                  </a:cubicBezTo>
                  <a:cubicBezTo>
                    <a:pt x="21500" y="12090"/>
                    <a:pt x="21500" y="12412"/>
                    <a:pt x="21500" y="12573"/>
                  </a:cubicBezTo>
                  <a:cubicBezTo>
                    <a:pt x="21500" y="12734"/>
                    <a:pt x="21500" y="12896"/>
                    <a:pt x="21500" y="13057"/>
                  </a:cubicBezTo>
                  <a:cubicBezTo>
                    <a:pt x="21500" y="12896"/>
                    <a:pt x="21500" y="12896"/>
                    <a:pt x="21500" y="12896"/>
                  </a:cubicBezTo>
                  <a:cubicBezTo>
                    <a:pt x="21003" y="13379"/>
                    <a:pt x="21003" y="13379"/>
                    <a:pt x="21003" y="13379"/>
                  </a:cubicBezTo>
                  <a:cubicBezTo>
                    <a:pt x="20903" y="14507"/>
                    <a:pt x="20903" y="14507"/>
                    <a:pt x="20903" y="14507"/>
                  </a:cubicBezTo>
                  <a:cubicBezTo>
                    <a:pt x="20406" y="15313"/>
                    <a:pt x="20406" y="15313"/>
                    <a:pt x="20406" y="15313"/>
                  </a:cubicBezTo>
                  <a:cubicBezTo>
                    <a:pt x="20605" y="16119"/>
                    <a:pt x="20605" y="16119"/>
                    <a:pt x="20605" y="16119"/>
                  </a:cubicBezTo>
                  <a:cubicBezTo>
                    <a:pt x="20406" y="16603"/>
                    <a:pt x="20406" y="16603"/>
                    <a:pt x="20406" y="16603"/>
                  </a:cubicBezTo>
                  <a:cubicBezTo>
                    <a:pt x="19609" y="16603"/>
                    <a:pt x="19609" y="16603"/>
                    <a:pt x="19609" y="16603"/>
                  </a:cubicBezTo>
                  <a:cubicBezTo>
                    <a:pt x="19609" y="16603"/>
                    <a:pt x="19510" y="16603"/>
                    <a:pt x="19112" y="16603"/>
                  </a:cubicBezTo>
                  <a:cubicBezTo>
                    <a:pt x="18713" y="16603"/>
                    <a:pt x="18813" y="16603"/>
                    <a:pt x="18813" y="16603"/>
                  </a:cubicBezTo>
                  <a:cubicBezTo>
                    <a:pt x="18514" y="17087"/>
                    <a:pt x="18514" y="17087"/>
                    <a:pt x="18514" y="17087"/>
                  </a:cubicBezTo>
                  <a:cubicBezTo>
                    <a:pt x="18415" y="18054"/>
                    <a:pt x="18415" y="18054"/>
                    <a:pt x="18415" y="18054"/>
                  </a:cubicBezTo>
                  <a:cubicBezTo>
                    <a:pt x="18415" y="18054"/>
                    <a:pt x="18216" y="18054"/>
                    <a:pt x="17818" y="18215"/>
                  </a:cubicBezTo>
                  <a:cubicBezTo>
                    <a:pt x="17618" y="18376"/>
                    <a:pt x="17618" y="18537"/>
                    <a:pt x="17618" y="18537"/>
                  </a:cubicBezTo>
                  <a:cubicBezTo>
                    <a:pt x="17618" y="18537"/>
                    <a:pt x="17618" y="18537"/>
                    <a:pt x="17618" y="18537"/>
                  </a:cubicBezTo>
                  <a:cubicBezTo>
                    <a:pt x="17320" y="18537"/>
                    <a:pt x="17320" y="18537"/>
                    <a:pt x="17320" y="18537"/>
                  </a:cubicBezTo>
                  <a:cubicBezTo>
                    <a:pt x="16822" y="18376"/>
                    <a:pt x="16822" y="18376"/>
                    <a:pt x="16822" y="18376"/>
                  </a:cubicBezTo>
                  <a:cubicBezTo>
                    <a:pt x="16424" y="18376"/>
                    <a:pt x="16424" y="18376"/>
                    <a:pt x="16424" y="18376"/>
                  </a:cubicBezTo>
                  <a:cubicBezTo>
                    <a:pt x="16225" y="17731"/>
                    <a:pt x="16225" y="17731"/>
                    <a:pt x="16225" y="17731"/>
                  </a:cubicBezTo>
                  <a:cubicBezTo>
                    <a:pt x="15926" y="17570"/>
                    <a:pt x="15926" y="17570"/>
                    <a:pt x="15926" y="17570"/>
                  </a:cubicBezTo>
                  <a:cubicBezTo>
                    <a:pt x="15628" y="16925"/>
                    <a:pt x="15628" y="16925"/>
                    <a:pt x="15628" y="16925"/>
                  </a:cubicBezTo>
                  <a:cubicBezTo>
                    <a:pt x="15229" y="16764"/>
                    <a:pt x="15229" y="16764"/>
                    <a:pt x="15229" y="16764"/>
                  </a:cubicBezTo>
                  <a:cubicBezTo>
                    <a:pt x="15030" y="16281"/>
                    <a:pt x="15030" y="16281"/>
                    <a:pt x="15030" y="16281"/>
                  </a:cubicBezTo>
                  <a:cubicBezTo>
                    <a:pt x="14533" y="16281"/>
                    <a:pt x="14533" y="16281"/>
                    <a:pt x="14533" y="16281"/>
                  </a:cubicBezTo>
                  <a:cubicBezTo>
                    <a:pt x="14234" y="15958"/>
                    <a:pt x="14234" y="15958"/>
                    <a:pt x="14234" y="15958"/>
                  </a:cubicBezTo>
                  <a:cubicBezTo>
                    <a:pt x="14135" y="15636"/>
                    <a:pt x="14135" y="15636"/>
                    <a:pt x="14135" y="15636"/>
                  </a:cubicBezTo>
                  <a:cubicBezTo>
                    <a:pt x="13836" y="15636"/>
                    <a:pt x="13836" y="15636"/>
                    <a:pt x="13836" y="15636"/>
                  </a:cubicBezTo>
                  <a:cubicBezTo>
                    <a:pt x="13438" y="15797"/>
                    <a:pt x="13438" y="15797"/>
                    <a:pt x="13438" y="15797"/>
                  </a:cubicBezTo>
                  <a:cubicBezTo>
                    <a:pt x="12741" y="16119"/>
                    <a:pt x="12741" y="16119"/>
                    <a:pt x="12741" y="16119"/>
                  </a:cubicBezTo>
                  <a:cubicBezTo>
                    <a:pt x="12343" y="15636"/>
                    <a:pt x="12343" y="15636"/>
                    <a:pt x="12343" y="15636"/>
                  </a:cubicBezTo>
                  <a:cubicBezTo>
                    <a:pt x="12243" y="15475"/>
                    <a:pt x="12243" y="15475"/>
                    <a:pt x="12243" y="15475"/>
                  </a:cubicBezTo>
                  <a:cubicBezTo>
                    <a:pt x="11845" y="14991"/>
                    <a:pt x="11845" y="14991"/>
                    <a:pt x="11845" y="14991"/>
                  </a:cubicBezTo>
                  <a:cubicBezTo>
                    <a:pt x="11646" y="14024"/>
                    <a:pt x="11646" y="14024"/>
                    <a:pt x="11646" y="14024"/>
                  </a:cubicBezTo>
                  <a:cubicBezTo>
                    <a:pt x="11646" y="14024"/>
                    <a:pt x="11248" y="14507"/>
                    <a:pt x="11148" y="14507"/>
                  </a:cubicBezTo>
                  <a:cubicBezTo>
                    <a:pt x="11148" y="14507"/>
                    <a:pt x="10850" y="15313"/>
                    <a:pt x="10850" y="15313"/>
                  </a:cubicBezTo>
                  <a:cubicBezTo>
                    <a:pt x="10750" y="15958"/>
                    <a:pt x="10750" y="15958"/>
                    <a:pt x="10750" y="15958"/>
                  </a:cubicBezTo>
                  <a:cubicBezTo>
                    <a:pt x="10153" y="15636"/>
                    <a:pt x="10153" y="15636"/>
                    <a:pt x="10153" y="15636"/>
                  </a:cubicBezTo>
                  <a:cubicBezTo>
                    <a:pt x="10153" y="15636"/>
                    <a:pt x="9854" y="16281"/>
                    <a:pt x="9854" y="16442"/>
                  </a:cubicBezTo>
                  <a:cubicBezTo>
                    <a:pt x="9755" y="16442"/>
                    <a:pt x="9357" y="16119"/>
                    <a:pt x="9357" y="16119"/>
                  </a:cubicBezTo>
                  <a:cubicBezTo>
                    <a:pt x="8759" y="16119"/>
                    <a:pt x="8759" y="16119"/>
                    <a:pt x="8759" y="16119"/>
                  </a:cubicBezTo>
                  <a:cubicBezTo>
                    <a:pt x="8759" y="16119"/>
                    <a:pt x="8162" y="16119"/>
                    <a:pt x="8063" y="15958"/>
                  </a:cubicBezTo>
                  <a:cubicBezTo>
                    <a:pt x="7963" y="15958"/>
                    <a:pt x="7963" y="16119"/>
                    <a:pt x="7963" y="16119"/>
                  </a:cubicBezTo>
                  <a:cubicBezTo>
                    <a:pt x="7465" y="16281"/>
                    <a:pt x="7465" y="16281"/>
                    <a:pt x="7465" y="16281"/>
                  </a:cubicBezTo>
                  <a:cubicBezTo>
                    <a:pt x="6868" y="16442"/>
                    <a:pt x="6868" y="16442"/>
                    <a:pt x="6868" y="16442"/>
                  </a:cubicBezTo>
                  <a:cubicBezTo>
                    <a:pt x="6868" y="16442"/>
                    <a:pt x="6769" y="17087"/>
                    <a:pt x="6669" y="17248"/>
                  </a:cubicBezTo>
                  <a:cubicBezTo>
                    <a:pt x="6570" y="17248"/>
                    <a:pt x="6271" y="16764"/>
                    <a:pt x="6171" y="16603"/>
                  </a:cubicBezTo>
                  <a:cubicBezTo>
                    <a:pt x="6171" y="16442"/>
                    <a:pt x="5873" y="16281"/>
                    <a:pt x="5873" y="16281"/>
                  </a:cubicBezTo>
                  <a:cubicBezTo>
                    <a:pt x="5475" y="16764"/>
                    <a:pt x="5475" y="16764"/>
                    <a:pt x="5475" y="16764"/>
                  </a:cubicBezTo>
                  <a:cubicBezTo>
                    <a:pt x="5475" y="16764"/>
                    <a:pt x="4778" y="16925"/>
                    <a:pt x="4678" y="16925"/>
                  </a:cubicBezTo>
                  <a:cubicBezTo>
                    <a:pt x="4579" y="16925"/>
                    <a:pt x="4081" y="17248"/>
                    <a:pt x="4081" y="17248"/>
                  </a:cubicBezTo>
                  <a:cubicBezTo>
                    <a:pt x="3384" y="17087"/>
                    <a:pt x="3384" y="17087"/>
                    <a:pt x="3384" y="17087"/>
                  </a:cubicBezTo>
                  <a:cubicBezTo>
                    <a:pt x="3086" y="17570"/>
                    <a:pt x="3086" y="17570"/>
                    <a:pt x="3086" y="17570"/>
                  </a:cubicBezTo>
                  <a:cubicBezTo>
                    <a:pt x="2488" y="18215"/>
                    <a:pt x="2488" y="18215"/>
                    <a:pt x="2488" y="18215"/>
                  </a:cubicBezTo>
                  <a:cubicBezTo>
                    <a:pt x="2090" y="18215"/>
                    <a:pt x="2090" y="18215"/>
                    <a:pt x="2090" y="18215"/>
                  </a:cubicBezTo>
                  <a:cubicBezTo>
                    <a:pt x="1891" y="19021"/>
                    <a:pt x="1891" y="19021"/>
                    <a:pt x="1891" y="19021"/>
                  </a:cubicBezTo>
                  <a:cubicBezTo>
                    <a:pt x="1493" y="19343"/>
                    <a:pt x="1493" y="19343"/>
                    <a:pt x="1493" y="19343"/>
                  </a:cubicBezTo>
                  <a:cubicBezTo>
                    <a:pt x="1394" y="19666"/>
                    <a:pt x="1394" y="19666"/>
                    <a:pt x="1394" y="19666"/>
                  </a:cubicBezTo>
                  <a:cubicBezTo>
                    <a:pt x="1294" y="20633"/>
                    <a:pt x="1294" y="20633"/>
                    <a:pt x="1294" y="20633"/>
                  </a:cubicBezTo>
                  <a:cubicBezTo>
                    <a:pt x="1294" y="20633"/>
                    <a:pt x="995" y="20794"/>
                    <a:pt x="796" y="20794"/>
                  </a:cubicBezTo>
                  <a:cubicBezTo>
                    <a:pt x="697" y="20955"/>
                    <a:pt x="896" y="21116"/>
                    <a:pt x="896" y="21116"/>
                  </a:cubicBezTo>
                  <a:cubicBezTo>
                    <a:pt x="796" y="21600"/>
                    <a:pt x="796" y="21600"/>
                    <a:pt x="796" y="21600"/>
                  </a:cubicBezTo>
                  <a:cubicBezTo>
                    <a:pt x="796" y="21600"/>
                    <a:pt x="697" y="21439"/>
                    <a:pt x="697" y="21439"/>
                  </a:cubicBezTo>
                  <a:cubicBezTo>
                    <a:pt x="697" y="21439"/>
                    <a:pt x="597" y="20955"/>
                    <a:pt x="498" y="20633"/>
                  </a:cubicBezTo>
                  <a:cubicBezTo>
                    <a:pt x="299" y="20310"/>
                    <a:pt x="100" y="18860"/>
                    <a:pt x="100" y="18860"/>
                  </a:cubicBezTo>
                  <a:cubicBezTo>
                    <a:pt x="299" y="18215"/>
                    <a:pt x="299" y="18215"/>
                    <a:pt x="299" y="18215"/>
                  </a:cubicBezTo>
                  <a:cubicBezTo>
                    <a:pt x="299" y="18215"/>
                    <a:pt x="299" y="17570"/>
                    <a:pt x="299" y="17409"/>
                  </a:cubicBezTo>
                  <a:cubicBezTo>
                    <a:pt x="199" y="17087"/>
                    <a:pt x="100" y="15636"/>
                    <a:pt x="100" y="15636"/>
                  </a:cubicBezTo>
                  <a:cubicBezTo>
                    <a:pt x="100" y="15636"/>
                    <a:pt x="0" y="14991"/>
                    <a:pt x="0" y="14830"/>
                  </a:cubicBezTo>
                  <a:cubicBezTo>
                    <a:pt x="0" y="14669"/>
                    <a:pt x="697" y="13379"/>
                    <a:pt x="697" y="13379"/>
                  </a:cubicBezTo>
                  <a:cubicBezTo>
                    <a:pt x="697" y="13218"/>
                    <a:pt x="796" y="11928"/>
                    <a:pt x="796" y="11928"/>
                  </a:cubicBezTo>
                  <a:cubicBezTo>
                    <a:pt x="597" y="10961"/>
                    <a:pt x="597" y="10961"/>
                    <a:pt x="597" y="10961"/>
                  </a:cubicBezTo>
                  <a:cubicBezTo>
                    <a:pt x="796" y="9672"/>
                    <a:pt x="796" y="9672"/>
                    <a:pt x="796" y="9672"/>
                  </a:cubicBezTo>
                  <a:cubicBezTo>
                    <a:pt x="995" y="8221"/>
                    <a:pt x="995" y="8221"/>
                    <a:pt x="995" y="8221"/>
                  </a:cubicBezTo>
                  <a:cubicBezTo>
                    <a:pt x="995" y="8221"/>
                    <a:pt x="1095" y="7576"/>
                    <a:pt x="1194" y="7576"/>
                  </a:cubicBezTo>
                  <a:cubicBezTo>
                    <a:pt x="1294" y="7415"/>
                    <a:pt x="1891" y="7254"/>
                    <a:pt x="1891" y="7254"/>
                  </a:cubicBezTo>
                  <a:close/>
                </a:path>
              </a:pathLst>
            </a:custGeom>
            <a:solidFill>
              <a:srgbClr val="CCCDF1"/>
            </a:solidFill>
            <a:ln w="3175" cap="rnd" cmpd="sng">
              <a:solidFill>
                <a:schemeClr val="bg1"/>
              </a:solidFill>
              <a:prstDash val="solid"/>
              <a:round/>
              <a:headEnd type="none" w="sm" len="sm"/>
              <a:tailEnd type="none" w="sm" len="sm"/>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None/>
              </a:pPr>
              <a:endParaRPr sz="1800" b="0" i="0" u="none">
                <a:solidFill>
                  <a:srgbClr val="2C2C2C"/>
                </a:solidFill>
                <a:latin typeface="Open Sans"/>
                <a:ea typeface="Open Sans"/>
                <a:cs typeface="Open Sans"/>
                <a:sym typeface="Open Sans"/>
              </a:endParaRPr>
            </a:p>
          </p:txBody>
        </p:sp>
        <p:sp>
          <p:nvSpPr>
            <p:cNvPr id="18" name="Google Shape;11623;p273" descr="Freeform 41">
              <a:extLst>
                <a:ext uri="{FF2B5EF4-FFF2-40B4-BE49-F238E27FC236}">
                  <a16:creationId xmlns:a16="http://schemas.microsoft.com/office/drawing/2014/main" id="{878B97EB-E492-94B1-E2E3-77DD1B35CD8A}"/>
                </a:ext>
              </a:extLst>
            </p:cNvPr>
            <p:cNvSpPr/>
            <p:nvPr/>
          </p:nvSpPr>
          <p:spPr>
            <a:xfrm>
              <a:off x="4462393" y="2527503"/>
              <a:ext cx="443768" cy="333153"/>
            </a:xfrm>
            <a:custGeom>
              <a:avLst/>
              <a:gdLst/>
              <a:ahLst/>
              <a:cxnLst/>
              <a:rect l="l" t="t" r="r" b="b"/>
              <a:pathLst>
                <a:path w="21514" h="21600" extrusionOk="0">
                  <a:moveTo>
                    <a:pt x="2062" y="4011"/>
                  </a:moveTo>
                  <a:cubicBezTo>
                    <a:pt x="2778" y="3394"/>
                    <a:pt x="2778" y="3394"/>
                    <a:pt x="2778" y="3394"/>
                  </a:cubicBezTo>
                  <a:cubicBezTo>
                    <a:pt x="3136" y="2931"/>
                    <a:pt x="3136" y="2931"/>
                    <a:pt x="3136" y="2931"/>
                  </a:cubicBezTo>
                  <a:cubicBezTo>
                    <a:pt x="3971" y="3086"/>
                    <a:pt x="3971" y="3086"/>
                    <a:pt x="3971" y="3086"/>
                  </a:cubicBezTo>
                  <a:cubicBezTo>
                    <a:pt x="3971" y="3086"/>
                    <a:pt x="4568" y="2777"/>
                    <a:pt x="4687" y="2777"/>
                  </a:cubicBezTo>
                  <a:cubicBezTo>
                    <a:pt x="4807" y="2777"/>
                    <a:pt x="5642" y="2623"/>
                    <a:pt x="5642" y="2623"/>
                  </a:cubicBezTo>
                  <a:cubicBezTo>
                    <a:pt x="6120" y="2160"/>
                    <a:pt x="6120" y="2160"/>
                    <a:pt x="6120" y="2160"/>
                  </a:cubicBezTo>
                  <a:cubicBezTo>
                    <a:pt x="6120" y="2160"/>
                    <a:pt x="6478" y="2314"/>
                    <a:pt x="6478" y="2469"/>
                  </a:cubicBezTo>
                  <a:cubicBezTo>
                    <a:pt x="6597" y="2623"/>
                    <a:pt x="6955" y="3086"/>
                    <a:pt x="7074" y="3086"/>
                  </a:cubicBezTo>
                  <a:cubicBezTo>
                    <a:pt x="7194" y="2931"/>
                    <a:pt x="7313" y="2314"/>
                    <a:pt x="7313" y="2314"/>
                  </a:cubicBezTo>
                  <a:cubicBezTo>
                    <a:pt x="8029" y="2160"/>
                    <a:pt x="8029" y="2160"/>
                    <a:pt x="8029" y="2160"/>
                  </a:cubicBezTo>
                  <a:cubicBezTo>
                    <a:pt x="8626" y="2006"/>
                    <a:pt x="8626" y="2006"/>
                    <a:pt x="8626" y="2006"/>
                  </a:cubicBezTo>
                  <a:cubicBezTo>
                    <a:pt x="8626" y="2006"/>
                    <a:pt x="8626" y="1851"/>
                    <a:pt x="8745" y="1851"/>
                  </a:cubicBezTo>
                  <a:cubicBezTo>
                    <a:pt x="8864" y="2006"/>
                    <a:pt x="9580" y="2006"/>
                    <a:pt x="9580" y="2006"/>
                  </a:cubicBezTo>
                  <a:cubicBezTo>
                    <a:pt x="10296" y="2006"/>
                    <a:pt x="10296" y="2006"/>
                    <a:pt x="10296" y="2006"/>
                  </a:cubicBezTo>
                  <a:cubicBezTo>
                    <a:pt x="10296" y="2006"/>
                    <a:pt x="10774" y="2314"/>
                    <a:pt x="10893" y="2314"/>
                  </a:cubicBezTo>
                  <a:cubicBezTo>
                    <a:pt x="10893" y="2160"/>
                    <a:pt x="11251" y="1543"/>
                    <a:pt x="11251" y="1543"/>
                  </a:cubicBezTo>
                  <a:cubicBezTo>
                    <a:pt x="11967" y="1851"/>
                    <a:pt x="11967" y="1851"/>
                    <a:pt x="11967" y="1851"/>
                  </a:cubicBezTo>
                  <a:cubicBezTo>
                    <a:pt x="12086" y="1234"/>
                    <a:pt x="12086" y="1234"/>
                    <a:pt x="12086" y="1234"/>
                  </a:cubicBezTo>
                  <a:cubicBezTo>
                    <a:pt x="12086" y="1234"/>
                    <a:pt x="12444" y="463"/>
                    <a:pt x="12444" y="463"/>
                  </a:cubicBezTo>
                  <a:cubicBezTo>
                    <a:pt x="12564" y="463"/>
                    <a:pt x="13041" y="0"/>
                    <a:pt x="13041" y="0"/>
                  </a:cubicBezTo>
                  <a:cubicBezTo>
                    <a:pt x="13280" y="926"/>
                    <a:pt x="13280" y="926"/>
                    <a:pt x="13280" y="926"/>
                  </a:cubicBezTo>
                  <a:cubicBezTo>
                    <a:pt x="13757" y="1389"/>
                    <a:pt x="13757" y="1389"/>
                    <a:pt x="13757" y="1389"/>
                  </a:cubicBezTo>
                  <a:cubicBezTo>
                    <a:pt x="13876" y="1543"/>
                    <a:pt x="13876" y="1543"/>
                    <a:pt x="13876" y="1543"/>
                  </a:cubicBezTo>
                  <a:cubicBezTo>
                    <a:pt x="14354" y="2006"/>
                    <a:pt x="14354" y="2006"/>
                    <a:pt x="14354" y="2006"/>
                  </a:cubicBezTo>
                  <a:cubicBezTo>
                    <a:pt x="15189" y="1697"/>
                    <a:pt x="15189" y="1697"/>
                    <a:pt x="15189" y="1697"/>
                  </a:cubicBezTo>
                  <a:cubicBezTo>
                    <a:pt x="15666" y="1543"/>
                    <a:pt x="15666" y="1543"/>
                    <a:pt x="15666" y="1543"/>
                  </a:cubicBezTo>
                  <a:cubicBezTo>
                    <a:pt x="16024" y="1543"/>
                    <a:pt x="16024" y="1543"/>
                    <a:pt x="16024" y="1543"/>
                  </a:cubicBezTo>
                  <a:cubicBezTo>
                    <a:pt x="16144" y="1851"/>
                    <a:pt x="16144" y="1851"/>
                    <a:pt x="16144" y="1851"/>
                  </a:cubicBezTo>
                  <a:cubicBezTo>
                    <a:pt x="16502" y="2160"/>
                    <a:pt x="16502" y="2160"/>
                    <a:pt x="16502" y="2160"/>
                  </a:cubicBezTo>
                  <a:cubicBezTo>
                    <a:pt x="17099" y="2160"/>
                    <a:pt x="17099" y="2160"/>
                    <a:pt x="17099" y="2160"/>
                  </a:cubicBezTo>
                  <a:cubicBezTo>
                    <a:pt x="17337" y="2623"/>
                    <a:pt x="17337" y="2623"/>
                    <a:pt x="17337" y="2623"/>
                  </a:cubicBezTo>
                  <a:cubicBezTo>
                    <a:pt x="17815" y="2777"/>
                    <a:pt x="17815" y="2777"/>
                    <a:pt x="17815" y="2777"/>
                  </a:cubicBezTo>
                  <a:cubicBezTo>
                    <a:pt x="18173" y="3394"/>
                    <a:pt x="18173" y="3394"/>
                    <a:pt x="18173" y="3394"/>
                  </a:cubicBezTo>
                  <a:cubicBezTo>
                    <a:pt x="18531" y="3549"/>
                    <a:pt x="18531" y="3549"/>
                    <a:pt x="18531" y="3549"/>
                  </a:cubicBezTo>
                  <a:cubicBezTo>
                    <a:pt x="18769" y="4166"/>
                    <a:pt x="18769" y="4166"/>
                    <a:pt x="18769" y="4166"/>
                  </a:cubicBezTo>
                  <a:cubicBezTo>
                    <a:pt x="19247" y="4166"/>
                    <a:pt x="19247" y="4166"/>
                    <a:pt x="19247" y="4166"/>
                  </a:cubicBezTo>
                  <a:cubicBezTo>
                    <a:pt x="19843" y="4320"/>
                    <a:pt x="19843" y="4320"/>
                    <a:pt x="19843" y="4320"/>
                  </a:cubicBezTo>
                  <a:cubicBezTo>
                    <a:pt x="20201" y="4320"/>
                    <a:pt x="20201" y="4320"/>
                    <a:pt x="20201" y="4320"/>
                  </a:cubicBezTo>
                  <a:cubicBezTo>
                    <a:pt x="20201" y="4320"/>
                    <a:pt x="20201" y="4320"/>
                    <a:pt x="20201" y="4320"/>
                  </a:cubicBezTo>
                  <a:cubicBezTo>
                    <a:pt x="20321" y="4320"/>
                    <a:pt x="20321" y="4320"/>
                    <a:pt x="20321" y="4320"/>
                  </a:cubicBezTo>
                  <a:cubicBezTo>
                    <a:pt x="20440" y="5709"/>
                    <a:pt x="20440" y="5709"/>
                    <a:pt x="20440" y="5709"/>
                  </a:cubicBezTo>
                  <a:cubicBezTo>
                    <a:pt x="20201" y="6480"/>
                    <a:pt x="20201" y="6480"/>
                    <a:pt x="20201" y="6480"/>
                  </a:cubicBezTo>
                  <a:cubicBezTo>
                    <a:pt x="20201" y="7251"/>
                    <a:pt x="20201" y="7251"/>
                    <a:pt x="20201" y="7251"/>
                  </a:cubicBezTo>
                  <a:cubicBezTo>
                    <a:pt x="20559" y="7406"/>
                    <a:pt x="20559" y="7406"/>
                    <a:pt x="20559" y="7406"/>
                  </a:cubicBezTo>
                  <a:cubicBezTo>
                    <a:pt x="21395" y="7251"/>
                    <a:pt x="21395" y="7251"/>
                    <a:pt x="21395" y="7251"/>
                  </a:cubicBezTo>
                  <a:cubicBezTo>
                    <a:pt x="21514" y="7869"/>
                    <a:pt x="21514" y="7869"/>
                    <a:pt x="21514" y="7869"/>
                  </a:cubicBezTo>
                  <a:cubicBezTo>
                    <a:pt x="21037" y="8177"/>
                    <a:pt x="21037" y="8177"/>
                    <a:pt x="21037" y="8177"/>
                  </a:cubicBezTo>
                  <a:cubicBezTo>
                    <a:pt x="21156" y="8949"/>
                    <a:pt x="21156" y="8949"/>
                    <a:pt x="21156" y="8949"/>
                  </a:cubicBezTo>
                  <a:cubicBezTo>
                    <a:pt x="20201" y="8794"/>
                    <a:pt x="20201" y="8794"/>
                    <a:pt x="20201" y="8794"/>
                  </a:cubicBezTo>
                  <a:cubicBezTo>
                    <a:pt x="19843" y="9257"/>
                    <a:pt x="19843" y="9257"/>
                    <a:pt x="19843" y="9257"/>
                  </a:cubicBezTo>
                  <a:cubicBezTo>
                    <a:pt x="19843" y="10337"/>
                    <a:pt x="19843" y="10337"/>
                    <a:pt x="19843" y="10337"/>
                  </a:cubicBezTo>
                  <a:cubicBezTo>
                    <a:pt x="18889" y="10800"/>
                    <a:pt x="18889" y="10800"/>
                    <a:pt x="18889" y="10800"/>
                  </a:cubicBezTo>
                  <a:cubicBezTo>
                    <a:pt x="18650" y="11417"/>
                    <a:pt x="18650" y="11417"/>
                    <a:pt x="18650" y="11417"/>
                  </a:cubicBezTo>
                  <a:cubicBezTo>
                    <a:pt x="18650" y="12034"/>
                    <a:pt x="18650" y="12034"/>
                    <a:pt x="18650" y="12034"/>
                  </a:cubicBezTo>
                  <a:cubicBezTo>
                    <a:pt x="18531" y="12651"/>
                    <a:pt x="18531" y="12651"/>
                    <a:pt x="18531" y="12651"/>
                  </a:cubicBezTo>
                  <a:cubicBezTo>
                    <a:pt x="18650" y="13731"/>
                    <a:pt x="18650" y="13731"/>
                    <a:pt x="18650" y="13731"/>
                  </a:cubicBezTo>
                  <a:cubicBezTo>
                    <a:pt x="18769" y="14657"/>
                    <a:pt x="18769" y="14657"/>
                    <a:pt x="18769" y="14657"/>
                  </a:cubicBezTo>
                  <a:cubicBezTo>
                    <a:pt x="18769" y="14657"/>
                    <a:pt x="18531" y="15429"/>
                    <a:pt x="18411" y="15891"/>
                  </a:cubicBezTo>
                  <a:cubicBezTo>
                    <a:pt x="18411" y="16200"/>
                    <a:pt x="18650" y="16046"/>
                    <a:pt x="18650" y="16046"/>
                  </a:cubicBezTo>
                  <a:cubicBezTo>
                    <a:pt x="19247" y="16354"/>
                    <a:pt x="19247" y="16354"/>
                    <a:pt x="19247" y="16354"/>
                  </a:cubicBezTo>
                  <a:cubicBezTo>
                    <a:pt x="19485" y="16509"/>
                    <a:pt x="19485" y="16509"/>
                    <a:pt x="19485" y="16509"/>
                  </a:cubicBezTo>
                  <a:cubicBezTo>
                    <a:pt x="19247" y="17434"/>
                    <a:pt x="19247" y="17434"/>
                    <a:pt x="19247" y="17434"/>
                  </a:cubicBezTo>
                  <a:cubicBezTo>
                    <a:pt x="18650" y="17589"/>
                    <a:pt x="18650" y="17589"/>
                    <a:pt x="18650" y="17589"/>
                  </a:cubicBezTo>
                  <a:cubicBezTo>
                    <a:pt x="18769" y="16971"/>
                    <a:pt x="18769" y="16971"/>
                    <a:pt x="18769" y="16971"/>
                  </a:cubicBezTo>
                  <a:cubicBezTo>
                    <a:pt x="18531" y="16663"/>
                    <a:pt x="18531" y="16663"/>
                    <a:pt x="18531" y="16663"/>
                  </a:cubicBezTo>
                  <a:cubicBezTo>
                    <a:pt x="18173" y="17126"/>
                    <a:pt x="18173" y="17126"/>
                    <a:pt x="18173" y="17126"/>
                  </a:cubicBezTo>
                  <a:cubicBezTo>
                    <a:pt x="17337" y="17434"/>
                    <a:pt x="17337" y="17434"/>
                    <a:pt x="17337" y="17434"/>
                  </a:cubicBezTo>
                  <a:cubicBezTo>
                    <a:pt x="17337" y="17743"/>
                    <a:pt x="17337" y="17743"/>
                    <a:pt x="17337" y="17743"/>
                  </a:cubicBezTo>
                  <a:cubicBezTo>
                    <a:pt x="17099" y="18360"/>
                    <a:pt x="17099" y="18360"/>
                    <a:pt x="17099" y="18360"/>
                  </a:cubicBezTo>
                  <a:cubicBezTo>
                    <a:pt x="17099" y="18360"/>
                    <a:pt x="16621" y="18360"/>
                    <a:pt x="16383" y="18360"/>
                  </a:cubicBezTo>
                  <a:cubicBezTo>
                    <a:pt x="16263" y="18206"/>
                    <a:pt x="16144" y="18669"/>
                    <a:pt x="16144" y="18669"/>
                  </a:cubicBezTo>
                  <a:cubicBezTo>
                    <a:pt x="16383" y="19749"/>
                    <a:pt x="16383" y="19749"/>
                    <a:pt x="16383" y="19749"/>
                  </a:cubicBezTo>
                  <a:cubicBezTo>
                    <a:pt x="15786" y="19749"/>
                    <a:pt x="15786" y="19749"/>
                    <a:pt x="15786" y="19749"/>
                  </a:cubicBezTo>
                  <a:cubicBezTo>
                    <a:pt x="15308" y="20520"/>
                    <a:pt x="15308" y="20520"/>
                    <a:pt x="15308" y="20520"/>
                  </a:cubicBezTo>
                  <a:cubicBezTo>
                    <a:pt x="14473" y="20674"/>
                    <a:pt x="14473" y="20674"/>
                    <a:pt x="14473" y="20674"/>
                  </a:cubicBezTo>
                  <a:cubicBezTo>
                    <a:pt x="13757" y="20520"/>
                    <a:pt x="13757" y="20520"/>
                    <a:pt x="13757" y="20520"/>
                  </a:cubicBezTo>
                  <a:cubicBezTo>
                    <a:pt x="12564" y="21137"/>
                    <a:pt x="12564" y="21137"/>
                    <a:pt x="12564" y="21137"/>
                  </a:cubicBezTo>
                  <a:cubicBezTo>
                    <a:pt x="11490" y="21446"/>
                    <a:pt x="11490" y="21446"/>
                    <a:pt x="11490" y="21446"/>
                  </a:cubicBezTo>
                  <a:cubicBezTo>
                    <a:pt x="11490" y="21600"/>
                    <a:pt x="11490" y="21600"/>
                    <a:pt x="11490" y="21600"/>
                  </a:cubicBezTo>
                  <a:cubicBezTo>
                    <a:pt x="11370" y="20674"/>
                    <a:pt x="11370" y="20674"/>
                    <a:pt x="11370" y="20674"/>
                  </a:cubicBezTo>
                  <a:cubicBezTo>
                    <a:pt x="11012" y="20211"/>
                    <a:pt x="11012" y="20211"/>
                    <a:pt x="11012" y="20211"/>
                  </a:cubicBezTo>
                  <a:cubicBezTo>
                    <a:pt x="11012" y="20211"/>
                    <a:pt x="10654" y="19286"/>
                    <a:pt x="10654" y="19131"/>
                  </a:cubicBezTo>
                  <a:cubicBezTo>
                    <a:pt x="10654" y="19131"/>
                    <a:pt x="9342" y="19131"/>
                    <a:pt x="9342" y="19131"/>
                  </a:cubicBezTo>
                  <a:cubicBezTo>
                    <a:pt x="9342" y="19131"/>
                    <a:pt x="9103" y="18669"/>
                    <a:pt x="8984" y="18360"/>
                  </a:cubicBezTo>
                  <a:cubicBezTo>
                    <a:pt x="8984" y="18206"/>
                    <a:pt x="8626" y="18669"/>
                    <a:pt x="8626" y="18669"/>
                  </a:cubicBezTo>
                  <a:cubicBezTo>
                    <a:pt x="8148" y="18823"/>
                    <a:pt x="8148" y="18823"/>
                    <a:pt x="8148" y="18823"/>
                  </a:cubicBezTo>
                  <a:cubicBezTo>
                    <a:pt x="8148" y="18669"/>
                    <a:pt x="8148" y="18669"/>
                    <a:pt x="8148" y="18669"/>
                  </a:cubicBezTo>
                  <a:cubicBezTo>
                    <a:pt x="7790" y="18051"/>
                    <a:pt x="7790" y="18051"/>
                    <a:pt x="7790" y="18051"/>
                  </a:cubicBezTo>
                  <a:cubicBezTo>
                    <a:pt x="7790" y="16509"/>
                    <a:pt x="7790" y="16509"/>
                    <a:pt x="7790" y="16509"/>
                  </a:cubicBezTo>
                  <a:cubicBezTo>
                    <a:pt x="7790" y="16046"/>
                    <a:pt x="7790" y="16046"/>
                    <a:pt x="7790" y="16046"/>
                  </a:cubicBezTo>
                  <a:cubicBezTo>
                    <a:pt x="8029" y="14966"/>
                    <a:pt x="8029" y="14966"/>
                    <a:pt x="8029" y="14966"/>
                  </a:cubicBezTo>
                  <a:cubicBezTo>
                    <a:pt x="8029" y="14966"/>
                    <a:pt x="7790" y="14811"/>
                    <a:pt x="7671" y="14503"/>
                  </a:cubicBezTo>
                  <a:cubicBezTo>
                    <a:pt x="7432" y="14194"/>
                    <a:pt x="7194" y="13886"/>
                    <a:pt x="7194" y="13886"/>
                  </a:cubicBezTo>
                  <a:cubicBezTo>
                    <a:pt x="6955" y="13886"/>
                    <a:pt x="6955" y="13886"/>
                    <a:pt x="6955" y="13886"/>
                  </a:cubicBezTo>
                  <a:cubicBezTo>
                    <a:pt x="6597" y="13269"/>
                    <a:pt x="6597" y="13269"/>
                    <a:pt x="6597" y="13269"/>
                  </a:cubicBezTo>
                  <a:cubicBezTo>
                    <a:pt x="5762" y="13577"/>
                    <a:pt x="5762" y="13577"/>
                    <a:pt x="5762" y="13577"/>
                  </a:cubicBezTo>
                  <a:cubicBezTo>
                    <a:pt x="5284" y="13731"/>
                    <a:pt x="5284" y="13731"/>
                    <a:pt x="5284" y="13731"/>
                  </a:cubicBezTo>
                  <a:cubicBezTo>
                    <a:pt x="5045" y="14040"/>
                    <a:pt x="5045" y="14040"/>
                    <a:pt x="5045" y="14040"/>
                  </a:cubicBezTo>
                  <a:cubicBezTo>
                    <a:pt x="3613" y="13886"/>
                    <a:pt x="3613" y="13886"/>
                    <a:pt x="3613" y="13886"/>
                  </a:cubicBezTo>
                  <a:cubicBezTo>
                    <a:pt x="2897" y="13423"/>
                    <a:pt x="2897" y="13423"/>
                    <a:pt x="2897" y="13423"/>
                  </a:cubicBezTo>
                  <a:cubicBezTo>
                    <a:pt x="2539" y="13269"/>
                    <a:pt x="2539" y="13269"/>
                    <a:pt x="2539" y="13269"/>
                  </a:cubicBezTo>
                  <a:cubicBezTo>
                    <a:pt x="2062" y="12806"/>
                    <a:pt x="2062" y="12806"/>
                    <a:pt x="2062" y="12806"/>
                  </a:cubicBezTo>
                  <a:cubicBezTo>
                    <a:pt x="1465" y="12189"/>
                    <a:pt x="1465" y="12189"/>
                    <a:pt x="1465" y="12189"/>
                  </a:cubicBezTo>
                  <a:cubicBezTo>
                    <a:pt x="1346" y="11263"/>
                    <a:pt x="1346" y="11263"/>
                    <a:pt x="1346" y="11263"/>
                  </a:cubicBezTo>
                  <a:cubicBezTo>
                    <a:pt x="1227" y="10646"/>
                    <a:pt x="1227" y="10646"/>
                    <a:pt x="1227" y="10646"/>
                  </a:cubicBezTo>
                  <a:cubicBezTo>
                    <a:pt x="630" y="9874"/>
                    <a:pt x="630" y="9874"/>
                    <a:pt x="630" y="9874"/>
                  </a:cubicBezTo>
                  <a:cubicBezTo>
                    <a:pt x="391" y="9257"/>
                    <a:pt x="391" y="9257"/>
                    <a:pt x="391" y="9257"/>
                  </a:cubicBezTo>
                  <a:cubicBezTo>
                    <a:pt x="391" y="8331"/>
                    <a:pt x="391" y="8331"/>
                    <a:pt x="391" y="8331"/>
                  </a:cubicBezTo>
                  <a:cubicBezTo>
                    <a:pt x="33" y="7560"/>
                    <a:pt x="33" y="7560"/>
                    <a:pt x="33" y="7560"/>
                  </a:cubicBezTo>
                  <a:cubicBezTo>
                    <a:pt x="153" y="6789"/>
                    <a:pt x="153" y="6789"/>
                    <a:pt x="153" y="6789"/>
                  </a:cubicBezTo>
                  <a:cubicBezTo>
                    <a:pt x="153" y="6789"/>
                    <a:pt x="-86" y="6634"/>
                    <a:pt x="33" y="6480"/>
                  </a:cubicBezTo>
                  <a:cubicBezTo>
                    <a:pt x="272" y="6480"/>
                    <a:pt x="630" y="6326"/>
                    <a:pt x="630" y="6326"/>
                  </a:cubicBezTo>
                  <a:cubicBezTo>
                    <a:pt x="749" y="5400"/>
                    <a:pt x="749" y="5400"/>
                    <a:pt x="749" y="5400"/>
                  </a:cubicBezTo>
                  <a:cubicBezTo>
                    <a:pt x="869" y="5091"/>
                    <a:pt x="869" y="5091"/>
                    <a:pt x="869" y="5091"/>
                  </a:cubicBezTo>
                  <a:cubicBezTo>
                    <a:pt x="1346" y="4783"/>
                    <a:pt x="1346" y="4783"/>
                    <a:pt x="1346" y="4783"/>
                  </a:cubicBezTo>
                  <a:cubicBezTo>
                    <a:pt x="1585" y="4011"/>
                    <a:pt x="1585" y="4011"/>
                    <a:pt x="1585" y="4011"/>
                  </a:cubicBezTo>
                  <a:lnTo>
                    <a:pt x="2062" y="4011"/>
                  </a:lnTo>
                  <a:close/>
                </a:path>
              </a:pathLst>
            </a:custGeom>
            <a:solidFill>
              <a:srgbClr val="CCCDF1"/>
            </a:solidFill>
            <a:ln w="3175" cap="rnd" cmpd="sng">
              <a:solidFill>
                <a:schemeClr val="bg1"/>
              </a:solidFill>
              <a:prstDash val="solid"/>
              <a:round/>
              <a:headEnd type="none" w="sm" len="sm"/>
              <a:tailEnd type="none" w="sm" len="sm"/>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None/>
              </a:pPr>
              <a:endParaRPr sz="1800" b="0" i="0" u="none">
                <a:solidFill>
                  <a:srgbClr val="2C2C2C"/>
                </a:solidFill>
                <a:latin typeface="Open Sans"/>
                <a:ea typeface="Open Sans"/>
                <a:cs typeface="Open Sans"/>
                <a:sym typeface="Open Sans"/>
              </a:endParaRPr>
            </a:p>
          </p:txBody>
        </p:sp>
        <p:sp>
          <p:nvSpPr>
            <p:cNvPr id="22" name="Google Shape;11624;p273" descr="Freeform 53">
              <a:extLst>
                <a:ext uri="{FF2B5EF4-FFF2-40B4-BE49-F238E27FC236}">
                  <a16:creationId xmlns:a16="http://schemas.microsoft.com/office/drawing/2014/main" id="{6CD8A876-4E05-DA91-D506-DCC7043B3E8D}"/>
                </a:ext>
              </a:extLst>
            </p:cNvPr>
            <p:cNvSpPr/>
            <p:nvPr/>
          </p:nvSpPr>
          <p:spPr>
            <a:xfrm>
              <a:off x="4459616" y="2100151"/>
              <a:ext cx="431140" cy="284264"/>
            </a:xfrm>
            <a:custGeom>
              <a:avLst/>
              <a:gdLst/>
              <a:ahLst/>
              <a:cxnLst/>
              <a:rect l="l" t="t" r="r" b="b"/>
              <a:pathLst>
                <a:path w="21532" h="21465" extrusionOk="0">
                  <a:moveTo>
                    <a:pt x="4718" y="9360"/>
                  </a:moveTo>
                  <a:cubicBezTo>
                    <a:pt x="4841" y="9000"/>
                    <a:pt x="4841" y="9000"/>
                    <a:pt x="4841" y="9000"/>
                  </a:cubicBezTo>
                  <a:cubicBezTo>
                    <a:pt x="4964" y="8640"/>
                    <a:pt x="4964" y="8640"/>
                    <a:pt x="4964" y="8640"/>
                  </a:cubicBezTo>
                  <a:cubicBezTo>
                    <a:pt x="4964" y="8100"/>
                    <a:pt x="4964" y="8100"/>
                    <a:pt x="4964" y="8100"/>
                  </a:cubicBezTo>
                  <a:cubicBezTo>
                    <a:pt x="4718" y="8100"/>
                    <a:pt x="4718" y="8100"/>
                    <a:pt x="4718" y="8100"/>
                  </a:cubicBezTo>
                  <a:cubicBezTo>
                    <a:pt x="4596" y="7560"/>
                    <a:pt x="4596" y="7560"/>
                    <a:pt x="4596" y="7560"/>
                  </a:cubicBezTo>
                  <a:cubicBezTo>
                    <a:pt x="4596" y="7560"/>
                    <a:pt x="4718" y="7380"/>
                    <a:pt x="4841" y="7380"/>
                  </a:cubicBezTo>
                  <a:cubicBezTo>
                    <a:pt x="4841" y="7200"/>
                    <a:pt x="5209" y="7200"/>
                    <a:pt x="5209" y="7200"/>
                  </a:cubicBezTo>
                  <a:cubicBezTo>
                    <a:pt x="5455" y="6840"/>
                    <a:pt x="5455" y="6840"/>
                    <a:pt x="5455" y="6840"/>
                  </a:cubicBezTo>
                  <a:cubicBezTo>
                    <a:pt x="5455" y="6840"/>
                    <a:pt x="5332" y="6480"/>
                    <a:pt x="5577" y="6480"/>
                  </a:cubicBezTo>
                  <a:cubicBezTo>
                    <a:pt x="5700" y="6480"/>
                    <a:pt x="5946" y="6480"/>
                    <a:pt x="6068" y="6480"/>
                  </a:cubicBezTo>
                  <a:cubicBezTo>
                    <a:pt x="6191" y="6480"/>
                    <a:pt x="6314" y="6300"/>
                    <a:pt x="6314" y="6300"/>
                  </a:cubicBezTo>
                  <a:cubicBezTo>
                    <a:pt x="6559" y="6300"/>
                    <a:pt x="6682" y="6480"/>
                    <a:pt x="6559" y="6300"/>
                  </a:cubicBezTo>
                  <a:cubicBezTo>
                    <a:pt x="6559" y="6300"/>
                    <a:pt x="6559" y="6120"/>
                    <a:pt x="6437" y="5940"/>
                  </a:cubicBezTo>
                  <a:cubicBezTo>
                    <a:pt x="6314" y="5760"/>
                    <a:pt x="5946" y="5400"/>
                    <a:pt x="6191" y="5220"/>
                  </a:cubicBezTo>
                  <a:cubicBezTo>
                    <a:pt x="6314" y="5040"/>
                    <a:pt x="6437" y="5040"/>
                    <a:pt x="6559" y="5220"/>
                  </a:cubicBezTo>
                  <a:cubicBezTo>
                    <a:pt x="6682" y="5220"/>
                    <a:pt x="6805" y="5580"/>
                    <a:pt x="6805" y="5580"/>
                  </a:cubicBezTo>
                  <a:cubicBezTo>
                    <a:pt x="6805" y="4860"/>
                    <a:pt x="6805" y="4860"/>
                    <a:pt x="6805" y="4860"/>
                  </a:cubicBezTo>
                  <a:cubicBezTo>
                    <a:pt x="6805" y="4860"/>
                    <a:pt x="7173" y="4860"/>
                    <a:pt x="7296" y="4680"/>
                  </a:cubicBezTo>
                  <a:cubicBezTo>
                    <a:pt x="7296" y="4500"/>
                    <a:pt x="7173" y="4140"/>
                    <a:pt x="7173" y="4140"/>
                  </a:cubicBezTo>
                  <a:cubicBezTo>
                    <a:pt x="7173" y="4140"/>
                    <a:pt x="7173" y="4140"/>
                    <a:pt x="7541" y="4140"/>
                  </a:cubicBezTo>
                  <a:cubicBezTo>
                    <a:pt x="7909" y="3960"/>
                    <a:pt x="7787" y="3960"/>
                    <a:pt x="8032" y="3960"/>
                  </a:cubicBezTo>
                  <a:cubicBezTo>
                    <a:pt x="8155" y="3960"/>
                    <a:pt x="8523" y="3960"/>
                    <a:pt x="8523" y="3960"/>
                  </a:cubicBezTo>
                  <a:cubicBezTo>
                    <a:pt x="8523" y="3960"/>
                    <a:pt x="8768" y="3780"/>
                    <a:pt x="8646" y="3600"/>
                  </a:cubicBezTo>
                  <a:cubicBezTo>
                    <a:pt x="8646" y="3420"/>
                    <a:pt x="8400" y="3060"/>
                    <a:pt x="8400" y="3060"/>
                  </a:cubicBezTo>
                  <a:cubicBezTo>
                    <a:pt x="8400" y="3060"/>
                    <a:pt x="8523" y="2520"/>
                    <a:pt x="8523" y="2700"/>
                  </a:cubicBezTo>
                  <a:cubicBezTo>
                    <a:pt x="8523" y="3060"/>
                    <a:pt x="8891" y="3420"/>
                    <a:pt x="8891" y="3420"/>
                  </a:cubicBezTo>
                  <a:cubicBezTo>
                    <a:pt x="9137" y="3060"/>
                    <a:pt x="9137" y="3060"/>
                    <a:pt x="9137" y="3060"/>
                  </a:cubicBezTo>
                  <a:cubicBezTo>
                    <a:pt x="9505" y="2880"/>
                    <a:pt x="9505" y="2880"/>
                    <a:pt x="9505" y="2880"/>
                  </a:cubicBezTo>
                  <a:cubicBezTo>
                    <a:pt x="9873" y="2700"/>
                    <a:pt x="9873" y="2700"/>
                    <a:pt x="9873" y="2700"/>
                  </a:cubicBezTo>
                  <a:cubicBezTo>
                    <a:pt x="9873" y="2700"/>
                    <a:pt x="10241" y="2700"/>
                    <a:pt x="10487" y="2700"/>
                  </a:cubicBezTo>
                  <a:cubicBezTo>
                    <a:pt x="10609" y="2700"/>
                    <a:pt x="10977" y="2520"/>
                    <a:pt x="10977" y="2520"/>
                  </a:cubicBezTo>
                  <a:cubicBezTo>
                    <a:pt x="11100" y="2160"/>
                    <a:pt x="11100" y="2160"/>
                    <a:pt x="11100" y="2160"/>
                  </a:cubicBezTo>
                  <a:cubicBezTo>
                    <a:pt x="10609" y="1440"/>
                    <a:pt x="10609" y="1440"/>
                    <a:pt x="10609" y="1440"/>
                  </a:cubicBezTo>
                  <a:cubicBezTo>
                    <a:pt x="10609" y="1440"/>
                    <a:pt x="10855" y="900"/>
                    <a:pt x="10855" y="1080"/>
                  </a:cubicBezTo>
                  <a:cubicBezTo>
                    <a:pt x="10977" y="1260"/>
                    <a:pt x="10977" y="1620"/>
                    <a:pt x="11100" y="1620"/>
                  </a:cubicBezTo>
                  <a:cubicBezTo>
                    <a:pt x="11223" y="1620"/>
                    <a:pt x="11346" y="1800"/>
                    <a:pt x="11468" y="1620"/>
                  </a:cubicBezTo>
                  <a:cubicBezTo>
                    <a:pt x="11468" y="1440"/>
                    <a:pt x="11468" y="900"/>
                    <a:pt x="11468" y="900"/>
                  </a:cubicBezTo>
                  <a:cubicBezTo>
                    <a:pt x="11468" y="900"/>
                    <a:pt x="11346" y="720"/>
                    <a:pt x="11468" y="720"/>
                  </a:cubicBezTo>
                  <a:cubicBezTo>
                    <a:pt x="11591" y="900"/>
                    <a:pt x="11837" y="1260"/>
                    <a:pt x="11837" y="1260"/>
                  </a:cubicBezTo>
                  <a:cubicBezTo>
                    <a:pt x="12205" y="1260"/>
                    <a:pt x="12205" y="1260"/>
                    <a:pt x="12205" y="1260"/>
                  </a:cubicBezTo>
                  <a:cubicBezTo>
                    <a:pt x="12573" y="720"/>
                    <a:pt x="12573" y="720"/>
                    <a:pt x="12573" y="720"/>
                  </a:cubicBezTo>
                  <a:cubicBezTo>
                    <a:pt x="12696" y="1080"/>
                    <a:pt x="12696" y="1080"/>
                    <a:pt x="12696" y="1080"/>
                  </a:cubicBezTo>
                  <a:cubicBezTo>
                    <a:pt x="12696" y="1080"/>
                    <a:pt x="12941" y="900"/>
                    <a:pt x="13064" y="900"/>
                  </a:cubicBezTo>
                  <a:cubicBezTo>
                    <a:pt x="13187" y="900"/>
                    <a:pt x="13187" y="720"/>
                    <a:pt x="13309" y="720"/>
                  </a:cubicBezTo>
                  <a:cubicBezTo>
                    <a:pt x="13432" y="720"/>
                    <a:pt x="13677" y="900"/>
                    <a:pt x="13677" y="900"/>
                  </a:cubicBezTo>
                  <a:cubicBezTo>
                    <a:pt x="14291" y="1080"/>
                    <a:pt x="14291" y="1080"/>
                    <a:pt x="14291" y="1080"/>
                  </a:cubicBezTo>
                  <a:cubicBezTo>
                    <a:pt x="14537" y="540"/>
                    <a:pt x="14537" y="540"/>
                    <a:pt x="14537" y="540"/>
                  </a:cubicBezTo>
                  <a:cubicBezTo>
                    <a:pt x="15150" y="900"/>
                    <a:pt x="15150" y="900"/>
                    <a:pt x="15150" y="900"/>
                  </a:cubicBezTo>
                  <a:cubicBezTo>
                    <a:pt x="15641" y="1260"/>
                    <a:pt x="15641" y="1260"/>
                    <a:pt x="15641" y="1260"/>
                  </a:cubicBezTo>
                  <a:cubicBezTo>
                    <a:pt x="16255" y="1260"/>
                    <a:pt x="16255" y="1260"/>
                    <a:pt x="16255" y="1260"/>
                  </a:cubicBezTo>
                  <a:cubicBezTo>
                    <a:pt x="16255" y="1260"/>
                    <a:pt x="16746" y="900"/>
                    <a:pt x="16868" y="900"/>
                  </a:cubicBezTo>
                  <a:cubicBezTo>
                    <a:pt x="17114" y="720"/>
                    <a:pt x="17605" y="720"/>
                    <a:pt x="17605" y="720"/>
                  </a:cubicBezTo>
                  <a:cubicBezTo>
                    <a:pt x="17605" y="720"/>
                    <a:pt x="17727" y="720"/>
                    <a:pt x="17973" y="720"/>
                  </a:cubicBezTo>
                  <a:cubicBezTo>
                    <a:pt x="18218" y="540"/>
                    <a:pt x="18832" y="540"/>
                    <a:pt x="18832" y="540"/>
                  </a:cubicBezTo>
                  <a:cubicBezTo>
                    <a:pt x="19200" y="0"/>
                    <a:pt x="19200" y="0"/>
                    <a:pt x="19200" y="0"/>
                  </a:cubicBezTo>
                  <a:cubicBezTo>
                    <a:pt x="19814" y="360"/>
                    <a:pt x="19814" y="360"/>
                    <a:pt x="19814" y="360"/>
                  </a:cubicBezTo>
                  <a:cubicBezTo>
                    <a:pt x="19814" y="720"/>
                    <a:pt x="19814" y="720"/>
                    <a:pt x="19814" y="720"/>
                  </a:cubicBezTo>
                  <a:cubicBezTo>
                    <a:pt x="19200" y="1440"/>
                    <a:pt x="19200" y="1440"/>
                    <a:pt x="19200" y="1440"/>
                  </a:cubicBezTo>
                  <a:cubicBezTo>
                    <a:pt x="19200" y="2700"/>
                    <a:pt x="19200" y="2700"/>
                    <a:pt x="19200" y="2700"/>
                  </a:cubicBezTo>
                  <a:cubicBezTo>
                    <a:pt x="19077" y="4500"/>
                    <a:pt x="18709" y="5400"/>
                    <a:pt x="18587" y="6480"/>
                  </a:cubicBezTo>
                  <a:cubicBezTo>
                    <a:pt x="18464" y="7020"/>
                    <a:pt x="18218" y="7200"/>
                    <a:pt x="18587" y="8100"/>
                  </a:cubicBezTo>
                  <a:cubicBezTo>
                    <a:pt x="18832" y="8460"/>
                    <a:pt x="18832" y="9720"/>
                    <a:pt x="19323" y="10440"/>
                  </a:cubicBezTo>
                  <a:cubicBezTo>
                    <a:pt x="19568" y="10800"/>
                    <a:pt x="19323" y="11700"/>
                    <a:pt x="19691" y="12060"/>
                  </a:cubicBezTo>
                  <a:cubicBezTo>
                    <a:pt x="19691" y="12060"/>
                    <a:pt x="19691" y="12240"/>
                    <a:pt x="19814" y="12600"/>
                  </a:cubicBezTo>
                  <a:cubicBezTo>
                    <a:pt x="20059" y="12960"/>
                    <a:pt x="20059" y="12780"/>
                    <a:pt x="20182" y="12960"/>
                  </a:cubicBezTo>
                  <a:cubicBezTo>
                    <a:pt x="20182" y="12960"/>
                    <a:pt x="20427" y="13140"/>
                    <a:pt x="20550" y="13320"/>
                  </a:cubicBezTo>
                  <a:cubicBezTo>
                    <a:pt x="20673" y="13500"/>
                    <a:pt x="20673" y="13860"/>
                    <a:pt x="20673" y="14040"/>
                  </a:cubicBezTo>
                  <a:cubicBezTo>
                    <a:pt x="20673" y="14220"/>
                    <a:pt x="20796" y="14400"/>
                    <a:pt x="20796" y="14400"/>
                  </a:cubicBezTo>
                  <a:cubicBezTo>
                    <a:pt x="20796" y="14400"/>
                    <a:pt x="20918" y="14220"/>
                    <a:pt x="20918" y="14400"/>
                  </a:cubicBezTo>
                  <a:cubicBezTo>
                    <a:pt x="20918" y="14580"/>
                    <a:pt x="20796" y="14220"/>
                    <a:pt x="20918" y="14580"/>
                  </a:cubicBezTo>
                  <a:cubicBezTo>
                    <a:pt x="21164" y="14940"/>
                    <a:pt x="21532" y="14940"/>
                    <a:pt x="21532" y="14940"/>
                  </a:cubicBezTo>
                  <a:cubicBezTo>
                    <a:pt x="21409" y="15660"/>
                    <a:pt x="21409" y="15660"/>
                    <a:pt x="21409" y="15660"/>
                  </a:cubicBezTo>
                  <a:cubicBezTo>
                    <a:pt x="21164" y="15840"/>
                    <a:pt x="21164" y="15840"/>
                    <a:pt x="21164" y="15840"/>
                  </a:cubicBezTo>
                  <a:cubicBezTo>
                    <a:pt x="21164" y="15840"/>
                    <a:pt x="20550" y="15840"/>
                    <a:pt x="20550" y="16200"/>
                  </a:cubicBezTo>
                  <a:cubicBezTo>
                    <a:pt x="20550" y="16380"/>
                    <a:pt x="20550" y="17100"/>
                    <a:pt x="20550" y="17100"/>
                  </a:cubicBezTo>
                  <a:cubicBezTo>
                    <a:pt x="20182" y="17640"/>
                    <a:pt x="20182" y="17640"/>
                    <a:pt x="20182" y="17640"/>
                  </a:cubicBezTo>
                  <a:cubicBezTo>
                    <a:pt x="20182" y="17640"/>
                    <a:pt x="20427" y="18360"/>
                    <a:pt x="20427" y="18540"/>
                  </a:cubicBezTo>
                  <a:cubicBezTo>
                    <a:pt x="20427" y="18720"/>
                    <a:pt x="20550" y="18720"/>
                    <a:pt x="20550" y="18720"/>
                  </a:cubicBezTo>
                  <a:cubicBezTo>
                    <a:pt x="20182" y="18900"/>
                    <a:pt x="20182" y="18900"/>
                    <a:pt x="20182" y="18900"/>
                  </a:cubicBezTo>
                  <a:cubicBezTo>
                    <a:pt x="19691" y="18900"/>
                    <a:pt x="19691" y="18900"/>
                    <a:pt x="19691" y="18900"/>
                  </a:cubicBezTo>
                  <a:cubicBezTo>
                    <a:pt x="18709" y="18540"/>
                    <a:pt x="18709" y="18540"/>
                    <a:pt x="18709" y="18540"/>
                  </a:cubicBezTo>
                  <a:cubicBezTo>
                    <a:pt x="18464" y="19080"/>
                    <a:pt x="18464" y="19080"/>
                    <a:pt x="18464" y="19080"/>
                  </a:cubicBezTo>
                  <a:cubicBezTo>
                    <a:pt x="18218" y="19080"/>
                    <a:pt x="18218" y="19080"/>
                    <a:pt x="18218" y="19080"/>
                  </a:cubicBezTo>
                  <a:cubicBezTo>
                    <a:pt x="18218" y="19080"/>
                    <a:pt x="18096" y="19440"/>
                    <a:pt x="17850" y="19620"/>
                  </a:cubicBezTo>
                  <a:cubicBezTo>
                    <a:pt x="17727" y="19800"/>
                    <a:pt x="17605" y="19980"/>
                    <a:pt x="17482" y="19980"/>
                  </a:cubicBezTo>
                  <a:cubicBezTo>
                    <a:pt x="17237" y="20160"/>
                    <a:pt x="16991" y="19800"/>
                    <a:pt x="16991" y="19800"/>
                  </a:cubicBezTo>
                  <a:cubicBezTo>
                    <a:pt x="16623" y="19620"/>
                    <a:pt x="16623" y="19620"/>
                    <a:pt x="16623" y="19620"/>
                  </a:cubicBezTo>
                  <a:cubicBezTo>
                    <a:pt x="16255" y="18900"/>
                    <a:pt x="16255" y="18900"/>
                    <a:pt x="16255" y="18900"/>
                  </a:cubicBezTo>
                  <a:cubicBezTo>
                    <a:pt x="15150" y="17820"/>
                    <a:pt x="15150" y="17820"/>
                    <a:pt x="15150" y="17820"/>
                  </a:cubicBezTo>
                  <a:cubicBezTo>
                    <a:pt x="14537" y="17460"/>
                    <a:pt x="14537" y="17460"/>
                    <a:pt x="14537" y="17460"/>
                  </a:cubicBezTo>
                  <a:cubicBezTo>
                    <a:pt x="14046" y="17280"/>
                    <a:pt x="14046" y="17280"/>
                    <a:pt x="14046" y="17280"/>
                  </a:cubicBezTo>
                  <a:cubicBezTo>
                    <a:pt x="13432" y="17280"/>
                    <a:pt x="13432" y="17280"/>
                    <a:pt x="13432" y="17280"/>
                  </a:cubicBezTo>
                  <a:cubicBezTo>
                    <a:pt x="12941" y="16920"/>
                    <a:pt x="12941" y="16920"/>
                    <a:pt x="12941" y="16920"/>
                  </a:cubicBezTo>
                  <a:cubicBezTo>
                    <a:pt x="12450" y="16920"/>
                    <a:pt x="12450" y="16920"/>
                    <a:pt x="12450" y="16920"/>
                  </a:cubicBezTo>
                  <a:cubicBezTo>
                    <a:pt x="11837" y="16560"/>
                    <a:pt x="11837" y="16560"/>
                    <a:pt x="11837" y="16560"/>
                  </a:cubicBezTo>
                  <a:cubicBezTo>
                    <a:pt x="11346" y="17100"/>
                    <a:pt x="11346" y="17100"/>
                    <a:pt x="11346" y="17100"/>
                  </a:cubicBezTo>
                  <a:cubicBezTo>
                    <a:pt x="10732" y="17640"/>
                    <a:pt x="10732" y="17640"/>
                    <a:pt x="10732" y="17640"/>
                  </a:cubicBezTo>
                  <a:cubicBezTo>
                    <a:pt x="10118" y="18540"/>
                    <a:pt x="10118" y="18540"/>
                    <a:pt x="10118" y="18540"/>
                  </a:cubicBezTo>
                  <a:cubicBezTo>
                    <a:pt x="10118" y="18540"/>
                    <a:pt x="9750" y="19080"/>
                    <a:pt x="9505" y="19260"/>
                  </a:cubicBezTo>
                  <a:cubicBezTo>
                    <a:pt x="9382" y="19080"/>
                    <a:pt x="9382" y="19080"/>
                    <a:pt x="9382" y="19080"/>
                  </a:cubicBezTo>
                  <a:cubicBezTo>
                    <a:pt x="9382" y="19080"/>
                    <a:pt x="9382" y="18540"/>
                    <a:pt x="9505" y="18180"/>
                  </a:cubicBezTo>
                  <a:cubicBezTo>
                    <a:pt x="9627" y="18000"/>
                    <a:pt x="9627" y="17640"/>
                    <a:pt x="9627" y="17460"/>
                  </a:cubicBezTo>
                  <a:cubicBezTo>
                    <a:pt x="9627" y="17280"/>
                    <a:pt x="9627" y="16920"/>
                    <a:pt x="9505" y="16560"/>
                  </a:cubicBezTo>
                  <a:cubicBezTo>
                    <a:pt x="9505" y="16200"/>
                    <a:pt x="9382" y="15660"/>
                    <a:pt x="9382" y="15660"/>
                  </a:cubicBezTo>
                  <a:cubicBezTo>
                    <a:pt x="9750" y="15300"/>
                    <a:pt x="9750" y="15300"/>
                    <a:pt x="9750" y="15300"/>
                  </a:cubicBezTo>
                  <a:cubicBezTo>
                    <a:pt x="9505" y="14400"/>
                    <a:pt x="9505" y="14400"/>
                    <a:pt x="9505" y="14400"/>
                  </a:cubicBezTo>
                  <a:cubicBezTo>
                    <a:pt x="9259" y="14400"/>
                    <a:pt x="9259" y="14400"/>
                    <a:pt x="9259" y="14400"/>
                  </a:cubicBezTo>
                  <a:cubicBezTo>
                    <a:pt x="8891" y="14400"/>
                    <a:pt x="8891" y="14400"/>
                    <a:pt x="8891" y="14400"/>
                  </a:cubicBezTo>
                  <a:cubicBezTo>
                    <a:pt x="8646" y="14940"/>
                    <a:pt x="8646" y="14940"/>
                    <a:pt x="8646" y="14940"/>
                  </a:cubicBezTo>
                  <a:cubicBezTo>
                    <a:pt x="8646" y="14940"/>
                    <a:pt x="8768" y="15300"/>
                    <a:pt x="8768" y="15480"/>
                  </a:cubicBezTo>
                  <a:cubicBezTo>
                    <a:pt x="8646" y="15660"/>
                    <a:pt x="8400" y="15660"/>
                    <a:pt x="8400" y="15660"/>
                  </a:cubicBezTo>
                  <a:cubicBezTo>
                    <a:pt x="8277" y="15840"/>
                    <a:pt x="8277" y="16380"/>
                    <a:pt x="8277" y="16380"/>
                  </a:cubicBezTo>
                  <a:cubicBezTo>
                    <a:pt x="7787" y="15660"/>
                    <a:pt x="7787" y="15660"/>
                    <a:pt x="7787" y="15660"/>
                  </a:cubicBezTo>
                  <a:cubicBezTo>
                    <a:pt x="7787" y="15660"/>
                    <a:pt x="7541" y="15660"/>
                    <a:pt x="7418" y="15480"/>
                  </a:cubicBezTo>
                  <a:cubicBezTo>
                    <a:pt x="7296" y="15480"/>
                    <a:pt x="7050" y="15480"/>
                    <a:pt x="7050" y="15480"/>
                  </a:cubicBezTo>
                  <a:cubicBezTo>
                    <a:pt x="7050" y="15480"/>
                    <a:pt x="7050" y="15480"/>
                    <a:pt x="6927" y="15480"/>
                  </a:cubicBezTo>
                  <a:cubicBezTo>
                    <a:pt x="6682" y="15480"/>
                    <a:pt x="6682" y="15480"/>
                    <a:pt x="6559" y="15120"/>
                  </a:cubicBezTo>
                  <a:cubicBezTo>
                    <a:pt x="6437" y="14760"/>
                    <a:pt x="6068" y="13860"/>
                    <a:pt x="6068" y="13860"/>
                  </a:cubicBezTo>
                  <a:cubicBezTo>
                    <a:pt x="6068" y="13860"/>
                    <a:pt x="5946" y="13500"/>
                    <a:pt x="5823" y="13500"/>
                  </a:cubicBezTo>
                  <a:cubicBezTo>
                    <a:pt x="5823" y="13500"/>
                    <a:pt x="5700" y="13860"/>
                    <a:pt x="5700" y="13860"/>
                  </a:cubicBezTo>
                  <a:cubicBezTo>
                    <a:pt x="5577" y="13860"/>
                    <a:pt x="5577" y="13500"/>
                    <a:pt x="5577" y="13320"/>
                  </a:cubicBezTo>
                  <a:cubicBezTo>
                    <a:pt x="5577" y="13140"/>
                    <a:pt x="5577" y="12960"/>
                    <a:pt x="5577" y="12600"/>
                  </a:cubicBezTo>
                  <a:cubicBezTo>
                    <a:pt x="5577" y="12240"/>
                    <a:pt x="5455" y="11880"/>
                    <a:pt x="5577" y="11880"/>
                  </a:cubicBezTo>
                  <a:cubicBezTo>
                    <a:pt x="5577" y="11880"/>
                    <a:pt x="5700" y="12060"/>
                    <a:pt x="5823" y="12060"/>
                  </a:cubicBezTo>
                  <a:cubicBezTo>
                    <a:pt x="5946" y="12060"/>
                    <a:pt x="5946" y="11700"/>
                    <a:pt x="5946" y="11700"/>
                  </a:cubicBezTo>
                  <a:cubicBezTo>
                    <a:pt x="6068" y="11700"/>
                    <a:pt x="6191" y="11880"/>
                    <a:pt x="6191" y="11880"/>
                  </a:cubicBezTo>
                  <a:cubicBezTo>
                    <a:pt x="6314" y="11880"/>
                    <a:pt x="6437" y="11880"/>
                    <a:pt x="6437" y="11880"/>
                  </a:cubicBezTo>
                  <a:cubicBezTo>
                    <a:pt x="6559" y="11700"/>
                    <a:pt x="6559" y="11700"/>
                    <a:pt x="6559" y="11520"/>
                  </a:cubicBezTo>
                  <a:cubicBezTo>
                    <a:pt x="6559" y="11340"/>
                    <a:pt x="6437" y="11160"/>
                    <a:pt x="6437" y="11160"/>
                  </a:cubicBezTo>
                  <a:cubicBezTo>
                    <a:pt x="6314" y="11160"/>
                    <a:pt x="5577" y="11700"/>
                    <a:pt x="5577" y="11700"/>
                  </a:cubicBezTo>
                  <a:cubicBezTo>
                    <a:pt x="5087" y="11700"/>
                    <a:pt x="5087" y="11700"/>
                    <a:pt x="5087" y="11700"/>
                  </a:cubicBezTo>
                  <a:cubicBezTo>
                    <a:pt x="5332" y="11340"/>
                    <a:pt x="5332" y="11340"/>
                    <a:pt x="5332" y="11340"/>
                  </a:cubicBezTo>
                  <a:cubicBezTo>
                    <a:pt x="5087" y="10980"/>
                    <a:pt x="5087" y="10980"/>
                    <a:pt x="5087" y="10980"/>
                  </a:cubicBezTo>
                  <a:cubicBezTo>
                    <a:pt x="5087" y="10620"/>
                    <a:pt x="5087" y="10620"/>
                    <a:pt x="5087" y="10620"/>
                  </a:cubicBezTo>
                  <a:cubicBezTo>
                    <a:pt x="4841" y="10440"/>
                    <a:pt x="4841" y="10440"/>
                    <a:pt x="4841" y="10440"/>
                  </a:cubicBezTo>
                  <a:cubicBezTo>
                    <a:pt x="4964" y="10080"/>
                    <a:pt x="4964" y="10080"/>
                    <a:pt x="4964" y="10080"/>
                  </a:cubicBezTo>
                  <a:cubicBezTo>
                    <a:pt x="5209" y="10080"/>
                    <a:pt x="5209" y="10080"/>
                    <a:pt x="5209" y="10080"/>
                  </a:cubicBezTo>
                  <a:cubicBezTo>
                    <a:pt x="5455" y="9900"/>
                    <a:pt x="5455" y="9900"/>
                    <a:pt x="5455" y="9900"/>
                  </a:cubicBezTo>
                  <a:cubicBezTo>
                    <a:pt x="5455" y="9180"/>
                    <a:pt x="5455" y="9180"/>
                    <a:pt x="5455" y="9180"/>
                  </a:cubicBezTo>
                  <a:cubicBezTo>
                    <a:pt x="5209" y="9360"/>
                    <a:pt x="5209" y="9360"/>
                    <a:pt x="5209" y="9360"/>
                  </a:cubicBezTo>
                  <a:cubicBezTo>
                    <a:pt x="5332" y="9720"/>
                    <a:pt x="5332" y="9720"/>
                    <a:pt x="5332" y="9720"/>
                  </a:cubicBezTo>
                  <a:cubicBezTo>
                    <a:pt x="4841" y="9720"/>
                    <a:pt x="4841" y="9720"/>
                    <a:pt x="4841" y="9720"/>
                  </a:cubicBezTo>
                  <a:cubicBezTo>
                    <a:pt x="4718" y="9360"/>
                    <a:pt x="4718" y="9360"/>
                    <a:pt x="4718" y="9360"/>
                  </a:cubicBezTo>
                  <a:close/>
                  <a:moveTo>
                    <a:pt x="2755" y="18540"/>
                  </a:moveTo>
                  <a:cubicBezTo>
                    <a:pt x="2755" y="18540"/>
                    <a:pt x="2755" y="18540"/>
                    <a:pt x="2755" y="18540"/>
                  </a:cubicBezTo>
                  <a:cubicBezTo>
                    <a:pt x="2755" y="18540"/>
                    <a:pt x="3000" y="18540"/>
                    <a:pt x="3000" y="18540"/>
                  </a:cubicBezTo>
                  <a:cubicBezTo>
                    <a:pt x="3000" y="18540"/>
                    <a:pt x="3123" y="18720"/>
                    <a:pt x="3000" y="18720"/>
                  </a:cubicBezTo>
                  <a:cubicBezTo>
                    <a:pt x="3000" y="18900"/>
                    <a:pt x="3123" y="18900"/>
                    <a:pt x="3000" y="18900"/>
                  </a:cubicBezTo>
                  <a:cubicBezTo>
                    <a:pt x="2877" y="18900"/>
                    <a:pt x="2632" y="19080"/>
                    <a:pt x="2632" y="18900"/>
                  </a:cubicBezTo>
                  <a:cubicBezTo>
                    <a:pt x="2632" y="18900"/>
                    <a:pt x="2755" y="18720"/>
                    <a:pt x="2755" y="18720"/>
                  </a:cubicBezTo>
                  <a:cubicBezTo>
                    <a:pt x="2755" y="18540"/>
                    <a:pt x="2755" y="18540"/>
                    <a:pt x="2755" y="18540"/>
                  </a:cubicBezTo>
                  <a:close/>
                  <a:moveTo>
                    <a:pt x="7787" y="17100"/>
                  </a:moveTo>
                  <a:cubicBezTo>
                    <a:pt x="7787" y="17100"/>
                    <a:pt x="7787" y="17100"/>
                    <a:pt x="7787" y="17100"/>
                  </a:cubicBezTo>
                  <a:cubicBezTo>
                    <a:pt x="7787" y="17100"/>
                    <a:pt x="7664" y="17640"/>
                    <a:pt x="7787" y="17640"/>
                  </a:cubicBezTo>
                  <a:cubicBezTo>
                    <a:pt x="7787" y="17640"/>
                    <a:pt x="7909" y="17640"/>
                    <a:pt x="8032" y="17640"/>
                  </a:cubicBezTo>
                  <a:cubicBezTo>
                    <a:pt x="8155" y="17460"/>
                    <a:pt x="8155" y="17460"/>
                    <a:pt x="8155" y="17460"/>
                  </a:cubicBezTo>
                  <a:cubicBezTo>
                    <a:pt x="8155" y="17280"/>
                    <a:pt x="8155" y="17100"/>
                    <a:pt x="8155" y="17100"/>
                  </a:cubicBezTo>
                  <a:cubicBezTo>
                    <a:pt x="7787" y="17100"/>
                    <a:pt x="7787" y="17100"/>
                    <a:pt x="7787" y="17100"/>
                  </a:cubicBezTo>
                  <a:close/>
                  <a:moveTo>
                    <a:pt x="1037" y="16380"/>
                  </a:moveTo>
                  <a:cubicBezTo>
                    <a:pt x="1037" y="16380"/>
                    <a:pt x="1037" y="16380"/>
                    <a:pt x="1037" y="16380"/>
                  </a:cubicBezTo>
                  <a:cubicBezTo>
                    <a:pt x="914" y="16560"/>
                    <a:pt x="914" y="16560"/>
                    <a:pt x="914" y="16560"/>
                  </a:cubicBezTo>
                  <a:cubicBezTo>
                    <a:pt x="914" y="16560"/>
                    <a:pt x="791" y="16020"/>
                    <a:pt x="791" y="15840"/>
                  </a:cubicBezTo>
                  <a:cubicBezTo>
                    <a:pt x="791" y="15840"/>
                    <a:pt x="546" y="15660"/>
                    <a:pt x="546" y="15660"/>
                  </a:cubicBezTo>
                  <a:cubicBezTo>
                    <a:pt x="546" y="15660"/>
                    <a:pt x="423" y="15660"/>
                    <a:pt x="423" y="15660"/>
                  </a:cubicBezTo>
                  <a:cubicBezTo>
                    <a:pt x="300" y="15660"/>
                    <a:pt x="300" y="15840"/>
                    <a:pt x="300" y="15840"/>
                  </a:cubicBezTo>
                  <a:cubicBezTo>
                    <a:pt x="177" y="15840"/>
                    <a:pt x="177" y="15840"/>
                    <a:pt x="177" y="15840"/>
                  </a:cubicBezTo>
                  <a:cubicBezTo>
                    <a:pt x="177" y="15840"/>
                    <a:pt x="55" y="15840"/>
                    <a:pt x="55" y="15840"/>
                  </a:cubicBezTo>
                  <a:cubicBezTo>
                    <a:pt x="-68" y="16020"/>
                    <a:pt x="55" y="16200"/>
                    <a:pt x="55" y="16200"/>
                  </a:cubicBezTo>
                  <a:cubicBezTo>
                    <a:pt x="55" y="16200"/>
                    <a:pt x="177" y="16200"/>
                    <a:pt x="300" y="16380"/>
                  </a:cubicBezTo>
                  <a:cubicBezTo>
                    <a:pt x="423" y="16380"/>
                    <a:pt x="423" y="16380"/>
                    <a:pt x="423" y="16380"/>
                  </a:cubicBezTo>
                  <a:cubicBezTo>
                    <a:pt x="423" y="16380"/>
                    <a:pt x="668" y="16740"/>
                    <a:pt x="791" y="16920"/>
                  </a:cubicBezTo>
                  <a:cubicBezTo>
                    <a:pt x="791" y="16920"/>
                    <a:pt x="791" y="17100"/>
                    <a:pt x="791" y="17100"/>
                  </a:cubicBezTo>
                  <a:cubicBezTo>
                    <a:pt x="423" y="17460"/>
                    <a:pt x="423" y="17460"/>
                    <a:pt x="423" y="17460"/>
                  </a:cubicBezTo>
                  <a:cubicBezTo>
                    <a:pt x="423" y="17460"/>
                    <a:pt x="546" y="17640"/>
                    <a:pt x="546" y="17640"/>
                  </a:cubicBezTo>
                  <a:cubicBezTo>
                    <a:pt x="668" y="17640"/>
                    <a:pt x="423" y="17820"/>
                    <a:pt x="423" y="17820"/>
                  </a:cubicBezTo>
                  <a:cubicBezTo>
                    <a:pt x="423" y="17820"/>
                    <a:pt x="423" y="18180"/>
                    <a:pt x="423" y="18180"/>
                  </a:cubicBezTo>
                  <a:cubicBezTo>
                    <a:pt x="423" y="18180"/>
                    <a:pt x="546" y="18360"/>
                    <a:pt x="791" y="18360"/>
                  </a:cubicBezTo>
                  <a:cubicBezTo>
                    <a:pt x="1037" y="18540"/>
                    <a:pt x="1037" y="18360"/>
                    <a:pt x="1037" y="18360"/>
                  </a:cubicBezTo>
                  <a:cubicBezTo>
                    <a:pt x="1159" y="18540"/>
                    <a:pt x="1159" y="18540"/>
                    <a:pt x="1159" y="18540"/>
                  </a:cubicBezTo>
                  <a:cubicBezTo>
                    <a:pt x="1159" y="18720"/>
                    <a:pt x="1159" y="18720"/>
                    <a:pt x="1159" y="18720"/>
                  </a:cubicBezTo>
                  <a:cubicBezTo>
                    <a:pt x="1282" y="18900"/>
                    <a:pt x="1282" y="18900"/>
                    <a:pt x="1282" y="18900"/>
                  </a:cubicBezTo>
                  <a:cubicBezTo>
                    <a:pt x="1650" y="19080"/>
                    <a:pt x="1650" y="19080"/>
                    <a:pt x="1650" y="19080"/>
                  </a:cubicBezTo>
                  <a:cubicBezTo>
                    <a:pt x="1650" y="19260"/>
                    <a:pt x="1650" y="19260"/>
                    <a:pt x="1650" y="19260"/>
                  </a:cubicBezTo>
                  <a:cubicBezTo>
                    <a:pt x="1650" y="19800"/>
                    <a:pt x="1650" y="19800"/>
                    <a:pt x="1650" y="19800"/>
                  </a:cubicBezTo>
                  <a:cubicBezTo>
                    <a:pt x="1650" y="19800"/>
                    <a:pt x="1527" y="19800"/>
                    <a:pt x="1405" y="19800"/>
                  </a:cubicBezTo>
                  <a:cubicBezTo>
                    <a:pt x="1405" y="19980"/>
                    <a:pt x="1405" y="20160"/>
                    <a:pt x="1282" y="20160"/>
                  </a:cubicBezTo>
                  <a:cubicBezTo>
                    <a:pt x="1282" y="20160"/>
                    <a:pt x="1282" y="20520"/>
                    <a:pt x="1159" y="20700"/>
                  </a:cubicBezTo>
                  <a:cubicBezTo>
                    <a:pt x="1159" y="20880"/>
                    <a:pt x="1282" y="21060"/>
                    <a:pt x="1282" y="21240"/>
                  </a:cubicBezTo>
                  <a:cubicBezTo>
                    <a:pt x="1282" y="21600"/>
                    <a:pt x="1405" y="21420"/>
                    <a:pt x="1527" y="21420"/>
                  </a:cubicBezTo>
                  <a:cubicBezTo>
                    <a:pt x="1527" y="21420"/>
                    <a:pt x="1650" y="21240"/>
                    <a:pt x="1650" y="21240"/>
                  </a:cubicBezTo>
                  <a:cubicBezTo>
                    <a:pt x="1773" y="21240"/>
                    <a:pt x="1896" y="20880"/>
                    <a:pt x="2018" y="20700"/>
                  </a:cubicBezTo>
                  <a:cubicBezTo>
                    <a:pt x="2018" y="20520"/>
                    <a:pt x="2018" y="20340"/>
                    <a:pt x="2018" y="20340"/>
                  </a:cubicBezTo>
                  <a:cubicBezTo>
                    <a:pt x="1896" y="20160"/>
                    <a:pt x="2018" y="19800"/>
                    <a:pt x="2018" y="19800"/>
                  </a:cubicBezTo>
                  <a:cubicBezTo>
                    <a:pt x="2018" y="19620"/>
                    <a:pt x="2018" y="19620"/>
                    <a:pt x="2018" y="19620"/>
                  </a:cubicBezTo>
                  <a:cubicBezTo>
                    <a:pt x="1896" y="18900"/>
                    <a:pt x="1896" y="18900"/>
                    <a:pt x="1896" y="18900"/>
                  </a:cubicBezTo>
                  <a:cubicBezTo>
                    <a:pt x="2141" y="18180"/>
                    <a:pt x="2141" y="18180"/>
                    <a:pt x="2141" y="18180"/>
                  </a:cubicBezTo>
                  <a:cubicBezTo>
                    <a:pt x="2387" y="18180"/>
                    <a:pt x="2387" y="18180"/>
                    <a:pt x="2387" y="18180"/>
                  </a:cubicBezTo>
                  <a:cubicBezTo>
                    <a:pt x="2755" y="17820"/>
                    <a:pt x="2755" y="17820"/>
                    <a:pt x="2755" y="17820"/>
                  </a:cubicBezTo>
                  <a:cubicBezTo>
                    <a:pt x="2755" y="17820"/>
                    <a:pt x="2755" y="17820"/>
                    <a:pt x="2755" y="17820"/>
                  </a:cubicBezTo>
                  <a:cubicBezTo>
                    <a:pt x="2755" y="17820"/>
                    <a:pt x="2877" y="17820"/>
                    <a:pt x="3000" y="17640"/>
                  </a:cubicBezTo>
                  <a:cubicBezTo>
                    <a:pt x="3246" y="17640"/>
                    <a:pt x="3123" y="17820"/>
                    <a:pt x="3246" y="17820"/>
                  </a:cubicBezTo>
                  <a:cubicBezTo>
                    <a:pt x="3246" y="18000"/>
                    <a:pt x="3368" y="18000"/>
                    <a:pt x="3491" y="18000"/>
                  </a:cubicBezTo>
                  <a:cubicBezTo>
                    <a:pt x="3491" y="18000"/>
                    <a:pt x="3614" y="17640"/>
                    <a:pt x="3614" y="17640"/>
                  </a:cubicBezTo>
                  <a:cubicBezTo>
                    <a:pt x="3614" y="17460"/>
                    <a:pt x="3491" y="17460"/>
                    <a:pt x="3491" y="17460"/>
                  </a:cubicBezTo>
                  <a:cubicBezTo>
                    <a:pt x="3368" y="17100"/>
                    <a:pt x="3368" y="17100"/>
                    <a:pt x="3368" y="17100"/>
                  </a:cubicBezTo>
                  <a:cubicBezTo>
                    <a:pt x="3737" y="16920"/>
                    <a:pt x="3737" y="16920"/>
                    <a:pt x="3737" y="16920"/>
                  </a:cubicBezTo>
                  <a:cubicBezTo>
                    <a:pt x="3859" y="16740"/>
                    <a:pt x="3859" y="16740"/>
                    <a:pt x="3859" y="16740"/>
                  </a:cubicBezTo>
                  <a:cubicBezTo>
                    <a:pt x="4105" y="16380"/>
                    <a:pt x="4105" y="16380"/>
                    <a:pt x="4105" y="16380"/>
                  </a:cubicBezTo>
                  <a:cubicBezTo>
                    <a:pt x="3982" y="16020"/>
                    <a:pt x="3982" y="16020"/>
                    <a:pt x="3982" y="16020"/>
                  </a:cubicBezTo>
                  <a:cubicBezTo>
                    <a:pt x="3982" y="16020"/>
                    <a:pt x="4227" y="16020"/>
                    <a:pt x="4350" y="16020"/>
                  </a:cubicBezTo>
                  <a:cubicBezTo>
                    <a:pt x="4350" y="16020"/>
                    <a:pt x="4350" y="15840"/>
                    <a:pt x="4350" y="15840"/>
                  </a:cubicBezTo>
                  <a:cubicBezTo>
                    <a:pt x="4227" y="15480"/>
                    <a:pt x="4227" y="15480"/>
                    <a:pt x="4227" y="15480"/>
                  </a:cubicBezTo>
                  <a:cubicBezTo>
                    <a:pt x="4227" y="15480"/>
                    <a:pt x="4473" y="15480"/>
                    <a:pt x="4596" y="15300"/>
                  </a:cubicBezTo>
                  <a:cubicBezTo>
                    <a:pt x="4596" y="15300"/>
                    <a:pt x="4473" y="15120"/>
                    <a:pt x="4473" y="15120"/>
                  </a:cubicBezTo>
                  <a:cubicBezTo>
                    <a:pt x="4473" y="14940"/>
                    <a:pt x="4596" y="14760"/>
                    <a:pt x="4596" y="14760"/>
                  </a:cubicBezTo>
                  <a:cubicBezTo>
                    <a:pt x="4596" y="14760"/>
                    <a:pt x="4841" y="15120"/>
                    <a:pt x="4964" y="15120"/>
                  </a:cubicBezTo>
                  <a:cubicBezTo>
                    <a:pt x="5087" y="15300"/>
                    <a:pt x="5087" y="15120"/>
                    <a:pt x="5209" y="15120"/>
                  </a:cubicBezTo>
                  <a:cubicBezTo>
                    <a:pt x="5209" y="14940"/>
                    <a:pt x="5087" y="14760"/>
                    <a:pt x="5087" y="14760"/>
                  </a:cubicBezTo>
                  <a:cubicBezTo>
                    <a:pt x="4964" y="14580"/>
                    <a:pt x="4964" y="14580"/>
                    <a:pt x="4964" y="14580"/>
                  </a:cubicBezTo>
                  <a:cubicBezTo>
                    <a:pt x="4596" y="14400"/>
                    <a:pt x="4596" y="14400"/>
                    <a:pt x="4596" y="14400"/>
                  </a:cubicBezTo>
                  <a:cubicBezTo>
                    <a:pt x="4105" y="14040"/>
                    <a:pt x="4105" y="14040"/>
                    <a:pt x="4105" y="14040"/>
                  </a:cubicBezTo>
                  <a:cubicBezTo>
                    <a:pt x="4105" y="14040"/>
                    <a:pt x="3737" y="14040"/>
                    <a:pt x="3737" y="13860"/>
                  </a:cubicBezTo>
                  <a:cubicBezTo>
                    <a:pt x="3614" y="13860"/>
                    <a:pt x="3614" y="13860"/>
                    <a:pt x="3614" y="13860"/>
                  </a:cubicBezTo>
                  <a:cubicBezTo>
                    <a:pt x="3614" y="13860"/>
                    <a:pt x="3368" y="13860"/>
                    <a:pt x="3368" y="13860"/>
                  </a:cubicBezTo>
                  <a:cubicBezTo>
                    <a:pt x="3246" y="13860"/>
                    <a:pt x="3123" y="14040"/>
                    <a:pt x="3000" y="14220"/>
                  </a:cubicBezTo>
                  <a:cubicBezTo>
                    <a:pt x="3000" y="14220"/>
                    <a:pt x="2877" y="14400"/>
                    <a:pt x="2755" y="14400"/>
                  </a:cubicBezTo>
                  <a:cubicBezTo>
                    <a:pt x="2755" y="14400"/>
                    <a:pt x="2632" y="14040"/>
                    <a:pt x="2632" y="14040"/>
                  </a:cubicBezTo>
                  <a:cubicBezTo>
                    <a:pt x="2387" y="14040"/>
                    <a:pt x="2387" y="14040"/>
                    <a:pt x="2387" y="14040"/>
                  </a:cubicBezTo>
                  <a:cubicBezTo>
                    <a:pt x="2387" y="14040"/>
                    <a:pt x="2264" y="14400"/>
                    <a:pt x="2264" y="14580"/>
                  </a:cubicBezTo>
                  <a:cubicBezTo>
                    <a:pt x="2264" y="14580"/>
                    <a:pt x="2018" y="14580"/>
                    <a:pt x="1896" y="14580"/>
                  </a:cubicBezTo>
                  <a:cubicBezTo>
                    <a:pt x="1773" y="14760"/>
                    <a:pt x="1650" y="14760"/>
                    <a:pt x="1527" y="14940"/>
                  </a:cubicBezTo>
                  <a:cubicBezTo>
                    <a:pt x="1405" y="14940"/>
                    <a:pt x="1650" y="15120"/>
                    <a:pt x="1650" y="15120"/>
                  </a:cubicBezTo>
                  <a:cubicBezTo>
                    <a:pt x="1650" y="15480"/>
                    <a:pt x="1650" y="15480"/>
                    <a:pt x="1650" y="15480"/>
                  </a:cubicBezTo>
                  <a:cubicBezTo>
                    <a:pt x="1405" y="15480"/>
                    <a:pt x="1405" y="15480"/>
                    <a:pt x="1405" y="15480"/>
                  </a:cubicBezTo>
                  <a:cubicBezTo>
                    <a:pt x="1282" y="15300"/>
                    <a:pt x="1282" y="15300"/>
                    <a:pt x="1282" y="15300"/>
                  </a:cubicBezTo>
                  <a:cubicBezTo>
                    <a:pt x="1037" y="15660"/>
                    <a:pt x="1037" y="15660"/>
                    <a:pt x="1037" y="15660"/>
                  </a:cubicBezTo>
                  <a:cubicBezTo>
                    <a:pt x="914" y="16020"/>
                    <a:pt x="914" y="16020"/>
                    <a:pt x="914" y="16020"/>
                  </a:cubicBezTo>
                  <a:cubicBezTo>
                    <a:pt x="914" y="16020"/>
                    <a:pt x="1037" y="16380"/>
                    <a:pt x="1037" y="16380"/>
                  </a:cubicBezTo>
                  <a:close/>
                  <a:moveTo>
                    <a:pt x="4227" y="13680"/>
                  </a:moveTo>
                  <a:cubicBezTo>
                    <a:pt x="4227" y="13680"/>
                    <a:pt x="4227" y="13680"/>
                    <a:pt x="4227" y="13680"/>
                  </a:cubicBezTo>
                  <a:cubicBezTo>
                    <a:pt x="4350" y="13860"/>
                    <a:pt x="4350" y="13860"/>
                    <a:pt x="4350" y="13860"/>
                  </a:cubicBezTo>
                  <a:cubicBezTo>
                    <a:pt x="4350" y="13860"/>
                    <a:pt x="4473" y="14040"/>
                    <a:pt x="4718" y="14040"/>
                  </a:cubicBezTo>
                  <a:cubicBezTo>
                    <a:pt x="5087" y="14040"/>
                    <a:pt x="5087" y="14400"/>
                    <a:pt x="5332" y="14040"/>
                  </a:cubicBezTo>
                  <a:cubicBezTo>
                    <a:pt x="5332" y="13860"/>
                    <a:pt x="5332" y="13860"/>
                    <a:pt x="5209" y="13680"/>
                  </a:cubicBezTo>
                  <a:cubicBezTo>
                    <a:pt x="5209" y="13500"/>
                    <a:pt x="5087" y="13500"/>
                    <a:pt x="5087" y="13320"/>
                  </a:cubicBezTo>
                  <a:cubicBezTo>
                    <a:pt x="5087" y="13320"/>
                    <a:pt x="5087" y="13320"/>
                    <a:pt x="4841" y="12960"/>
                  </a:cubicBezTo>
                  <a:cubicBezTo>
                    <a:pt x="4718" y="12780"/>
                    <a:pt x="4718" y="12960"/>
                    <a:pt x="4596" y="12960"/>
                  </a:cubicBezTo>
                  <a:cubicBezTo>
                    <a:pt x="4473" y="12960"/>
                    <a:pt x="4350" y="12960"/>
                    <a:pt x="4227" y="12960"/>
                  </a:cubicBezTo>
                  <a:cubicBezTo>
                    <a:pt x="4105" y="13140"/>
                    <a:pt x="4350" y="13320"/>
                    <a:pt x="4350" y="13500"/>
                  </a:cubicBezTo>
                  <a:cubicBezTo>
                    <a:pt x="4350" y="13500"/>
                    <a:pt x="4227" y="13680"/>
                    <a:pt x="4227" y="13680"/>
                  </a:cubicBezTo>
                  <a:close/>
                  <a:moveTo>
                    <a:pt x="2632" y="10260"/>
                  </a:moveTo>
                  <a:cubicBezTo>
                    <a:pt x="2632" y="10260"/>
                    <a:pt x="2632" y="10260"/>
                    <a:pt x="2632" y="10260"/>
                  </a:cubicBezTo>
                  <a:cubicBezTo>
                    <a:pt x="2632" y="10080"/>
                    <a:pt x="2877" y="10080"/>
                    <a:pt x="3000" y="10260"/>
                  </a:cubicBezTo>
                  <a:cubicBezTo>
                    <a:pt x="3000" y="10260"/>
                    <a:pt x="3246" y="10440"/>
                    <a:pt x="3246" y="10620"/>
                  </a:cubicBezTo>
                  <a:cubicBezTo>
                    <a:pt x="3246" y="10620"/>
                    <a:pt x="3368" y="10620"/>
                    <a:pt x="3368" y="10800"/>
                  </a:cubicBezTo>
                  <a:cubicBezTo>
                    <a:pt x="3368" y="10800"/>
                    <a:pt x="3491" y="10980"/>
                    <a:pt x="3491" y="11160"/>
                  </a:cubicBezTo>
                  <a:cubicBezTo>
                    <a:pt x="3614" y="11340"/>
                    <a:pt x="3737" y="11520"/>
                    <a:pt x="3737" y="11520"/>
                  </a:cubicBezTo>
                  <a:cubicBezTo>
                    <a:pt x="3737" y="11520"/>
                    <a:pt x="3859" y="11700"/>
                    <a:pt x="3737" y="11700"/>
                  </a:cubicBezTo>
                  <a:cubicBezTo>
                    <a:pt x="3614" y="11700"/>
                    <a:pt x="3246" y="11700"/>
                    <a:pt x="3246" y="11700"/>
                  </a:cubicBezTo>
                  <a:cubicBezTo>
                    <a:pt x="3246" y="11700"/>
                    <a:pt x="3123" y="11880"/>
                    <a:pt x="3123" y="11880"/>
                  </a:cubicBezTo>
                  <a:cubicBezTo>
                    <a:pt x="3123" y="12060"/>
                    <a:pt x="3368" y="12240"/>
                    <a:pt x="3246" y="12240"/>
                  </a:cubicBezTo>
                  <a:cubicBezTo>
                    <a:pt x="3123" y="12420"/>
                    <a:pt x="3123" y="12420"/>
                    <a:pt x="3000" y="12420"/>
                  </a:cubicBezTo>
                  <a:cubicBezTo>
                    <a:pt x="2877" y="12240"/>
                    <a:pt x="2755" y="11880"/>
                    <a:pt x="2755" y="11880"/>
                  </a:cubicBezTo>
                  <a:cubicBezTo>
                    <a:pt x="2632" y="12060"/>
                    <a:pt x="2632" y="12600"/>
                    <a:pt x="2632" y="12600"/>
                  </a:cubicBezTo>
                  <a:cubicBezTo>
                    <a:pt x="2632" y="12780"/>
                    <a:pt x="2755" y="12960"/>
                    <a:pt x="2632" y="13140"/>
                  </a:cubicBezTo>
                  <a:cubicBezTo>
                    <a:pt x="2632" y="13140"/>
                    <a:pt x="2264" y="13320"/>
                    <a:pt x="2264" y="13320"/>
                  </a:cubicBezTo>
                  <a:cubicBezTo>
                    <a:pt x="2264" y="13320"/>
                    <a:pt x="2141" y="13320"/>
                    <a:pt x="2141" y="13320"/>
                  </a:cubicBezTo>
                  <a:cubicBezTo>
                    <a:pt x="2018" y="13320"/>
                    <a:pt x="1773" y="12960"/>
                    <a:pt x="1650" y="12780"/>
                  </a:cubicBezTo>
                  <a:cubicBezTo>
                    <a:pt x="1650" y="12600"/>
                    <a:pt x="1650" y="12240"/>
                    <a:pt x="1650" y="12240"/>
                  </a:cubicBezTo>
                  <a:cubicBezTo>
                    <a:pt x="1527" y="12060"/>
                    <a:pt x="1405" y="11880"/>
                    <a:pt x="1405" y="11880"/>
                  </a:cubicBezTo>
                  <a:cubicBezTo>
                    <a:pt x="1405" y="11880"/>
                    <a:pt x="1527" y="11700"/>
                    <a:pt x="1282" y="11880"/>
                  </a:cubicBezTo>
                  <a:cubicBezTo>
                    <a:pt x="914" y="11880"/>
                    <a:pt x="1037" y="12060"/>
                    <a:pt x="914" y="12060"/>
                  </a:cubicBezTo>
                  <a:cubicBezTo>
                    <a:pt x="791" y="11880"/>
                    <a:pt x="791" y="11700"/>
                    <a:pt x="546" y="11700"/>
                  </a:cubicBezTo>
                  <a:cubicBezTo>
                    <a:pt x="423" y="11700"/>
                    <a:pt x="300" y="11520"/>
                    <a:pt x="300" y="11520"/>
                  </a:cubicBezTo>
                  <a:cubicBezTo>
                    <a:pt x="300" y="11520"/>
                    <a:pt x="668" y="11160"/>
                    <a:pt x="791" y="11160"/>
                  </a:cubicBezTo>
                  <a:cubicBezTo>
                    <a:pt x="914" y="11160"/>
                    <a:pt x="791" y="11160"/>
                    <a:pt x="1037" y="11160"/>
                  </a:cubicBezTo>
                  <a:cubicBezTo>
                    <a:pt x="1405" y="10980"/>
                    <a:pt x="1527" y="11340"/>
                    <a:pt x="1527" y="10980"/>
                  </a:cubicBezTo>
                  <a:cubicBezTo>
                    <a:pt x="1650" y="10620"/>
                    <a:pt x="1650" y="10440"/>
                    <a:pt x="1773" y="10260"/>
                  </a:cubicBezTo>
                  <a:cubicBezTo>
                    <a:pt x="1773" y="10080"/>
                    <a:pt x="1896" y="9720"/>
                    <a:pt x="1896" y="9720"/>
                  </a:cubicBezTo>
                  <a:cubicBezTo>
                    <a:pt x="1896" y="9540"/>
                    <a:pt x="2264" y="9540"/>
                    <a:pt x="2264" y="9540"/>
                  </a:cubicBezTo>
                  <a:cubicBezTo>
                    <a:pt x="2387" y="10080"/>
                    <a:pt x="2387" y="10080"/>
                    <a:pt x="2387" y="10080"/>
                  </a:cubicBezTo>
                  <a:cubicBezTo>
                    <a:pt x="2387" y="10080"/>
                    <a:pt x="2387" y="10260"/>
                    <a:pt x="2509" y="10260"/>
                  </a:cubicBezTo>
                  <a:cubicBezTo>
                    <a:pt x="2632" y="10260"/>
                    <a:pt x="2632" y="10260"/>
                    <a:pt x="2632" y="10260"/>
                  </a:cubicBezTo>
                  <a:close/>
                  <a:moveTo>
                    <a:pt x="4350" y="9360"/>
                  </a:moveTo>
                  <a:cubicBezTo>
                    <a:pt x="4350" y="9360"/>
                    <a:pt x="4350" y="9360"/>
                    <a:pt x="4350" y="9360"/>
                  </a:cubicBezTo>
                  <a:cubicBezTo>
                    <a:pt x="4227" y="9540"/>
                    <a:pt x="4227" y="9540"/>
                    <a:pt x="4227" y="9540"/>
                  </a:cubicBezTo>
                  <a:cubicBezTo>
                    <a:pt x="3737" y="9540"/>
                    <a:pt x="3737" y="9540"/>
                    <a:pt x="3737" y="9540"/>
                  </a:cubicBezTo>
                  <a:cubicBezTo>
                    <a:pt x="3737" y="9900"/>
                    <a:pt x="3737" y="9900"/>
                    <a:pt x="3737" y="9900"/>
                  </a:cubicBezTo>
                  <a:cubicBezTo>
                    <a:pt x="3982" y="10260"/>
                    <a:pt x="3982" y="10260"/>
                    <a:pt x="3982" y="10260"/>
                  </a:cubicBezTo>
                  <a:cubicBezTo>
                    <a:pt x="3982" y="10260"/>
                    <a:pt x="4105" y="10080"/>
                    <a:pt x="4227" y="10080"/>
                  </a:cubicBezTo>
                  <a:cubicBezTo>
                    <a:pt x="4350" y="10080"/>
                    <a:pt x="4596" y="10080"/>
                    <a:pt x="4596" y="10080"/>
                  </a:cubicBezTo>
                  <a:cubicBezTo>
                    <a:pt x="4718" y="9900"/>
                    <a:pt x="4718" y="9900"/>
                    <a:pt x="4718" y="9900"/>
                  </a:cubicBezTo>
                  <a:cubicBezTo>
                    <a:pt x="4596" y="9360"/>
                    <a:pt x="4596" y="9360"/>
                    <a:pt x="4596" y="9360"/>
                  </a:cubicBezTo>
                  <a:lnTo>
                    <a:pt x="4350" y="9360"/>
                  </a:lnTo>
                  <a:close/>
                </a:path>
              </a:pathLst>
            </a:custGeom>
            <a:solidFill>
              <a:srgbClr val="CCCDF1"/>
            </a:solidFill>
            <a:ln w="3175" cap="rnd" cmpd="sng">
              <a:solidFill>
                <a:schemeClr val="bg1"/>
              </a:solidFill>
              <a:prstDash val="solid"/>
              <a:round/>
              <a:headEnd type="none" w="sm" len="sm"/>
              <a:tailEnd type="none" w="sm" len="sm"/>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None/>
              </a:pPr>
              <a:endParaRPr sz="1800" b="0" i="0" u="none">
                <a:solidFill>
                  <a:srgbClr val="2C2C2C"/>
                </a:solidFill>
                <a:latin typeface="Open Sans"/>
                <a:ea typeface="Open Sans"/>
                <a:cs typeface="Open Sans"/>
                <a:sym typeface="Open Sans"/>
              </a:endParaRPr>
            </a:p>
          </p:txBody>
        </p:sp>
      </p:grpSp>
      <p:grpSp>
        <p:nvGrpSpPr>
          <p:cNvPr id="57" name="Group 56">
            <a:extLst>
              <a:ext uri="{FF2B5EF4-FFF2-40B4-BE49-F238E27FC236}">
                <a16:creationId xmlns:a16="http://schemas.microsoft.com/office/drawing/2014/main" id="{AB8227FA-96B3-1E67-F0D0-3E5AADA26A25}"/>
              </a:ext>
            </a:extLst>
          </p:cNvPr>
          <p:cNvGrpSpPr/>
          <p:nvPr/>
        </p:nvGrpSpPr>
        <p:grpSpPr>
          <a:xfrm>
            <a:off x="741777" y="3732245"/>
            <a:ext cx="5256521" cy="2335591"/>
            <a:chOff x="741777" y="3732245"/>
            <a:chExt cx="5256521" cy="2335591"/>
          </a:xfrm>
        </p:grpSpPr>
        <p:sp>
          <p:nvSpPr>
            <p:cNvPr id="15" name="Rectangle 14">
              <a:extLst>
                <a:ext uri="{FF2B5EF4-FFF2-40B4-BE49-F238E27FC236}">
                  <a16:creationId xmlns:a16="http://schemas.microsoft.com/office/drawing/2014/main" id="{6B7E99BF-E5D6-C72D-C8CF-B50C547A6D5A}"/>
                </a:ext>
              </a:extLst>
            </p:cNvPr>
            <p:cNvSpPr/>
            <p:nvPr/>
          </p:nvSpPr>
          <p:spPr>
            <a:xfrm>
              <a:off x="741777" y="3732245"/>
              <a:ext cx="5256521" cy="2306582"/>
            </a:xfrm>
            <a:prstGeom prst="rect">
              <a:avLst/>
            </a:prstGeom>
            <a:solidFill>
              <a:srgbClr val="F2F3FF"/>
            </a:solidFill>
            <a:ln w="3175">
              <a:no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C78CE5B4-E7F9-F2B2-B7D6-02EA2BA14213}"/>
                </a:ext>
              </a:extLst>
            </p:cNvPr>
            <p:cNvCxnSpPr>
              <a:cxnSpLocks/>
            </p:cNvCxnSpPr>
            <p:nvPr/>
          </p:nvCxnSpPr>
          <p:spPr>
            <a:xfrm>
              <a:off x="742037" y="6067836"/>
              <a:ext cx="5256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8" name="TextBox 27">
            <a:extLst>
              <a:ext uri="{FF2B5EF4-FFF2-40B4-BE49-F238E27FC236}">
                <a16:creationId xmlns:a16="http://schemas.microsoft.com/office/drawing/2014/main" id="{DC6D7D74-22B5-37C2-3478-E17CB39A9CA6}"/>
              </a:ext>
            </a:extLst>
          </p:cNvPr>
          <p:cNvSpPr txBox="1"/>
          <p:nvPr/>
        </p:nvSpPr>
        <p:spPr>
          <a:xfrm>
            <a:off x="1224177" y="4861799"/>
            <a:ext cx="4151392" cy="1015663"/>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Transform traditional core markets of Norway, Sweden and further grow Baltics and Finland </a:t>
            </a:r>
            <a:endParaRPr kumimoji="0" lang="en-PK" sz="1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pic>
        <p:nvPicPr>
          <p:cNvPr id="52" name="Picture 51">
            <a:extLst>
              <a:ext uri="{FF2B5EF4-FFF2-40B4-BE49-F238E27FC236}">
                <a16:creationId xmlns:a16="http://schemas.microsoft.com/office/drawing/2014/main" id="{5327C1A6-E0D7-046C-B20B-E83AAD5F863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414870" y="3460292"/>
            <a:ext cx="576462" cy="576462"/>
          </a:xfrm>
          <a:prstGeom prst="rect">
            <a:avLst/>
          </a:prstGeom>
        </p:spPr>
      </p:pic>
      <p:pic>
        <p:nvPicPr>
          <p:cNvPr id="53" name="Picture 52">
            <a:extLst>
              <a:ext uri="{FF2B5EF4-FFF2-40B4-BE49-F238E27FC236}">
                <a16:creationId xmlns:a16="http://schemas.microsoft.com/office/drawing/2014/main" id="{C791FE4D-D844-5600-70AF-37AE7B870E9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670937" y="3453159"/>
            <a:ext cx="576462" cy="576462"/>
          </a:xfrm>
          <a:prstGeom prst="rect">
            <a:avLst/>
          </a:prstGeom>
        </p:spPr>
      </p:pic>
      <p:grpSp>
        <p:nvGrpSpPr>
          <p:cNvPr id="67" name="Group 66">
            <a:extLst>
              <a:ext uri="{FF2B5EF4-FFF2-40B4-BE49-F238E27FC236}">
                <a16:creationId xmlns:a16="http://schemas.microsoft.com/office/drawing/2014/main" id="{5787C204-D018-D58D-AD4E-0F28714B76AA}"/>
              </a:ext>
            </a:extLst>
          </p:cNvPr>
          <p:cNvGrpSpPr/>
          <p:nvPr/>
        </p:nvGrpSpPr>
        <p:grpSpPr>
          <a:xfrm>
            <a:off x="2355332" y="4122180"/>
            <a:ext cx="1948630" cy="460533"/>
            <a:chOff x="2355332" y="4122180"/>
            <a:chExt cx="1948630" cy="460533"/>
          </a:xfrm>
        </p:grpSpPr>
        <p:grpSp>
          <p:nvGrpSpPr>
            <p:cNvPr id="21" name="Group 20">
              <a:extLst>
                <a:ext uri="{FF2B5EF4-FFF2-40B4-BE49-F238E27FC236}">
                  <a16:creationId xmlns:a16="http://schemas.microsoft.com/office/drawing/2014/main" id="{B78C16F7-3473-7269-5C7D-020A2F01614A}"/>
                </a:ext>
              </a:extLst>
            </p:cNvPr>
            <p:cNvGrpSpPr/>
            <p:nvPr/>
          </p:nvGrpSpPr>
          <p:grpSpPr>
            <a:xfrm>
              <a:off x="2355332" y="4122180"/>
              <a:ext cx="1439111" cy="460533"/>
              <a:chOff x="2330030" y="3800999"/>
              <a:chExt cx="1439111" cy="460533"/>
            </a:xfrm>
          </p:grpSpPr>
          <p:pic>
            <p:nvPicPr>
              <p:cNvPr id="64" name="Picture 63">
                <a:extLst>
                  <a:ext uri="{FF2B5EF4-FFF2-40B4-BE49-F238E27FC236}">
                    <a16:creationId xmlns:a16="http://schemas.microsoft.com/office/drawing/2014/main" id="{6A8A28A3-30FA-098E-1799-FDC069EA4105}"/>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377356" y="3835373"/>
                <a:ext cx="391785" cy="391785"/>
              </a:xfrm>
              <a:prstGeom prst="rect">
                <a:avLst/>
              </a:prstGeom>
              <a:effectLst>
                <a:outerShdw blurRad="63500" sx="101000" sy="101000" algn="ctr" rotWithShape="0">
                  <a:prstClr val="black">
                    <a:alpha val="10000"/>
                  </a:prstClr>
                </a:outerShdw>
              </a:effectLst>
            </p:spPr>
          </p:pic>
          <p:pic>
            <p:nvPicPr>
              <p:cNvPr id="68" name="Picture 67">
                <a:extLst>
                  <a:ext uri="{FF2B5EF4-FFF2-40B4-BE49-F238E27FC236}">
                    <a16:creationId xmlns:a16="http://schemas.microsoft.com/office/drawing/2014/main" id="{D6919D8D-EB3D-8186-1BCE-23CE8E481103}"/>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822491" y="3800999"/>
                <a:ext cx="460533" cy="460533"/>
              </a:xfrm>
              <a:prstGeom prst="rect">
                <a:avLst/>
              </a:prstGeom>
              <a:effectLst>
                <a:outerShdw blurRad="63500" sx="101000" sy="101000" algn="ctr" rotWithShape="0">
                  <a:prstClr val="black">
                    <a:alpha val="10000"/>
                  </a:prstClr>
                </a:outerShdw>
              </a:effectLst>
            </p:spPr>
          </p:pic>
          <p:pic>
            <p:nvPicPr>
              <p:cNvPr id="65" name="Picture 64" descr="A blue and white circle with a cross in it&#10;&#10;Description automatically generated">
                <a:extLst>
                  <a:ext uri="{FF2B5EF4-FFF2-40B4-BE49-F238E27FC236}">
                    <a16:creationId xmlns:a16="http://schemas.microsoft.com/office/drawing/2014/main" id="{50EAE1EB-B967-0FDA-1591-BDCBA7032CD7}"/>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330030" y="3834901"/>
                <a:ext cx="392727" cy="392727"/>
              </a:xfrm>
              <a:prstGeom prst="rect">
                <a:avLst/>
              </a:prstGeom>
              <a:effectLst>
                <a:outerShdw blurRad="63500" sx="101000" sy="101000" algn="ctr" rotWithShape="0">
                  <a:prstClr val="black">
                    <a:alpha val="10000"/>
                  </a:prstClr>
                </a:outerShdw>
              </a:effectLst>
            </p:spPr>
          </p:pic>
        </p:grpSp>
        <p:pic>
          <p:nvPicPr>
            <p:cNvPr id="63" name="Picture 62">
              <a:extLst>
                <a:ext uri="{FF2B5EF4-FFF2-40B4-BE49-F238E27FC236}">
                  <a16:creationId xmlns:a16="http://schemas.microsoft.com/office/drawing/2014/main" id="{4EEEC421-E85C-87A4-922F-FEECEE7D062B}"/>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911235" y="4155612"/>
              <a:ext cx="392727" cy="392727"/>
            </a:xfrm>
            <a:prstGeom prst="rect">
              <a:avLst/>
            </a:prstGeom>
            <a:effectLst>
              <a:outerShdw blurRad="63500" sx="101000" sy="101000" algn="ctr" rotWithShape="0">
                <a:prstClr val="black">
                  <a:alpha val="10000"/>
                </a:prstClr>
              </a:outerShdw>
            </a:effectLst>
          </p:spPr>
        </p:pic>
      </p:grpSp>
      <p:grpSp>
        <p:nvGrpSpPr>
          <p:cNvPr id="70" name="Group 69">
            <a:extLst>
              <a:ext uri="{FF2B5EF4-FFF2-40B4-BE49-F238E27FC236}">
                <a16:creationId xmlns:a16="http://schemas.microsoft.com/office/drawing/2014/main" id="{79839FB9-2BDF-005B-7BD1-339D726B0B52}"/>
              </a:ext>
            </a:extLst>
          </p:cNvPr>
          <p:cNvGrpSpPr/>
          <p:nvPr/>
        </p:nvGrpSpPr>
        <p:grpSpPr>
          <a:xfrm>
            <a:off x="1602765" y="1145952"/>
            <a:ext cx="2122992" cy="2288390"/>
            <a:chOff x="2703369" y="1443807"/>
            <a:chExt cx="1864122" cy="2009352"/>
          </a:xfrm>
        </p:grpSpPr>
        <p:sp>
          <p:nvSpPr>
            <p:cNvPr id="62" name="Freeform 69">
              <a:extLst>
                <a:ext uri="{FF2B5EF4-FFF2-40B4-BE49-F238E27FC236}">
                  <a16:creationId xmlns:a16="http://schemas.microsoft.com/office/drawing/2014/main" id="{0A6E92A2-6D2E-8B59-12C9-BDE27F7DABA4}"/>
                </a:ext>
              </a:extLst>
            </p:cNvPr>
            <p:cNvSpPr/>
            <p:nvPr/>
          </p:nvSpPr>
          <p:spPr>
            <a:xfrm>
              <a:off x="3819585" y="1598787"/>
              <a:ext cx="747906" cy="1312606"/>
            </a:xfrm>
            <a:custGeom>
              <a:avLst/>
              <a:gdLst>
                <a:gd name="connsiteX0" fmla="*/ 218538 w 225833"/>
                <a:gd name="connsiteY0" fmla="*/ 279847 h 396346"/>
                <a:gd name="connsiteX1" fmla="*/ 191128 w 225833"/>
                <a:gd name="connsiteY1" fmla="*/ 256537 h 396346"/>
                <a:gd name="connsiteX2" fmla="*/ 204508 w 225833"/>
                <a:gd name="connsiteY2" fmla="*/ 243117 h 396346"/>
                <a:gd name="connsiteX3" fmla="*/ 193032 w 225833"/>
                <a:gd name="connsiteY3" fmla="*/ 230394 h 396346"/>
                <a:gd name="connsiteX4" fmla="*/ 196238 w 225833"/>
                <a:gd name="connsiteY4" fmla="*/ 218367 h 396346"/>
                <a:gd name="connsiteX5" fmla="*/ 185413 w 225833"/>
                <a:gd name="connsiteY5" fmla="*/ 210566 h 396346"/>
                <a:gd name="connsiteX6" fmla="*/ 190524 w 225833"/>
                <a:gd name="connsiteY6" fmla="*/ 203508 h 396346"/>
                <a:gd name="connsiteX7" fmla="*/ 187365 w 225833"/>
                <a:gd name="connsiteY7" fmla="*/ 185120 h 396346"/>
                <a:gd name="connsiteX8" fmla="*/ 194380 w 225833"/>
                <a:gd name="connsiteY8" fmla="*/ 171004 h 396346"/>
                <a:gd name="connsiteX9" fmla="*/ 173985 w 225833"/>
                <a:gd name="connsiteY9" fmla="*/ 134970 h 396346"/>
                <a:gd name="connsiteX10" fmla="*/ 180396 w 225833"/>
                <a:gd name="connsiteY10" fmla="*/ 120854 h 396346"/>
                <a:gd name="connsiteX11" fmla="*/ 193776 w 225833"/>
                <a:gd name="connsiteY11" fmla="*/ 103163 h 396346"/>
                <a:gd name="connsiteX12" fmla="*/ 178491 w 225833"/>
                <a:gd name="connsiteY12" fmla="*/ 85517 h 396346"/>
                <a:gd name="connsiteX13" fmla="*/ 165111 w 225833"/>
                <a:gd name="connsiteY13" fmla="*/ 77020 h 396346"/>
                <a:gd name="connsiteX14" fmla="*/ 161906 w 225833"/>
                <a:gd name="connsiteY14" fmla="*/ 63600 h 396346"/>
                <a:gd name="connsiteX15" fmla="*/ 165111 w 225833"/>
                <a:gd name="connsiteY15" fmla="*/ 50877 h 396346"/>
                <a:gd name="connsiteX16" fmla="*/ 173381 w 225833"/>
                <a:gd name="connsiteY16" fmla="*/ 43819 h 396346"/>
                <a:gd name="connsiteX17" fmla="*/ 178166 w 225833"/>
                <a:gd name="connsiteY17" fmla="*/ 35136 h 396346"/>
                <a:gd name="connsiteX18" fmla="*/ 178166 w 225833"/>
                <a:gd name="connsiteY18" fmla="*/ 21809 h 396346"/>
                <a:gd name="connsiteX19" fmla="*/ 155634 w 225833"/>
                <a:gd name="connsiteY19" fmla="*/ 4767 h 396346"/>
                <a:gd name="connsiteX20" fmla="*/ 138212 w 225833"/>
                <a:gd name="connsiteY20" fmla="*/ 4767 h 396346"/>
                <a:gd name="connsiteX21" fmla="*/ 116702 w 225833"/>
                <a:gd name="connsiteY21" fmla="*/ 10432 h 396346"/>
                <a:gd name="connsiteX22" fmla="*/ 103415 w 225833"/>
                <a:gd name="connsiteY22" fmla="*/ 26313 h 396346"/>
                <a:gd name="connsiteX23" fmla="*/ 99327 w 225833"/>
                <a:gd name="connsiteY23" fmla="*/ 46744 h 396346"/>
                <a:gd name="connsiteX24" fmla="*/ 90128 w 225833"/>
                <a:gd name="connsiteY24" fmla="*/ 60350 h 396346"/>
                <a:gd name="connsiteX25" fmla="*/ 77817 w 225833"/>
                <a:gd name="connsiteY25" fmla="*/ 56960 h 396346"/>
                <a:gd name="connsiteX26" fmla="*/ 61417 w 225833"/>
                <a:gd name="connsiteY26" fmla="*/ 55846 h 396346"/>
                <a:gd name="connsiteX27" fmla="*/ 37863 w 225833"/>
                <a:gd name="connsiteY27" fmla="*/ 54731 h 396346"/>
                <a:gd name="connsiteX28" fmla="*/ 14309 w 225833"/>
                <a:gd name="connsiteY28" fmla="*/ 35461 h 396346"/>
                <a:gd name="connsiteX29" fmla="*/ 0 w 225833"/>
                <a:gd name="connsiteY29" fmla="*/ 47116 h 396346"/>
                <a:gd name="connsiteX30" fmla="*/ 23508 w 225833"/>
                <a:gd name="connsiteY30" fmla="*/ 66108 h 396346"/>
                <a:gd name="connsiteX31" fmla="*/ 54263 w 225833"/>
                <a:gd name="connsiteY31" fmla="*/ 86539 h 396346"/>
                <a:gd name="connsiteX32" fmla="*/ 55285 w 225833"/>
                <a:gd name="connsiteY32" fmla="*/ 109246 h 396346"/>
                <a:gd name="connsiteX33" fmla="*/ 60395 w 225833"/>
                <a:gd name="connsiteY33" fmla="*/ 130791 h 396346"/>
                <a:gd name="connsiteX34" fmla="*/ 59373 w 225833"/>
                <a:gd name="connsiteY34" fmla="*/ 151223 h 396346"/>
                <a:gd name="connsiteX35" fmla="*/ 63508 w 225833"/>
                <a:gd name="connsiteY35" fmla="*/ 163667 h 396346"/>
                <a:gd name="connsiteX36" fmla="*/ 66528 w 225833"/>
                <a:gd name="connsiteY36" fmla="*/ 175461 h 396346"/>
                <a:gd name="connsiteX37" fmla="*/ 83903 w 225833"/>
                <a:gd name="connsiteY37" fmla="*/ 183355 h 396346"/>
                <a:gd name="connsiteX38" fmla="*/ 91569 w 225833"/>
                <a:gd name="connsiteY38" fmla="*/ 201697 h 396346"/>
                <a:gd name="connsiteX39" fmla="*/ 87759 w 225833"/>
                <a:gd name="connsiteY39" fmla="*/ 210148 h 396346"/>
                <a:gd name="connsiteX40" fmla="*/ 75958 w 225833"/>
                <a:gd name="connsiteY40" fmla="*/ 220735 h 396346"/>
                <a:gd name="connsiteX41" fmla="*/ 53938 w 225833"/>
                <a:gd name="connsiteY41" fmla="*/ 244742 h 396346"/>
                <a:gd name="connsiteX42" fmla="*/ 41162 w 225833"/>
                <a:gd name="connsiteY42" fmla="*/ 255701 h 396346"/>
                <a:gd name="connsiteX43" fmla="*/ 31870 w 225833"/>
                <a:gd name="connsiteY43" fmla="*/ 261505 h 396346"/>
                <a:gd name="connsiteX44" fmla="*/ 29965 w 225833"/>
                <a:gd name="connsiteY44" fmla="*/ 265823 h 396346"/>
                <a:gd name="connsiteX45" fmla="*/ 29733 w 225833"/>
                <a:gd name="connsiteY45" fmla="*/ 268749 h 396346"/>
                <a:gd name="connsiteX46" fmla="*/ 15563 w 225833"/>
                <a:gd name="connsiteY46" fmla="*/ 276875 h 396346"/>
                <a:gd name="connsiteX47" fmla="*/ 12729 w 225833"/>
                <a:gd name="connsiteY47" fmla="*/ 277479 h 396346"/>
                <a:gd name="connsiteX48" fmla="*/ 5203 w 225833"/>
                <a:gd name="connsiteY48" fmla="*/ 292059 h 396346"/>
                <a:gd name="connsiteX49" fmla="*/ 5854 w 225833"/>
                <a:gd name="connsiteY49" fmla="*/ 305850 h 396346"/>
                <a:gd name="connsiteX50" fmla="*/ 8084 w 225833"/>
                <a:gd name="connsiteY50" fmla="*/ 322474 h 396346"/>
                <a:gd name="connsiteX51" fmla="*/ 11940 w 225833"/>
                <a:gd name="connsiteY51" fmla="*/ 349313 h 396346"/>
                <a:gd name="connsiteX52" fmla="*/ 6179 w 225833"/>
                <a:gd name="connsiteY52" fmla="*/ 374063 h 396346"/>
                <a:gd name="connsiteX53" fmla="*/ 26295 w 225833"/>
                <a:gd name="connsiteY53" fmla="*/ 382885 h 396346"/>
                <a:gd name="connsiteX54" fmla="*/ 39350 w 225833"/>
                <a:gd name="connsiteY54" fmla="*/ 390640 h 396346"/>
                <a:gd name="connsiteX55" fmla="*/ 62950 w 225833"/>
                <a:gd name="connsiteY55" fmla="*/ 396305 h 396346"/>
                <a:gd name="connsiteX56" fmla="*/ 129896 w 225833"/>
                <a:gd name="connsiteY56" fmla="*/ 379356 h 396346"/>
                <a:gd name="connsiteX57" fmla="*/ 149223 w 225833"/>
                <a:gd name="connsiteY57" fmla="*/ 376942 h 396346"/>
                <a:gd name="connsiteX58" fmla="*/ 159536 w 225833"/>
                <a:gd name="connsiteY58" fmla="*/ 362408 h 396346"/>
                <a:gd name="connsiteX59" fmla="*/ 192707 w 225833"/>
                <a:gd name="connsiteY59" fmla="*/ 332736 h 396346"/>
                <a:gd name="connsiteX60" fmla="*/ 224624 w 225833"/>
                <a:gd name="connsiteY60" fmla="*/ 298839 h 396346"/>
                <a:gd name="connsiteX61" fmla="*/ 218863 w 225833"/>
                <a:gd name="connsiteY61" fmla="*/ 279754 h 39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25833" h="396346">
                  <a:moveTo>
                    <a:pt x="218538" y="279847"/>
                  </a:moveTo>
                  <a:cubicBezTo>
                    <a:pt x="210222" y="269260"/>
                    <a:pt x="191778" y="262202"/>
                    <a:pt x="191128" y="256537"/>
                  </a:cubicBezTo>
                  <a:cubicBezTo>
                    <a:pt x="190477" y="250871"/>
                    <a:pt x="205158" y="250175"/>
                    <a:pt x="204508" y="243117"/>
                  </a:cubicBezTo>
                  <a:cubicBezTo>
                    <a:pt x="203857" y="236059"/>
                    <a:pt x="196238" y="236059"/>
                    <a:pt x="193032" y="230394"/>
                  </a:cubicBezTo>
                  <a:cubicBezTo>
                    <a:pt x="189827" y="224729"/>
                    <a:pt x="196888" y="221200"/>
                    <a:pt x="196238" y="218367"/>
                  </a:cubicBezTo>
                  <a:cubicBezTo>
                    <a:pt x="195587" y="215535"/>
                    <a:pt x="186017" y="214142"/>
                    <a:pt x="185413" y="210566"/>
                  </a:cubicBezTo>
                  <a:cubicBezTo>
                    <a:pt x="184763" y="207037"/>
                    <a:pt x="191824" y="207780"/>
                    <a:pt x="190524" y="203508"/>
                  </a:cubicBezTo>
                  <a:cubicBezTo>
                    <a:pt x="189269" y="199282"/>
                    <a:pt x="182905" y="191481"/>
                    <a:pt x="187365" y="185120"/>
                  </a:cubicBezTo>
                  <a:cubicBezTo>
                    <a:pt x="191824" y="178758"/>
                    <a:pt x="201395" y="185120"/>
                    <a:pt x="194380" y="171004"/>
                  </a:cubicBezTo>
                  <a:cubicBezTo>
                    <a:pt x="187365" y="156888"/>
                    <a:pt x="176540" y="139242"/>
                    <a:pt x="173985" y="134970"/>
                  </a:cubicBezTo>
                  <a:cubicBezTo>
                    <a:pt x="171430" y="130745"/>
                    <a:pt x="176540" y="123640"/>
                    <a:pt x="180396" y="120854"/>
                  </a:cubicBezTo>
                  <a:cubicBezTo>
                    <a:pt x="184206" y="118022"/>
                    <a:pt x="193776" y="107435"/>
                    <a:pt x="193776" y="103163"/>
                  </a:cubicBezTo>
                  <a:cubicBezTo>
                    <a:pt x="193776" y="98891"/>
                    <a:pt x="181650" y="87607"/>
                    <a:pt x="178491" y="85517"/>
                  </a:cubicBezTo>
                  <a:cubicBezTo>
                    <a:pt x="175285" y="83381"/>
                    <a:pt x="168270" y="84124"/>
                    <a:pt x="165111" y="77020"/>
                  </a:cubicBezTo>
                  <a:cubicBezTo>
                    <a:pt x="161906" y="69962"/>
                    <a:pt x="158746" y="67872"/>
                    <a:pt x="161906" y="63600"/>
                  </a:cubicBezTo>
                  <a:cubicBezTo>
                    <a:pt x="165111" y="59375"/>
                    <a:pt x="165111" y="55149"/>
                    <a:pt x="165111" y="50877"/>
                  </a:cubicBezTo>
                  <a:cubicBezTo>
                    <a:pt x="165111" y="46605"/>
                    <a:pt x="172126" y="50181"/>
                    <a:pt x="173381" y="43819"/>
                  </a:cubicBezTo>
                  <a:cubicBezTo>
                    <a:pt x="173985" y="40940"/>
                    <a:pt x="175797" y="37736"/>
                    <a:pt x="178166" y="35136"/>
                  </a:cubicBezTo>
                  <a:cubicBezTo>
                    <a:pt x="178166" y="30306"/>
                    <a:pt x="178677" y="25106"/>
                    <a:pt x="178166" y="21809"/>
                  </a:cubicBezTo>
                  <a:cubicBezTo>
                    <a:pt x="177144" y="14983"/>
                    <a:pt x="159722" y="12708"/>
                    <a:pt x="155634" y="4767"/>
                  </a:cubicBezTo>
                  <a:cubicBezTo>
                    <a:pt x="151499" y="-3173"/>
                    <a:pt x="141278" y="217"/>
                    <a:pt x="138212" y="4767"/>
                  </a:cubicBezTo>
                  <a:cubicBezTo>
                    <a:pt x="135146" y="9318"/>
                    <a:pt x="116702" y="3653"/>
                    <a:pt x="116702" y="10432"/>
                  </a:cubicBezTo>
                  <a:cubicBezTo>
                    <a:pt x="116702" y="17212"/>
                    <a:pt x="103415" y="18373"/>
                    <a:pt x="103415" y="26313"/>
                  </a:cubicBezTo>
                  <a:cubicBezTo>
                    <a:pt x="103415" y="34253"/>
                    <a:pt x="109548" y="47859"/>
                    <a:pt x="99327" y="46744"/>
                  </a:cubicBezTo>
                  <a:cubicBezTo>
                    <a:pt x="89060" y="45630"/>
                    <a:pt x="96261" y="51295"/>
                    <a:pt x="90128" y="60350"/>
                  </a:cubicBezTo>
                  <a:cubicBezTo>
                    <a:pt x="83949" y="69451"/>
                    <a:pt x="83949" y="54685"/>
                    <a:pt x="77817" y="56960"/>
                  </a:cubicBezTo>
                  <a:cubicBezTo>
                    <a:pt x="71684" y="59235"/>
                    <a:pt x="64484" y="50134"/>
                    <a:pt x="61417" y="55846"/>
                  </a:cubicBezTo>
                  <a:cubicBezTo>
                    <a:pt x="58351" y="61511"/>
                    <a:pt x="48084" y="56960"/>
                    <a:pt x="37863" y="54731"/>
                  </a:cubicBezTo>
                  <a:cubicBezTo>
                    <a:pt x="27596" y="52456"/>
                    <a:pt x="22486" y="36575"/>
                    <a:pt x="14309" y="35461"/>
                  </a:cubicBezTo>
                  <a:cubicBezTo>
                    <a:pt x="8873" y="34718"/>
                    <a:pt x="3066" y="39501"/>
                    <a:pt x="0" y="47116"/>
                  </a:cubicBezTo>
                  <a:cubicBezTo>
                    <a:pt x="7944" y="52781"/>
                    <a:pt x="13148" y="60861"/>
                    <a:pt x="23508" y="66108"/>
                  </a:cubicBezTo>
                  <a:cubicBezTo>
                    <a:pt x="34797" y="71773"/>
                    <a:pt x="55285" y="78599"/>
                    <a:pt x="54263" y="86539"/>
                  </a:cubicBezTo>
                  <a:cubicBezTo>
                    <a:pt x="53241" y="94479"/>
                    <a:pt x="50128" y="105809"/>
                    <a:pt x="55285" y="109246"/>
                  </a:cubicBezTo>
                  <a:cubicBezTo>
                    <a:pt x="60395" y="112635"/>
                    <a:pt x="54263" y="127402"/>
                    <a:pt x="60395" y="130791"/>
                  </a:cubicBezTo>
                  <a:cubicBezTo>
                    <a:pt x="66528" y="134181"/>
                    <a:pt x="64484" y="151223"/>
                    <a:pt x="59373" y="151223"/>
                  </a:cubicBezTo>
                  <a:cubicBezTo>
                    <a:pt x="54263" y="151223"/>
                    <a:pt x="60395" y="160277"/>
                    <a:pt x="63508" y="163667"/>
                  </a:cubicBezTo>
                  <a:cubicBezTo>
                    <a:pt x="64901" y="165246"/>
                    <a:pt x="66017" y="169843"/>
                    <a:pt x="66528" y="175461"/>
                  </a:cubicBezTo>
                  <a:cubicBezTo>
                    <a:pt x="72846" y="177133"/>
                    <a:pt x="78421" y="180662"/>
                    <a:pt x="83903" y="183355"/>
                  </a:cubicBezTo>
                  <a:cubicBezTo>
                    <a:pt x="92497" y="187581"/>
                    <a:pt x="91243" y="194314"/>
                    <a:pt x="91569" y="201697"/>
                  </a:cubicBezTo>
                  <a:cubicBezTo>
                    <a:pt x="91894" y="209127"/>
                    <a:pt x="92219" y="213352"/>
                    <a:pt x="87759" y="210148"/>
                  </a:cubicBezTo>
                  <a:cubicBezTo>
                    <a:pt x="83299" y="206991"/>
                    <a:pt x="78514" y="210148"/>
                    <a:pt x="75958" y="220735"/>
                  </a:cubicBezTo>
                  <a:cubicBezTo>
                    <a:pt x="73403" y="231322"/>
                    <a:pt x="61278" y="244046"/>
                    <a:pt x="53938" y="244742"/>
                  </a:cubicBezTo>
                  <a:cubicBezTo>
                    <a:pt x="46597" y="245439"/>
                    <a:pt x="47248" y="253936"/>
                    <a:pt x="41162" y="255701"/>
                  </a:cubicBezTo>
                  <a:cubicBezTo>
                    <a:pt x="37538" y="256769"/>
                    <a:pt x="34007" y="258626"/>
                    <a:pt x="31870" y="261505"/>
                  </a:cubicBezTo>
                  <a:cubicBezTo>
                    <a:pt x="31359" y="262991"/>
                    <a:pt x="30709" y="264430"/>
                    <a:pt x="29965" y="265823"/>
                  </a:cubicBezTo>
                  <a:cubicBezTo>
                    <a:pt x="29779" y="266752"/>
                    <a:pt x="29687" y="267681"/>
                    <a:pt x="29733" y="268749"/>
                  </a:cubicBezTo>
                  <a:cubicBezTo>
                    <a:pt x="30012" y="275853"/>
                    <a:pt x="21603" y="276782"/>
                    <a:pt x="15563" y="276875"/>
                  </a:cubicBezTo>
                  <a:cubicBezTo>
                    <a:pt x="14634" y="277154"/>
                    <a:pt x="13659" y="277339"/>
                    <a:pt x="12729" y="277479"/>
                  </a:cubicBezTo>
                  <a:cubicBezTo>
                    <a:pt x="8966" y="279893"/>
                    <a:pt x="9338" y="289319"/>
                    <a:pt x="5203" y="292059"/>
                  </a:cubicBezTo>
                  <a:cubicBezTo>
                    <a:pt x="418" y="295263"/>
                    <a:pt x="1347" y="299489"/>
                    <a:pt x="5854" y="305850"/>
                  </a:cubicBezTo>
                  <a:cubicBezTo>
                    <a:pt x="10314" y="312212"/>
                    <a:pt x="6504" y="317877"/>
                    <a:pt x="8084" y="322474"/>
                  </a:cubicBezTo>
                  <a:cubicBezTo>
                    <a:pt x="9710" y="327071"/>
                    <a:pt x="16725" y="337658"/>
                    <a:pt x="11940" y="349313"/>
                  </a:cubicBezTo>
                  <a:cubicBezTo>
                    <a:pt x="7154" y="360968"/>
                    <a:pt x="2044" y="375456"/>
                    <a:pt x="6179" y="374063"/>
                  </a:cubicBezTo>
                  <a:cubicBezTo>
                    <a:pt x="10314" y="372670"/>
                    <a:pt x="19884" y="383582"/>
                    <a:pt x="26295" y="382885"/>
                  </a:cubicBezTo>
                  <a:cubicBezTo>
                    <a:pt x="32660" y="382189"/>
                    <a:pt x="33310" y="392776"/>
                    <a:pt x="39350" y="390640"/>
                  </a:cubicBezTo>
                  <a:cubicBezTo>
                    <a:pt x="45389" y="388550"/>
                    <a:pt x="45389" y="397002"/>
                    <a:pt x="62950" y="396305"/>
                  </a:cubicBezTo>
                  <a:cubicBezTo>
                    <a:pt x="80465" y="395609"/>
                    <a:pt x="115866" y="379356"/>
                    <a:pt x="129896" y="379356"/>
                  </a:cubicBezTo>
                  <a:cubicBezTo>
                    <a:pt x="137840" y="379356"/>
                    <a:pt x="144205" y="378288"/>
                    <a:pt x="149223" y="376942"/>
                  </a:cubicBezTo>
                  <a:cubicBezTo>
                    <a:pt x="152243" y="371927"/>
                    <a:pt x="155866" y="366494"/>
                    <a:pt x="159536" y="362408"/>
                  </a:cubicBezTo>
                  <a:cubicBezTo>
                    <a:pt x="168456" y="352517"/>
                    <a:pt x="187597" y="345459"/>
                    <a:pt x="192707" y="332736"/>
                  </a:cubicBezTo>
                  <a:cubicBezTo>
                    <a:pt x="197818" y="320013"/>
                    <a:pt x="220768" y="310215"/>
                    <a:pt x="224624" y="298839"/>
                  </a:cubicBezTo>
                  <a:cubicBezTo>
                    <a:pt x="226529" y="293174"/>
                    <a:pt x="227179" y="290341"/>
                    <a:pt x="218863" y="279754"/>
                  </a:cubicBezTo>
                  <a:close/>
                </a:path>
              </a:pathLst>
            </a:custGeom>
            <a:solidFill>
              <a:srgbClr val="CCCDF1"/>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6" name="Freeform 80">
              <a:extLst>
                <a:ext uri="{FF2B5EF4-FFF2-40B4-BE49-F238E27FC236}">
                  <a16:creationId xmlns:a16="http://schemas.microsoft.com/office/drawing/2014/main" id="{1880798F-5A36-6C3A-74E9-8FEACBF9D0A7}"/>
                </a:ext>
              </a:extLst>
            </p:cNvPr>
            <p:cNvSpPr/>
            <p:nvPr/>
          </p:nvSpPr>
          <p:spPr>
            <a:xfrm>
              <a:off x="3148075" y="1746184"/>
              <a:ext cx="890607" cy="1706975"/>
            </a:xfrm>
            <a:custGeom>
              <a:avLst/>
              <a:gdLst>
                <a:gd name="connsiteX0" fmla="*/ 266042 w 268922"/>
                <a:gd name="connsiteY0" fmla="*/ 119253 h 515427"/>
                <a:gd name="connsiteX1" fmla="*/ 261908 w 268922"/>
                <a:gd name="connsiteY1" fmla="*/ 106808 h 515427"/>
                <a:gd name="connsiteX2" fmla="*/ 262930 w 268922"/>
                <a:gd name="connsiteY2" fmla="*/ 86377 h 515427"/>
                <a:gd name="connsiteX3" fmla="*/ 257819 w 268922"/>
                <a:gd name="connsiteY3" fmla="*/ 64831 h 515427"/>
                <a:gd name="connsiteX4" fmla="*/ 256797 w 268922"/>
                <a:gd name="connsiteY4" fmla="*/ 42124 h 515427"/>
                <a:gd name="connsiteX5" fmla="*/ 226042 w 268922"/>
                <a:gd name="connsiteY5" fmla="*/ 21693 h 515427"/>
                <a:gd name="connsiteX6" fmla="*/ 200444 w 268922"/>
                <a:gd name="connsiteY6" fmla="*/ 1262 h 515427"/>
                <a:gd name="connsiteX7" fmla="*/ 188132 w 268922"/>
                <a:gd name="connsiteY7" fmla="*/ 19418 h 515427"/>
                <a:gd name="connsiteX8" fmla="*/ 173777 w 268922"/>
                <a:gd name="connsiteY8" fmla="*/ 23968 h 515427"/>
                <a:gd name="connsiteX9" fmla="*/ 151245 w 268922"/>
                <a:gd name="connsiteY9" fmla="*/ 19418 h 515427"/>
                <a:gd name="connsiteX10" fmla="*/ 146135 w 268922"/>
                <a:gd name="connsiteY10" fmla="*/ 36413 h 515427"/>
                <a:gd name="connsiteX11" fmla="*/ 129735 w 268922"/>
                <a:gd name="connsiteY11" fmla="*/ 43192 h 515427"/>
                <a:gd name="connsiteX12" fmla="*/ 113335 w 268922"/>
                <a:gd name="connsiteY12" fmla="*/ 56798 h 515427"/>
                <a:gd name="connsiteX13" fmla="*/ 107203 w 268922"/>
                <a:gd name="connsiteY13" fmla="*/ 73839 h 515427"/>
                <a:gd name="connsiteX14" fmla="*/ 102093 w 268922"/>
                <a:gd name="connsiteY14" fmla="*/ 86330 h 515427"/>
                <a:gd name="connsiteX15" fmla="*/ 90803 w 268922"/>
                <a:gd name="connsiteY15" fmla="*/ 104486 h 515427"/>
                <a:gd name="connsiteX16" fmla="*/ 86715 w 268922"/>
                <a:gd name="connsiteY16" fmla="*/ 118092 h 515427"/>
                <a:gd name="connsiteX17" fmla="*/ 70315 w 268922"/>
                <a:gd name="connsiteY17" fmla="*/ 122596 h 515427"/>
                <a:gd name="connsiteX18" fmla="*/ 69293 w 268922"/>
                <a:gd name="connsiteY18" fmla="*/ 144188 h 515427"/>
                <a:gd name="connsiteX19" fmla="*/ 54938 w 268922"/>
                <a:gd name="connsiteY19" fmla="*/ 174788 h 515427"/>
                <a:gd name="connsiteX20" fmla="*/ 60048 w 268922"/>
                <a:gd name="connsiteY20" fmla="*/ 187279 h 515427"/>
                <a:gd name="connsiteX21" fmla="*/ 60048 w 268922"/>
                <a:gd name="connsiteY21" fmla="*/ 200885 h 515427"/>
                <a:gd name="connsiteX22" fmla="*/ 45693 w 268922"/>
                <a:gd name="connsiteY22" fmla="*/ 202046 h 515427"/>
                <a:gd name="connsiteX23" fmla="*/ 24183 w 268922"/>
                <a:gd name="connsiteY23" fmla="*/ 217926 h 515427"/>
                <a:gd name="connsiteX24" fmla="*/ 22139 w 268922"/>
                <a:gd name="connsiteY24" fmla="*/ 241747 h 515427"/>
                <a:gd name="connsiteX25" fmla="*/ 22139 w 268922"/>
                <a:gd name="connsiteY25" fmla="*/ 265568 h 515427"/>
                <a:gd name="connsiteX26" fmla="*/ 21117 w 268922"/>
                <a:gd name="connsiteY26" fmla="*/ 288275 h 515427"/>
                <a:gd name="connsiteX27" fmla="*/ 35472 w 268922"/>
                <a:gd name="connsiteY27" fmla="*/ 305270 h 515427"/>
                <a:gd name="connsiteX28" fmla="*/ 27249 w 268922"/>
                <a:gd name="connsiteY28" fmla="*/ 317761 h 515427"/>
                <a:gd name="connsiteX29" fmla="*/ 28271 w 268922"/>
                <a:gd name="connsiteY29" fmla="*/ 329091 h 515427"/>
                <a:gd name="connsiteX30" fmla="*/ 29293 w 268922"/>
                <a:gd name="connsiteY30" fmla="*/ 351798 h 515427"/>
                <a:gd name="connsiteX31" fmla="*/ 14938 w 268922"/>
                <a:gd name="connsiteY31" fmla="*/ 357463 h 515427"/>
                <a:gd name="connsiteX32" fmla="*/ 11871 w 268922"/>
                <a:gd name="connsiteY32" fmla="*/ 376780 h 515427"/>
                <a:gd name="connsiteX33" fmla="*/ 6761 w 268922"/>
                <a:gd name="connsiteY33" fmla="*/ 392660 h 515427"/>
                <a:gd name="connsiteX34" fmla="*/ 25 w 268922"/>
                <a:gd name="connsiteY34" fmla="*/ 391592 h 515427"/>
                <a:gd name="connsiteX35" fmla="*/ 25 w 268922"/>
                <a:gd name="connsiteY35" fmla="*/ 393821 h 515427"/>
                <a:gd name="connsiteX36" fmla="*/ 9595 w 268922"/>
                <a:gd name="connsiteY36" fmla="*/ 417828 h 515427"/>
                <a:gd name="connsiteX37" fmla="*/ 17261 w 268922"/>
                <a:gd name="connsiteY37" fmla="*/ 442578 h 515427"/>
                <a:gd name="connsiteX38" fmla="*/ 28085 w 268922"/>
                <a:gd name="connsiteY38" fmla="*/ 464123 h 515427"/>
                <a:gd name="connsiteX39" fmla="*/ 32545 w 268922"/>
                <a:gd name="connsiteY39" fmla="*/ 482140 h 515427"/>
                <a:gd name="connsiteX40" fmla="*/ 38585 w 268922"/>
                <a:gd name="connsiteY40" fmla="*/ 493099 h 515427"/>
                <a:gd name="connsiteX41" fmla="*/ 38910 w 268922"/>
                <a:gd name="connsiteY41" fmla="*/ 513251 h 515427"/>
                <a:gd name="connsiteX42" fmla="*/ 55821 w 268922"/>
                <a:gd name="connsiteY42" fmla="*/ 512926 h 515427"/>
                <a:gd name="connsiteX43" fmla="*/ 63765 w 268922"/>
                <a:gd name="connsiteY43" fmla="*/ 498810 h 515427"/>
                <a:gd name="connsiteX44" fmla="*/ 70455 w 268922"/>
                <a:gd name="connsiteY44" fmla="*/ 491055 h 515427"/>
                <a:gd name="connsiteX45" fmla="*/ 88295 w 268922"/>
                <a:gd name="connsiteY45" fmla="*/ 489244 h 515427"/>
                <a:gd name="connsiteX46" fmla="*/ 100745 w 268922"/>
                <a:gd name="connsiteY46" fmla="*/ 478286 h 515427"/>
                <a:gd name="connsiteX47" fmla="*/ 108411 w 268922"/>
                <a:gd name="connsiteY47" fmla="*/ 481815 h 515427"/>
                <a:gd name="connsiteX48" fmla="*/ 120536 w 268922"/>
                <a:gd name="connsiteY48" fmla="*/ 459248 h 515427"/>
                <a:gd name="connsiteX49" fmla="*/ 112871 w 268922"/>
                <a:gd name="connsiteY49" fmla="*/ 460641 h 515427"/>
                <a:gd name="connsiteX50" fmla="*/ 112546 w 268922"/>
                <a:gd name="connsiteY50" fmla="*/ 444064 h 515427"/>
                <a:gd name="connsiteX51" fmla="*/ 116030 w 268922"/>
                <a:gd name="connsiteY51" fmla="*/ 410166 h 515427"/>
                <a:gd name="connsiteX52" fmla="*/ 128155 w 268922"/>
                <a:gd name="connsiteY52" fmla="*/ 395679 h 515427"/>
                <a:gd name="connsiteX53" fmla="*/ 147621 w 268922"/>
                <a:gd name="connsiteY53" fmla="*/ 375572 h 515427"/>
                <a:gd name="connsiteX54" fmla="*/ 160351 w 268922"/>
                <a:gd name="connsiteY54" fmla="*/ 356163 h 515427"/>
                <a:gd name="connsiteX55" fmla="*/ 139956 w 268922"/>
                <a:gd name="connsiteY55" fmla="*/ 331088 h 515427"/>
                <a:gd name="connsiteX56" fmla="*/ 124671 w 268922"/>
                <a:gd name="connsiteY56" fmla="*/ 326491 h 515427"/>
                <a:gd name="connsiteX57" fmla="*/ 122116 w 268922"/>
                <a:gd name="connsiteY57" fmla="*/ 299651 h 515427"/>
                <a:gd name="connsiteX58" fmla="*/ 129503 w 268922"/>
                <a:gd name="connsiteY58" fmla="*/ 279685 h 515427"/>
                <a:gd name="connsiteX59" fmla="*/ 130385 w 268922"/>
                <a:gd name="connsiteY59" fmla="*/ 258092 h 515427"/>
                <a:gd name="connsiteX60" fmla="*/ 148969 w 268922"/>
                <a:gd name="connsiteY60" fmla="*/ 236361 h 515427"/>
                <a:gd name="connsiteX61" fmla="*/ 157656 w 268922"/>
                <a:gd name="connsiteY61" fmla="*/ 230789 h 515427"/>
                <a:gd name="connsiteX62" fmla="*/ 161001 w 268922"/>
                <a:gd name="connsiteY62" fmla="*/ 228281 h 515427"/>
                <a:gd name="connsiteX63" fmla="*/ 167134 w 268922"/>
                <a:gd name="connsiteY63" fmla="*/ 224799 h 515427"/>
                <a:gd name="connsiteX64" fmla="*/ 174009 w 268922"/>
                <a:gd name="connsiteY64" fmla="*/ 208500 h 515427"/>
                <a:gd name="connsiteX65" fmla="*/ 177122 w 268922"/>
                <a:gd name="connsiteY65" fmla="*/ 205389 h 515427"/>
                <a:gd name="connsiteX66" fmla="*/ 190455 w 268922"/>
                <a:gd name="connsiteY66" fmla="*/ 198981 h 515427"/>
                <a:gd name="connsiteX67" fmla="*/ 194358 w 268922"/>
                <a:gd name="connsiteY67" fmla="*/ 193780 h 515427"/>
                <a:gd name="connsiteX68" fmla="*/ 203185 w 268922"/>
                <a:gd name="connsiteY68" fmla="*/ 188440 h 515427"/>
                <a:gd name="connsiteX69" fmla="*/ 209410 w 268922"/>
                <a:gd name="connsiteY69" fmla="*/ 172049 h 515427"/>
                <a:gd name="connsiteX70" fmla="*/ 212337 w 268922"/>
                <a:gd name="connsiteY70" fmla="*/ 164666 h 515427"/>
                <a:gd name="connsiteX71" fmla="*/ 220607 w 268922"/>
                <a:gd name="connsiteY71" fmla="*/ 145256 h 515427"/>
                <a:gd name="connsiteX72" fmla="*/ 234637 w 268922"/>
                <a:gd name="connsiteY72" fmla="*/ 132904 h 515427"/>
                <a:gd name="connsiteX73" fmla="*/ 257262 w 268922"/>
                <a:gd name="connsiteY73" fmla="*/ 130443 h 515427"/>
                <a:gd name="connsiteX74" fmla="*/ 268923 w 268922"/>
                <a:gd name="connsiteY74" fmla="*/ 131001 h 515427"/>
                <a:gd name="connsiteX75" fmla="*/ 265903 w 268922"/>
                <a:gd name="connsiteY75" fmla="*/ 119206 h 51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68922" h="515427">
                  <a:moveTo>
                    <a:pt x="266042" y="119253"/>
                  </a:moveTo>
                  <a:cubicBezTo>
                    <a:pt x="262976" y="115863"/>
                    <a:pt x="256844" y="106808"/>
                    <a:pt x="261908" y="106808"/>
                  </a:cubicBezTo>
                  <a:cubicBezTo>
                    <a:pt x="266972" y="106808"/>
                    <a:pt x="269062" y="89813"/>
                    <a:pt x="262930" y="86377"/>
                  </a:cubicBezTo>
                  <a:cubicBezTo>
                    <a:pt x="256797" y="82987"/>
                    <a:pt x="262930" y="68221"/>
                    <a:pt x="257819" y="64831"/>
                  </a:cubicBezTo>
                  <a:cubicBezTo>
                    <a:pt x="252709" y="61441"/>
                    <a:pt x="255775" y="50065"/>
                    <a:pt x="256797" y="42124"/>
                  </a:cubicBezTo>
                  <a:cubicBezTo>
                    <a:pt x="257819" y="34184"/>
                    <a:pt x="237331" y="27358"/>
                    <a:pt x="226042" y="21693"/>
                  </a:cubicBezTo>
                  <a:cubicBezTo>
                    <a:pt x="214800" y="16028"/>
                    <a:pt x="209642" y="6927"/>
                    <a:pt x="200444" y="1262"/>
                  </a:cubicBezTo>
                  <a:cubicBezTo>
                    <a:pt x="191245" y="-4403"/>
                    <a:pt x="188132" y="10317"/>
                    <a:pt x="188132" y="19418"/>
                  </a:cubicBezTo>
                  <a:cubicBezTo>
                    <a:pt x="188132" y="28519"/>
                    <a:pt x="179956" y="29634"/>
                    <a:pt x="173777" y="23968"/>
                  </a:cubicBezTo>
                  <a:cubicBezTo>
                    <a:pt x="167645" y="18303"/>
                    <a:pt x="160444" y="23968"/>
                    <a:pt x="151245" y="19418"/>
                  </a:cubicBezTo>
                  <a:cubicBezTo>
                    <a:pt x="142046" y="14867"/>
                    <a:pt x="146135" y="29634"/>
                    <a:pt x="146135" y="36413"/>
                  </a:cubicBezTo>
                  <a:cubicBezTo>
                    <a:pt x="146135" y="43192"/>
                    <a:pt x="135867" y="43192"/>
                    <a:pt x="129735" y="43192"/>
                  </a:cubicBezTo>
                  <a:cubicBezTo>
                    <a:pt x="123603" y="43192"/>
                    <a:pt x="113335" y="48857"/>
                    <a:pt x="113335" y="56798"/>
                  </a:cubicBezTo>
                  <a:cubicBezTo>
                    <a:pt x="113335" y="64738"/>
                    <a:pt x="104137" y="69289"/>
                    <a:pt x="107203" y="73839"/>
                  </a:cubicBezTo>
                  <a:cubicBezTo>
                    <a:pt x="110269" y="78344"/>
                    <a:pt x="106181" y="82894"/>
                    <a:pt x="102093" y="86330"/>
                  </a:cubicBezTo>
                  <a:cubicBezTo>
                    <a:pt x="98004" y="89720"/>
                    <a:pt x="93916" y="101050"/>
                    <a:pt x="90803" y="104486"/>
                  </a:cubicBezTo>
                  <a:cubicBezTo>
                    <a:pt x="87737" y="107876"/>
                    <a:pt x="92848" y="113541"/>
                    <a:pt x="86715" y="118092"/>
                  </a:cubicBezTo>
                  <a:cubicBezTo>
                    <a:pt x="80583" y="122596"/>
                    <a:pt x="73382" y="119206"/>
                    <a:pt x="70315" y="122596"/>
                  </a:cubicBezTo>
                  <a:cubicBezTo>
                    <a:pt x="67249" y="125986"/>
                    <a:pt x="70315" y="133972"/>
                    <a:pt x="69293" y="144188"/>
                  </a:cubicBezTo>
                  <a:cubicBezTo>
                    <a:pt x="68271" y="154357"/>
                    <a:pt x="61070" y="165734"/>
                    <a:pt x="54938" y="174788"/>
                  </a:cubicBezTo>
                  <a:cubicBezTo>
                    <a:pt x="48805" y="183890"/>
                    <a:pt x="56982" y="186165"/>
                    <a:pt x="60048" y="187279"/>
                  </a:cubicBezTo>
                  <a:cubicBezTo>
                    <a:pt x="63114" y="188440"/>
                    <a:pt x="63114" y="194105"/>
                    <a:pt x="60048" y="200885"/>
                  </a:cubicBezTo>
                  <a:cubicBezTo>
                    <a:pt x="56982" y="207711"/>
                    <a:pt x="49781" y="203160"/>
                    <a:pt x="45693" y="202046"/>
                  </a:cubicBezTo>
                  <a:cubicBezTo>
                    <a:pt x="41604" y="200885"/>
                    <a:pt x="30315" y="206550"/>
                    <a:pt x="24183" y="217926"/>
                  </a:cubicBezTo>
                  <a:cubicBezTo>
                    <a:pt x="18050" y="229256"/>
                    <a:pt x="20094" y="236082"/>
                    <a:pt x="22139" y="241747"/>
                  </a:cubicBezTo>
                  <a:cubicBezTo>
                    <a:pt x="24183" y="247412"/>
                    <a:pt x="17028" y="254238"/>
                    <a:pt x="22139" y="265568"/>
                  </a:cubicBezTo>
                  <a:cubicBezTo>
                    <a:pt x="27249" y="276898"/>
                    <a:pt x="20094" y="279174"/>
                    <a:pt x="21117" y="288275"/>
                  </a:cubicBezTo>
                  <a:cubicBezTo>
                    <a:pt x="22139" y="297330"/>
                    <a:pt x="34450" y="296215"/>
                    <a:pt x="35472" y="305270"/>
                  </a:cubicBezTo>
                  <a:cubicBezTo>
                    <a:pt x="36494" y="314325"/>
                    <a:pt x="31384" y="317761"/>
                    <a:pt x="27249" y="317761"/>
                  </a:cubicBezTo>
                  <a:cubicBezTo>
                    <a:pt x="23114" y="317761"/>
                    <a:pt x="24183" y="326816"/>
                    <a:pt x="28271" y="329091"/>
                  </a:cubicBezTo>
                  <a:cubicBezTo>
                    <a:pt x="32359" y="331366"/>
                    <a:pt x="31337" y="347247"/>
                    <a:pt x="29293" y="351798"/>
                  </a:cubicBezTo>
                  <a:cubicBezTo>
                    <a:pt x="27249" y="356348"/>
                    <a:pt x="13915" y="351798"/>
                    <a:pt x="14938" y="357463"/>
                  </a:cubicBezTo>
                  <a:cubicBezTo>
                    <a:pt x="15960" y="363128"/>
                    <a:pt x="11871" y="372229"/>
                    <a:pt x="11871" y="376780"/>
                  </a:cubicBezTo>
                  <a:cubicBezTo>
                    <a:pt x="11871" y="381330"/>
                    <a:pt x="10849" y="396050"/>
                    <a:pt x="6761" y="392660"/>
                  </a:cubicBezTo>
                  <a:cubicBezTo>
                    <a:pt x="5135" y="391314"/>
                    <a:pt x="2580" y="391221"/>
                    <a:pt x="25" y="391592"/>
                  </a:cubicBezTo>
                  <a:cubicBezTo>
                    <a:pt x="25" y="392289"/>
                    <a:pt x="25" y="392985"/>
                    <a:pt x="25" y="393821"/>
                  </a:cubicBezTo>
                  <a:cubicBezTo>
                    <a:pt x="-301" y="402644"/>
                    <a:pt x="2580" y="411466"/>
                    <a:pt x="9595" y="417828"/>
                  </a:cubicBezTo>
                  <a:cubicBezTo>
                    <a:pt x="16610" y="424189"/>
                    <a:pt x="11175" y="433709"/>
                    <a:pt x="17261" y="442578"/>
                  </a:cubicBezTo>
                  <a:cubicBezTo>
                    <a:pt x="23300" y="451400"/>
                    <a:pt x="21395" y="457762"/>
                    <a:pt x="28085" y="464123"/>
                  </a:cubicBezTo>
                  <a:cubicBezTo>
                    <a:pt x="34775" y="470485"/>
                    <a:pt x="35425" y="474014"/>
                    <a:pt x="32545" y="482140"/>
                  </a:cubicBezTo>
                  <a:cubicBezTo>
                    <a:pt x="29665" y="490266"/>
                    <a:pt x="38306" y="488130"/>
                    <a:pt x="38585" y="493099"/>
                  </a:cubicBezTo>
                  <a:cubicBezTo>
                    <a:pt x="38910" y="498067"/>
                    <a:pt x="36680" y="508283"/>
                    <a:pt x="38910" y="513251"/>
                  </a:cubicBezTo>
                  <a:cubicBezTo>
                    <a:pt x="41140" y="518173"/>
                    <a:pt x="45600" y="513251"/>
                    <a:pt x="55821" y="512926"/>
                  </a:cubicBezTo>
                  <a:cubicBezTo>
                    <a:pt x="65995" y="512555"/>
                    <a:pt x="63486" y="505497"/>
                    <a:pt x="63765" y="498810"/>
                  </a:cubicBezTo>
                  <a:cubicBezTo>
                    <a:pt x="64090" y="492123"/>
                    <a:pt x="69200" y="495281"/>
                    <a:pt x="70455" y="491055"/>
                  </a:cubicBezTo>
                  <a:cubicBezTo>
                    <a:pt x="71709" y="486830"/>
                    <a:pt x="81001" y="485762"/>
                    <a:pt x="88295" y="489244"/>
                  </a:cubicBezTo>
                  <a:cubicBezTo>
                    <a:pt x="95635" y="492774"/>
                    <a:pt x="99445" y="486783"/>
                    <a:pt x="100745" y="478286"/>
                  </a:cubicBezTo>
                  <a:cubicBezTo>
                    <a:pt x="102000" y="469835"/>
                    <a:pt x="106135" y="480050"/>
                    <a:pt x="108411" y="481815"/>
                  </a:cubicBezTo>
                  <a:cubicBezTo>
                    <a:pt x="110641" y="483579"/>
                    <a:pt x="117331" y="468767"/>
                    <a:pt x="120536" y="459248"/>
                  </a:cubicBezTo>
                  <a:cubicBezTo>
                    <a:pt x="123742" y="449729"/>
                    <a:pt x="120211" y="451493"/>
                    <a:pt x="112871" y="460641"/>
                  </a:cubicBezTo>
                  <a:cubicBezTo>
                    <a:pt x="105531" y="469835"/>
                    <a:pt x="109665" y="451493"/>
                    <a:pt x="112546" y="444064"/>
                  </a:cubicBezTo>
                  <a:cubicBezTo>
                    <a:pt x="115426" y="436634"/>
                    <a:pt x="115101" y="415088"/>
                    <a:pt x="116030" y="410166"/>
                  </a:cubicBezTo>
                  <a:cubicBezTo>
                    <a:pt x="117005" y="405244"/>
                    <a:pt x="118910" y="397814"/>
                    <a:pt x="128155" y="395679"/>
                  </a:cubicBezTo>
                  <a:cubicBezTo>
                    <a:pt x="137401" y="393542"/>
                    <a:pt x="149526" y="380866"/>
                    <a:pt x="147621" y="375572"/>
                  </a:cubicBezTo>
                  <a:cubicBezTo>
                    <a:pt x="145716" y="370279"/>
                    <a:pt x="160351" y="361456"/>
                    <a:pt x="160351" y="356163"/>
                  </a:cubicBezTo>
                  <a:cubicBezTo>
                    <a:pt x="160351" y="350869"/>
                    <a:pt x="145020" y="334617"/>
                    <a:pt x="139956" y="331088"/>
                  </a:cubicBezTo>
                  <a:cubicBezTo>
                    <a:pt x="134845" y="327559"/>
                    <a:pt x="123695" y="330391"/>
                    <a:pt x="124671" y="326491"/>
                  </a:cubicBezTo>
                  <a:cubicBezTo>
                    <a:pt x="125600" y="322590"/>
                    <a:pt x="123370" y="307406"/>
                    <a:pt x="122116" y="299651"/>
                  </a:cubicBezTo>
                  <a:cubicBezTo>
                    <a:pt x="121047" y="293011"/>
                    <a:pt x="127505" y="286185"/>
                    <a:pt x="129503" y="279685"/>
                  </a:cubicBezTo>
                  <a:cubicBezTo>
                    <a:pt x="126344" y="272812"/>
                    <a:pt x="126297" y="264408"/>
                    <a:pt x="130385" y="258092"/>
                  </a:cubicBezTo>
                  <a:cubicBezTo>
                    <a:pt x="135682" y="250013"/>
                    <a:pt x="142557" y="243512"/>
                    <a:pt x="148969" y="236361"/>
                  </a:cubicBezTo>
                  <a:cubicBezTo>
                    <a:pt x="151431" y="233621"/>
                    <a:pt x="154404" y="231810"/>
                    <a:pt x="157656" y="230789"/>
                  </a:cubicBezTo>
                  <a:cubicBezTo>
                    <a:pt x="158585" y="229814"/>
                    <a:pt x="159654" y="228885"/>
                    <a:pt x="161001" y="228281"/>
                  </a:cubicBezTo>
                  <a:cubicBezTo>
                    <a:pt x="163649" y="227120"/>
                    <a:pt x="165461" y="225960"/>
                    <a:pt x="167134" y="224799"/>
                  </a:cubicBezTo>
                  <a:cubicBezTo>
                    <a:pt x="167134" y="218901"/>
                    <a:pt x="169782" y="212679"/>
                    <a:pt x="174009" y="208500"/>
                  </a:cubicBezTo>
                  <a:lnTo>
                    <a:pt x="177122" y="205389"/>
                  </a:lnTo>
                  <a:cubicBezTo>
                    <a:pt x="180839" y="201721"/>
                    <a:pt x="185485" y="199770"/>
                    <a:pt x="190455" y="198981"/>
                  </a:cubicBezTo>
                  <a:cubicBezTo>
                    <a:pt x="191571" y="197031"/>
                    <a:pt x="192871" y="195220"/>
                    <a:pt x="194358" y="193780"/>
                  </a:cubicBezTo>
                  <a:cubicBezTo>
                    <a:pt x="196774" y="191412"/>
                    <a:pt x="199886" y="189601"/>
                    <a:pt x="203185" y="188440"/>
                  </a:cubicBezTo>
                  <a:cubicBezTo>
                    <a:pt x="203185" y="182404"/>
                    <a:pt x="205275" y="176414"/>
                    <a:pt x="209410" y="172049"/>
                  </a:cubicBezTo>
                  <a:cubicBezTo>
                    <a:pt x="208853" y="169588"/>
                    <a:pt x="209410" y="167127"/>
                    <a:pt x="212337" y="164666"/>
                  </a:cubicBezTo>
                  <a:cubicBezTo>
                    <a:pt x="221582" y="156911"/>
                    <a:pt x="213917" y="148042"/>
                    <a:pt x="220607" y="145256"/>
                  </a:cubicBezTo>
                  <a:cubicBezTo>
                    <a:pt x="227297" y="142423"/>
                    <a:pt x="229852" y="138569"/>
                    <a:pt x="234637" y="132904"/>
                  </a:cubicBezTo>
                  <a:cubicBezTo>
                    <a:pt x="239422" y="127239"/>
                    <a:pt x="245787" y="132533"/>
                    <a:pt x="257262" y="130443"/>
                  </a:cubicBezTo>
                  <a:cubicBezTo>
                    <a:pt x="261443" y="129654"/>
                    <a:pt x="265299" y="130072"/>
                    <a:pt x="268923" y="131001"/>
                  </a:cubicBezTo>
                  <a:cubicBezTo>
                    <a:pt x="268412" y="125382"/>
                    <a:pt x="267297" y="120785"/>
                    <a:pt x="265903" y="119206"/>
                  </a:cubicBezTo>
                  <a:close/>
                </a:path>
              </a:pathLst>
            </a:custGeom>
            <a:solidFill>
              <a:srgbClr val="CCCDF1"/>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69" name="Freeform 83">
              <a:extLst>
                <a:ext uri="{FF2B5EF4-FFF2-40B4-BE49-F238E27FC236}">
                  <a16:creationId xmlns:a16="http://schemas.microsoft.com/office/drawing/2014/main" id="{5959C421-1BB0-99DE-539E-456CC61F5244}"/>
                </a:ext>
              </a:extLst>
            </p:cNvPr>
            <p:cNvSpPr/>
            <p:nvPr/>
          </p:nvSpPr>
          <p:spPr>
            <a:xfrm>
              <a:off x="2703369" y="1443807"/>
              <a:ext cx="1835107" cy="1699110"/>
            </a:xfrm>
            <a:custGeom>
              <a:avLst/>
              <a:gdLst>
                <a:gd name="connsiteX0" fmla="*/ 537745 w 554117"/>
                <a:gd name="connsiteY0" fmla="*/ 59643 h 513052"/>
                <a:gd name="connsiteX1" fmla="*/ 528175 w 554117"/>
                <a:gd name="connsiteY1" fmla="*/ 58575 h 513052"/>
                <a:gd name="connsiteX2" fmla="*/ 514145 w 554117"/>
                <a:gd name="connsiteY2" fmla="*/ 46549 h 513052"/>
                <a:gd name="connsiteX3" fmla="*/ 525016 w 554117"/>
                <a:gd name="connsiteY3" fmla="*/ 47617 h 513052"/>
                <a:gd name="connsiteX4" fmla="*/ 539371 w 554117"/>
                <a:gd name="connsiteY4" fmla="*/ 42694 h 513052"/>
                <a:gd name="connsiteX5" fmla="*/ 554052 w 554117"/>
                <a:gd name="connsiteY5" fmla="*/ 36333 h 513052"/>
                <a:gd name="connsiteX6" fmla="*/ 542902 w 554117"/>
                <a:gd name="connsiteY6" fmla="*/ 24306 h 513052"/>
                <a:gd name="connsiteX7" fmla="*/ 526642 w 554117"/>
                <a:gd name="connsiteY7" fmla="*/ 18316 h 513052"/>
                <a:gd name="connsiteX8" fmla="*/ 515167 w 554117"/>
                <a:gd name="connsiteY8" fmla="*/ 12326 h 513052"/>
                <a:gd name="connsiteX9" fmla="*/ 510800 w 554117"/>
                <a:gd name="connsiteY9" fmla="*/ 11119 h 513052"/>
                <a:gd name="connsiteX10" fmla="*/ 503738 w 554117"/>
                <a:gd name="connsiteY10" fmla="*/ 14416 h 513052"/>
                <a:gd name="connsiteX11" fmla="*/ 498256 w 554117"/>
                <a:gd name="connsiteY11" fmla="*/ 25003 h 513052"/>
                <a:gd name="connsiteX12" fmla="*/ 493146 w 554117"/>
                <a:gd name="connsiteY12" fmla="*/ 27139 h 513052"/>
                <a:gd name="connsiteX13" fmla="*/ 493750 w 554117"/>
                <a:gd name="connsiteY13" fmla="*/ 14741 h 513052"/>
                <a:gd name="connsiteX14" fmla="*/ 491752 w 554117"/>
                <a:gd name="connsiteY14" fmla="*/ 14091 h 513052"/>
                <a:gd name="connsiteX15" fmla="*/ 483994 w 554117"/>
                <a:gd name="connsiteY15" fmla="*/ 11583 h 513052"/>
                <a:gd name="connsiteX16" fmla="*/ 482879 w 554117"/>
                <a:gd name="connsiteY16" fmla="*/ 11305 h 513052"/>
                <a:gd name="connsiteX17" fmla="*/ 480834 w 554117"/>
                <a:gd name="connsiteY17" fmla="*/ 11165 h 513052"/>
                <a:gd name="connsiteX18" fmla="*/ 472611 w 554117"/>
                <a:gd name="connsiteY18" fmla="*/ 11258 h 513052"/>
                <a:gd name="connsiteX19" fmla="*/ 473448 w 554117"/>
                <a:gd name="connsiteY19" fmla="*/ 13673 h 513052"/>
                <a:gd name="connsiteX20" fmla="*/ 460672 w 554117"/>
                <a:gd name="connsiteY20" fmla="*/ 32386 h 513052"/>
                <a:gd name="connsiteX21" fmla="*/ 460997 w 554117"/>
                <a:gd name="connsiteY21" fmla="*/ 12280 h 513052"/>
                <a:gd name="connsiteX22" fmla="*/ 460997 w 554117"/>
                <a:gd name="connsiteY22" fmla="*/ 12094 h 513052"/>
                <a:gd name="connsiteX23" fmla="*/ 455422 w 554117"/>
                <a:gd name="connsiteY23" fmla="*/ 11072 h 513052"/>
                <a:gd name="connsiteX24" fmla="*/ 447292 w 554117"/>
                <a:gd name="connsiteY24" fmla="*/ 20406 h 513052"/>
                <a:gd name="connsiteX25" fmla="*/ 426572 w 554117"/>
                <a:gd name="connsiteY25" fmla="*/ 43019 h 513052"/>
                <a:gd name="connsiteX26" fmla="*/ 430381 w 554117"/>
                <a:gd name="connsiteY26" fmla="*/ 27835 h 513052"/>
                <a:gd name="connsiteX27" fmla="*/ 444411 w 554117"/>
                <a:gd name="connsiteY27" fmla="*/ 9447 h 513052"/>
                <a:gd name="connsiteX28" fmla="*/ 448035 w 554117"/>
                <a:gd name="connsiteY28" fmla="*/ 7172 h 513052"/>
                <a:gd name="connsiteX29" fmla="*/ 442274 w 554117"/>
                <a:gd name="connsiteY29" fmla="*/ 439 h 513052"/>
                <a:gd name="connsiteX30" fmla="*/ 441856 w 554117"/>
                <a:gd name="connsiteY30" fmla="*/ 300 h 513052"/>
                <a:gd name="connsiteX31" fmla="*/ 430056 w 554117"/>
                <a:gd name="connsiteY31" fmla="*/ 10887 h 513052"/>
                <a:gd name="connsiteX32" fmla="*/ 420393 w 554117"/>
                <a:gd name="connsiteY32" fmla="*/ 9494 h 513052"/>
                <a:gd name="connsiteX33" fmla="*/ 411752 w 554117"/>
                <a:gd name="connsiteY33" fmla="*/ 12465 h 513052"/>
                <a:gd name="connsiteX34" fmla="*/ 410962 w 554117"/>
                <a:gd name="connsiteY34" fmla="*/ 17945 h 513052"/>
                <a:gd name="connsiteX35" fmla="*/ 406177 w 554117"/>
                <a:gd name="connsiteY35" fmla="*/ 21474 h 513052"/>
                <a:gd name="connsiteX36" fmla="*/ 391217 w 554117"/>
                <a:gd name="connsiteY36" fmla="*/ 27139 h 513052"/>
                <a:gd name="connsiteX37" fmla="*/ 386107 w 554117"/>
                <a:gd name="connsiteY37" fmla="*/ 36333 h 513052"/>
                <a:gd name="connsiteX38" fmla="*/ 383877 w 554117"/>
                <a:gd name="connsiteY38" fmla="*/ 50124 h 513052"/>
                <a:gd name="connsiteX39" fmla="*/ 375886 w 554117"/>
                <a:gd name="connsiteY39" fmla="*/ 34568 h 513052"/>
                <a:gd name="connsiteX40" fmla="*/ 380346 w 554117"/>
                <a:gd name="connsiteY40" fmla="*/ 25374 h 513052"/>
                <a:gd name="connsiteX41" fmla="*/ 391078 w 554117"/>
                <a:gd name="connsiteY41" fmla="*/ 16087 h 513052"/>
                <a:gd name="connsiteX42" fmla="*/ 376118 w 554117"/>
                <a:gd name="connsiteY42" fmla="*/ 21056 h 513052"/>
                <a:gd name="connsiteX43" fmla="*/ 362274 w 554117"/>
                <a:gd name="connsiteY43" fmla="*/ 20499 h 513052"/>
                <a:gd name="connsiteX44" fmla="*/ 367895 w 554117"/>
                <a:gd name="connsiteY44" fmla="*/ 34893 h 513052"/>
                <a:gd name="connsiteX45" fmla="*/ 361809 w 554117"/>
                <a:gd name="connsiteY45" fmla="*/ 39862 h 513052"/>
                <a:gd name="connsiteX46" fmla="*/ 345549 w 554117"/>
                <a:gd name="connsiteY46" fmla="*/ 40187 h 513052"/>
                <a:gd name="connsiteX47" fmla="*/ 357675 w 554117"/>
                <a:gd name="connsiteY47" fmla="*/ 52214 h 513052"/>
                <a:gd name="connsiteX48" fmla="*/ 347454 w 554117"/>
                <a:gd name="connsiteY48" fmla="*/ 50774 h 513052"/>
                <a:gd name="connsiteX49" fmla="*/ 335979 w 554117"/>
                <a:gd name="connsiteY49" fmla="*/ 43019 h 513052"/>
                <a:gd name="connsiteX50" fmla="*/ 328964 w 554117"/>
                <a:gd name="connsiteY50" fmla="*/ 47617 h 513052"/>
                <a:gd name="connsiteX51" fmla="*/ 334074 w 554117"/>
                <a:gd name="connsiteY51" fmla="*/ 63172 h 513052"/>
                <a:gd name="connsiteX52" fmla="*/ 326734 w 554117"/>
                <a:gd name="connsiteY52" fmla="*/ 58250 h 513052"/>
                <a:gd name="connsiteX53" fmla="*/ 314608 w 554117"/>
                <a:gd name="connsiteY53" fmla="*/ 57182 h 513052"/>
                <a:gd name="connsiteX54" fmla="*/ 313029 w 554117"/>
                <a:gd name="connsiteY54" fmla="*/ 43391 h 513052"/>
                <a:gd name="connsiteX55" fmla="*/ 298023 w 554117"/>
                <a:gd name="connsiteY55" fmla="*/ 44830 h 513052"/>
                <a:gd name="connsiteX56" fmla="*/ 291983 w 554117"/>
                <a:gd name="connsiteY56" fmla="*/ 51517 h 513052"/>
                <a:gd name="connsiteX57" fmla="*/ 290032 w 554117"/>
                <a:gd name="connsiteY57" fmla="*/ 62476 h 513052"/>
                <a:gd name="connsiteX58" fmla="*/ 283017 w 554117"/>
                <a:gd name="connsiteY58" fmla="*/ 68141 h 513052"/>
                <a:gd name="connsiteX59" fmla="*/ 275351 w 554117"/>
                <a:gd name="connsiteY59" fmla="*/ 69209 h 513052"/>
                <a:gd name="connsiteX60" fmla="*/ 260671 w 554117"/>
                <a:gd name="connsiteY60" fmla="*/ 71345 h 513052"/>
                <a:gd name="connsiteX61" fmla="*/ 249521 w 554117"/>
                <a:gd name="connsiteY61" fmla="*/ 87597 h 513052"/>
                <a:gd name="connsiteX62" fmla="*/ 263226 w 554117"/>
                <a:gd name="connsiteY62" fmla="*/ 86529 h 513052"/>
                <a:gd name="connsiteX63" fmla="*/ 266106 w 554117"/>
                <a:gd name="connsiteY63" fmla="*/ 94980 h 513052"/>
                <a:gd name="connsiteX64" fmla="*/ 264201 w 554117"/>
                <a:gd name="connsiteY64" fmla="*/ 101342 h 513052"/>
                <a:gd name="connsiteX65" fmla="*/ 253051 w 554117"/>
                <a:gd name="connsiteY65" fmla="*/ 102735 h 513052"/>
                <a:gd name="connsiteX66" fmla="*/ 243481 w 554117"/>
                <a:gd name="connsiteY66" fmla="*/ 96373 h 513052"/>
                <a:gd name="connsiteX67" fmla="*/ 231681 w 554117"/>
                <a:gd name="connsiteY67" fmla="*/ 102735 h 513052"/>
                <a:gd name="connsiteX68" fmla="*/ 236791 w 554117"/>
                <a:gd name="connsiteY68" fmla="*/ 82953 h 513052"/>
                <a:gd name="connsiteX69" fmla="*/ 224062 w 554117"/>
                <a:gd name="connsiteY69" fmla="*/ 94237 h 513052"/>
                <a:gd name="connsiteX70" fmla="*/ 210357 w 554117"/>
                <a:gd name="connsiteY70" fmla="*/ 105892 h 513052"/>
                <a:gd name="connsiteX71" fmla="*/ 201112 w 554117"/>
                <a:gd name="connsiteY71" fmla="*/ 118615 h 513052"/>
                <a:gd name="connsiteX72" fmla="*/ 174631 w 554117"/>
                <a:gd name="connsiteY72" fmla="*/ 134867 h 513052"/>
                <a:gd name="connsiteX73" fmla="*/ 181971 w 554117"/>
                <a:gd name="connsiteY73" fmla="*/ 135564 h 513052"/>
                <a:gd name="connsiteX74" fmla="*/ 197906 w 554117"/>
                <a:gd name="connsiteY74" fmla="*/ 126741 h 513052"/>
                <a:gd name="connsiteX75" fmla="*/ 218951 w 554117"/>
                <a:gd name="connsiteY75" fmla="*/ 118244 h 513052"/>
                <a:gd name="connsiteX76" fmla="*/ 231681 w 554117"/>
                <a:gd name="connsiteY76" fmla="*/ 116154 h 513052"/>
                <a:gd name="connsiteX77" fmla="*/ 245061 w 554117"/>
                <a:gd name="connsiteY77" fmla="*/ 115086 h 513052"/>
                <a:gd name="connsiteX78" fmla="*/ 243156 w 554117"/>
                <a:gd name="connsiteY78" fmla="*/ 127809 h 513052"/>
                <a:gd name="connsiteX79" fmla="*/ 237116 w 554117"/>
                <a:gd name="connsiteY79" fmla="*/ 131663 h 513052"/>
                <a:gd name="connsiteX80" fmla="*/ 228475 w 554117"/>
                <a:gd name="connsiteY80" fmla="*/ 127066 h 513052"/>
                <a:gd name="connsiteX81" fmla="*/ 218301 w 554117"/>
                <a:gd name="connsiteY81" fmla="*/ 136957 h 513052"/>
                <a:gd name="connsiteX82" fmla="*/ 209706 w 554117"/>
                <a:gd name="connsiteY82" fmla="*/ 154277 h 513052"/>
                <a:gd name="connsiteX83" fmla="*/ 201762 w 554117"/>
                <a:gd name="connsiteY83" fmla="*/ 161707 h 513052"/>
                <a:gd name="connsiteX84" fmla="*/ 181971 w 554117"/>
                <a:gd name="connsiteY84" fmla="*/ 191704 h 513052"/>
                <a:gd name="connsiteX85" fmla="*/ 178440 w 554117"/>
                <a:gd name="connsiteY85" fmla="*/ 209395 h 513052"/>
                <a:gd name="connsiteX86" fmla="*/ 161529 w 554117"/>
                <a:gd name="connsiteY86" fmla="*/ 212553 h 513052"/>
                <a:gd name="connsiteX87" fmla="*/ 158649 w 554117"/>
                <a:gd name="connsiteY87" fmla="*/ 234470 h 513052"/>
                <a:gd name="connsiteX88" fmla="*/ 158649 w 554117"/>
                <a:gd name="connsiteY88" fmla="*/ 250722 h 513052"/>
                <a:gd name="connsiteX89" fmla="*/ 145269 w 554117"/>
                <a:gd name="connsiteY89" fmla="*/ 252812 h 513052"/>
                <a:gd name="connsiteX90" fmla="*/ 130263 w 554117"/>
                <a:gd name="connsiteY90" fmla="*/ 258105 h 513052"/>
                <a:gd name="connsiteX91" fmla="*/ 142389 w 554117"/>
                <a:gd name="connsiteY91" fmla="*/ 272918 h 513052"/>
                <a:gd name="connsiteX92" fmla="*/ 135699 w 554117"/>
                <a:gd name="connsiteY92" fmla="*/ 276075 h 513052"/>
                <a:gd name="connsiteX93" fmla="*/ 127662 w 554117"/>
                <a:gd name="connsiteY93" fmla="*/ 277468 h 513052"/>
                <a:gd name="connsiteX94" fmla="*/ 126686 w 554117"/>
                <a:gd name="connsiteY94" fmla="*/ 284434 h 513052"/>
                <a:gd name="connsiteX95" fmla="*/ 78230 w 554117"/>
                <a:gd name="connsiteY95" fmla="*/ 330776 h 513052"/>
                <a:gd name="connsiteX96" fmla="*/ 61924 w 554117"/>
                <a:gd name="connsiteY96" fmla="*/ 332261 h 513052"/>
                <a:gd name="connsiteX97" fmla="*/ 54909 w 554117"/>
                <a:gd name="connsiteY97" fmla="*/ 333794 h 513052"/>
                <a:gd name="connsiteX98" fmla="*/ 49009 w 554117"/>
                <a:gd name="connsiteY98" fmla="*/ 340805 h 513052"/>
                <a:gd name="connsiteX99" fmla="*/ 49334 w 554117"/>
                <a:gd name="connsiteY99" fmla="*/ 342616 h 513052"/>
                <a:gd name="connsiteX100" fmla="*/ 57232 w 554117"/>
                <a:gd name="connsiteY100" fmla="*/ 347028 h 513052"/>
                <a:gd name="connsiteX101" fmla="*/ 49520 w 554117"/>
                <a:gd name="connsiteY101" fmla="*/ 349303 h 513052"/>
                <a:gd name="connsiteX102" fmla="*/ 43016 w 554117"/>
                <a:gd name="connsiteY102" fmla="*/ 361933 h 513052"/>
                <a:gd name="connsiteX103" fmla="*/ 15373 w 554117"/>
                <a:gd name="connsiteY103" fmla="*/ 376978 h 513052"/>
                <a:gd name="connsiteX104" fmla="*/ 18486 w 554117"/>
                <a:gd name="connsiteY104" fmla="*/ 395784 h 513052"/>
                <a:gd name="connsiteX105" fmla="*/ 9055 w 554117"/>
                <a:gd name="connsiteY105" fmla="*/ 419884 h 513052"/>
                <a:gd name="connsiteX106" fmla="*/ 1900 w 554117"/>
                <a:gd name="connsiteY106" fmla="*/ 426849 h 513052"/>
                <a:gd name="connsiteX107" fmla="*/ 1436 w 554117"/>
                <a:gd name="connsiteY107" fmla="*/ 435347 h 513052"/>
                <a:gd name="connsiteX108" fmla="*/ 12585 w 554117"/>
                <a:gd name="connsiteY108" fmla="*/ 439201 h 513052"/>
                <a:gd name="connsiteX109" fmla="*/ 27870 w 554117"/>
                <a:gd name="connsiteY109" fmla="*/ 432839 h 513052"/>
                <a:gd name="connsiteX110" fmla="*/ 31680 w 554117"/>
                <a:gd name="connsiteY110" fmla="*/ 440269 h 513052"/>
                <a:gd name="connsiteX111" fmla="*/ 20530 w 554117"/>
                <a:gd name="connsiteY111" fmla="*/ 450159 h 513052"/>
                <a:gd name="connsiteX112" fmla="*/ 11935 w 554117"/>
                <a:gd name="connsiteY112" fmla="*/ 447698 h 513052"/>
                <a:gd name="connsiteX113" fmla="*/ 4595 w 554117"/>
                <a:gd name="connsiteY113" fmla="*/ 454756 h 513052"/>
                <a:gd name="connsiteX114" fmla="*/ 3015 w 554117"/>
                <a:gd name="connsiteY114" fmla="*/ 468872 h 513052"/>
                <a:gd name="connsiteX115" fmla="*/ 15141 w 554117"/>
                <a:gd name="connsiteY115" fmla="*/ 467108 h 513052"/>
                <a:gd name="connsiteX116" fmla="*/ 26616 w 554117"/>
                <a:gd name="connsiteY116" fmla="*/ 468547 h 513052"/>
                <a:gd name="connsiteX117" fmla="*/ 21227 w 554117"/>
                <a:gd name="connsiteY117" fmla="*/ 478067 h 513052"/>
                <a:gd name="connsiteX118" fmla="*/ 13840 w 554117"/>
                <a:gd name="connsiteY118" fmla="*/ 483685 h 513052"/>
                <a:gd name="connsiteX119" fmla="*/ 19275 w 554117"/>
                <a:gd name="connsiteY119" fmla="*/ 489257 h 513052"/>
                <a:gd name="connsiteX120" fmla="*/ 19415 w 554117"/>
                <a:gd name="connsiteY120" fmla="*/ 489257 h 513052"/>
                <a:gd name="connsiteX121" fmla="*/ 20019 w 554117"/>
                <a:gd name="connsiteY121" fmla="*/ 489629 h 513052"/>
                <a:gd name="connsiteX122" fmla="*/ 25361 w 554117"/>
                <a:gd name="connsiteY122" fmla="*/ 492693 h 513052"/>
                <a:gd name="connsiteX123" fmla="*/ 40693 w 554117"/>
                <a:gd name="connsiteY123" fmla="*/ 503745 h 513052"/>
                <a:gd name="connsiteX124" fmla="*/ 45245 w 554117"/>
                <a:gd name="connsiteY124" fmla="*/ 510478 h 513052"/>
                <a:gd name="connsiteX125" fmla="*/ 60112 w 554117"/>
                <a:gd name="connsiteY125" fmla="*/ 512707 h 513052"/>
                <a:gd name="connsiteX126" fmla="*/ 100298 w 554117"/>
                <a:gd name="connsiteY126" fmla="*/ 479877 h 513052"/>
                <a:gd name="connsiteX127" fmla="*/ 115304 w 554117"/>
                <a:gd name="connsiteY127" fmla="*/ 476348 h 513052"/>
                <a:gd name="connsiteX128" fmla="*/ 120739 w 554117"/>
                <a:gd name="connsiteY128" fmla="*/ 459075 h 513052"/>
                <a:gd name="connsiteX129" fmla="*/ 129334 w 554117"/>
                <a:gd name="connsiteY129" fmla="*/ 472123 h 513052"/>
                <a:gd name="connsiteX130" fmla="*/ 134445 w 554117"/>
                <a:gd name="connsiteY130" fmla="*/ 482942 h 513052"/>
                <a:gd name="connsiteX131" fmla="*/ 141181 w 554117"/>
                <a:gd name="connsiteY131" fmla="*/ 484010 h 513052"/>
                <a:gd name="connsiteX132" fmla="*/ 146291 w 554117"/>
                <a:gd name="connsiteY132" fmla="*/ 468129 h 513052"/>
                <a:gd name="connsiteX133" fmla="*/ 149357 w 554117"/>
                <a:gd name="connsiteY133" fmla="*/ 448813 h 513052"/>
                <a:gd name="connsiteX134" fmla="*/ 163713 w 554117"/>
                <a:gd name="connsiteY134" fmla="*/ 443148 h 513052"/>
                <a:gd name="connsiteX135" fmla="*/ 162691 w 554117"/>
                <a:gd name="connsiteY135" fmla="*/ 420441 h 513052"/>
                <a:gd name="connsiteX136" fmla="*/ 161669 w 554117"/>
                <a:gd name="connsiteY136" fmla="*/ 409111 h 513052"/>
                <a:gd name="connsiteX137" fmla="*/ 169892 w 554117"/>
                <a:gd name="connsiteY137" fmla="*/ 396620 h 513052"/>
                <a:gd name="connsiteX138" fmla="*/ 155536 w 554117"/>
                <a:gd name="connsiteY138" fmla="*/ 379625 h 513052"/>
                <a:gd name="connsiteX139" fmla="*/ 156559 w 554117"/>
                <a:gd name="connsiteY139" fmla="*/ 356918 h 513052"/>
                <a:gd name="connsiteX140" fmla="*/ 156559 w 554117"/>
                <a:gd name="connsiteY140" fmla="*/ 333097 h 513052"/>
                <a:gd name="connsiteX141" fmla="*/ 158603 w 554117"/>
                <a:gd name="connsiteY141" fmla="*/ 309276 h 513052"/>
                <a:gd name="connsiteX142" fmla="*/ 180112 w 554117"/>
                <a:gd name="connsiteY142" fmla="*/ 293396 h 513052"/>
                <a:gd name="connsiteX143" fmla="*/ 194468 w 554117"/>
                <a:gd name="connsiteY143" fmla="*/ 292235 h 513052"/>
                <a:gd name="connsiteX144" fmla="*/ 194468 w 554117"/>
                <a:gd name="connsiteY144" fmla="*/ 278629 h 513052"/>
                <a:gd name="connsiteX145" fmla="*/ 189358 w 554117"/>
                <a:gd name="connsiteY145" fmla="*/ 266138 h 513052"/>
                <a:gd name="connsiteX146" fmla="*/ 203713 w 554117"/>
                <a:gd name="connsiteY146" fmla="*/ 235538 h 513052"/>
                <a:gd name="connsiteX147" fmla="*/ 204735 w 554117"/>
                <a:gd name="connsiteY147" fmla="*/ 213946 h 513052"/>
                <a:gd name="connsiteX148" fmla="*/ 221135 w 554117"/>
                <a:gd name="connsiteY148" fmla="*/ 209442 h 513052"/>
                <a:gd name="connsiteX149" fmla="*/ 225223 w 554117"/>
                <a:gd name="connsiteY149" fmla="*/ 195836 h 513052"/>
                <a:gd name="connsiteX150" fmla="*/ 236512 w 554117"/>
                <a:gd name="connsiteY150" fmla="*/ 177680 h 513052"/>
                <a:gd name="connsiteX151" fmla="*/ 241623 w 554117"/>
                <a:gd name="connsiteY151" fmla="*/ 165189 h 513052"/>
                <a:gd name="connsiteX152" fmla="*/ 247755 w 554117"/>
                <a:gd name="connsiteY152" fmla="*/ 148148 h 513052"/>
                <a:gd name="connsiteX153" fmla="*/ 264155 w 554117"/>
                <a:gd name="connsiteY153" fmla="*/ 134542 h 513052"/>
                <a:gd name="connsiteX154" fmla="*/ 280555 w 554117"/>
                <a:gd name="connsiteY154" fmla="*/ 127763 h 513052"/>
                <a:gd name="connsiteX155" fmla="*/ 285665 w 554117"/>
                <a:gd name="connsiteY155" fmla="*/ 110768 h 513052"/>
                <a:gd name="connsiteX156" fmla="*/ 308197 w 554117"/>
                <a:gd name="connsiteY156" fmla="*/ 115318 h 513052"/>
                <a:gd name="connsiteX157" fmla="*/ 322552 w 554117"/>
                <a:gd name="connsiteY157" fmla="*/ 110768 h 513052"/>
                <a:gd name="connsiteX158" fmla="*/ 334864 w 554117"/>
                <a:gd name="connsiteY158" fmla="*/ 92612 h 513052"/>
                <a:gd name="connsiteX159" fmla="*/ 336954 w 554117"/>
                <a:gd name="connsiteY159" fmla="*/ 94051 h 513052"/>
                <a:gd name="connsiteX160" fmla="*/ 351263 w 554117"/>
                <a:gd name="connsiteY160" fmla="*/ 82396 h 513052"/>
                <a:gd name="connsiteX161" fmla="*/ 374818 w 554117"/>
                <a:gd name="connsiteY161" fmla="*/ 101667 h 513052"/>
                <a:gd name="connsiteX162" fmla="*/ 398372 w 554117"/>
                <a:gd name="connsiteY162" fmla="*/ 102781 h 513052"/>
                <a:gd name="connsiteX163" fmla="*/ 414771 w 554117"/>
                <a:gd name="connsiteY163" fmla="*/ 103895 h 513052"/>
                <a:gd name="connsiteX164" fmla="*/ 427083 w 554117"/>
                <a:gd name="connsiteY164" fmla="*/ 107285 h 513052"/>
                <a:gd name="connsiteX165" fmla="*/ 436281 w 554117"/>
                <a:gd name="connsiteY165" fmla="*/ 93680 h 513052"/>
                <a:gd name="connsiteX166" fmla="*/ 440370 w 554117"/>
                <a:gd name="connsiteY166" fmla="*/ 73248 h 513052"/>
                <a:gd name="connsiteX167" fmla="*/ 453656 w 554117"/>
                <a:gd name="connsiteY167" fmla="*/ 57368 h 513052"/>
                <a:gd name="connsiteX168" fmla="*/ 475166 w 554117"/>
                <a:gd name="connsiteY168" fmla="*/ 51703 h 513052"/>
                <a:gd name="connsiteX169" fmla="*/ 492588 w 554117"/>
                <a:gd name="connsiteY169" fmla="*/ 51703 h 513052"/>
                <a:gd name="connsiteX170" fmla="*/ 515120 w 554117"/>
                <a:gd name="connsiteY170" fmla="*/ 68744 h 513052"/>
                <a:gd name="connsiteX171" fmla="*/ 515120 w 554117"/>
                <a:gd name="connsiteY171" fmla="*/ 82071 h 513052"/>
                <a:gd name="connsiteX172" fmla="*/ 525016 w 554117"/>
                <a:gd name="connsiteY172" fmla="*/ 76638 h 513052"/>
                <a:gd name="connsiteX173" fmla="*/ 542856 w 554117"/>
                <a:gd name="connsiteY173" fmla="*/ 67444 h 513052"/>
                <a:gd name="connsiteX174" fmla="*/ 553820 w 554117"/>
                <a:gd name="connsiteY174" fmla="*/ 58900 h 513052"/>
                <a:gd name="connsiteX175" fmla="*/ 537745 w 554117"/>
                <a:gd name="connsiteY175" fmla="*/ 59690 h 513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554117" h="513052">
                  <a:moveTo>
                    <a:pt x="537745" y="59643"/>
                  </a:moveTo>
                  <a:cubicBezTo>
                    <a:pt x="536444" y="64937"/>
                    <a:pt x="527850" y="63869"/>
                    <a:pt x="528175" y="58575"/>
                  </a:cubicBezTo>
                  <a:cubicBezTo>
                    <a:pt x="528500" y="53282"/>
                    <a:pt x="514795" y="49056"/>
                    <a:pt x="514145" y="46549"/>
                  </a:cubicBezTo>
                  <a:cubicBezTo>
                    <a:pt x="513494" y="44087"/>
                    <a:pt x="519905" y="44413"/>
                    <a:pt x="525016" y="47617"/>
                  </a:cubicBezTo>
                  <a:cubicBezTo>
                    <a:pt x="530126" y="50820"/>
                    <a:pt x="533611" y="48685"/>
                    <a:pt x="539371" y="42694"/>
                  </a:cubicBezTo>
                  <a:cubicBezTo>
                    <a:pt x="545132" y="36704"/>
                    <a:pt x="553076" y="41626"/>
                    <a:pt x="554052" y="36333"/>
                  </a:cubicBezTo>
                  <a:cubicBezTo>
                    <a:pt x="555028" y="31039"/>
                    <a:pt x="544807" y="27510"/>
                    <a:pt x="542902" y="24306"/>
                  </a:cubicBezTo>
                  <a:cubicBezTo>
                    <a:pt x="540997" y="21102"/>
                    <a:pt x="533657" y="16877"/>
                    <a:pt x="526642" y="18316"/>
                  </a:cubicBezTo>
                  <a:cubicBezTo>
                    <a:pt x="519627" y="19709"/>
                    <a:pt x="519301" y="16552"/>
                    <a:pt x="515167" y="12326"/>
                  </a:cubicBezTo>
                  <a:cubicBezTo>
                    <a:pt x="514145" y="11258"/>
                    <a:pt x="512565" y="10933"/>
                    <a:pt x="510800" y="11119"/>
                  </a:cubicBezTo>
                  <a:cubicBezTo>
                    <a:pt x="508616" y="12558"/>
                    <a:pt x="506247" y="13719"/>
                    <a:pt x="503738" y="14416"/>
                  </a:cubicBezTo>
                  <a:cubicBezTo>
                    <a:pt x="500672" y="16970"/>
                    <a:pt x="498256" y="20731"/>
                    <a:pt x="498256" y="25003"/>
                  </a:cubicBezTo>
                  <a:cubicBezTo>
                    <a:pt x="498256" y="34893"/>
                    <a:pt x="490265" y="32432"/>
                    <a:pt x="493146" y="27139"/>
                  </a:cubicBezTo>
                  <a:cubicBezTo>
                    <a:pt x="495608" y="22588"/>
                    <a:pt x="491055" y="17295"/>
                    <a:pt x="493750" y="14741"/>
                  </a:cubicBezTo>
                  <a:cubicBezTo>
                    <a:pt x="493099" y="14555"/>
                    <a:pt x="492402" y="14369"/>
                    <a:pt x="491752" y="14091"/>
                  </a:cubicBezTo>
                  <a:cubicBezTo>
                    <a:pt x="489197" y="13069"/>
                    <a:pt x="486688" y="12280"/>
                    <a:pt x="483994" y="11583"/>
                  </a:cubicBezTo>
                  <a:cubicBezTo>
                    <a:pt x="483204" y="11444"/>
                    <a:pt x="482832" y="11351"/>
                    <a:pt x="482879" y="11305"/>
                  </a:cubicBezTo>
                  <a:cubicBezTo>
                    <a:pt x="482182" y="11258"/>
                    <a:pt x="481485" y="11165"/>
                    <a:pt x="480834" y="11165"/>
                  </a:cubicBezTo>
                  <a:cubicBezTo>
                    <a:pt x="478093" y="11026"/>
                    <a:pt x="475352" y="11165"/>
                    <a:pt x="472611" y="11258"/>
                  </a:cubicBezTo>
                  <a:cubicBezTo>
                    <a:pt x="472658" y="12233"/>
                    <a:pt x="472937" y="13069"/>
                    <a:pt x="473448" y="13673"/>
                  </a:cubicBezTo>
                  <a:cubicBezTo>
                    <a:pt x="476328" y="17202"/>
                    <a:pt x="465457" y="32386"/>
                    <a:pt x="460672" y="32386"/>
                  </a:cubicBezTo>
                  <a:cubicBezTo>
                    <a:pt x="455887" y="32386"/>
                    <a:pt x="461322" y="19338"/>
                    <a:pt x="460997" y="12280"/>
                  </a:cubicBezTo>
                  <a:cubicBezTo>
                    <a:pt x="460997" y="12187"/>
                    <a:pt x="460997" y="12187"/>
                    <a:pt x="460997" y="12094"/>
                  </a:cubicBezTo>
                  <a:cubicBezTo>
                    <a:pt x="459046" y="11908"/>
                    <a:pt x="457187" y="11630"/>
                    <a:pt x="455422" y="11072"/>
                  </a:cubicBezTo>
                  <a:cubicBezTo>
                    <a:pt x="453331" y="13023"/>
                    <a:pt x="450637" y="16180"/>
                    <a:pt x="447292" y="20406"/>
                  </a:cubicBezTo>
                  <a:cubicBezTo>
                    <a:pt x="438372" y="31689"/>
                    <a:pt x="431682" y="41952"/>
                    <a:pt x="426572" y="43019"/>
                  </a:cubicBezTo>
                  <a:cubicBezTo>
                    <a:pt x="421461" y="44087"/>
                    <a:pt x="422112" y="32757"/>
                    <a:pt x="430381" y="27835"/>
                  </a:cubicBezTo>
                  <a:cubicBezTo>
                    <a:pt x="438651" y="22867"/>
                    <a:pt x="438976" y="9447"/>
                    <a:pt x="444411" y="9447"/>
                  </a:cubicBezTo>
                  <a:cubicBezTo>
                    <a:pt x="446409" y="9447"/>
                    <a:pt x="447617" y="8472"/>
                    <a:pt x="448035" y="7172"/>
                  </a:cubicBezTo>
                  <a:cubicBezTo>
                    <a:pt x="445759" y="5361"/>
                    <a:pt x="443807" y="3132"/>
                    <a:pt x="442274" y="439"/>
                  </a:cubicBezTo>
                  <a:cubicBezTo>
                    <a:pt x="442135" y="439"/>
                    <a:pt x="441996" y="300"/>
                    <a:pt x="441856" y="300"/>
                  </a:cubicBezTo>
                  <a:cubicBezTo>
                    <a:pt x="433866" y="-1836"/>
                    <a:pt x="432611" y="8054"/>
                    <a:pt x="430056" y="10887"/>
                  </a:cubicBezTo>
                  <a:cubicBezTo>
                    <a:pt x="428662" y="12419"/>
                    <a:pt x="424156" y="10794"/>
                    <a:pt x="420393" y="9494"/>
                  </a:cubicBezTo>
                  <a:cubicBezTo>
                    <a:pt x="417745" y="11072"/>
                    <a:pt x="414771" y="12140"/>
                    <a:pt x="411752" y="12465"/>
                  </a:cubicBezTo>
                  <a:cubicBezTo>
                    <a:pt x="410358" y="13719"/>
                    <a:pt x="409382" y="15298"/>
                    <a:pt x="410962" y="17945"/>
                  </a:cubicBezTo>
                  <a:cubicBezTo>
                    <a:pt x="414167" y="23238"/>
                    <a:pt x="409382" y="27835"/>
                    <a:pt x="406177" y="21474"/>
                  </a:cubicBezTo>
                  <a:cubicBezTo>
                    <a:pt x="402971" y="15112"/>
                    <a:pt x="395027" y="20034"/>
                    <a:pt x="391217" y="27139"/>
                  </a:cubicBezTo>
                  <a:cubicBezTo>
                    <a:pt x="387361" y="34197"/>
                    <a:pt x="382297" y="33825"/>
                    <a:pt x="386107" y="36333"/>
                  </a:cubicBezTo>
                  <a:cubicBezTo>
                    <a:pt x="389916" y="38794"/>
                    <a:pt x="389638" y="48359"/>
                    <a:pt x="383877" y="50124"/>
                  </a:cubicBezTo>
                  <a:cubicBezTo>
                    <a:pt x="378116" y="51889"/>
                    <a:pt x="380346" y="32804"/>
                    <a:pt x="375886" y="34568"/>
                  </a:cubicBezTo>
                  <a:cubicBezTo>
                    <a:pt x="371426" y="36333"/>
                    <a:pt x="374307" y="25374"/>
                    <a:pt x="380346" y="25374"/>
                  </a:cubicBezTo>
                  <a:cubicBezTo>
                    <a:pt x="384852" y="25374"/>
                    <a:pt x="389359" y="19895"/>
                    <a:pt x="391078" y="16087"/>
                  </a:cubicBezTo>
                  <a:cubicBezTo>
                    <a:pt x="386107" y="17852"/>
                    <a:pt x="381229" y="19709"/>
                    <a:pt x="376118" y="21056"/>
                  </a:cubicBezTo>
                  <a:cubicBezTo>
                    <a:pt x="371426" y="22310"/>
                    <a:pt x="366641" y="21985"/>
                    <a:pt x="362274" y="20499"/>
                  </a:cubicBezTo>
                  <a:cubicBezTo>
                    <a:pt x="359347" y="23563"/>
                    <a:pt x="361159" y="30621"/>
                    <a:pt x="367895" y="34893"/>
                  </a:cubicBezTo>
                  <a:cubicBezTo>
                    <a:pt x="376815" y="40558"/>
                    <a:pt x="366316" y="44087"/>
                    <a:pt x="361809" y="39862"/>
                  </a:cubicBezTo>
                  <a:cubicBezTo>
                    <a:pt x="357349" y="35636"/>
                    <a:pt x="350334" y="37726"/>
                    <a:pt x="345549" y="40187"/>
                  </a:cubicBezTo>
                  <a:cubicBezTo>
                    <a:pt x="340764" y="42648"/>
                    <a:pt x="357024" y="49010"/>
                    <a:pt x="357675" y="52214"/>
                  </a:cubicBezTo>
                  <a:cubicBezTo>
                    <a:pt x="358325" y="55371"/>
                    <a:pt x="349359" y="48313"/>
                    <a:pt x="347454" y="50774"/>
                  </a:cubicBezTo>
                  <a:cubicBezTo>
                    <a:pt x="345549" y="53282"/>
                    <a:pt x="336629" y="49010"/>
                    <a:pt x="335979" y="43019"/>
                  </a:cubicBezTo>
                  <a:cubicBezTo>
                    <a:pt x="335328" y="37029"/>
                    <a:pt x="320973" y="45481"/>
                    <a:pt x="328964" y="47617"/>
                  </a:cubicBezTo>
                  <a:cubicBezTo>
                    <a:pt x="336954" y="49753"/>
                    <a:pt x="334074" y="55418"/>
                    <a:pt x="334074" y="63172"/>
                  </a:cubicBezTo>
                  <a:cubicBezTo>
                    <a:pt x="334074" y="70927"/>
                    <a:pt x="324829" y="64937"/>
                    <a:pt x="326734" y="58250"/>
                  </a:cubicBezTo>
                  <a:cubicBezTo>
                    <a:pt x="328638" y="51563"/>
                    <a:pt x="320973" y="52957"/>
                    <a:pt x="314608" y="57182"/>
                  </a:cubicBezTo>
                  <a:cubicBezTo>
                    <a:pt x="308243" y="61408"/>
                    <a:pt x="315584" y="49428"/>
                    <a:pt x="313029" y="43391"/>
                  </a:cubicBezTo>
                  <a:cubicBezTo>
                    <a:pt x="310474" y="37401"/>
                    <a:pt x="304713" y="43391"/>
                    <a:pt x="298023" y="44830"/>
                  </a:cubicBezTo>
                  <a:cubicBezTo>
                    <a:pt x="291333" y="46223"/>
                    <a:pt x="287848" y="46595"/>
                    <a:pt x="291983" y="51517"/>
                  </a:cubicBezTo>
                  <a:cubicBezTo>
                    <a:pt x="296118" y="56439"/>
                    <a:pt x="295514" y="63497"/>
                    <a:pt x="290032" y="62476"/>
                  </a:cubicBezTo>
                  <a:cubicBezTo>
                    <a:pt x="284596" y="61408"/>
                    <a:pt x="282413" y="62476"/>
                    <a:pt x="283017" y="68141"/>
                  </a:cubicBezTo>
                  <a:cubicBezTo>
                    <a:pt x="283667" y="73759"/>
                    <a:pt x="276002" y="74131"/>
                    <a:pt x="275351" y="69209"/>
                  </a:cubicBezTo>
                  <a:cubicBezTo>
                    <a:pt x="274701" y="64287"/>
                    <a:pt x="263876" y="65680"/>
                    <a:pt x="260671" y="71345"/>
                  </a:cubicBezTo>
                  <a:cubicBezTo>
                    <a:pt x="257465" y="76963"/>
                    <a:pt x="248545" y="81235"/>
                    <a:pt x="249521" y="87597"/>
                  </a:cubicBezTo>
                  <a:cubicBezTo>
                    <a:pt x="250450" y="93958"/>
                    <a:pt x="257511" y="84393"/>
                    <a:pt x="263226" y="86529"/>
                  </a:cubicBezTo>
                  <a:cubicBezTo>
                    <a:pt x="268986" y="88665"/>
                    <a:pt x="262900" y="91822"/>
                    <a:pt x="266106" y="94980"/>
                  </a:cubicBezTo>
                  <a:cubicBezTo>
                    <a:pt x="269265" y="98184"/>
                    <a:pt x="268661" y="105939"/>
                    <a:pt x="264201" y="101342"/>
                  </a:cubicBezTo>
                  <a:cubicBezTo>
                    <a:pt x="259741" y="96744"/>
                    <a:pt x="253981" y="95305"/>
                    <a:pt x="253051" y="102735"/>
                  </a:cubicBezTo>
                  <a:cubicBezTo>
                    <a:pt x="252076" y="110164"/>
                    <a:pt x="247337" y="101667"/>
                    <a:pt x="243481" y="96373"/>
                  </a:cubicBezTo>
                  <a:cubicBezTo>
                    <a:pt x="239672" y="91079"/>
                    <a:pt x="235816" y="106264"/>
                    <a:pt x="231681" y="102735"/>
                  </a:cubicBezTo>
                  <a:cubicBezTo>
                    <a:pt x="227546" y="99205"/>
                    <a:pt x="239950" y="88247"/>
                    <a:pt x="236791" y="82953"/>
                  </a:cubicBezTo>
                  <a:cubicBezTo>
                    <a:pt x="233586" y="77660"/>
                    <a:pt x="231356" y="86111"/>
                    <a:pt x="224062" y="94237"/>
                  </a:cubicBezTo>
                  <a:cubicBezTo>
                    <a:pt x="216721" y="102363"/>
                    <a:pt x="206872" y="101992"/>
                    <a:pt x="210357" y="105892"/>
                  </a:cubicBezTo>
                  <a:cubicBezTo>
                    <a:pt x="213841" y="109793"/>
                    <a:pt x="203016" y="111882"/>
                    <a:pt x="201112" y="118615"/>
                  </a:cubicBezTo>
                  <a:cubicBezTo>
                    <a:pt x="199207" y="125348"/>
                    <a:pt x="184201" y="127809"/>
                    <a:pt x="174631" y="134867"/>
                  </a:cubicBezTo>
                  <a:cubicBezTo>
                    <a:pt x="165060" y="141925"/>
                    <a:pt x="176535" y="142297"/>
                    <a:pt x="181971" y="135564"/>
                  </a:cubicBezTo>
                  <a:cubicBezTo>
                    <a:pt x="187406" y="128831"/>
                    <a:pt x="189311" y="132731"/>
                    <a:pt x="197906" y="126741"/>
                  </a:cubicBezTo>
                  <a:cubicBezTo>
                    <a:pt x="206547" y="120751"/>
                    <a:pt x="215746" y="115783"/>
                    <a:pt x="218951" y="118244"/>
                  </a:cubicBezTo>
                  <a:cubicBezTo>
                    <a:pt x="222111" y="120705"/>
                    <a:pt x="227546" y="122516"/>
                    <a:pt x="231681" y="116154"/>
                  </a:cubicBezTo>
                  <a:cubicBezTo>
                    <a:pt x="235816" y="109793"/>
                    <a:pt x="240926" y="111186"/>
                    <a:pt x="245061" y="115086"/>
                  </a:cubicBezTo>
                  <a:cubicBezTo>
                    <a:pt x="249196" y="118987"/>
                    <a:pt x="238046" y="122144"/>
                    <a:pt x="243156" y="127809"/>
                  </a:cubicBezTo>
                  <a:cubicBezTo>
                    <a:pt x="248266" y="133474"/>
                    <a:pt x="237116" y="136632"/>
                    <a:pt x="237116" y="131663"/>
                  </a:cubicBezTo>
                  <a:cubicBezTo>
                    <a:pt x="237116" y="126695"/>
                    <a:pt x="230752" y="122469"/>
                    <a:pt x="228475" y="127066"/>
                  </a:cubicBezTo>
                  <a:cubicBezTo>
                    <a:pt x="226245" y="131663"/>
                    <a:pt x="222436" y="136585"/>
                    <a:pt x="218301" y="136957"/>
                  </a:cubicBezTo>
                  <a:cubicBezTo>
                    <a:pt x="214166" y="137328"/>
                    <a:pt x="209706" y="145780"/>
                    <a:pt x="209706" y="154277"/>
                  </a:cubicBezTo>
                  <a:cubicBezTo>
                    <a:pt x="209706" y="162775"/>
                    <a:pt x="202366" y="154277"/>
                    <a:pt x="201762" y="161707"/>
                  </a:cubicBezTo>
                  <a:cubicBezTo>
                    <a:pt x="201112" y="169136"/>
                    <a:pt x="190891" y="182184"/>
                    <a:pt x="181971" y="191704"/>
                  </a:cubicBezTo>
                  <a:cubicBezTo>
                    <a:pt x="173051" y="201223"/>
                    <a:pt x="181320" y="203359"/>
                    <a:pt x="178440" y="209395"/>
                  </a:cubicBezTo>
                  <a:cubicBezTo>
                    <a:pt x="175560" y="215385"/>
                    <a:pt x="165060" y="210092"/>
                    <a:pt x="161529" y="212553"/>
                  </a:cubicBezTo>
                  <a:cubicBezTo>
                    <a:pt x="157999" y="215060"/>
                    <a:pt x="163434" y="229873"/>
                    <a:pt x="158649" y="234470"/>
                  </a:cubicBezTo>
                  <a:cubicBezTo>
                    <a:pt x="153864" y="239067"/>
                    <a:pt x="158649" y="245428"/>
                    <a:pt x="158649" y="250722"/>
                  </a:cubicBezTo>
                  <a:cubicBezTo>
                    <a:pt x="158649" y="256016"/>
                    <a:pt x="146198" y="247518"/>
                    <a:pt x="145269" y="252812"/>
                  </a:cubicBezTo>
                  <a:cubicBezTo>
                    <a:pt x="144294" y="258105"/>
                    <a:pt x="133469" y="256712"/>
                    <a:pt x="130263" y="258105"/>
                  </a:cubicBezTo>
                  <a:cubicBezTo>
                    <a:pt x="127058" y="259498"/>
                    <a:pt x="136628" y="267996"/>
                    <a:pt x="142389" y="272918"/>
                  </a:cubicBezTo>
                  <a:cubicBezTo>
                    <a:pt x="148103" y="277886"/>
                    <a:pt x="136953" y="281740"/>
                    <a:pt x="135699" y="276075"/>
                  </a:cubicBezTo>
                  <a:cubicBezTo>
                    <a:pt x="134956" y="272825"/>
                    <a:pt x="131982" y="274497"/>
                    <a:pt x="127662" y="277468"/>
                  </a:cubicBezTo>
                  <a:cubicBezTo>
                    <a:pt x="127801" y="279883"/>
                    <a:pt x="127522" y="282298"/>
                    <a:pt x="126686" y="284434"/>
                  </a:cubicBezTo>
                  <a:cubicBezTo>
                    <a:pt x="117441" y="307697"/>
                    <a:pt x="101041" y="320699"/>
                    <a:pt x="78230" y="330776"/>
                  </a:cubicBezTo>
                  <a:cubicBezTo>
                    <a:pt x="72470" y="333329"/>
                    <a:pt x="66895" y="333562"/>
                    <a:pt x="61924" y="332261"/>
                  </a:cubicBezTo>
                  <a:cubicBezTo>
                    <a:pt x="59787" y="333051"/>
                    <a:pt x="57324" y="333422"/>
                    <a:pt x="54909" y="333794"/>
                  </a:cubicBezTo>
                  <a:cubicBezTo>
                    <a:pt x="53469" y="336394"/>
                    <a:pt x="51564" y="338809"/>
                    <a:pt x="49009" y="340805"/>
                  </a:cubicBezTo>
                  <a:cubicBezTo>
                    <a:pt x="49148" y="341409"/>
                    <a:pt x="49241" y="342013"/>
                    <a:pt x="49334" y="342616"/>
                  </a:cubicBezTo>
                  <a:cubicBezTo>
                    <a:pt x="52400" y="343824"/>
                    <a:pt x="56256" y="344892"/>
                    <a:pt x="57232" y="347028"/>
                  </a:cubicBezTo>
                  <a:cubicBezTo>
                    <a:pt x="58347" y="349442"/>
                    <a:pt x="54398" y="349814"/>
                    <a:pt x="49520" y="349303"/>
                  </a:cubicBezTo>
                  <a:cubicBezTo>
                    <a:pt x="48962" y="353993"/>
                    <a:pt x="46871" y="358451"/>
                    <a:pt x="43016" y="361933"/>
                  </a:cubicBezTo>
                  <a:cubicBezTo>
                    <a:pt x="34467" y="369548"/>
                    <a:pt x="25408" y="374610"/>
                    <a:pt x="15373" y="376978"/>
                  </a:cubicBezTo>
                  <a:cubicBezTo>
                    <a:pt x="18950" y="381807"/>
                    <a:pt x="20576" y="388215"/>
                    <a:pt x="18486" y="395784"/>
                  </a:cubicBezTo>
                  <a:cubicBezTo>
                    <a:pt x="16116" y="404328"/>
                    <a:pt x="14305" y="412501"/>
                    <a:pt x="9055" y="419884"/>
                  </a:cubicBezTo>
                  <a:cubicBezTo>
                    <a:pt x="6964" y="422809"/>
                    <a:pt x="4548" y="425084"/>
                    <a:pt x="1900" y="426849"/>
                  </a:cubicBezTo>
                  <a:cubicBezTo>
                    <a:pt x="321" y="428846"/>
                    <a:pt x="-1212" y="431121"/>
                    <a:pt x="1436" y="435347"/>
                  </a:cubicBezTo>
                  <a:cubicBezTo>
                    <a:pt x="6546" y="443473"/>
                    <a:pt x="10356" y="433211"/>
                    <a:pt x="12585" y="439201"/>
                  </a:cubicBezTo>
                  <a:cubicBezTo>
                    <a:pt x="14816" y="445237"/>
                    <a:pt x="20855" y="439897"/>
                    <a:pt x="27870" y="432839"/>
                  </a:cubicBezTo>
                  <a:cubicBezTo>
                    <a:pt x="34885" y="425781"/>
                    <a:pt x="37441" y="440594"/>
                    <a:pt x="31680" y="440269"/>
                  </a:cubicBezTo>
                  <a:cubicBezTo>
                    <a:pt x="25919" y="439944"/>
                    <a:pt x="19229" y="443798"/>
                    <a:pt x="20530" y="450159"/>
                  </a:cubicBezTo>
                  <a:cubicBezTo>
                    <a:pt x="21784" y="456521"/>
                    <a:pt x="11610" y="455453"/>
                    <a:pt x="11935" y="447698"/>
                  </a:cubicBezTo>
                  <a:cubicBezTo>
                    <a:pt x="12261" y="439944"/>
                    <a:pt x="135" y="449091"/>
                    <a:pt x="4595" y="454756"/>
                  </a:cubicBezTo>
                  <a:cubicBezTo>
                    <a:pt x="9055" y="460375"/>
                    <a:pt x="3015" y="463579"/>
                    <a:pt x="3015" y="468872"/>
                  </a:cubicBezTo>
                  <a:cubicBezTo>
                    <a:pt x="3015" y="474166"/>
                    <a:pt x="11610" y="473098"/>
                    <a:pt x="15141" y="467108"/>
                  </a:cubicBezTo>
                  <a:cubicBezTo>
                    <a:pt x="18671" y="461118"/>
                    <a:pt x="24386" y="462511"/>
                    <a:pt x="26616" y="468547"/>
                  </a:cubicBezTo>
                  <a:cubicBezTo>
                    <a:pt x="28846" y="474537"/>
                    <a:pt x="21227" y="469940"/>
                    <a:pt x="21227" y="478067"/>
                  </a:cubicBezTo>
                  <a:cubicBezTo>
                    <a:pt x="21227" y="485171"/>
                    <a:pt x="17556" y="480667"/>
                    <a:pt x="13840" y="483685"/>
                  </a:cubicBezTo>
                  <a:cubicBezTo>
                    <a:pt x="15838" y="485264"/>
                    <a:pt x="17603" y="487168"/>
                    <a:pt x="19275" y="489257"/>
                  </a:cubicBezTo>
                  <a:lnTo>
                    <a:pt x="19415" y="489257"/>
                  </a:lnTo>
                  <a:cubicBezTo>
                    <a:pt x="17185" y="486285"/>
                    <a:pt x="18904" y="488421"/>
                    <a:pt x="20019" y="489629"/>
                  </a:cubicBezTo>
                  <a:cubicBezTo>
                    <a:pt x="21831" y="490604"/>
                    <a:pt x="23550" y="491718"/>
                    <a:pt x="25361" y="492693"/>
                  </a:cubicBezTo>
                  <a:cubicBezTo>
                    <a:pt x="30890" y="495712"/>
                    <a:pt x="36279" y="499241"/>
                    <a:pt x="40693" y="503745"/>
                  </a:cubicBezTo>
                  <a:cubicBezTo>
                    <a:pt x="42690" y="505788"/>
                    <a:pt x="44177" y="508063"/>
                    <a:pt x="45245" y="510478"/>
                  </a:cubicBezTo>
                  <a:cubicBezTo>
                    <a:pt x="49148" y="512335"/>
                    <a:pt x="53794" y="513728"/>
                    <a:pt x="60112" y="512707"/>
                  </a:cubicBezTo>
                  <a:cubicBezTo>
                    <a:pt x="72888" y="510571"/>
                    <a:pt x="97092" y="484474"/>
                    <a:pt x="100298" y="479877"/>
                  </a:cubicBezTo>
                  <a:cubicBezTo>
                    <a:pt x="103504" y="475280"/>
                    <a:pt x="110519" y="480574"/>
                    <a:pt x="115304" y="476348"/>
                  </a:cubicBezTo>
                  <a:cubicBezTo>
                    <a:pt x="120089" y="472123"/>
                    <a:pt x="117209" y="461164"/>
                    <a:pt x="120739" y="459075"/>
                  </a:cubicBezTo>
                  <a:cubicBezTo>
                    <a:pt x="124270" y="456939"/>
                    <a:pt x="126128" y="470730"/>
                    <a:pt x="129334" y="472123"/>
                  </a:cubicBezTo>
                  <a:cubicBezTo>
                    <a:pt x="132214" y="473377"/>
                    <a:pt x="134305" y="475884"/>
                    <a:pt x="134445" y="482942"/>
                  </a:cubicBezTo>
                  <a:cubicBezTo>
                    <a:pt x="137000" y="482571"/>
                    <a:pt x="139555" y="482664"/>
                    <a:pt x="141181" y="484010"/>
                  </a:cubicBezTo>
                  <a:cubicBezTo>
                    <a:pt x="145269" y="487400"/>
                    <a:pt x="146291" y="472680"/>
                    <a:pt x="146291" y="468129"/>
                  </a:cubicBezTo>
                  <a:cubicBezTo>
                    <a:pt x="146291" y="463579"/>
                    <a:pt x="150380" y="454524"/>
                    <a:pt x="149357" y="448813"/>
                  </a:cubicBezTo>
                  <a:cubicBezTo>
                    <a:pt x="148335" y="443148"/>
                    <a:pt x="161669" y="447698"/>
                    <a:pt x="163713" y="443148"/>
                  </a:cubicBezTo>
                  <a:cubicBezTo>
                    <a:pt x="165757" y="438597"/>
                    <a:pt x="166779" y="422716"/>
                    <a:pt x="162691" y="420441"/>
                  </a:cubicBezTo>
                  <a:cubicBezTo>
                    <a:pt x="158603" y="418166"/>
                    <a:pt x="157534" y="409111"/>
                    <a:pt x="161669" y="409111"/>
                  </a:cubicBezTo>
                  <a:cubicBezTo>
                    <a:pt x="165804" y="409111"/>
                    <a:pt x="170867" y="405721"/>
                    <a:pt x="169892" y="396620"/>
                  </a:cubicBezTo>
                  <a:cubicBezTo>
                    <a:pt x="168870" y="387565"/>
                    <a:pt x="156559" y="388680"/>
                    <a:pt x="155536" y="379625"/>
                  </a:cubicBezTo>
                  <a:cubicBezTo>
                    <a:pt x="154514" y="370570"/>
                    <a:pt x="161669" y="368295"/>
                    <a:pt x="156559" y="356918"/>
                  </a:cubicBezTo>
                  <a:cubicBezTo>
                    <a:pt x="151448" y="345588"/>
                    <a:pt x="158603" y="338762"/>
                    <a:pt x="156559" y="333097"/>
                  </a:cubicBezTo>
                  <a:cubicBezTo>
                    <a:pt x="154514" y="327432"/>
                    <a:pt x="152470" y="320606"/>
                    <a:pt x="158603" y="309276"/>
                  </a:cubicBezTo>
                  <a:cubicBezTo>
                    <a:pt x="164735" y="297946"/>
                    <a:pt x="176024" y="292235"/>
                    <a:pt x="180112" y="293396"/>
                  </a:cubicBezTo>
                  <a:cubicBezTo>
                    <a:pt x="184201" y="294510"/>
                    <a:pt x="191402" y="299061"/>
                    <a:pt x="194468" y="292235"/>
                  </a:cubicBezTo>
                  <a:cubicBezTo>
                    <a:pt x="197534" y="285455"/>
                    <a:pt x="197534" y="279744"/>
                    <a:pt x="194468" y="278629"/>
                  </a:cubicBezTo>
                  <a:cubicBezTo>
                    <a:pt x="191402" y="277515"/>
                    <a:pt x="183179" y="275240"/>
                    <a:pt x="189358" y="266138"/>
                  </a:cubicBezTo>
                  <a:cubicBezTo>
                    <a:pt x="195490" y="257084"/>
                    <a:pt x="202691" y="245707"/>
                    <a:pt x="203713" y="235538"/>
                  </a:cubicBezTo>
                  <a:cubicBezTo>
                    <a:pt x="204735" y="225322"/>
                    <a:pt x="201669" y="217382"/>
                    <a:pt x="204735" y="213946"/>
                  </a:cubicBezTo>
                  <a:cubicBezTo>
                    <a:pt x="207801" y="210556"/>
                    <a:pt x="215002" y="213946"/>
                    <a:pt x="221135" y="209442"/>
                  </a:cubicBezTo>
                  <a:cubicBezTo>
                    <a:pt x="227267" y="204891"/>
                    <a:pt x="222157" y="199226"/>
                    <a:pt x="225223" y="195836"/>
                  </a:cubicBezTo>
                  <a:cubicBezTo>
                    <a:pt x="228290" y="192446"/>
                    <a:pt x="232378" y="181070"/>
                    <a:pt x="236512" y="177680"/>
                  </a:cubicBezTo>
                  <a:cubicBezTo>
                    <a:pt x="240601" y="174291"/>
                    <a:pt x="244689" y="169740"/>
                    <a:pt x="241623" y="165189"/>
                  </a:cubicBezTo>
                  <a:cubicBezTo>
                    <a:pt x="238557" y="160639"/>
                    <a:pt x="247755" y="156088"/>
                    <a:pt x="247755" y="148148"/>
                  </a:cubicBezTo>
                  <a:cubicBezTo>
                    <a:pt x="247755" y="140207"/>
                    <a:pt x="257976" y="134542"/>
                    <a:pt x="264155" y="134542"/>
                  </a:cubicBezTo>
                  <a:cubicBezTo>
                    <a:pt x="270334" y="134542"/>
                    <a:pt x="280555" y="134542"/>
                    <a:pt x="280555" y="127763"/>
                  </a:cubicBezTo>
                  <a:cubicBezTo>
                    <a:pt x="280555" y="120983"/>
                    <a:pt x="276466" y="106171"/>
                    <a:pt x="285665" y="110768"/>
                  </a:cubicBezTo>
                  <a:cubicBezTo>
                    <a:pt x="294863" y="115318"/>
                    <a:pt x="302064" y="109607"/>
                    <a:pt x="308197" y="115318"/>
                  </a:cubicBezTo>
                  <a:cubicBezTo>
                    <a:pt x="314329" y="120983"/>
                    <a:pt x="322552" y="119869"/>
                    <a:pt x="322552" y="110768"/>
                  </a:cubicBezTo>
                  <a:cubicBezTo>
                    <a:pt x="322552" y="101667"/>
                    <a:pt x="325619" y="86947"/>
                    <a:pt x="334864" y="92612"/>
                  </a:cubicBezTo>
                  <a:cubicBezTo>
                    <a:pt x="335607" y="93030"/>
                    <a:pt x="336258" y="93541"/>
                    <a:pt x="336954" y="94051"/>
                  </a:cubicBezTo>
                  <a:cubicBezTo>
                    <a:pt x="340021" y="86482"/>
                    <a:pt x="345828" y="81653"/>
                    <a:pt x="351263" y="82396"/>
                  </a:cubicBezTo>
                  <a:cubicBezTo>
                    <a:pt x="359487" y="83557"/>
                    <a:pt x="364597" y="99438"/>
                    <a:pt x="374818" y="101667"/>
                  </a:cubicBezTo>
                  <a:cubicBezTo>
                    <a:pt x="385085" y="103942"/>
                    <a:pt x="395305" y="108492"/>
                    <a:pt x="398372" y="102781"/>
                  </a:cubicBezTo>
                  <a:cubicBezTo>
                    <a:pt x="401438" y="97116"/>
                    <a:pt x="408639" y="106171"/>
                    <a:pt x="414771" y="103895"/>
                  </a:cubicBezTo>
                  <a:cubicBezTo>
                    <a:pt x="420904" y="101620"/>
                    <a:pt x="420904" y="116386"/>
                    <a:pt x="427083" y="107285"/>
                  </a:cubicBezTo>
                  <a:cubicBezTo>
                    <a:pt x="433215" y="98230"/>
                    <a:pt x="426060" y="92519"/>
                    <a:pt x="436281" y="93680"/>
                  </a:cubicBezTo>
                  <a:cubicBezTo>
                    <a:pt x="446549" y="94794"/>
                    <a:pt x="440370" y="81189"/>
                    <a:pt x="440370" y="73248"/>
                  </a:cubicBezTo>
                  <a:cubicBezTo>
                    <a:pt x="440370" y="65308"/>
                    <a:pt x="453656" y="64147"/>
                    <a:pt x="453656" y="57368"/>
                  </a:cubicBezTo>
                  <a:cubicBezTo>
                    <a:pt x="453656" y="50588"/>
                    <a:pt x="472100" y="56207"/>
                    <a:pt x="475166" y="51703"/>
                  </a:cubicBezTo>
                  <a:cubicBezTo>
                    <a:pt x="478233" y="47152"/>
                    <a:pt x="488500" y="43762"/>
                    <a:pt x="492588" y="51703"/>
                  </a:cubicBezTo>
                  <a:cubicBezTo>
                    <a:pt x="496676" y="59643"/>
                    <a:pt x="514098" y="61918"/>
                    <a:pt x="515120" y="68744"/>
                  </a:cubicBezTo>
                  <a:cubicBezTo>
                    <a:pt x="515631" y="72041"/>
                    <a:pt x="515120" y="77242"/>
                    <a:pt x="515120" y="82071"/>
                  </a:cubicBezTo>
                  <a:cubicBezTo>
                    <a:pt x="517954" y="78960"/>
                    <a:pt x="521578" y="76638"/>
                    <a:pt x="525016" y="76638"/>
                  </a:cubicBezTo>
                  <a:cubicBezTo>
                    <a:pt x="531381" y="76638"/>
                    <a:pt x="537095" y="66051"/>
                    <a:pt x="542856" y="67444"/>
                  </a:cubicBezTo>
                  <a:cubicBezTo>
                    <a:pt x="547641" y="68605"/>
                    <a:pt x="552379" y="67723"/>
                    <a:pt x="553820" y="58900"/>
                  </a:cubicBezTo>
                  <a:cubicBezTo>
                    <a:pt x="548663" y="55325"/>
                    <a:pt x="538907" y="54860"/>
                    <a:pt x="537745" y="59690"/>
                  </a:cubicBezTo>
                  <a:close/>
                </a:path>
              </a:pathLst>
            </a:custGeom>
            <a:solidFill>
              <a:srgbClr val="CCCDF1"/>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pic>
        <p:nvPicPr>
          <p:cNvPr id="23" name="Picture 2">
            <a:extLst>
              <a:ext uri="{FF2B5EF4-FFF2-40B4-BE49-F238E27FC236}">
                <a16:creationId xmlns:a16="http://schemas.microsoft.com/office/drawing/2014/main" id="{4F7AD910-5500-93C6-054C-D1D5C8B01FF1}"/>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6533210" y="4245682"/>
            <a:ext cx="2114488" cy="40059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a:extLst>
              <a:ext uri="{FF2B5EF4-FFF2-40B4-BE49-F238E27FC236}">
                <a16:creationId xmlns:a16="http://schemas.microsoft.com/office/drawing/2014/main" id="{B1289CF4-486B-EC3E-A392-C3BA83CE5C54}"/>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8778956" y="4237659"/>
            <a:ext cx="2671267" cy="379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16918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blue question mark on a blue background&#10;&#10;Description automatically generated">
            <a:extLst>
              <a:ext uri="{FF2B5EF4-FFF2-40B4-BE49-F238E27FC236}">
                <a16:creationId xmlns:a16="http://schemas.microsoft.com/office/drawing/2014/main" id="{BA826E8C-54EC-0F16-3100-E7E6E5BFA90A}"/>
              </a:ext>
            </a:extLst>
          </p:cNvPr>
          <p:cNvPicPr>
            <a:picLocks noChangeAspect="1"/>
          </p:cNvPicPr>
          <p:nvPr/>
        </p:nvPicPr>
        <p:blipFill rotWithShape="1">
          <a:blip r:embed="rId3" cstate="screen">
            <a:alphaModFix amt="74000"/>
            <a:extLst>
              <a:ext uri="{28A0092B-C50C-407E-A947-70E740481C1C}">
                <a14:useLocalDpi xmlns:a14="http://schemas.microsoft.com/office/drawing/2010/main"/>
              </a:ext>
            </a:extLst>
          </a:blip>
          <a:srcRect/>
          <a:stretch/>
        </p:blipFill>
        <p:spPr>
          <a:xfrm>
            <a:off x="0" y="0"/>
            <a:ext cx="12192000" cy="6858000"/>
          </a:xfrm>
          <a:prstGeom prst="rect">
            <a:avLst/>
          </a:prstGeom>
        </p:spPr>
      </p:pic>
      <p:graphicFrame>
        <p:nvGraphicFramePr>
          <p:cNvPr id="3" name="think-cell data - do not delete" hidden="1">
            <a:extLst>
              <a:ext uri="{FF2B5EF4-FFF2-40B4-BE49-F238E27FC236}">
                <a16:creationId xmlns:a16="http://schemas.microsoft.com/office/drawing/2014/main" id="{7671BB0A-FE7C-719D-597A-B4EB0C6E0219}"/>
              </a:ext>
            </a:extLst>
          </p:cNvPr>
          <p:cNvGraphicFramePr>
            <a:graphicFrameLocks noChangeAspect="1"/>
          </p:cNvGraphicFramePr>
          <p:nvPr>
            <p:custDataLst>
              <p:tags r:id="rId1"/>
            </p:custDataLst>
            <p:extLst>
              <p:ext uri="{D42A27DB-BD31-4B8C-83A1-F6EECF244321}">
                <p14:modId xmlns:p14="http://schemas.microsoft.com/office/powerpoint/2010/main" val="26637988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7671BB0A-FE7C-719D-597A-B4EB0C6E021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31F06077-752C-07E8-8179-979719D4AC4F}"/>
              </a:ext>
            </a:extLst>
          </p:cNvPr>
          <p:cNvSpPr>
            <a:spLocks noGrp="1"/>
          </p:cNvSpPr>
          <p:nvPr>
            <p:ph type="title"/>
          </p:nvPr>
        </p:nvSpPr>
        <p:spPr>
          <a:xfrm>
            <a:off x="1315186" y="3052835"/>
            <a:ext cx="8394291" cy="1886926"/>
          </a:xfrm>
          <a:prstGeom prst="rect">
            <a:avLst/>
          </a:prstGeom>
        </p:spPr>
        <p:txBody>
          <a:bodyPr vert="horz" lIns="91440" tIns="45720" rIns="91440" bIns="45720" anchor="b">
            <a:normAutofit/>
          </a:bodyPr>
          <a:lstStyle>
            <a:lvl1pPr>
              <a:defRPr sz="4000" b="0" i="0">
                <a:solidFill>
                  <a:schemeClr val="bg1"/>
                </a:solidFill>
                <a:latin typeface="Helvetica Light" panose="020B0403020202020204" pitchFamily="34" charset="0"/>
              </a:defRPr>
            </a:lvl1pPr>
          </a:lstStyle>
          <a:p>
            <a:r>
              <a:rPr lang="en-US" sz="6600"/>
              <a:t>Q&amp;A</a:t>
            </a:r>
          </a:p>
        </p:txBody>
      </p:sp>
      <p:cxnSp>
        <p:nvCxnSpPr>
          <p:cNvPr id="10" name="Straight Connector 9">
            <a:extLst>
              <a:ext uri="{FF2B5EF4-FFF2-40B4-BE49-F238E27FC236}">
                <a16:creationId xmlns:a16="http://schemas.microsoft.com/office/drawing/2014/main" id="{19C55B9A-411C-CCD2-7C44-86752FEDAFEE}"/>
              </a:ext>
            </a:extLst>
          </p:cNvPr>
          <p:cNvCxnSpPr>
            <a:cxnSpLocks/>
          </p:cNvCxnSpPr>
          <p:nvPr/>
        </p:nvCxnSpPr>
        <p:spPr>
          <a:xfrm>
            <a:off x="1315186" y="5260160"/>
            <a:ext cx="85977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Bilde 3">
            <a:extLst>
              <a:ext uri="{FF2B5EF4-FFF2-40B4-BE49-F238E27FC236}">
                <a16:creationId xmlns:a16="http://schemas.microsoft.com/office/drawing/2014/main" id="{1CFE7C1A-03C1-DA39-0257-9C11128F2B8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315186" y="5601342"/>
            <a:ext cx="2737020" cy="478520"/>
          </a:xfrm>
          <a:prstGeom prst="rect">
            <a:avLst/>
          </a:prstGeom>
        </p:spPr>
      </p:pic>
    </p:spTree>
    <p:extLst>
      <p:ext uri="{BB962C8B-B14F-4D97-AF65-F5344CB8AC3E}">
        <p14:creationId xmlns:p14="http://schemas.microsoft.com/office/powerpoint/2010/main" val="4375927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erson in a grocery store&#10;&#10;Description automatically generated with low confidence">
            <a:extLst>
              <a:ext uri="{FF2B5EF4-FFF2-40B4-BE49-F238E27FC236}">
                <a16:creationId xmlns:a16="http://schemas.microsoft.com/office/drawing/2014/main" id="{283C4277-BF87-1272-5E13-8F4D160FE510}"/>
              </a:ext>
            </a:extLst>
          </p:cNvPr>
          <p:cNvPicPr>
            <a:picLocks noChangeAspect="1"/>
          </p:cNvPicPr>
          <p:nvPr/>
        </p:nvPicPr>
        <p:blipFill rotWithShape="1">
          <a:blip r:embed="rId2" cstate="screen">
            <a:alphaModFix amt="21000"/>
            <a:extLst>
              <a:ext uri="{28A0092B-C50C-407E-A947-70E740481C1C}">
                <a14:useLocalDpi xmlns:a14="http://schemas.microsoft.com/office/drawing/2010/main"/>
              </a:ext>
            </a:extLst>
          </a:blip>
          <a:srcRect/>
          <a:stretch/>
        </p:blipFill>
        <p:spPr>
          <a:xfrm flipH="1">
            <a:off x="-16661" y="-16139"/>
            <a:ext cx="12220692" cy="6874139"/>
          </a:xfrm>
          <a:prstGeom prst="rect">
            <a:avLst/>
          </a:prstGeom>
        </p:spPr>
      </p:pic>
      <p:sp>
        <p:nvSpPr>
          <p:cNvPr id="4" name="Title 1">
            <a:extLst>
              <a:ext uri="{FF2B5EF4-FFF2-40B4-BE49-F238E27FC236}">
                <a16:creationId xmlns:a16="http://schemas.microsoft.com/office/drawing/2014/main" id="{B71F8C46-8B36-1CE5-D416-CFE46B3B4FCD}"/>
              </a:ext>
            </a:extLst>
          </p:cNvPr>
          <p:cNvSpPr>
            <a:spLocks noGrp="1"/>
          </p:cNvSpPr>
          <p:nvPr>
            <p:ph type="title"/>
          </p:nvPr>
        </p:nvSpPr>
        <p:spPr>
          <a:xfrm>
            <a:off x="1218622" y="3707783"/>
            <a:ext cx="9418875" cy="1249808"/>
          </a:xfrm>
        </p:spPr>
        <p:txBody>
          <a:bodyPr/>
          <a:lstStyle/>
          <a:p>
            <a:r>
              <a:rPr lang="en-GB" sz="6600"/>
              <a:t>Thank you</a:t>
            </a:r>
            <a:endParaRPr lang="en-US" sz="6600"/>
          </a:p>
        </p:txBody>
      </p:sp>
      <p:pic>
        <p:nvPicPr>
          <p:cNvPr id="17" name="Bilde 5">
            <a:extLst>
              <a:ext uri="{FF2B5EF4-FFF2-40B4-BE49-F238E27FC236}">
                <a16:creationId xmlns:a16="http://schemas.microsoft.com/office/drawing/2014/main" id="{8275A800-67C7-5A36-A2F5-357FE7C1FD6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8623" y="5599967"/>
            <a:ext cx="2822031" cy="493381"/>
          </a:xfrm>
          <a:prstGeom prst="rect">
            <a:avLst/>
          </a:prstGeom>
        </p:spPr>
      </p:pic>
      <p:grpSp>
        <p:nvGrpSpPr>
          <p:cNvPr id="3" name="Group 2">
            <a:extLst>
              <a:ext uri="{FF2B5EF4-FFF2-40B4-BE49-F238E27FC236}">
                <a16:creationId xmlns:a16="http://schemas.microsoft.com/office/drawing/2014/main" id="{39E8FC55-09F8-9D4C-49AE-C14963FA8615}"/>
              </a:ext>
            </a:extLst>
          </p:cNvPr>
          <p:cNvGrpSpPr/>
          <p:nvPr/>
        </p:nvGrpSpPr>
        <p:grpSpPr>
          <a:xfrm rot="643992">
            <a:off x="8042693" y="644778"/>
            <a:ext cx="2961113" cy="5552304"/>
            <a:chOff x="8640694" y="644778"/>
            <a:chExt cx="2961113" cy="5552304"/>
          </a:xfrm>
        </p:grpSpPr>
        <p:sp>
          <p:nvSpPr>
            <p:cNvPr id="5" name="Rectangle 4">
              <a:extLst>
                <a:ext uri="{FF2B5EF4-FFF2-40B4-BE49-F238E27FC236}">
                  <a16:creationId xmlns:a16="http://schemas.microsoft.com/office/drawing/2014/main" id="{CE0A5C3D-08EE-8CB9-7BE1-590B3C8C3035}"/>
                </a:ext>
              </a:extLst>
            </p:cNvPr>
            <p:cNvSpPr/>
            <p:nvPr/>
          </p:nvSpPr>
          <p:spPr>
            <a:xfrm>
              <a:off x="8640695" y="644778"/>
              <a:ext cx="2961112" cy="5552304"/>
            </a:xfrm>
            <a:prstGeom prst="rect">
              <a:avLst/>
            </a:prstGeom>
            <a:gradFill>
              <a:gsLst>
                <a:gs pos="21000">
                  <a:schemeClr val="bg1"/>
                </a:gs>
                <a:gs pos="100000">
                  <a:schemeClr val="bg1">
                    <a:lumMod val="75000"/>
                  </a:schemeClr>
                </a:gs>
                <a:gs pos="70000">
                  <a:srgbClr val="FBFBFB"/>
                </a:gs>
                <a:gs pos="1000">
                  <a:schemeClr val="bg1">
                    <a:lumMod val="85000"/>
                  </a:schemeClr>
                </a:gs>
              </a:gsLst>
              <a:lin ang="5400000" scaled="1"/>
            </a:gradFill>
            <a:ln>
              <a:noFill/>
            </a:ln>
            <a:effectLst>
              <a:outerShdw blurRad="412839"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a:ln>
                  <a:noFill/>
                </a:ln>
                <a:solidFill>
                  <a:prstClr val="white"/>
                </a:solidFill>
                <a:effectLst/>
                <a:uLnTx/>
                <a:uFillTx/>
                <a:latin typeface="Helvetica"/>
                <a:ea typeface="+mn-ea"/>
                <a:cs typeface="+mn-cs"/>
              </a:endParaRPr>
            </a:p>
          </p:txBody>
        </p:sp>
        <p:sp>
          <p:nvSpPr>
            <p:cNvPr id="10" name="TextBox 9">
              <a:extLst>
                <a:ext uri="{FF2B5EF4-FFF2-40B4-BE49-F238E27FC236}">
                  <a16:creationId xmlns:a16="http://schemas.microsoft.com/office/drawing/2014/main" id="{299598A8-B911-60E8-57F1-35DD5034BC83}"/>
                </a:ext>
              </a:extLst>
            </p:cNvPr>
            <p:cNvSpPr txBox="1"/>
            <p:nvPr/>
          </p:nvSpPr>
          <p:spPr>
            <a:xfrm>
              <a:off x="9152070" y="929123"/>
              <a:ext cx="198818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E1E50"/>
                  </a:solidFill>
                  <a:effectLst/>
                  <a:uLnTx/>
                  <a:uFillTx/>
                  <a:latin typeface="Helvetica" pitchFamily="2" charset="0"/>
                  <a:ea typeface="+mn-ea"/>
                  <a:cs typeface="+mn-cs"/>
                </a:rPr>
                <a:t>StrongPoint</a:t>
              </a:r>
            </a:p>
          </p:txBody>
        </p:sp>
        <p:sp>
          <p:nvSpPr>
            <p:cNvPr id="32" name="TextBox 31">
              <a:extLst>
                <a:ext uri="{FF2B5EF4-FFF2-40B4-BE49-F238E27FC236}">
                  <a16:creationId xmlns:a16="http://schemas.microsoft.com/office/drawing/2014/main" id="{782BC6C0-D07C-4230-5CE4-4B18F8A07CD6}"/>
                </a:ext>
              </a:extLst>
            </p:cNvPr>
            <p:cNvSpPr txBox="1"/>
            <p:nvPr/>
          </p:nvSpPr>
          <p:spPr>
            <a:xfrm>
              <a:off x="9140619" y="1194947"/>
              <a:ext cx="1988184" cy="335092"/>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GB" sz="600" b="0" i="0" u="none" strike="noStrike" kern="1200" cap="none" spc="0" normalizeH="0" baseline="0" noProof="0" err="1">
                  <a:ln>
                    <a:noFill/>
                  </a:ln>
                  <a:solidFill>
                    <a:srgbClr val="1E1E50"/>
                  </a:solidFill>
                  <a:effectLst/>
                  <a:uLnTx/>
                  <a:uFillTx/>
                  <a:latin typeface="Helvetica Light" panose="020B0403020202020204" pitchFamily="34" charset="0"/>
                  <a:ea typeface="+mn-ea"/>
                  <a:cs typeface="+mn-cs"/>
                </a:rPr>
                <a:t>www.strongpoint.com</a:t>
              </a:r>
              <a:endParaRPr kumimoji="0" lang="en-GB" sz="6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500" b="0" i="0" u="none" strike="noStrike" kern="1200" cap="none" spc="0" normalizeH="0" baseline="0" noProof="0" err="1">
                  <a:ln>
                    <a:noFill/>
                  </a:ln>
                  <a:solidFill>
                    <a:srgbClr val="1E1E50"/>
                  </a:solidFill>
                  <a:effectLst/>
                  <a:uLnTx/>
                  <a:uFillTx/>
                  <a:latin typeface="Helvetica Light" panose="020B0403020202020204" pitchFamily="34" charset="0"/>
                  <a:ea typeface="+mn-ea"/>
                  <a:cs typeface="+mn-cs"/>
                </a:rPr>
                <a:t>Slynga</a:t>
              </a:r>
              <a:r>
                <a:rPr kumimoji="0" lang="en-US" sz="5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 10 2005 </a:t>
              </a:r>
              <a:r>
                <a:rPr kumimoji="0" lang="en-US" sz="500" b="0" i="0" u="none" strike="noStrike" kern="1200" cap="none" spc="0" normalizeH="0" baseline="0" noProof="0" err="1">
                  <a:ln>
                    <a:noFill/>
                  </a:ln>
                  <a:solidFill>
                    <a:srgbClr val="1E1E50"/>
                  </a:solidFill>
                  <a:effectLst/>
                  <a:uLnTx/>
                  <a:uFillTx/>
                  <a:latin typeface="Helvetica Light" panose="020B0403020202020204" pitchFamily="34" charset="0"/>
                  <a:ea typeface="+mn-ea"/>
                  <a:cs typeface="+mn-cs"/>
                </a:rPr>
                <a:t>Rælingen</a:t>
              </a:r>
              <a:r>
                <a:rPr kumimoji="0" lang="en-US" sz="5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 Norway</a:t>
              </a:r>
            </a:p>
          </p:txBody>
        </p:sp>
        <p:grpSp>
          <p:nvGrpSpPr>
            <p:cNvPr id="33" name="Group 32">
              <a:extLst>
                <a:ext uri="{FF2B5EF4-FFF2-40B4-BE49-F238E27FC236}">
                  <a16:creationId xmlns:a16="http://schemas.microsoft.com/office/drawing/2014/main" id="{F4DE6366-FDEC-2039-4E2C-6E4D345B692A}"/>
                </a:ext>
              </a:extLst>
            </p:cNvPr>
            <p:cNvGrpSpPr/>
            <p:nvPr/>
          </p:nvGrpSpPr>
          <p:grpSpPr>
            <a:xfrm>
              <a:off x="9087377" y="4277465"/>
              <a:ext cx="2027970" cy="236696"/>
              <a:chOff x="9087377" y="4277465"/>
              <a:chExt cx="2027970" cy="236696"/>
            </a:xfrm>
          </p:grpSpPr>
          <p:pic>
            <p:nvPicPr>
              <p:cNvPr id="53" name="Picture 52">
                <a:extLst>
                  <a:ext uri="{FF2B5EF4-FFF2-40B4-BE49-F238E27FC236}">
                    <a16:creationId xmlns:a16="http://schemas.microsoft.com/office/drawing/2014/main" id="{D4BC4239-B07B-B365-5A49-4FA182E9F34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087377" y="4285564"/>
                <a:ext cx="783991" cy="220498"/>
              </a:xfrm>
              <a:prstGeom prst="rect">
                <a:avLst/>
              </a:prstGeom>
            </p:spPr>
          </p:pic>
          <p:pic>
            <p:nvPicPr>
              <p:cNvPr id="54" name="Picture 53">
                <a:extLst>
                  <a:ext uri="{FF2B5EF4-FFF2-40B4-BE49-F238E27FC236}">
                    <a16:creationId xmlns:a16="http://schemas.microsoft.com/office/drawing/2014/main" id="{0FAAB3D0-76FE-A2C7-2D29-C25D60FDC2D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318051" y="4277465"/>
                <a:ext cx="797296" cy="236696"/>
              </a:xfrm>
              <a:prstGeom prst="rect">
                <a:avLst/>
              </a:prstGeom>
            </p:spPr>
          </p:pic>
        </p:grpSp>
        <p:grpSp>
          <p:nvGrpSpPr>
            <p:cNvPr id="34" name="Group 33">
              <a:extLst>
                <a:ext uri="{FF2B5EF4-FFF2-40B4-BE49-F238E27FC236}">
                  <a16:creationId xmlns:a16="http://schemas.microsoft.com/office/drawing/2014/main" id="{C83500D7-9011-7B5E-48F6-C77B849F054D}"/>
                </a:ext>
              </a:extLst>
            </p:cNvPr>
            <p:cNvGrpSpPr/>
            <p:nvPr/>
          </p:nvGrpSpPr>
          <p:grpSpPr>
            <a:xfrm>
              <a:off x="9036897" y="2462084"/>
              <a:ext cx="2109634" cy="281411"/>
              <a:chOff x="9036897" y="2319487"/>
              <a:chExt cx="2109634" cy="281411"/>
            </a:xfrm>
          </p:grpSpPr>
          <p:pic>
            <p:nvPicPr>
              <p:cNvPr id="50" name="Bilde 81" descr="Et bilde som inneholder tegning&#10;&#10;Automatisk generert beskrivelse">
                <a:extLst>
                  <a:ext uri="{FF2B5EF4-FFF2-40B4-BE49-F238E27FC236}">
                    <a16:creationId xmlns:a16="http://schemas.microsoft.com/office/drawing/2014/main" id="{4D9E8DE9-2F3D-6A99-E537-E94AC7C5E41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036897" y="2319487"/>
                <a:ext cx="563418" cy="281411"/>
              </a:xfrm>
              <a:prstGeom prst="rect">
                <a:avLst/>
              </a:prstGeom>
            </p:spPr>
          </p:pic>
          <p:pic>
            <p:nvPicPr>
              <p:cNvPr id="51" name="Bilde 73" descr="Et bilde som inneholder tegning&#10;&#10;Automatisk generert beskrivelse">
                <a:extLst>
                  <a:ext uri="{FF2B5EF4-FFF2-40B4-BE49-F238E27FC236}">
                    <a16:creationId xmlns:a16="http://schemas.microsoft.com/office/drawing/2014/main" id="{239EAEC1-523B-10EF-F543-27131A6334B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496848" y="2383218"/>
                <a:ext cx="649683" cy="153948"/>
              </a:xfrm>
              <a:prstGeom prst="rect">
                <a:avLst/>
              </a:prstGeom>
            </p:spPr>
          </p:pic>
          <p:pic>
            <p:nvPicPr>
              <p:cNvPr id="52" name="Bilde 82" descr="Et bilde som inneholder tegning&#10;&#10;Automatisk generert beskrivelse">
                <a:extLst>
                  <a:ext uri="{FF2B5EF4-FFF2-40B4-BE49-F238E27FC236}">
                    <a16:creationId xmlns:a16="http://schemas.microsoft.com/office/drawing/2014/main" id="{06E1DE13-D4F9-3453-033E-5E2EE0FEF9B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869893" y="2370847"/>
                <a:ext cx="357377" cy="178690"/>
              </a:xfrm>
              <a:prstGeom prst="rect">
                <a:avLst/>
              </a:prstGeom>
            </p:spPr>
          </p:pic>
        </p:grpSp>
        <p:grpSp>
          <p:nvGrpSpPr>
            <p:cNvPr id="35" name="Group 34">
              <a:extLst>
                <a:ext uri="{FF2B5EF4-FFF2-40B4-BE49-F238E27FC236}">
                  <a16:creationId xmlns:a16="http://schemas.microsoft.com/office/drawing/2014/main" id="{94C337D6-938C-A1EF-832C-BACEE764766E}"/>
                </a:ext>
              </a:extLst>
            </p:cNvPr>
            <p:cNvGrpSpPr/>
            <p:nvPr/>
          </p:nvGrpSpPr>
          <p:grpSpPr>
            <a:xfrm>
              <a:off x="9036573" y="2937323"/>
              <a:ext cx="2126202" cy="213584"/>
              <a:chOff x="9036573" y="2769018"/>
              <a:chExt cx="2126202" cy="213584"/>
            </a:xfrm>
          </p:grpSpPr>
          <p:pic>
            <p:nvPicPr>
              <p:cNvPr id="48" name="Bilde 87" descr="Et bilde som inneholder klokke, tegning&#10;&#10;Automatisk generert beskrivelse">
                <a:extLst>
                  <a:ext uri="{FF2B5EF4-FFF2-40B4-BE49-F238E27FC236}">
                    <a16:creationId xmlns:a16="http://schemas.microsoft.com/office/drawing/2014/main" id="{56C19A93-E50D-80F2-1F7D-DEA6788C0C3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036573" y="2769018"/>
                <a:ext cx="935395" cy="213584"/>
              </a:xfrm>
              <a:prstGeom prst="rect">
                <a:avLst/>
              </a:prstGeom>
            </p:spPr>
          </p:pic>
          <p:pic>
            <p:nvPicPr>
              <p:cNvPr id="49" name="Bilde 85" descr="Et bilde som inneholder tegning&#10;&#10;Automatisk generert beskrivelse">
                <a:extLst>
                  <a:ext uri="{FF2B5EF4-FFF2-40B4-BE49-F238E27FC236}">
                    <a16:creationId xmlns:a16="http://schemas.microsoft.com/office/drawing/2014/main" id="{175AA9F0-3F53-C491-EE23-21D1ABB8B91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249330" y="2784189"/>
                <a:ext cx="913445" cy="183242"/>
              </a:xfrm>
              <a:prstGeom prst="rect">
                <a:avLst/>
              </a:prstGeom>
            </p:spPr>
          </p:pic>
        </p:grpSp>
        <p:grpSp>
          <p:nvGrpSpPr>
            <p:cNvPr id="37" name="Group 36">
              <a:extLst>
                <a:ext uri="{FF2B5EF4-FFF2-40B4-BE49-F238E27FC236}">
                  <a16:creationId xmlns:a16="http://schemas.microsoft.com/office/drawing/2014/main" id="{25AE42C1-4B70-298B-E179-8D03FFD558BC}"/>
                </a:ext>
              </a:extLst>
            </p:cNvPr>
            <p:cNvGrpSpPr/>
            <p:nvPr/>
          </p:nvGrpSpPr>
          <p:grpSpPr>
            <a:xfrm>
              <a:off x="9036573" y="3344735"/>
              <a:ext cx="2123729" cy="233462"/>
              <a:chOff x="9036573" y="3186599"/>
              <a:chExt cx="2123729" cy="233462"/>
            </a:xfrm>
          </p:grpSpPr>
          <p:pic>
            <p:nvPicPr>
              <p:cNvPr id="46" name="Picture 45">
                <a:extLst>
                  <a:ext uri="{FF2B5EF4-FFF2-40B4-BE49-F238E27FC236}">
                    <a16:creationId xmlns:a16="http://schemas.microsoft.com/office/drawing/2014/main" id="{32517A57-CB6A-3137-2DF6-C772BE4D8A0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925453" y="3186599"/>
                <a:ext cx="1234849" cy="233462"/>
              </a:xfrm>
              <a:prstGeom prst="rect">
                <a:avLst/>
              </a:prstGeom>
            </p:spPr>
          </p:pic>
          <p:pic>
            <p:nvPicPr>
              <p:cNvPr id="47" name="Bilde 90" descr="Et bilde som inneholder tegning&#10;&#10;Automatisk generert beskrivelse">
                <a:extLst>
                  <a:ext uri="{FF2B5EF4-FFF2-40B4-BE49-F238E27FC236}">
                    <a16:creationId xmlns:a16="http://schemas.microsoft.com/office/drawing/2014/main" id="{3D36DC3C-2077-0052-F2D6-ADFF15C6B78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036573" y="3198684"/>
                <a:ext cx="582380" cy="209292"/>
              </a:xfrm>
              <a:prstGeom prst="rect">
                <a:avLst/>
              </a:prstGeom>
            </p:spPr>
          </p:pic>
        </p:grpSp>
        <p:pic>
          <p:nvPicPr>
            <p:cNvPr id="38" name="Graphic 37">
              <a:extLst>
                <a:ext uri="{FF2B5EF4-FFF2-40B4-BE49-F238E27FC236}">
                  <a16:creationId xmlns:a16="http://schemas.microsoft.com/office/drawing/2014/main" id="{A15029D0-4D4C-5D13-EB42-729ACF8AEBE0}"/>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127158" y="5464087"/>
              <a:ext cx="1988184" cy="483440"/>
            </a:xfrm>
            <a:prstGeom prst="rect">
              <a:avLst/>
            </a:prstGeom>
          </p:spPr>
        </p:pic>
        <p:sp>
          <p:nvSpPr>
            <p:cNvPr id="39" name="TextBox 38">
              <a:extLst>
                <a:ext uri="{FF2B5EF4-FFF2-40B4-BE49-F238E27FC236}">
                  <a16:creationId xmlns:a16="http://schemas.microsoft.com/office/drawing/2014/main" id="{A76814F7-B9E2-7DEF-F7BB-56DEF41CE0AE}"/>
                </a:ext>
              </a:extLst>
            </p:cNvPr>
            <p:cNvSpPr txBox="1"/>
            <p:nvPr/>
          </p:nvSpPr>
          <p:spPr>
            <a:xfrm>
              <a:off x="8640694" y="1554096"/>
              <a:ext cx="2961112"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a:t>
              </a:r>
              <a:endParaRPr kumimoji="0" lang="en-US" sz="800" b="0" i="1"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40" name="TextBox 39">
              <a:extLst>
                <a:ext uri="{FF2B5EF4-FFF2-40B4-BE49-F238E27FC236}">
                  <a16:creationId xmlns:a16="http://schemas.microsoft.com/office/drawing/2014/main" id="{8A13B925-C3D6-D00B-62A6-613AA4C60343}"/>
                </a:ext>
              </a:extLst>
            </p:cNvPr>
            <p:cNvSpPr txBox="1"/>
            <p:nvPr/>
          </p:nvSpPr>
          <p:spPr>
            <a:xfrm>
              <a:off x="9127158" y="4883453"/>
              <a:ext cx="1988184"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1E1E50"/>
                  </a:solidFill>
                  <a:effectLst/>
                  <a:uLnTx/>
                  <a:uFillTx/>
                  <a:latin typeface="Helvetica" pitchFamily="2" charset="0"/>
                  <a:ea typeface="+mn-ea"/>
                  <a:cs typeface="+mn-cs"/>
                </a:rPr>
                <a:t>Thank you for shopping with StrongPoint</a:t>
              </a:r>
            </a:p>
          </p:txBody>
        </p:sp>
        <p:sp>
          <p:nvSpPr>
            <p:cNvPr id="41" name="TextBox 40">
              <a:extLst>
                <a:ext uri="{FF2B5EF4-FFF2-40B4-BE49-F238E27FC236}">
                  <a16:creationId xmlns:a16="http://schemas.microsoft.com/office/drawing/2014/main" id="{527899CB-9E9B-838B-6BB9-79475F103CD3}"/>
                </a:ext>
              </a:extLst>
            </p:cNvPr>
            <p:cNvSpPr txBox="1"/>
            <p:nvPr/>
          </p:nvSpPr>
          <p:spPr>
            <a:xfrm>
              <a:off x="8640694" y="4663932"/>
              <a:ext cx="2961112"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a:t>
              </a:r>
              <a:endParaRPr kumimoji="0" lang="en-US" sz="800" b="0" i="1"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pic>
          <p:nvPicPr>
            <p:cNvPr id="42" name="Picture 2">
              <a:extLst>
                <a:ext uri="{FF2B5EF4-FFF2-40B4-BE49-F238E27FC236}">
                  <a16:creationId xmlns:a16="http://schemas.microsoft.com/office/drawing/2014/main" id="{5140D617-0110-18A4-2478-64479AB19FC3}"/>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9011762" y="3772025"/>
              <a:ext cx="2193567" cy="311613"/>
            </a:xfrm>
            <a:prstGeom prst="rect">
              <a:avLst/>
            </a:prstGeom>
            <a:noFill/>
            <a:extLst>
              <a:ext uri="{909E8E84-426E-40DD-AFC4-6F175D3DCCD1}">
                <a14:hiddenFill xmlns:a14="http://schemas.microsoft.com/office/drawing/2010/main">
                  <a:solidFill>
                    <a:srgbClr val="FFFFFF"/>
                  </a:solidFill>
                </a14:hiddenFill>
              </a:ext>
            </a:extLst>
          </p:spPr>
        </p:pic>
        <p:grpSp>
          <p:nvGrpSpPr>
            <p:cNvPr id="43" name="Group 42">
              <a:extLst>
                <a:ext uri="{FF2B5EF4-FFF2-40B4-BE49-F238E27FC236}">
                  <a16:creationId xmlns:a16="http://schemas.microsoft.com/office/drawing/2014/main" id="{98E2F9F3-6093-231A-A75D-DB41ADF00055}"/>
                </a:ext>
              </a:extLst>
            </p:cNvPr>
            <p:cNvGrpSpPr/>
            <p:nvPr/>
          </p:nvGrpSpPr>
          <p:grpSpPr>
            <a:xfrm>
              <a:off x="9036573" y="1722507"/>
              <a:ext cx="2203823" cy="545749"/>
              <a:chOff x="9036573" y="1722507"/>
              <a:chExt cx="2203823" cy="545749"/>
            </a:xfrm>
          </p:grpSpPr>
          <p:pic>
            <p:nvPicPr>
              <p:cNvPr id="44" name="Bilde 96" descr="Et bilde som inneholder tegning&#10;&#10;Automatisk generert beskrivelse">
                <a:extLst>
                  <a:ext uri="{FF2B5EF4-FFF2-40B4-BE49-F238E27FC236}">
                    <a16:creationId xmlns:a16="http://schemas.microsoft.com/office/drawing/2014/main" id="{FFD93CB9-FA5D-1FA5-9DAC-AD9BB1B5E516}"/>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10381261" y="1722507"/>
                <a:ext cx="859135" cy="545749"/>
              </a:xfrm>
              <a:prstGeom prst="rect">
                <a:avLst/>
              </a:prstGeom>
            </p:spPr>
          </p:pic>
          <p:pic>
            <p:nvPicPr>
              <p:cNvPr id="45" name="Picture 44" descr="A red white and blue letter a&#10;&#10;Description automatically generated">
                <a:extLst>
                  <a:ext uri="{FF2B5EF4-FFF2-40B4-BE49-F238E27FC236}">
                    <a16:creationId xmlns:a16="http://schemas.microsoft.com/office/drawing/2014/main" id="{EFE1C238-A8CB-30D6-8826-FAB0B56BFC54}"/>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9036573" y="1906036"/>
                <a:ext cx="1212757" cy="178691"/>
              </a:xfrm>
              <a:prstGeom prst="rect">
                <a:avLst/>
              </a:prstGeom>
            </p:spPr>
          </p:pic>
        </p:grpSp>
      </p:grpSp>
    </p:spTree>
    <p:extLst>
      <p:ext uri="{BB962C8B-B14F-4D97-AF65-F5344CB8AC3E}">
        <p14:creationId xmlns:p14="http://schemas.microsoft.com/office/powerpoint/2010/main" val="15364752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A14AC58-5C5D-245C-4E26-C1F62B55674D}"/>
              </a:ext>
            </a:extLst>
          </p:cNvPr>
          <p:cNvGraphicFramePr>
            <a:graphicFrameLocks noChangeAspect="1"/>
          </p:cNvGraphicFramePr>
          <p:nvPr>
            <p:custDataLst>
              <p:tags r:id="rId1"/>
            </p:custDataLst>
            <p:extLst>
              <p:ext uri="{D42A27DB-BD31-4B8C-83A1-F6EECF244321}">
                <p14:modId xmlns:p14="http://schemas.microsoft.com/office/powerpoint/2010/main" val="4014821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A14AC58-5C5D-245C-4E26-C1F62B55674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4C38FE-9D5C-9CA7-1685-EBD585E21217}"/>
              </a:ext>
            </a:extLst>
          </p:cNvPr>
          <p:cNvSpPr>
            <a:spLocks noGrp="1"/>
          </p:cNvSpPr>
          <p:nvPr>
            <p:ph type="title"/>
          </p:nvPr>
        </p:nvSpPr>
        <p:spPr>
          <a:xfrm>
            <a:off x="459708" y="296836"/>
            <a:ext cx="6321883" cy="1036620"/>
          </a:xfrm>
        </p:spPr>
        <p:txBody>
          <a:bodyPr vert="horz">
            <a:noAutofit/>
          </a:bodyPr>
          <a:lstStyle/>
          <a:p>
            <a:pPr marL="0" marR="0" lvl="0" indent="0" defTabSz="914400" rtl="0" eaLnBrk="1" fontAlgn="auto" latinLnBrk="0" hangingPunct="1">
              <a:lnSpc>
                <a:spcPct val="90000"/>
              </a:lnSpc>
              <a:spcBef>
                <a:spcPct val="0"/>
              </a:spcBef>
              <a:spcAft>
                <a:spcPts val="0"/>
              </a:spcAft>
              <a:tabLst/>
              <a:defRPr/>
            </a:pPr>
            <a:r>
              <a:rPr lang="en-NO" sz="3200"/>
              <a:t>Solution portfolio well suited for grocery retailers in core markets</a:t>
            </a:r>
            <a:endParaRPr kumimoji="0" lang="en-US" sz="3200" b="0" i="0" u="none" strike="noStrike" kern="1200" cap="none" spc="0" normalizeH="0" baseline="0" noProof="0">
              <a:ln>
                <a:noFill/>
              </a:ln>
              <a:solidFill>
                <a:srgbClr val="2832DC"/>
              </a:solidFill>
              <a:effectLst/>
              <a:uLnTx/>
              <a:uFillTx/>
              <a:latin typeface="Helvetica Light" panose="020B0403020202020204"/>
              <a:ea typeface="+mj-ea"/>
              <a:cs typeface="+mj-cs"/>
            </a:endParaRPr>
          </a:p>
        </p:txBody>
      </p:sp>
      <p:grpSp>
        <p:nvGrpSpPr>
          <p:cNvPr id="7" name="Group 6">
            <a:extLst>
              <a:ext uri="{FF2B5EF4-FFF2-40B4-BE49-F238E27FC236}">
                <a16:creationId xmlns:a16="http://schemas.microsoft.com/office/drawing/2014/main" id="{CB07CCF4-879A-9EFC-EDE1-2A8A4100A911}"/>
              </a:ext>
            </a:extLst>
          </p:cNvPr>
          <p:cNvGrpSpPr/>
          <p:nvPr/>
        </p:nvGrpSpPr>
        <p:grpSpPr>
          <a:xfrm>
            <a:off x="4934869" y="1516692"/>
            <a:ext cx="3576011" cy="4034101"/>
            <a:chOff x="8442098" y="-912675"/>
            <a:chExt cx="5043547" cy="5689629"/>
          </a:xfrm>
          <a:solidFill>
            <a:schemeClr val="accent6">
              <a:lumMod val="60000"/>
              <a:lumOff val="40000"/>
              <a:alpha val="19000"/>
            </a:schemeClr>
          </a:solidFill>
        </p:grpSpPr>
        <p:sp>
          <p:nvSpPr>
            <p:cNvPr id="8" name="Freeform 22">
              <a:extLst>
                <a:ext uri="{FF2B5EF4-FFF2-40B4-BE49-F238E27FC236}">
                  <a16:creationId xmlns:a16="http://schemas.microsoft.com/office/drawing/2014/main" id="{E71BD22F-3B7B-BBA9-34C8-C665675A4147}"/>
                </a:ext>
              </a:extLst>
            </p:cNvPr>
            <p:cNvSpPr/>
            <p:nvPr/>
          </p:nvSpPr>
          <p:spPr>
            <a:xfrm>
              <a:off x="10920010" y="1994731"/>
              <a:ext cx="957530" cy="865059"/>
            </a:xfrm>
            <a:custGeom>
              <a:avLst/>
              <a:gdLst>
                <a:gd name="connsiteX0" fmla="*/ 2366 w 205001"/>
                <a:gd name="connsiteY0" fmla="*/ 37077 h 185203"/>
                <a:gd name="connsiteX1" fmla="*/ 1901 w 205001"/>
                <a:gd name="connsiteY1" fmla="*/ 61966 h 185203"/>
                <a:gd name="connsiteX2" fmla="*/ 3342 w 205001"/>
                <a:gd name="connsiteY2" fmla="*/ 71485 h 185203"/>
                <a:gd name="connsiteX3" fmla="*/ 8127 w 205001"/>
                <a:gd name="connsiteY3" fmla="*/ 83140 h 185203"/>
                <a:gd name="connsiteX4" fmla="*/ 11007 w 205001"/>
                <a:gd name="connsiteY4" fmla="*/ 95863 h 185203"/>
                <a:gd name="connsiteX5" fmla="*/ 16257 w 205001"/>
                <a:gd name="connsiteY5" fmla="*/ 114948 h 185203"/>
                <a:gd name="connsiteX6" fmla="*/ 16907 w 205001"/>
                <a:gd name="connsiteY6" fmla="*/ 125628 h 185203"/>
                <a:gd name="connsiteX7" fmla="*/ 29404 w 205001"/>
                <a:gd name="connsiteY7" fmla="*/ 133661 h 185203"/>
                <a:gd name="connsiteX8" fmla="*/ 43621 w 205001"/>
                <a:gd name="connsiteY8" fmla="*/ 144712 h 185203"/>
                <a:gd name="connsiteX9" fmla="*/ 55049 w 205001"/>
                <a:gd name="connsiteY9" fmla="*/ 150238 h 185203"/>
                <a:gd name="connsiteX10" fmla="*/ 67128 w 205001"/>
                <a:gd name="connsiteY10" fmla="*/ 147870 h 185203"/>
                <a:gd name="connsiteX11" fmla="*/ 72796 w 205001"/>
                <a:gd name="connsiteY11" fmla="*/ 156553 h 185203"/>
                <a:gd name="connsiteX12" fmla="*/ 87059 w 205001"/>
                <a:gd name="connsiteY12" fmla="*/ 160500 h 185203"/>
                <a:gd name="connsiteX13" fmla="*/ 97001 w 205001"/>
                <a:gd name="connsiteY13" fmla="*/ 174709 h 185203"/>
                <a:gd name="connsiteX14" fmla="*/ 109823 w 205001"/>
                <a:gd name="connsiteY14" fmla="*/ 173130 h 185203"/>
                <a:gd name="connsiteX15" fmla="*/ 128360 w 205001"/>
                <a:gd name="connsiteY15" fmla="*/ 175499 h 185203"/>
                <a:gd name="connsiteX16" fmla="*/ 144713 w 205001"/>
                <a:gd name="connsiteY16" fmla="*/ 177077 h 185203"/>
                <a:gd name="connsiteX17" fmla="*/ 163203 w 205001"/>
                <a:gd name="connsiteY17" fmla="*/ 181814 h 185203"/>
                <a:gd name="connsiteX18" fmla="*/ 175840 w 205001"/>
                <a:gd name="connsiteY18" fmla="*/ 185203 h 185203"/>
                <a:gd name="connsiteX19" fmla="*/ 174957 w 205001"/>
                <a:gd name="connsiteY19" fmla="*/ 169508 h 185203"/>
                <a:gd name="connsiteX20" fmla="*/ 195027 w 205001"/>
                <a:gd name="connsiteY20" fmla="*/ 146709 h 185203"/>
                <a:gd name="connsiteX21" fmla="*/ 204597 w 205001"/>
                <a:gd name="connsiteY21" fmla="*/ 138258 h 185203"/>
                <a:gd name="connsiteX22" fmla="*/ 196003 w 205001"/>
                <a:gd name="connsiteY22" fmla="*/ 114948 h 185203"/>
                <a:gd name="connsiteX23" fmla="*/ 194562 w 205001"/>
                <a:gd name="connsiteY23" fmla="*/ 93727 h 185203"/>
                <a:gd name="connsiteX24" fmla="*/ 187408 w 205001"/>
                <a:gd name="connsiteY24" fmla="*/ 81561 h 185203"/>
                <a:gd name="connsiteX25" fmla="*/ 199858 w 205001"/>
                <a:gd name="connsiteY25" fmla="*/ 69395 h 185203"/>
                <a:gd name="connsiteX26" fmla="*/ 198929 w 205001"/>
                <a:gd name="connsiteY26" fmla="*/ 48732 h 185203"/>
                <a:gd name="connsiteX27" fmla="*/ 195584 w 205001"/>
                <a:gd name="connsiteY27" fmla="*/ 30715 h 185203"/>
                <a:gd name="connsiteX28" fmla="*/ 178860 w 205001"/>
                <a:gd name="connsiteY28" fmla="*/ 17481 h 185203"/>
                <a:gd name="connsiteX29" fmla="*/ 178070 w 205001"/>
                <a:gd name="connsiteY29" fmla="*/ 16367 h 185203"/>
                <a:gd name="connsiteX30" fmla="*/ 121995 w 205001"/>
                <a:gd name="connsiteY30" fmla="*/ 13766 h 185203"/>
                <a:gd name="connsiteX31" fmla="*/ 111077 w 205001"/>
                <a:gd name="connsiteY31" fmla="*/ 9355 h 185203"/>
                <a:gd name="connsiteX32" fmla="*/ 99277 w 205001"/>
                <a:gd name="connsiteY32" fmla="*/ 16088 h 185203"/>
                <a:gd name="connsiteX33" fmla="*/ 89103 w 205001"/>
                <a:gd name="connsiteY33" fmla="*/ 1275 h 185203"/>
                <a:gd name="connsiteX34" fmla="*/ 41902 w 205001"/>
                <a:gd name="connsiteY34" fmla="*/ 16088 h 185203"/>
                <a:gd name="connsiteX35" fmla="*/ 8452 w 205001"/>
                <a:gd name="connsiteY35" fmla="*/ 28811 h 185203"/>
                <a:gd name="connsiteX36" fmla="*/ 2273 w 205001"/>
                <a:gd name="connsiteY36" fmla="*/ 34198 h 185203"/>
                <a:gd name="connsiteX37" fmla="*/ 2366 w 205001"/>
                <a:gd name="connsiteY37" fmla="*/ 37123 h 185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5001" h="185203">
                  <a:moveTo>
                    <a:pt x="2366" y="37077"/>
                  </a:moveTo>
                  <a:cubicBezTo>
                    <a:pt x="3806" y="41302"/>
                    <a:pt x="5247" y="56161"/>
                    <a:pt x="1901" y="61966"/>
                  </a:cubicBezTo>
                  <a:cubicBezTo>
                    <a:pt x="-1443" y="67770"/>
                    <a:pt x="-3" y="69395"/>
                    <a:pt x="3342" y="71485"/>
                  </a:cubicBezTo>
                  <a:cubicBezTo>
                    <a:pt x="6687" y="73621"/>
                    <a:pt x="8127" y="78914"/>
                    <a:pt x="8127" y="83140"/>
                  </a:cubicBezTo>
                  <a:cubicBezTo>
                    <a:pt x="8127" y="87365"/>
                    <a:pt x="10496" y="86855"/>
                    <a:pt x="11007" y="95863"/>
                  </a:cubicBezTo>
                  <a:cubicBezTo>
                    <a:pt x="11472" y="104871"/>
                    <a:pt x="13377" y="111233"/>
                    <a:pt x="16257" y="114948"/>
                  </a:cubicBezTo>
                  <a:cubicBezTo>
                    <a:pt x="18487" y="117827"/>
                    <a:pt x="18069" y="122284"/>
                    <a:pt x="16907" y="125628"/>
                  </a:cubicBezTo>
                  <a:cubicBezTo>
                    <a:pt x="20903" y="128924"/>
                    <a:pt x="25409" y="132082"/>
                    <a:pt x="29404" y="133661"/>
                  </a:cubicBezTo>
                  <a:cubicBezTo>
                    <a:pt x="39393" y="137608"/>
                    <a:pt x="42970" y="140765"/>
                    <a:pt x="43621" y="144712"/>
                  </a:cubicBezTo>
                  <a:cubicBezTo>
                    <a:pt x="44364" y="148659"/>
                    <a:pt x="52912" y="155764"/>
                    <a:pt x="55049" y="150238"/>
                  </a:cubicBezTo>
                  <a:cubicBezTo>
                    <a:pt x="57186" y="144712"/>
                    <a:pt x="62854" y="147870"/>
                    <a:pt x="67128" y="147870"/>
                  </a:cubicBezTo>
                  <a:cubicBezTo>
                    <a:pt x="71403" y="147870"/>
                    <a:pt x="72146" y="153396"/>
                    <a:pt x="72796" y="156553"/>
                  </a:cubicBezTo>
                  <a:cubicBezTo>
                    <a:pt x="73539" y="159711"/>
                    <a:pt x="83481" y="158132"/>
                    <a:pt x="87059" y="160500"/>
                  </a:cubicBezTo>
                  <a:cubicBezTo>
                    <a:pt x="90590" y="162868"/>
                    <a:pt x="92030" y="171552"/>
                    <a:pt x="97001" y="174709"/>
                  </a:cubicBezTo>
                  <a:cubicBezTo>
                    <a:pt x="102018" y="177867"/>
                    <a:pt x="106246" y="170762"/>
                    <a:pt x="109823" y="173130"/>
                  </a:cubicBezTo>
                  <a:cubicBezTo>
                    <a:pt x="113354" y="175499"/>
                    <a:pt x="122645" y="177867"/>
                    <a:pt x="128360" y="175499"/>
                  </a:cubicBezTo>
                  <a:cubicBezTo>
                    <a:pt x="134028" y="173130"/>
                    <a:pt x="137605" y="177867"/>
                    <a:pt x="144713" y="177077"/>
                  </a:cubicBezTo>
                  <a:cubicBezTo>
                    <a:pt x="151821" y="176288"/>
                    <a:pt x="161113" y="179399"/>
                    <a:pt x="163203" y="181814"/>
                  </a:cubicBezTo>
                  <a:cubicBezTo>
                    <a:pt x="164318" y="183067"/>
                    <a:pt x="170358" y="184275"/>
                    <a:pt x="175840" y="185203"/>
                  </a:cubicBezTo>
                  <a:cubicBezTo>
                    <a:pt x="177233" y="181953"/>
                    <a:pt x="174493" y="171969"/>
                    <a:pt x="174957" y="169508"/>
                  </a:cubicBezTo>
                  <a:cubicBezTo>
                    <a:pt x="175421" y="166862"/>
                    <a:pt x="192193" y="150424"/>
                    <a:pt x="195027" y="146709"/>
                  </a:cubicBezTo>
                  <a:cubicBezTo>
                    <a:pt x="197907" y="142994"/>
                    <a:pt x="202228" y="142994"/>
                    <a:pt x="204597" y="138258"/>
                  </a:cubicBezTo>
                  <a:cubicBezTo>
                    <a:pt x="207013" y="133475"/>
                    <a:pt x="197907" y="118105"/>
                    <a:pt x="196003" y="114948"/>
                  </a:cubicBezTo>
                  <a:cubicBezTo>
                    <a:pt x="194098" y="111790"/>
                    <a:pt x="193122" y="99067"/>
                    <a:pt x="194562" y="93727"/>
                  </a:cubicBezTo>
                  <a:cubicBezTo>
                    <a:pt x="196003" y="88433"/>
                    <a:pt x="187408" y="85276"/>
                    <a:pt x="187408" y="81561"/>
                  </a:cubicBezTo>
                  <a:cubicBezTo>
                    <a:pt x="187408" y="77846"/>
                    <a:pt x="195538" y="71485"/>
                    <a:pt x="199858" y="69395"/>
                  </a:cubicBezTo>
                  <a:cubicBezTo>
                    <a:pt x="204179" y="67259"/>
                    <a:pt x="202739" y="52446"/>
                    <a:pt x="198929" y="48732"/>
                  </a:cubicBezTo>
                  <a:cubicBezTo>
                    <a:pt x="195073" y="45017"/>
                    <a:pt x="193168" y="38145"/>
                    <a:pt x="195584" y="30715"/>
                  </a:cubicBezTo>
                  <a:cubicBezTo>
                    <a:pt x="197954" y="23285"/>
                    <a:pt x="181229" y="17481"/>
                    <a:pt x="178860" y="17481"/>
                  </a:cubicBezTo>
                  <a:cubicBezTo>
                    <a:pt x="178441" y="17481"/>
                    <a:pt x="178209" y="17017"/>
                    <a:pt x="178070" y="16367"/>
                  </a:cubicBezTo>
                  <a:cubicBezTo>
                    <a:pt x="163110" y="19431"/>
                    <a:pt x="124876" y="15020"/>
                    <a:pt x="121995" y="13766"/>
                  </a:cubicBezTo>
                  <a:cubicBezTo>
                    <a:pt x="120090" y="12930"/>
                    <a:pt x="115259" y="11027"/>
                    <a:pt x="111077" y="9355"/>
                  </a:cubicBezTo>
                  <a:cubicBezTo>
                    <a:pt x="109173" y="12838"/>
                    <a:pt x="105224" y="16088"/>
                    <a:pt x="99277" y="16088"/>
                  </a:cubicBezTo>
                  <a:cubicBezTo>
                    <a:pt x="90032" y="16088"/>
                    <a:pt x="89382" y="5826"/>
                    <a:pt x="89103" y="1275"/>
                  </a:cubicBezTo>
                  <a:cubicBezTo>
                    <a:pt x="88778" y="-3322"/>
                    <a:pt x="51797" y="5176"/>
                    <a:pt x="41902" y="16088"/>
                  </a:cubicBezTo>
                  <a:cubicBezTo>
                    <a:pt x="32053" y="27047"/>
                    <a:pt x="9056" y="22775"/>
                    <a:pt x="8452" y="28811"/>
                  </a:cubicBezTo>
                  <a:cubicBezTo>
                    <a:pt x="7987" y="33176"/>
                    <a:pt x="4550" y="35451"/>
                    <a:pt x="2273" y="34198"/>
                  </a:cubicBezTo>
                  <a:cubicBezTo>
                    <a:pt x="2134" y="35266"/>
                    <a:pt x="2087" y="36241"/>
                    <a:pt x="2366" y="37123"/>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9" name="Freeform 26">
              <a:extLst>
                <a:ext uri="{FF2B5EF4-FFF2-40B4-BE49-F238E27FC236}">
                  <a16:creationId xmlns:a16="http://schemas.microsoft.com/office/drawing/2014/main" id="{B80B2410-C8EB-67CE-9C1A-500A63E3FE56}"/>
                </a:ext>
              </a:extLst>
            </p:cNvPr>
            <p:cNvSpPr/>
            <p:nvPr/>
          </p:nvSpPr>
          <p:spPr>
            <a:xfrm>
              <a:off x="10468637" y="2873246"/>
              <a:ext cx="741045" cy="372831"/>
            </a:xfrm>
            <a:custGeom>
              <a:avLst/>
              <a:gdLst>
                <a:gd name="connsiteX0" fmla="*/ 133845 w 158653"/>
                <a:gd name="connsiteY0" fmla="*/ 7105 h 79821"/>
                <a:gd name="connsiteX1" fmla="*/ 113915 w 158653"/>
                <a:gd name="connsiteY1" fmla="*/ 0 h 79821"/>
                <a:gd name="connsiteX2" fmla="*/ 110337 w 158653"/>
                <a:gd name="connsiteY2" fmla="*/ 11051 h 79821"/>
                <a:gd name="connsiteX3" fmla="*/ 91568 w 158653"/>
                <a:gd name="connsiteY3" fmla="*/ 12305 h 79821"/>
                <a:gd name="connsiteX4" fmla="*/ 79861 w 158653"/>
                <a:gd name="connsiteY4" fmla="*/ 21128 h 79821"/>
                <a:gd name="connsiteX5" fmla="*/ 71266 w 158653"/>
                <a:gd name="connsiteY5" fmla="*/ 35940 h 79821"/>
                <a:gd name="connsiteX6" fmla="*/ 62672 w 158653"/>
                <a:gd name="connsiteY6" fmla="*/ 42813 h 79821"/>
                <a:gd name="connsiteX7" fmla="*/ 40651 w 158653"/>
                <a:gd name="connsiteY7" fmla="*/ 47549 h 79821"/>
                <a:gd name="connsiteX8" fmla="*/ 28200 w 158653"/>
                <a:gd name="connsiteY8" fmla="*/ 48617 h 79821"/>
                <a:gd name="connsiteX9" fmla="*/ 15285 w 158653"/>
                <a:gd name="connsiteY9" fmla="*/ 50707 h 79821"/>
                <a:gd name="connsiteX10" fmla="*/ 2834 w 158653"/>
                <a:gd name="connsiteY10" fmla="*/ 46992 h 79821"/>
                <a:gd name="connsiteX11" fmla="*/ 418 w 158653"/>
                <a:gd name="connsiteY11" fmla="*/ 59715 h 79821"/>
                <a:gd name="connsiteX12" fmla="*/ 11429 w 158653"/>
                <a:gd name="connsiteY12" fmla="*/ 66077 h 79821"/>
                <a:gd name="connsiteX13" fmla="*/ 24809 w 158653"/>
                <a:gd name="connsiteY13" fmla="*/ 69234 h 79821"/>
                <a:gd name="connsiteX14" fmla="*/ 38188 w 158653"/>
                <a:gd name="connsiteY14" fmla="*/ 64451 h 79821"/>
                <a:gd name="connsiteX15" fmla="*/ 55424 w 158653"/>
                <a:gd name="connsiteY15" fmla="*/ 61805 h 79821"/>
                <a:gd name="connsiteX16" fmla="*/ 59745 w 158653"/>
                <a:gd name="connsiteY16" fmla="*/ 71881 h 79821"/>
                <a:gd name="connsiteX17" fmla="*/ 79350 w 158653"/>
                <a:gd name="connsiteY17" fmla="*/ 75039 h 79821"/>
                <a:gd name="connsiteX18" fmla="*/ 103276 w 158653"/>
                <a:gd name="connsiteY18" fmla="*/ 79821 h 79821"/>
                <a:gd name="connsiteX19" fmla="*/ 121906 w 158653"/>
                <a:gd name="connsiteY19" fmla="*/ 72392 h 79821"/>
                <a:gd name="connsiteX20" fmla="*/ 136726 w 158653"/>
                <a:gd name="connsiteY20" fmla="*/ 67098 h 79821"/>
                <a:gd name="connsiteX21" fmla="*/ 136818 w 158653"/>
                <a:gd name="connsiteY21" fmla="*/ 67191 h 79821"/>
                <a:gd name="connsiteX22" fmla="*/ 140303 w 158653"/>
                <a:gd name="connsiteY22" fmla="*/ 61573 h 79821"/>
                <a:gd name="connsiteX23" fmla="*/ 143787 w 158653"/>
                <a:gd name="connsiteY23" fmla="*/ 51078 h 79821"/>
                <a:gd name="connsiteX24" fmla="*/ 146296 w 158653"/>
                <a:gd name="connsiteY24" fmla="*/ 41698 h 79821"/>
                <a:gd name="connsiteX25" fmla="*/ 155773 w 158653"/>
                <a:gd name="connsiteY25" fmla="*/ 35616 h 79821"/>
                <a:gd name="connsiteX26" fmla="*/ 158654 w 158653"/>
                <a:gd name="connsiteY26" fmla="*/ 29254 h 79821"/>
                <a:gd name="connsiteX27" fmla="*/ 150198 w 158653"/>
                <a:gd name="connsiteY27" fmla="*/ 9380 h 79821"/>
                <a:gd name="connsiteX28" fmla="*/ 133799 w 158653"/>
                <a:gd name="connsiteY28" fmla="*/ 7012 h 7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8653" h="79821">
                  <a:moveTo>
                    <a:pt x="133845" y="7105"/>
                  </a:moveTo>
                  <a:cubicBezTo>
                    <a:pt x="128177" y="0"/>
                    <a:pt x="113915" y="0"/>
                    <a:pt x="113915" y="0"/>
                  </a:cubicBezTo>
                  <a:cubicBezTo>
                    <a:pt x="113915" y="0"/>
                    <a:pt x="112474" y="7105"/>
                    <a:pt x="110337" y="11051"/>
                  </a:cubicBezTo>
                  <a:cubicBezTo>
                    <a:pt x="108526" y="14348"/>
                    <a:pt x="98212" y="14302"/>
                    <a:pt x="91568" y="12305"/>
                  </a:cubicBezTo>
                  <a:cubicBezTo>
                    <a:pt x="89664" y="15045"/>
                    <a:pt x="81069" y="17181"/>
                    <a:pt x="79861" y="21128"/>
                  </a:cubicBezTo>
                  <a:cubicBezTo>
                    <a:pt x="78421" y="25911"/>
                    <a:pt x="67921" y="23264"/>
                    <a:pt x="71266" y="35940"/>
                  </a:cubicBezTo>
                  <a:cubicBezTo>
                    <a:pt x="74611" y="48664"/>
                    <a:pt x="66017" y="44438"/>
                    <a:pt x="62672" y="42813"/>
                  </a:cubicBezTo>
                  <a:cubicBezTo>
                    <a:pt x="59327" y="41234"/>
                    <a:pt x="44507" y="43324"/>
                    <a:pt x="40651" y="47549"/>
                  </a:cubicBezTo>
                  <a:cubicBezTo>
                    <a:pt x="36841" y="51775"/>
                    <a:pt x="31545" y="50707"/>
                    <a:pt x="28200" y="48617"/>
                  </a:cubicBezTo>
                  <a:cubicBezTo>
                    <a:pt x="24855" y="46481"/>
                    <a:pt x="18165" y="45460"/>
                    <a:pt x="15285" y="50707"/>
                  </a:cubicBezTo>
                  <a:cubicBezTo>
                    <a:pt x="12404" y="56000"/>
                    <a:pt x="7155" y="46481"/>
                    <a:pt x="2834" y="46992"/>
                  </a:cubicBezTo>
                  <a:cubicBezTo>
                    <a:pt x="-1486" y="47503"/>
                    <a:pt x="418" y="57579"/>
                    <a:pt x="418" y="59715"/>
                  </a:cubicBezTo>
                  <a:cubicBezTo>
                    <a:pt x="418" y="61851"/>
                    <a:pt x="7108" y="68166"/>
                    <a:pt x="11429" y="66077"/>
                  </a:cubicBezTo>
                  <a:cubicBezTo>
                    <a:pt x="15749" y="63941"/>
                    <a:pt x="20999" y="66587"/>
                    <a:pt x="24809" y="69234"/>
                  </a:cubicBezTo>
                  <a:cubicBezTo>
                    <a:pt x="28618" y="71881"/>
                    <a:pt x="35819" y="67098"/>
                    <a:pt x="38188" y="64451"/>
                  </a:cubicBezTo>
                  <a:cubicBezTo>
                    <a:pt x="40604" y="61805"/>
                    <a:pt x="53984" y="61805"/>
                    <a:pt x="55424" y="61805"/>
                  </a:cubicBezTo>
                  <a:cubicBezTo>
                    <a:pt x="56865" y="61805"/>
                    <a:pt x="57329" y="70302"/>
                    <a:pt x="59745" y="71881"/>
                  </a:cubicBezTo>
                  <a:cubicBezTo>
                    <a:pt x="62114" y="73460"/>
                    <a:pt x="71220" y="74528"/>
                    <a:pt x="79350" y="75039"/>
                  </a:cubicBezTo>
                  <a:cubicBezTo>
                    <a:pt x="87480" y="75549"/>
                    <a:pt x="99420" y="79821"/>
                    <a:pt x="103276" y="79821"/>
                  </a:cubicBezTo>
                  <a:cubicBezTo>
                    <a:pt x="107132" y="79821"/>
                    <a:pt x="113311" y="72392"/>
                    <a:pt x="121906" y="72392"/>
                  </a:cubicBezTo>
                  <a:cubicBezTo>
                    <a:pt x="130500" y="72392"/>
                    <a:pt x="135285" y="66587"/>
                    <a:pt x="136726" y="67098"/>
                  </a:cubicBezTo>
                  <a:cubicBezTo>
                    <a:pt x="136726" y="67098"/>
                    <a:pt x="136772" y="67145"/>
                    <a:pt x="136818" y="67191"/>
                  </a:cubicBezTo>
                  <a:cubicBezTo>
                    <a:pt x="137422" y="64219"/>
                    <a:pt x="138445" y="61851"/>
                    <a:pt x="140303" y="61573"/>
                  </a:cubicBezTo>
                  <a:cubicBezTo>
                    <a:pt x="143787" y="61015"/>
                    <a:pt x="141278" y="54375"/>
                    <a:pt x="143787" y="51078"/>
                  </a:cubicBezTo>
                  <a:cubicBezTo>
                    <a:pt x="146296" y="47781"/>
                    <a:pt x="141789" y="41141"/>
                    <a:pt x="146296" y="41698"/>
                  </a:cubicBezTo>
                  <a:cubicBezTo>
                    <a:pt x="150802" y="42256"/>
                    <a:pt x="155773" y="42813"/>
                    <a:pt x="155773" y="35616"/>
                  </a:cubicBezTo>
                  <a:cubicBezTo>
                    <a:pt x="155773" y="33201"/>
                    <a:pt x="156935" y="31065"/>
                    <a:pt x="158654" y="29254"/>
                  </a:cubicBezTo>
                  <a:cubicBezTo>
                    <a:pt x="153729" y="21592"/>
                    <a:pt x="150198" y="9380"/>
                    <a:pt x="150198" y="9380"/>
                  </a:cubicBezTo>
                  <a:cubicBezTo>
                    <a:pt x="150198" y="9380"/>
                    <a:pt x="139513" y="14116"/>
                    <a:pt x="133799" y="7012"/>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0" name="Freeform 48">
              <a:extLst>
                <a:ext uri="{FF2B5EF4-FFF2-40B4-BE49-F238E27FC236}">
                  <a16:creationId xmlns:a16="http://schemas.microsoft.com/office/drawing/2014/main" id="{E5D348CE-EAAA-76EE-D767-9AFFB8E5BBF8}"/>
                </a:ext>
              </a:extLst>
            </p:cNvPr>
            <p:cNvSpPr/>
            <p:nvPr/>
          </p:nvSpPr>
          <p:spPr>
            <a:xfrm>
              <a:off x="11107702" y="2924722"/>
              <a:ext cx="649579" cy="405303"/>
            </a:xfrm>
            <a:custGeom>
              <a:avLst/>
              <a:gdLst>
                <a:gd name="connsiteX0" fmla="*/ 135332 w 139071"/>
                <a:gd name="connsiteY0" fmla="*/ 15957 h 86773"/>
                <a:gd name="connsiteX1" fmla="*/ 130268 w 139071"/>
                <a:gd name="connsiteY1" fmla="*/ 12521 h 86773"/>
                <a:gd name="connsiteX2" fmla="*/ 116702 w 139071"/>
                <a:gd name="connsiteY2" fmla="*/ 7135 h 86773"/>
                <a:gd name="connsiteX3" fmla="*/ 96772 w 139071"/>
                <a:gd name="connsiteY3" fmla="*/ 30 h 86773"/>
                <a:gd name="connsiteX4" fmla="*/ 76795 w 139071"/>
                <a:gd name="connsiteY4" fmla="*/ 14239 h 86773"/>
                <a:gd name="connsiteX5" fmla="*/ 53984 w 139071"/>
                <a:gd name="connsiteY5" fmla="*/ 22133 h 86773"/>
                <a:gd name="connsiteX6" fmla="*/ 24762 w 139071"/>
                <a:gd name="connsiteY6" fmla="*/ 22133 h 86773"/>
                <a:gd name="connsiteX7" fmla="*/ 21835 w 139071"/>
                <a:gd name="connsiteY7" fmla="*/ 18372 h 86773"/>
                <a:gd name="connsiteX8" fmla="*/ 18955 w 139071"/>
                <a:gd name="connsiteY8" fmla="*/ 24733 h 86773"/>
                <a:gd name="connsiteX9" fmla="*/ 9478 w 139071"/>
                <a:gd name="connsiteY9" fmla="*/ 30816 h 86773"/>
                <a:gd name="connsiteX10" fmla="*/ 6969 w 139071"/>
                <a:gd name="connsiteY10" fmla="*/ 40196 h 86773"/>
                <a:gd name="connsiteX11" fmla="*/ 3484 w 139071"/>
                <a:gd name="connsiteY11" fmla="*/ 50690 h 86773"/>
                <a:gd name="connsiteX12" fmla="*/ 0 w 139071"/>
                <a:gd name="connsiteY12" fmla="*/ 56309 h 86773"/>
                <a:gd name="connsiteX13" fmla="*/ 5157 w 139071"/>
                <a:gd name="connsiteY13" fmla="*/ 65225 h 86773"/>
                <a:gd name="connsiteX14" fmla="*/ 4646 w 139071"/>
                <a:gd name="connsiteY14" fmla="*/ 65735 h 86773"/>
                <a:gd name="connsiteX15" fmla="*/ 22578 w 139071"/>
                <a:gd name="connsiteY15" fmla="*/ 80548 h 86773"/>
                <a:gd name="connsiteX16" fmla="*/ 44646 w 139071"/>
                <a:gd name="connsiteY16" fmla="*/ 86074 h 86773"/>
                <a:gd name="connsiteX17" fmla="*/ 74565 w 139071"/>
                <a:gd name="connsiteY17" fmla="*/ 75812 h 86773"/>
                <a:gd name="connsiteX18" fmla="*/ 83810 w 139071"/>
                <a:gd name="connsiteY18" fmla="*/ 78969 h 86773"/>
                <a:gd name="connsiteX19" fmla="*/ 89896 w 139071"/>
                <a:gd name="connsiteY19" fmla="*/ 80084 h 86773"/>
                <a:gd name="connsiteX20" fmla="*/ 102718 w 139071"/>
                <a:gd name="connsiteY20" fmla="*/ 70054 h 86773"/>
                <a:gd name="connsiteX21" fmla="*/ 122324 w 139071"/>
                <a:gd name="connsiteY21" fmla="*/ 34020 h 86773"/>
                <a:gd name="connsiteX22" fmla="*/ 136679 w 139071"/>
                <a:gd name="connsiteY22" fmla="*/ 23944 h 86773"/>
                <a:gd name="connsiteX23" fmla="*/ 135239 w 139071"/>
                <a:gd name="connsiteY23" fmla="*/ 16004 h 8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9071" h="86773">
                  <a:moveTo>
                    <a:pt x="135332" y="15957"/>
                  </a:moveTo>
                  <a:cubicBezTo>
                    <a:pt x="133659" y="15354"/>
                    <a:pt x="131847" y="14100"/>
                    <a:pt x="130268" y="12521"/>
                  </a:cubicBezTo>
                  <a:cubicBezTo>
                    <a:pt x="124275" y="11035"/>
                    <a:pt x="118468" y="9085"/>
                    <a:pt x="116702" y="7135"/>
                  </a:cubicBezTo>
                  <a:cubicBezTo>
                    <a:pt x="113171" y="3188"/>
                    <a:pt x="98909" y="820"/>
                    <a:pt x="96772" y="30"/>
                  </a:cubicBezTo>
                  <a:cubicBezTo>
                    <a:pt x="94635" y="-759"/>
                    <a:pt x="81116" y="14239"/>
                    <a:pt x="76795" y="14239"/>
                  </a:cubicBezTo>
                  <a:cubicBezTo>
                    <a:pt x="72474" y="14239"/>
                    <a:pt x="53984" y="16607"/>
                    <a:pt x="53984" y="22133"/>
                  </a:cubicBezTo>
                  <a:cubicBezTo>
                    <a:pt x="53984" y="27659"/>
                    <a:pt x="31220" y="28448"/>
                    <a:pt x="24762" y="22133"/>
                  </a:cubicBezTo>
                  <a:cubicBezTo>
                    <a:pt x="23740" y="21158"/>
                    <a:pt x="22764" y="19811"/>
                    <a:pt x="21835" y="18372"/>
                  </a:cubicBezTo>
                  <a:cubicBezTo>
                    <a:pt x="20116" y="20136"/>
                    <a:pt x="18955" y="22272"/>
                    <a:pt x="18955" y="24733"/>
                  </a:cubicBezTo>
                  <a:cubicBezTo>
                    <a:pt x="18955" y="31931"/>
                    <a:pt x="13984" y="31374"/>
                    <a:pt x="9478" y="30816"/>
                  </a:cubicBezTo>
                  <a:cubicBezTo>
                    <a:pt x="4971" y="30259"/>
                    <a:pt x="9478" y="36899"/>
                    <a:pt x="6969" y="40196"/>
                  </a:cubicBezTo>
                  <a:cubicBezTo>
                    <a:pt x="4460" y="43493"/>
                    <a:pt x="6969" y="50133"/>
                    <a:pt x="3484" y="50690"/>
                  </a:cubicBezTo>
                  <a:cubicBezTo>
                    <a:pt x="1626" y="50969"/>
                    <a:pt x="604" y="53337"/>
                    <a:pt x="0" y="56309"/>
                  </a:cubicBezTo>
                  <a:cubicBezTo>
                    <a:pt x="1487" y="57098"/>
                    <a:pt x="5157" y="65225"/>
                    <a:pt x="5157" y="65225"/>
                  </a:cubicBezTo>
                  <a:cubicBezTo>
                    <a:pt x="5157" y="65225"/>
                    <a:pt x="4971" y="65410"/>
                    <a:pt x="4646" y="65735"/>
                  </a:cubicBezTo>
                  <a:cubicBezTo>
                    <a:pt x="9478" y="68939"/>
                    <a:pt x="19419" y="75812"/>
                    <a:pt x="22578" y="80548"/>
                  </a:cubicBezTo>
                  <a:cubicBezTo>
                    <a:pt x="26853" y="86863"/>
                    <a:pt x="38978" y="87652"/>
                    <a:pt x="44646" y="86074"/>
                  </a:cubicBezTo>
                  <a:cubicBezTo>
                    <a:pt x="50360" y="84495"/>
                    <a:pt x="74565" y="75812"/>
                    <a:pt x="74565" y="75812"/>
                  </a:cubicBezTo>
                  <a:cubicBezTo>
                    <a:pt x="74565" y="75812"/>
                    <a:pt x="80279" y="78180"/>
                    <a:pt x="83810" y="78969"/>
                  </a:cubicBezTo>
                  <a:cubicBezTo>
                    <a:pt x="84646" y="79155"/>
                    <a:pt x="86923" y="79573"/>
                    <a:pt x="89896" y="80084"/>
                  </a:cubicBezTo>
                  <a:cubicBezTo>
                    <a:pt x="91615" y="78087"/>
                    <a:pt x="97004" y="76369"/>
                    <a:pt x="102718" y="70054"/>
                  </a:cubicBezTo>
                  <a:cubicBezTo>
                    <a:pt x="109408" y="62624"/>
                    <a:pt x="119443" y="36156"/>
                    <a:pt x="122324" y="34020"/>
                  </a:cubicBezTo>
                  <a:cubicBezTo>
                    <a:pt x="125204" y="31884"/>
                    <a:pt x="132870" y="27148"/>
                    <a:pt x="136679" y="23944"/>
                  </a:cubicBezTo>
                  <a:cubicBezTo>
                    <a:pt x="140489" y="20786"/>
                    <a:pt x="139560" y="17582"/>
                    <a:pt x="135239" y="16004"/>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1" name="Freeform 49">
              <a:extLst>
                <a:ext uri="{FF2B5EF4-FFF2-40B4-BE49-F238E27FC236}">
                  <a16:creationId xmlns:a16="http://schemas.microsoft.com/office/drawing/2014/main" id="{0844DEC8-595A-BC2C-2176-06882A810BC0}"/>
                </a:ext>
              </a:extLst>
            </p:cNvPr>
            <p:cNvSpPr/>
            <p:nvPr/>
          </p:nvSpPr>
          <p:spPr>
            <a:xfrm>
              <a:off x="8524453" y="3870761"/>
              <a:ext cx="336009" cy="656447"/>
            </a:xfrm>
            <a:custGeom>
              <a:avLst/>
              <a:gdLst>
                <a:gd name="connsiteX0" fmla="*/ 70126 w 71937"/>
                <a:gd name="connsiteY0" fmla="*/ 14479 h 140541"/>
                <a:gd name="connsiteX1" fmla="*/ 64691 w 71937"/>
                <a:gd name="connsiteY1" fmla="*/ 5006 h 140541"/>
                <a:gd name="connsiteX2" fmla="*/ 51497 w 71937"/>
                <a:gd name="connsiteY2" fmla="*/ 2452 h 140541"/>
                <a:gd name="connsiteX3" fmla="*/ 42948 w 71937"/>
                <a:gd name="connsiteY3" fmla="*/ 2452 h 140541"/>
                <a:gd name="connsiteX4" fmla="*/ 31706 w 71937"/>
                <a:gd name="connsiteY4" fmla="*/ 1942 h 140541"/>
                <a:gd name="connsiteX5" fmla="*/ 31798 w 71937"/>
                <a:gd name="connsiteY5" fmla="*/ 2267 h 140541"/>
                <a:gd name="connsiteX6" fmla="*/ 31938 w 71937"/>
                <a:gd name="connsiteY6" fmla="*/ 18008 h 140541"/>
                <a:gd name="connsiteX7" fmla="*/ 28268 w 71937"/>
                <a:gd name="connsiteY7" fmla="*/ 27109 h 140541"/>
                <a:gd name="connsiteX8" fmla="*/ 18558 w 71937"/>
                <a:gd name="connsiteY8" fmla="*/ 36025 h 140541"/>
                <a:gd name="connsiteX9" fmla="*/ 19162 w 71937"/>
                <a:gd name="connsiteY9" fmla="*/ 43222 h 140541"/>
                <a:gd name="connsiteX10" fmla="*/ 9778 w 71937"/>
                <a:gd name="connsiteY10" fmla="*/ 61564 h 140541"/>
                <a:gd name="connsiteX11" fmla="*/ 3506 w 71937"/>
                <a:gd name="connsiteY11" fmla="*/ 74241 h 140541"/>
                <a:gd name="connsiteX12" fmla="*/ 11775 w 71937"/>
                <a:gd name="connsiteY12" fmla="*/ 95090 h 140541"/>
                <a:gd name="connsiteX13" fmla="*/ 14656 w 71937"/>
                <a:gd name="connsiteY13" fmla="*/ 135720 h 140541"/>
                <a:gd name="connsiteX14" fmla="*/ 31241 w 71937"/>
                <a:gd name="connsiteY14" fmla="*/ 140317 h 140541"/>
                <a:gd name="connsiteX15" fmla="*/ 48477 w 71937"/>
                <a:gd name="connsiteY15" fmla="*/ 136556 h 140541"/>
                <a:gd name="connsiteX16" fmla="*/ 45364 w 71937"/>
                <a:gd name="connsiteY16" fmla="*/ 128801 h 140541"/>
                <a:gd name="connsiteX17" fmla="*/ 53912 w 71937"/>
                <a:gd name="connsiteY17" fmla="*/ 114174 h 140541"/>
                <a:gd name="connsiteX18" fmla="*/ 49267 w 71937"/>
                <a:gd name="connsiteY18" fmla="*/ 102148 h 140541"/>
                <a:gd name="connsiteX19" fmla="*/ 54702 w 71937"/>
                <a:gd name="connsiteY19" fmla="*/ 89239 h 140541"/>
                <a:gd name="connsiteX20" fmla="*/ 48477 w 71937"/>
                <a:gd name="connsiteY20" fmla="*/ 76330 h 140541"/>
                <a:gd name="connsiteX21" fmla="*/ 53912 w 71937"/>
                <a:gd name="connsiteY21" fmla="*/ 66904 h 140541"/>
                <a:gd name="connsiteX22" fmla="*/ 57769 w 71937"/>
                <a:gd name="connsiteY22" fmla="*/ 50559 h 140541"/>
                <a:gd name="connsiteX23" fmla="*/ 56189 w 71937"/>
                <a:gd name="connsiteY23" fmla="*/ 28224 h 140541"/>
                <a:gd name="connsiteX24" fmla="*/ 70173 w 71937"/>
                <a:gd name="connsiteY24" fmla="*/ 14479 h 140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937" h="140541">
                  <a:moveTo>
                    <a:pt x="70126" y="14479"/>
                  </a:moveTo>
                  <a:cubicBezTo>
                    <a:pt x="76305" y="7607"/>
                    <a:pt x="64691" y="10160"/>
                    <a:pt x="64691" y="5006"/>
                  </a:cubicBezTo>
                  <a:cubicBezTo>
                    <a:pt x="64691" y="-148"/>
                    <a:pt x="56932" y="-1866"/>
                    <a:pt x="51497" y="2452"/>
                  </a:cubicBezTo>
                  <a:cubicBezTo>
                    <a:pt x="46061" y="6771"/>
                    <a:pt x="47594" y="2452"/>
                    <a:pt x="42948" y="2452"/>
                  </a:cubicBezTo>
                  <a:cubicBezTo>
                    <a:pt x="39650" y="2452"/>
                    <a:pt x="34493" y="3242"/>
                    <a:pt x="31706" y="1942"/>
                  </a:cubicBezTo>
                  <a:cubicBezTo>
                    <a:pt x="31706" y="2034"/>
                    <a:pt x="31798" y="2174"/>
                    <a:pt x="31798" y="2267"/>
                  </a:cubicBezTo>
                  <a:cubicBezTo>
                    <a:pt x="32821" y="8303"/>
                    <a:pt x="33285" y="12064"/>
                    <a:pt x="31938" y="18008"/>
                  </a:cubicBezTo>
                  <a:cubicBezTo>
                    <a:pt x="31195" y="21212"/>
                    <a:pt x="29708" y="24184"/>
                    <a:pt x="28268" y="27109"/>
                  </a:cubicBezTo>
                  <a:cubicBezTo>
                    <a:pt x="26316" y="31103"/>
                    <a:pt x="22600" y="34028"/>
                    <a:pt x="18558" y="36025"/>
                  </a:cubicBezTo>
                  <a:cubicBezTo>
                    <a:pt x="18790" y="38439"/>
                    <a:pt x="18976" y="40807"/>
                    <a:pt x="19162" y="43222"/>
                  </a:cubicBezTo>
                  <a:cubicBezTo>
                    <a:pt x="19627" y="50605"/>
                    <a:pt x="15631" y="57292"/>
                    <a:pt x="9778" y="61564"/>
                  </a:cubicBezTo>
                  <a:cubicBezTo>
                    <a:pt x="7780" y="66997"/>
                    <a:pt x="5596" y="71547"/>
                    <a:pt x="3506" y="74241"/>
                  </a:cubicBezTo>
                  <a:cubicBezTo>
                    <a:pt x="-4810" y="84828"/>
                    <a:pt x="3181" y="87660"/>
                    <a:pt x="11775" y="95090"/>
                  </a:cubicBezTo>
                  <a:cubicBezTo>
                    <a:pt x="20370" y="102519"/>
                    <a:pt x="14656" y="129359"/>
                    <a:pt x="14656" y="135720"/>
                  </a:cubicBezTo>
                  <a:cubicBezTo>
                    <a:pt x="14656" y="142082"/>
                    <a:pt x="22321" y="140317"/>
                    <a:pt x="31241" y="140317"/>
                  </a:cubicBezTo>
                  <a:cubicBezTo>
                    <a:pt x="36584" y="140317"/>
                    <a:pt x="42577" y="137717"/>
                    <a:pt x="48477" y="136556"/>
                  </a:cubicBezTo>
                  <a:cubicBezTo>
                    <a:pt x="46712" y="133584"/>
                    <a:pt x="45364" y="130705"/>
                    <a:pt x="45364" y="128801"/>
                  </a:cubicBezTo>
                  <a:cubicBezTo>
                    <a:pt x="45364" y="123647"/>
                    <a:pt x="45364" y="115892"/>
                    <a:pt x="53912" y="114174"/>
                  </a:cubicBezTo>
                  <a:cubicBezTo>
                    <a:pt x="62461" y="112456"/>
                    <a:pt x="51590" y="104702"/>
                    <a:pt x="49267" y="102148"/>
                  </a:cubicBezTo>
                  <a:cubicBezTo>
                    <a:pt x="46944" y="99594"/>
                    <a:pt x="50057" y="89239"/>
                    <a:pt x="54702" y="89239"/>
                  </a:cubicBezTo>
                  <a:cubicBezTo>
                    <a:pt x="59348" y="89239"/>
                    <a:pt x="54702" y="83249"/>
                    <a:pt x="48477" y="76330"/>
                  </a:cubicBezTo>
                  <a:cubicBezTo>
                    <a:pt x="42298" y="69458"/>
                    <a:pt x="48477" y="66904"/>
                    <a:pt x="53912" y="66904"/>
                  </a:cubicBezTo>
                  <a:cubicBezTo>
                    <a:pt x="59348" y="66904"/>
                    <a:pt x="52380" y="56595"/>
                    <a:pt x="57769" y="50559"/>
                  </a:cubicBezTo>
                  <a:cubicBezTo>
                    <a:pt x="63204" y="44522"/>
                    <a:pt x="56189" y="33378"/>
                    <a:pt x="56189" y="28224"/>
                  </a:cubicBezTo>
                  <a:cubicBezTo>
                    <a:pt x="56189" y="23069"/>
                    <a:pt x="63948" y="21351"/>
                    <a:pt x="70173" y="14479"/>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2" name="Freeform 50">
              <a:extLst>
                <a:ext uri="{FF2B5EF4-FFF2-40B4-BE49-F238E27FC236}">
                  <a16:creationId xmlns:a16="http://schemas.microsoft.com/office/drawing/2014/main" id="{DEA5740A-F30E-51D6-B5A7-3E70BB5B282D}"/>
                </a:ext>
              </a:extLst>
            </p:cNvPr>
            <p:cNvSpPr/>
            <p:nvPr/>
          </p:nvSpPr>
          <p:spPr>
            <a:xfrm>
              <a:off x="9814605" y="2219970"/>
              <a:ext cx="412525" cy="391916"/>
            </a:xfrm>
            <a:custGeom>
              <a:avLst/>
              <a:gdLst>
                <a:gd name="connsiteX0" fmla="*/ 87248 w 88319"/>
                <a:gd name="connsiteY0" fmla="*/ 16206 h 83907"/>
                <a:gd name="connsiteX1" fmla="*/ 86644 w 88319"/>
                <a:gd name="connsiteY1" fmla="*/ 0 h 83907"/>
                <a:gd name="connsiteX2" fmla="*/ 81208 w 88319"/>
                <a:gd name="connsiteY2" fmla="*/ 2415 h 83907"/>
                <a:gd name="connsiteX3" fmla="*/ 78328 w 88319"/>
                <a:gd name="connsiteY3" fmla="*/ 1207 h 83907"/>
                <a:gd name="connsiteX4" fmla="*/ 59884 w 88319"/>
                <a:gd name="connsiteY4" fmla="*/ 10262 h 83907"/>
                <a:gd name="connsiteX5" fmla="*/ 50592 w 88319"/>
                <a:gd name="connsiteY5" fmla="*/ 9891 h 83907"/>
                <a:gd name="connsiteX6" fmla="*/ 50592 w 88319"/>
                <a:gd name="connsiteY6" fmla="*/ 19735 h 83907"/>
                <a:gd name="connsiteX7" fmla="*/ 41347 w 88319"/>
                <a:gd name="connsiteY7" fmla="*/ 22289 h 83907"/>
                <a:gd name="connsiteX8" fmla="*/ 38420 w 88319"/>
                <a:gd name="connsiteY8" fmla="*/ 27768 h 83907"/>
                <a:gd name="connsiteX9" fmla="*/ 33775 w 88319"/>
                <a:gd name="connsiteY9" fmla="*/ 33804 h 83907"/>
                <a:gd name="connsiteX10" fmla="*/ 19605 w 88319"/>
                <a:gd name="connsiteY10" fmla="*/ 51125 h 83907"/>
                <a:gd name="connsiteX11" fmla="*/ 3391 w 88319"/>
                <a:gd name="connsiteY11" fmla="*/ 67748 h 83907"/>
                <a:gd name="connsiteX12" fmla="*/ 0 w 88319"/>
                <a:gd name="connsiteY12" fmla="*/ 69931 h 83907"/>
                <a:gd name="connsiteX13" fmla="*/ 7665 w 88319"/>
                <a:gd name="connsiteY13" fmla="*/ 72949 h 83907"/>
                <a:gd name="connsiteX14" fmla="*/ 28153 w 88319"/>
                <a:gd name="connsiteY14" fmla="*/ 65380 h 83907"/>
                <a:gd name="connsiteX15" fmla="*/ 42788 w 88319"/>
                <a:gd name="connsiteY15" fmla="*/ 67562 h 83907"/>
                <a:gd name="connsiteX16" fmla="*/ 58398 w 88319"/>
                <a:gd name="connsiteY16" fmla="*/ 79403 h 83907"/>
                <a:gd name="connsiteX17" fmla="*/ 63090 w 88319"/>
                <a:gd name="connsiteY17" fmla="*/ 83908 h 83907"/>
                <a:gd name="connsiteX18" fmla="*/ 65552 w 88319"/>
                <a:gd name="connsiteY18" fmla="*/ 65612 h 83907"/>
                <a:gd name="connsiteX19" fmla="*/ 66806 w 88319"/>
                <a:gd name="connsiteY19" fmla="*/ 54329 h 83907"/>
                <a:gd name="connsiteX20" fmla="*/ 78932 w 88319"/>
                <a:gd name="connsiteY20" fmla="*/ 47967 h 83907"/>
                <a:gd name="connsiteX21" fmla="*/ 83392 w 88319"/>
                <a:gd name="connsiteY21" fmla="*/ 40166 h 83907"/>
                <a:gd name="connsiteX22" fmla="*/ 76377 w 88319"/>
                <a:gd name="connsiteY22" fmla="*/ 27443 h 83907"/>
                <a:gd name="connsiteX23" fmla="*/ 87248 w 88319"/>
                <a:gd name="connsiteY23" fmla="*/ 16159 h 83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319" h="83907">
                  <a:moveTo>
                    <a:pt x="87248" y="16206"/>
                  </a:moveTo>
                  <a:cubicBezTo>
                    <a:pt x="89106" y="13141"/>
                    <a:pt x="88316" y="6826"/>
                    <a:pt x="86644" y="0"/>
                  </a:cubicBezTo>
                  <a:cubicBezTo>
                    <a:pt x="85808" y="2508"/>
                    <a:pt x="84089" y="4318"/>
                    <a:pt x="81208" y="2415"/>
                  </a:cubicBezTo>
                  <a:cubicBezTo>
                    <a:pt x="80326" y="1857"/>
                    <a:pt x="79350" y="1486"/>
                    <a:pt x="78328" y="1207"/>
                  </a:cubicBezTo>
                  <a:cubicBezTo>
                    <a:pt x="73961" y="6919"/>
                    <a:pt x="67224" y="10912"/>
                    <a:pt x="59884" y="10262"/>
                  </a:cubicBezTo>
                  <a:cubicBezTo>
                    <a:pt x="56771" y="9983"/>
                    <a:pt x="53705" y="9937"/>
                    <a:pt x="50592" y="9891"/>
                  </a:cubicBezTo>
                  <a:cubicBezTo>
                    <a:pt x="48734" y="13466"/>
                    <a:pt x="48734" y="17460"/>
                    <a:pt x="50592" y="19735"/>
                  </a:cubicBezTo>
                  <a:cubicBezTo>
                    <a:pt x="53659" y="23403"/>
                    <a:pt x="44460" y="25493"/>
                    <a:pt x="41347" y="22289"/>
                  </a:cubicBezTo>
                  <a:cubicBezTo>
                    <a:pt x="40418" y="24239"/>
                    <a:pt x="39443" y="26143"/>
                    <a:pt x="38420" y="27768"/>
                  </a:cubicBezTo>
                  <a:cubicBezTo>
                    <a:pt x="37492" y="29254"/>
                    <a:pt x="35587" y="31808"/>
                    <a:pt x="33775" y="33804"/>
                  </a:cubicBezTo>
                  <a:cubicBezTo>
                    <a:pt x="32613" y="41513"/>
                    <a:pt x="26806" y="48013"/>
                    <a:pt x="19605" y="51125"/>
                  </a:cubicBezTo>
                  <a:cubicBezTo>
                    <a:pt x="16818" y="58043"/>
                    <a:pt x="8920" y="64126"/>
                    <a:pt x="3391" y="67748"/>
                  </a:cubicBezTo>
                  <a:cubicBezTo>
                    <a:pt x="2323" y="68491"/>
                    <a:pt x="1161" y="69188"/>
                    <a:pt x="0" y="69931"/>
                  </a:cubicBezTo>
                  <a:cubicBezTo>
                    <a:pt x="3531" y="71742"/>
                    <a:pt x="6365" y="72949"/>
                    <a:pt x="7665" y="72949"/>
                  </a:cubicBezTo>
                  <a:cubicBezTo>
                    <a:pt x="13519" y="72949"/>
                    <a:pt x="24251" y="69745"/>
                    <a:pt x="28153" y="65380"/>
                  </a:cubicBezTo>
                  <a:cubicBezTo>
                    <a:pt x="32056" y="61062"/>
                    <a:pt x="38885" y="63244"/>
                    <a:pt x="42788" y="67562"/>
                  </a:cubicBezTo>
                  <a:cubicBezTo>
                    <a:pt x="46690" y="71881"/>
                    <a:pt x="52544" y="72949"/>
                    <a:pt x="58398" y="79403"/>
                  </a:cubicBezTo>
                  <a:cubicBezTo>
                    <a:pt x="59884" y="81075"/>
                    <a:pt x="61510" y="82561"/>
                    <a:pt x="63090" y="83908"/>
                  </a:cubicBezTo>
                  <a:cubicBezTo>
                    <a:pt x="63647" y="79357"/>
                    <a:pt x="63740" y="70302"/>
                    <a:pt x="65552" y="65612"/>
                  </a:cubicBezTo>
                  <a:cubicBezTo>
                    <a:pt x="67457" y="60690"/>
                    <a:pt x="63647" y="54329"/>
                    <a:pt x="66806" y="54329"/>
                  </a:cubicBezTo>
                  <a:cubicBezTo>
                    <a:pt x="69966" y="54329"/>
                    <a:pt x="78932" y="54329"/>
                    <a:pt x="78932" y="47967"/>
                  </a:cubicBezTo>
                  <a:cubicBezTo>
                    <a:pt x="78932" y="41605"/>
                    <a:pt x="81487" y="43742"/>
                    <a:pt x="83392" y="40166"/>
                  </a:cubicBezTo>
                  <a:cubicBezTo>
                    <a:pt x="85297" y="36637"/>
                    <a:pt x="77631" y="29579"/>
                    <a:pt x="76377" y="27443"/>
                  </a:cubicBezTo>
                  <a:cubicBezTo>
                    <a:pt x="75122" y="25353"/>
                    <a:pt x="82137" y="24610"/>
                    <a:pt x="87248" y="16159"/>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 name="Freeform 53">
              <a:extLst>
                <a:ext uri="{FF2B5EF4-FFF2-40B4-BE49-F238E27FC236}">
                  <a16:creationId xmlns:a16="http://schemas.microsoft.com/office/drawing/2014/main" id="{56E98A93-CB80-649F-EA56-0371A1EB4220}"/>
                </a:ext>
              </a:extLst>
            </p:cNvPr>
            <p:cNvSpPr/>
            <p:nvPr/>
          </p:nvSpPr>
          <p:spPr>
            <a:xfrm>
              <a:off x="10080138" y="2717299"/>
              <a:ext cx="66689" cy="103023"/>
            </a:xfrm>
            <a:custGeom>
              <a:avLst/>
              <a:gdLst>
                <a:gd name="connsiteX0" fmla="*/ 7588 w 14278"/>
                <a:gd name="connsiteY0" fmla="*/ 0 h 22056"/>
                <a:gd name="connsiteX1" fmla="*/ 62 w 14278"/>
                <a:gd name="connsiteY1" fmla="*/ 20292 h 22056"/>
                <a:gd name="connsiteX2" fmla="*/ 14278 w 14278"/>
                <a:gd name="connsiteY2" fmla="*/ 22056 h 22056"/>
                <a:gd name="connsiteX3" fmla="*/ 7449 w 14278"/>
                <a:gd name="connsiteY3" fmla="*/ 2275 h 22056"/>
                <a:gd name="connsiteX4" fmla="*/ 7588 w 14278"/>
                <a:gd name="connsiteY4" fmla="*/ 0 h 22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78" h="22056">
                  <a:moveTo>
                    <a:pt x="7588" y="0"/>
                  </a:moveTo>
                  <a:cubicBezTo>
                    <a:pt x="3360" y="2647"/>
                    <a:pt x="-542" y="8312"/>
                    <a:pt x="62" y="20292"/>
                  </a:cubicBezTo>
                  <a:cubicBezTo>
                    <a:pt x="4197" y="20153"/>
                    <a:pt x="10050" y="20710"/>
                    <a:pt x="14278" y="22056"/>
                  </a:cubicBezTo>
                  <a:cubicBezTo>
                    <a:pt x="13256" y="9008"/>
                    <a:pt x="8657" y="4969"/>
                    <a:pt x="7449" y="2275"/>
                  </a:cubicBezTo>
                  <a:cubicBezTo>
                    <a:pt x="7123" y="1532"/>
                    <a:pt x="7216" y="789"/>
                    <a:pt x="7588" y="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4" name="Freeform 54">
              <a:extLst>
                <a:ext uri="{FF2B5EF4-FFF2-40B4-BE49-F238E27FC236}">
                  <a16:creationId xmlns:a16="http://schemas.microsoft.com/office/drawing/2014/main" id="{49A42E1D-C7CC-94F7-C379-A0E8E3F41786}"/>
                </a:ext>
              </a:extLst>
            </p:cNvPr>
            <p:cNvSpPr/>
            <p:nvPr/>
          </p:nvSpPr>
          <p:spPr>
            <a:xfrm>
              <a:off x="9747334" y="2514827"/>
              <a:ext cx="388627" cy="299361"/>
            </a:xfrm>
            <a:custGeom>
              <a:avLst/>
              <a:gdLst>
                <a:gd name="connsiteX0" fmla="*/ 2788 w 83202"/>
                <a:gd name="connsiteY0" fmla="*/ 16834 h 64091"/>
                <a:gd name="connsiteX1" fmla="*/ 10453 w 83202"/>
                <a:gd name="connsiteY1" fmla="*/ 25842 h 64091"/>
                <a:gd name="connsiteX2" fmla="*/ 21464 w 83202"/>
                <a:gd name="connsiteY2" fmla="*/ 33272 h 64091"/>
                <a:gd name="connsiteX3" fmla="*/ 34843 w 83202"/>
                <a:gd name="connsiteY3" fmla="*/ 42280 h 64091"/>
                <a:gd name="connsiteX4" fmla="*/ 41069 w 83202"/>
                <a:gd name="connsiteY4" fmla="*/ 50221 h 64091"/>
                <a:gd name="connsiteX5" fmla="*/ 50639 w 83202"/>
                <a:gd name="connsiteY5" fmla="*/ 44927 h 64091"/>
                <a:gd name="connsiteX6" fmla="*/ 56864 w 83202"/>
                <a:gd name="connsiteY6" fmla="*/ 56071 h 64091"/>
                <a:gd name="connsiteX7" fmla="*/ 67875 w 83202"/>
                <a:gd name="connsiteY7" fmla="*/ 64012 h 64091"/>
                <a:gd name="connsiteX8" fmla="*/ 71313 w 83202"/>
                <a:gd name="connsiteY8" fmla="*/ 63687 h 64091"/>
                <a:gd name="connsiteX9" fmla="*/ 78839 w 83202"/>
                <a:gd name="connsiteY9" fmla="*/ 43395 h 64091"/>
                <a:gd name="connsiteX10" fmla="*/ 83160 w 83202"/>
                <a:gd name="connsiteY10" fmla="*/ 36476 h 64091"/>
                <a:gd name="connsiteX11" fmla="*/ 77399 w 83202"/>
                <a:gd name="connsiteY11" fmla="*/ 21663 h 64091"/>
                <a:gd name="connsiteX12" fmla="*/ 77492 w 83202"/>
                <a:gd name="connsiteY12" fmla="*/ 20874 h 64091"/>
                <a:gd name="connsiteX13" fmla="*/ 72800 w 83202"/>
                <a:gd name="connsiteY13" fmla="*/ 16370 h 64091"/>
                <a:gd name="connsiteX14" fmla="*/ 57190 w 83202"/>
                <a:gd name="connsiteY14" fmla="*/ 4529 h 64091"/>
                <a:gd name="connsiteX15" fmla="*/ 42556 w 83202"/>
                <a:gd name="connsiteY15" fmla="*/ 2346 h 64091"/>
                <a:gd name="connsiteX16" fmla="*/ 22067 w 83202"/>
                <a:gd name="connsiteY16" fmla="*/ 9915 h 64091"/>
                <a:gd name="connsiteX17" fmla="*/ 14402 w 83202"/>
                <a:gd name="connsiteY17" fmla="*/ 6897 h 64091"/>
                <a:gd name="connsiteX18" fmla="*/ 0 w 83202"/>
                <a:gd name="connsiteY18" fmla="*/ 13723 h 64091"/>
                <a:gd name="connsiteX19" fmla="*/ 2788 w 83202"/>
                <a:gd name="connsiteY19" fmla="*/ 16880 h 64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202" h="64091">
                  <a:moveTo>
                    <a:pt x="2788" y="16834"/>
                  </a:moveTo>
                  <a:cubicBezTo>
                    <a:pt x="3252" y="20549"/>
                    <a:pt x="8548" y="29557"/>
                    <a:pt x="10453" y="25842"/>
                  </a:cubicBezTo>
                  <a:cubicBezTo>
                    <a:pt x="12358" y="22127"/>
                    <a:pt x="17143" y="30625"/>
                    <a:pt x="21464" y="33272"/>
                  </a:cubicBezTo>
                  <a:cubicBezTo>
                    <a:pt x="25784" y="35919"/>
                    <a:pt x="34379" y="39076"/>
                    <a:pt x="34843" y="42280"/>
                  </a:cubicBezTo>
                  <a:cubicBezTo>
                    <a:pt x="35308" y="45438"/>
                    <a:pt x="36748" y="52356"/>
                    <a:pt x="41069" y="50221"/>
                  </a:cubicBezTo>
                  <a:cubicBezTo>
                    <a:pt x="45389" y="48085"/>
                    <a:pt x="50639" y="40701"/>
                    <a:pt x="50639" y="44927"/>
                  </a:cubicBezTo>
                  <a:cubicBezTo>
                    <a:pt x="50639" y="49152"/>
                    <a:pt x="52079" y="57139"/>
                    <a:pt x="56864" y="56071"/>
                  </a:cubicBezTo>
                  <a:cubicBezTo>
                    <a:pt x="61650" y="55003"/>
                    <a:pt x="63090" y="65080"/>
                    <a:pt x="67875" y="64012"/>
                  </a:cubicBezTo>
                  <a:cubicBezTo>
                    <a:pt x="68758" y="63826"/>
                    <a:pt x="69919" y="63733"/>
                    <a:pt x="71313" y="63687"/>
                  </a:cubicBezTo>
                  <a:cubicBezTo>
                    <a:pt x="70709" y="51706"/>
                    <a:pt x="74611" y="46041"/>
                    <a:pt x="78839" y="43395"/>
                  </a:cubicBezTo>
                  <a:cubicBezTo>
                    <a:pt x="79815" y="41305"/>
                    <a:pt x="82695" y="39076"/>
                    <a:pt x="83160" y="36476"/>
                  </a:cubicBezTo>
                  <a:cubicBezTo>
                    <a:pt x="83810" y="32947"/>
                    <a:pt x="76795" y="25889"/>
                    <a:pt x="77399" y="21663"/>
                  </a:cubicBezTo>
                  <a:cubicBezTo>
                    <a:pt x="77399" y="21431"/>
                    <a:pt x="77445" y="21152"/>
                    <a:pt x="77492" y="20874"/>
                  </a:cubicBezTo>
                  <a:cubicBezTo>
                    <a:pt x="75912" y="19527"/>
                    <a:pt x="74286" y="18041"/>
                    <a:pt x="72800" y="16370"/>
                  </a:cubicBezTo>
                  <a:cubicBezTo>
                    <a:pt x="66946" y="9915"/>
                    <a:pt x="61092" y="8847"/>
                    <a:pt x="57190" y="4529"/>
                  </a:cubicBezTo>
                  <a:cubicBezTo>
                    <a:pt x="53287" y="210"/>
                    <a:pt x="46458" y="-1972"/>
                    <a:pt x="42556" y="2346"/>
                  </a:cubicBezTo>
                  <a:cubicBezTo>
                    <a:pt x="38653" y="6665"/>
                    <a:pt x="27921" y="9915"/>
                    <a:pt x="22067" y="9915"/>
                  </a:cubicBezTo>
                  <a:cubicBezTo>
                    <a:pt x="20720" y="9915"/>
                    <a:pt x="17933" y="8708"/>
                    <a:pt x="14402" y="6897"/>
                  </a:cubicBezTo>
                  <a:cubicBezTo>
                    <a:pt x="9803" y="9869"/>
                    <a:pt x="4878" y="12655"/>
                    <a:pt x="0" y="13723"/>
                  </a:cubicBezTo>
                  <a:cubicBezTo>
                    <a:pt x="976" y="15209"/>
                    <a:pt x="2462" y="14419"/>
                    <a:pt x="2788" y="1688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5" name="Freeform 61">
              <a:extLst>
                <a:ext uri="{FF2B5EF4-FFF2-40B4-BE49-F238E27FC236}">
                  <a16:creationId xmlns:a16="http://schemas.microsoft.com/office/drawing/2014/main" id="{46E0F387-2FE0-2C20-442C-76FD2491934B}"/>
                </a:ext>
              </a:extLst>
            </p:cNvPr>
            <p:cNvSpPr/>
            <p:nvPr/>
          </p:nvSpPr>
          <p:spPr>
            <a:xfrm>
              <a:off x="11525545" y="2969542"/>
              <a:ext cx="908105" cy="654786"/>
            </a:xfrm>
            <a:custGeom>
              <a:avLst/>
              <a:gdLst>
                <a:gd name="connsiteX0" fmla="*/ 174422 w 194419"/>
                <a:gd name="connsiteY0" fmla="*/ 93752 h 140186"/>
                <a:gd name="connsiteX1" fmla="*/ 166106 w 194419"/>
                <a:gd name="connsiteY1" fmla="*/ 88133 h 140186"/>
                <a:gd name="connsiteX2" fmla="*/ 166663 w 194419"/>
                <a:gd name="connsiteY2" fmla="*/ 87297 h 140186"/>
                <a:gd name="connsiteX3" fmla="*/ 162947 w 194419"/>
                <a:gd name="connsiteY3" fmla="*/ 60412 h 140186"/>
                <a:gd name="connsiteX4" fmla="*/ 149288 w 194419"/>
                <a:gd name="connsiteY4" fmla="*/ 26932 h 140186"/>
                <a:gd name="connsiteX5" fmla="*/ 135072 w 194419"/>
                <a:gd name="connsiteY5" fmla="*/ 0 h 140186"/>
                <a:gd name="connsiteX6" fmla="*/ 124666 w 194419"/>
                <a:gd name="connsiteY6" fmla="*/ 5479 h 140186"/>
                <a:gd name="connsiteX7" fmla="*/ 112540 w 194419"/>
                <a:gd name="connsiteY7" fmla="*/ 12537 h 140186"/>
                <a:gd name="connsiteX8" fmla="*/ 101715 w 194419"/>
                <a:gd name="connsiteY8" fmla="*/ 13930 h 140186"/>
                <a:gd name="connsiteX9" fmla="*/ 92145 w 194419"/>
                <a:gd name="connsiteY9" fmla="*/ 16763 h 140186"/>
                <a:gd name="connsiteX10" fmla="*/ 79369 w 194419"/>
                <a:gd name="connsiteY10" fmla="*/ 12537 h 140186"/>
                <a:gd name="connsiteX11" fmla="*/ 57720 w 194419"/>
                <a:gd name="connsiteY11" fmla="*/ 8312 h 140186"/>
                <a:gd name="connsiteX12" fmla="*/ 49404 w 194419"/>
                <a:gd name="connsiteY12" fmla="*/ 9101 h 140186"/>
                <a:gd name="connsiteX13" fmla="*/ 47360 w 194419"/>
                <a:gd name="connsiteY13" fmla="*/ 14302 h 140186"/>
                <a:gd name="connsiteX14" fmla="*/ 33004 w 194419"/>
                <a:gd name="connsiteY14" fmla="*/ 24378 h 140186"/>
                <a:gd name="connsiteX15" fmla="*/ 13399 w 194419"/>
                <a:gd name="connsiteY15" fmla="*/ 60412 h 140186"/>
                <a:gd name="connsiteX16" fmla="*/ 19 w 194419"/>
                <a:gd name="connsiteY16" fmla="*/ 71509 h 140186"/>
                <a:gd name="connsiteX17" fmla="*/ 7685 w 194419"/>
                <a:gd name="connsiteY17" fmla="*/ 85301 h 140186"/>
                <a:gd name="connsiteX18" fmla="*/ 14839 w 194419"/>
                <a:gd name="connsiteY18" fmla="*/ 93752 h 140186"/>
                <a:gd name="connsiteX19" fmla="*/ 17720 w 194419"/>
                <a:gd name="connsiteY19" fmla="*/ 108611 h 140186"/>
                <a:gd name="connsiteX20" fmla="*/ 41646 w 194419"/>
                <a:gd name="connsiteY20" fmla="*/ 116551 h 140186"/>
                <a:gd name="connsiteX21" fmla="*/ 42946 w 194419"/>
                <a:gd name="connsiteY21" fmla="*/ 126999 h 140186"/>
                <a:gd name="connsiteX22" fmla="*/ 55258 w 194419"/>
                <a:gd name="connsiteY22" fmla="*/ 136147 h 140186"/>
                <a:gd name="connsiteX23" fmla="*/ 78208 w 194419"/>
                <a:gd name="connsiteY23" fmla="*/ 138979 h 140186"/>
                <a:gd name="connsiteX24" fmla="*/ 101158 w 194419"/>
                <a:gd name="connsiteY24" fmla="*/ 139676 h 140186"/>
                <a:gd name="connsiteX25" fmla="*/ 116443 w 194419"/>
                <a:gd name="connsiteY25" fmla="*/ 132618 h 140186"/>
                <a:gd name="connsiteX26" fmla="*/ 141994 w 194419"/>
                <a:gd name="connsiteY26" fmla="*/ 127649 h 140186"/>
                <a:gd name="connsiteX27" fmla="*/ 159230 w 194419"/>
                <a:gd name="connsiteY27" fmla="*/ 133314 h 140186"/>
                <a:gd name="connsiteX28" fmla="*/ 172332 w 194419"/>
                <a:gd name="connsiteY28" fmla="*/ 140186 h 140186"/>
                <a:gd name="connsiteX29" fmla="*/ 172332 w 194419"/>
                <a:gd name="connsiteY29" fmla="*/ 127649 h 140186"/>
                <a:gd name="connsiteX30" fmla="*/ 183156 w 194419"/>
                <a:gd name="connsiteY30" fmla="*/ 108239 h 140186"/>
                <a:gd name="connsiteX31" fmla="*/ 194306 w 194419"/>
                <a:gd name="connsiteY31" fmla="*/ 95191 h 140186"/>
                <a:gd name="connsiteX32" fmla="*/ 194259 w 194419"/>
                <a:gd name="connsiteY32" fmla="*/ 94077 h 140186"/>
                <a:gd name="connsiteX33" fmla="*/ 186687 w 194419"/>
                <a:gd name="connsiteY33" fmla="*/ 88133 h 140186"/>
                <a:gd name="connsiteX34" fmla="*/ 174561 w 194419"/>
                <a:gd name="connsiteY34" fmla="*/ 93752 h 140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4419" h="140186">
                  <a:moveTo>
                    <a:pt x="174422" y="93752"/>
                  </a:moveTo>
                  <a:cubicBezTo>
                    <a:pt x="169962" y="93055"/>
                    <a:pt x="164201" y="90966"/>
                    <a:pt x="166106" y="88133"/>
                  </a:cubicBezTo>
                  <a:cubicBezTo>
                    <a:pt x="166246" y="87947"/>
                    <a:pt x="166478" y="87576"/>
                    <a:pt x="166663" y="87297"/>
                  </a:cubicBezTo>
                  <a:cubicBezTo>
                    <a:pt x="160671" y="81957"/>
                    <a:pt x="159137" y="64637"/>
                    <a:pt x="162947" y="60412"/>
                  </a:cubicBezTo>
                  <a:cubicBezTo>
                    <a:pt x="167825" y="55025"/>
                    <a:pt x="155142" y="34501"/>
                    <a:pt x="149288" y="26932"/>
                  </a:cubicBezTo>
                  <a:cubicBezTo>
                    <a:pt x="146547" y="23403"/>
                    <a:pt x="140601" y="11562"/>
                    <a:pt x="135072" y="0"/>
                  </a:cubicBezTo>
                  <a:cubicBezTo>
                    <a:pt x="130008" y="1811"/>
                    <a:pt x="125548" y="3854"/>
                    <a:pt x="124666" y="5479"/>
                  </a:cubicBezTo>
                  <a:cubicBezTo>
                    <a:pt x="122761" y="9008"/>
                    <a:pt x="116350" y="12537"/>
                    <a:pt x="112540" y="12537"/>
                  </a:cubicBezTo>
                  <a:cubicBezTo>
                    <a:pt x="108731" y="12537"/>
                    <a:pt x="104875" y="10401"/>
                    <a:pt x="101715" y="13930"/>
                  </a:cubicBezTo>
                  <a:cubicBezTo>
                    <a:pt x="98510" y="17460"/>
                    <a:pt x="94050" y="18852"/>
                    <a:pt x="92145" y="16763"/>
                  </a:cubicBezTo>
                  <a:cubicBezTo>
                    <a:pt x="90240" y="14627"/>
                    <a:pt x="83876" y="12537"/>
                    <a:pt x="79369" y="12537"/>
                  </a:cubicBezTo>
                  <a:cubicBezTo>
                    <a:pt x="74863" y="12537"/>
                    <a:pt x="60879" y="8312"/>
                    <a:pt x="57720" y="8312"/>
                  </a:cubicBezTo>
                  <a:cubicBezTo>
                    <a:pt x="55815" y="8312"/>
                    <a:pt x="52749" y="8590"/>
                    <a:pt x="49404" y="9101"/>
                  </a:cubicBezTo>
                  <a:cubicBezTo>
                    <a:pt x="50147" y="10634"/>
                    <a:pt x="49543" y="12444"/>
                    <a:pt x="47360" y="14302"/>
                  </a:cubicBezTo>
                  <a:cubicBezTo>
                    <a:pt x="43550" y="17460"/>
                    <a:pt x="35885" y="22242"/>
                    <a:pt x="33004" y="24378"/>
                  </a:cubicBezTo>
                  <a:cubicBezTo>
                    <a:pt x="30124" y="26468"/>
                    <a:pt x="20089" y="52982"/>
                    <a:pt x="13399" y="60412"/>
                  </a:cubicBezTo>
                  <a:cubicBezTo>
                    <a:pt x="6709" y="67841"/>
                    <a:pt x="484" y="68909"/>
                    <a:pt x="19" y="71509"/>
                  </a:cubicBezTo>
                  <a:cubicBezTo>
                    <a:pt x="-445" y="74156"/>
                    <a:pt x="7685" y="81075"/>
                    <a:pt x="7685" y="85301"/>
                  </a:cubicBezTo>
                  <a:cubicBezTo>
                    <a:pt x="7685" y="89526"/>
                    <a:pt x="9589" y="93752"/>
                    <a:pt x="14839" y="93752"/>
                  </a:cubicBezTo>
                  <a:cubicBezTo>
                    <a:pt x="20089" y="93752"/>
                    <a:pt x="14375" y="107543"/>
                    <a:pt x="17720" y="108611"/>
                  </a:cubicBezTo>
                  <a:cubicBezTo>
                    <a:pt x="21065" y="109679"/>
                    <a:pt x="41646" y="111258"/>
                    <a:pt x="41646" y="116551"/>
                  </a:cubicBezTo>
                  <a:cubicBezTo>
                    <a:pt x="41646" y="120684"/>
                    <a:pt x="43922" y="124120"/>
                    <a:pt x="42946" y="126999"/>
                  </a:cubicBezTo>
                  <a:cubicBezTo>
                    <a:pt x="48707" y="128067"/>
                    <a:pt x="52981" y="136797"/>
                    <a:pt x="55258" y="136147"/>
                  </a:cubicBezTo>
                  <a:cubicBezTo>
                    <a:pt x="57813" y="135450"/>
                    <a:pt x="75049" y="139676"/>
                    <a:pt x="78208" y="138979"/>
                  </a:cubicBezTo>
                  <a:cubicBezTo>
                    <a:pt x="81413" y="138283"/>
                    <a:pt x="96047" y="138979"/>
                    <a:pt x="101158" y="139676"/>
                  </a:cubicBezTo>
                  <a:cubicBezTo>
                    <a:pt x="106268" y="140372"/>
                    <a:pt x="111983" y="137540"/>
                    <a:pt x="116443" y="132618"/>
                  </a:cubicBezTo>
                  <a:cubicBezTo>
                    <a:pt x="120903" y="127649"/>
                    <a:pt x="136884" y="126953"/>
                    <a:pt x="141994" y="127649"/>
                  </a:cubicBezTo>
                  <a:cubicBezTo>
                    <a:pt x="147058" y="128346"/>
                    <a:pt x="157279" y="129785"/>
                    <a:pt x="159230" y="133314"/>
                  </a:cubicBezTo>
                  <a:cubicBezTo>
                    <a:pt x="160252" y="135125"/>
                    <a:pt x="166246" y="137911"/>
                    <a:pt x="172332" y="140186"/>
                  </a:cubicBezTo>
                  <a:cubicBezTo>
                    <a:pt x="173075" y="136657"/>
                    <a:pt x="172145" y="132107"/>
                    <a:pt x="172332" y="127649"/>
                  </a:cubicBezTo>
                  <a:cubicBezTo>
                    <a:pt x="172656" y="120220"/>
                    <a:pt x="176466" y="108936"/>
                    <a:pt x="183156" y="108239"/>
                  </a:cubicBezTo>
                  <a:cubicBezTo>
                    <a:pt x="189846" y="107543"/>
                    <a:pt x="195282" y="107543"/>
                    <a:pt x="194306" y="95191"/>
                  </a:cubicBezTo>
                  <a:cubicBezTo>
                    <a:pt x="194306" y="94773"/>
                    <a:pt x="194306" y="94448"/>
                    <a:pt x="194259" y="94077"/>
                  </a:cubicBezTo>
                  <a:cubicBezTo>
                    <a:pt x="190868" y="90873"/>
                    <a:pt x="187709" y="88133"/>
                    <a:pt x="186687" y="88133"/>
                  </a:cubicBezTo>
                  <a:cubicBezTo>
                    <a:pt x="184132" y="88133"/>
                    <a:pt x="176466" y="94077"/>
                    <a:pt x="174561" y="93752"/>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6" name="Freeform 62">
              <a:extLst>
                <a:ext uri="{FF2B5EF4-FFF2-40B4-BE49-F238E27FC236}">
                  <a16:creationId xmlns:a16="http://schemas.microsoft.com/office/drawing/2014/main" id="{E8F91E90-96BB-989E-6541-C5EEF7489476}"/>
                </a:ext>
              </a:extLst>
            </p:cNvPr>
            <p:cNvSpPr/>
            <p:nvPr/>
          </p:nvSpPr>
          <p:spPr>
            <a:xfrm>
              <a:off x="11568774" y="1483736"/>
              <a:ext cx="731547" cy="387250"/>
            </a:xfrm>
            <a:custGeom>
              <a:avLst/>
              <a:gdLst>
                <a:gd name="connsiteX0" fmla="*/ 51345 w 156619"/>
                <a:gd name="connsiteY0" fmla="*/ 57834 h 82908"/>
                <a:gd name="connsiteX1" fmla="*/ 78663 w 156619"/>
                <a:gd name="connsiteY1" fmla="*/ 57834 h 82908"/>
                <a:gd name="connsiteX2" fmla="*/ 91346 w 156619"/>
                <a:gd name="connsiteY2" fmla="*/ 63220 h 82908"/>
                <a:gd name="connsiteX3" fmla="*/ 111834 w 156619"/>
                <a:gd name="connsiteY3" fmla="*/ 75107 h 82908"/>
                <a:gd name="connsiteX4" fmla="*/ 122751 w 156619"/>
                <a:gd name="connsiteY4" fmla="*/ 82908 h 82908"/>
                <a:gd name="connsiteX5" fmla="*/ 126932 w 156619"/>
                <a:gd name="connsiteY5" fmla="*/ 77754 h 82908"/>
                <a:gd name="connsiteX6" fmla="*/ 141613 w 156619"/>
                <a:gd name="connsiteY6" fmla="*/ 75618 h 82908"/>
                <a:gd name="connsiteX7" fmla="*/ 149929 w 156619"/>
                <a:gd name="connsiteY7" fmla="*/ 67121 h 82908"/>
                <a:gd name="connsiteX8" fmla="*/ 156619 w 156619"/>
                <a:gd name="connsiteY8" fmla="*/ 64149 h 82908"/>
                <a:gd name="connsiteX9" fmla="*/ 151973 w 156619"/>
                <a:gd name="connsiteY9" fmla="*/ 49475 h 82908"/>
                <a:gd name="connsiteX10" fmla="*/ 145283 w 156619"/>
                <a:gd name="connsiteY10" fmla="*/ 35684 h 82908"/>
                <a:gd name="connsiteX11" fmla="*/ 142867 w 156619"/>
                <a:gd name="connsiteY11" fmla="*/ 22450 h 82908"/>
                <a:gd name="connsiteX12" fmla="*/ 139244 w 156619"/>
                <a:gd name="connsiteY12" fmla="*/ 16368 h 82908"/>
                <a:gd name="connsiteX13" fmla="*/ 118663 w 156619"/>
                <a:gd name="connsiteY13" fmla="*/ 14882 h 82908"/>
                <a:gd name="connsiteX14" fmla="*/ 96967 w 156619"/>
                <a:gd name="connsiteY14" fmla="*/ 765 h 82908"/>
                <a:gd name="connsiteX15" fmla="*/ 73738 w 156619"/>
                <a:gd name="connsiteY15" fmla="*/ 1137 h 82908"/>
                <a:gd name="connsiteX16" fmla="*/ 71787 w 156619"/>
                <a:gd name="connsiteY16" fmla="*/ 24772 h 82908"/>
                <a:gd name="connsiteX17" fmla="*/ 54272 w 156619"/>
                <a:gd name="connsiteY17" fmla="*/ 33966 h 82908"/>
                <a:gd name="connsiteX18" fmla="*/ 35132 w 156619"/>
                <a:gd name="connsiteY18" fmla="*/ 9217 h 82908"/>
                <a:gd name="connsiteX19" fmla="*/ 14365 w 156619"/>
                <a:gd name="connsiteY19" fmla="*/ 19804 h 82908"/>
                <a:gd name="connsiteX20" fmla="*/ 5770 w 156619"/>
                <a:gd name="connsiteY20" fmla="*/ 38888 h 82908"/>
                <a:gd name="connsiteX21" fmla="*/ 2565 w 156619"/>
                <a:gd name="connsiteY21" fmla="*/ 61502 h 82908"/>
                <a:gd name="connsiteX22" fmla="*/ 3122 w 156619"/>
                <a:gd name="connsiteY22" fmla="*/ 62756 h 82908"/>
                <a:gd name="connsiteX23" fmla="*/ 20219 w 156619"/>
                <a:gd name="connsiteY23" fmla="*/ 57834 h 82908"/>
                <a:gd name="connsiteX24" fmla="*/ 51392 w 156619"/>
                <a:gd name="connsiteY24" fmla="*/ 57834 h 8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6619" h="82908">
                  <a:moveTo>
                    <a:pt x="51345" y="57834"/>
                  </a:moveTo>
                  <a:cubicBezTo>
                    <a:pt x="57199" y="57834"/>
                    <a:pt x="70858" y="61084"/>
                    <a:pt x="78663" y="57834"/>
                  </a:cubicBezTo>
                  <a:cubicBezTo>
                    <a:pt x="86468" y="54583"/>
                    <a:pt x="86468" y="64335"/>
                    <a:pt x="91346" y="63220"/>
                  </a:cubicBezTo>
                  <a:cubicBezTo>
                    <a:pt x="96224" y="62152"/>
                    <a:pt x="105980" y="69721"/>
                    <a:pt x="111834" y="75107"/>
                  </a:cubicBezTo>
                  <a:cubicBezTo>
                    <a:pt x="114946" y="77986"/>
                    <a:pt x="118663" y="80262"/>
                    <a:pt x="122751" y="82908"/>
                  </a:cubicBezTo>
                  <a:cubicBezTo>
                    <a:pt x="123680" y="81144"/>
                    <a:pt x="124935" y="79426"/>
                    <a:pt x="126932" y="77754"/>
                  </a:cubicBezTo>
                  <a:cubicBezTo>
                    <a:pt x="132043" y="73529"/>
                    <a:pt x="137153" y="75618"/>
                    <a:pt x="141613" y="75618"/>
                  </a:cubicBezTo>
                  <a:cubicBezTo>
                    <a:pt x="146073" y="75618"/>
                    <a:pt x="146724" y="69953"/>
                    <a:pt x="149929" y="67121"/>
                  </a:cubicBezTo>
                  <a:cubicBezTo>
                    <a:pt x="151741" y="65542"/>
                    <a:pt x="154528" y="64613"/>
                    <a:pt x="156619" y="64149"/>
                  </a:cubicBezTo>
                  <a:cubicBezTo>
                    <a:pt x="154900" y="60248"/>
                    <a:pt x="154807" y="52633"/>
                    <a:pt x="151973" y="49475"/>
                  </a:cubicBezTo>
                  <a:cubicBezTo>
                    <a:pt x="148628" y="45761"/>
                    <a:pt x="143843" y="39399"/>
                    <a:pt x="145283" y="35684"/>
                  </a:cubicBezTo>
                  <a:cubicBezTo>
                    <a:pt x="146724" y="31970"/>
                    <a:pt x="146724" y="26676"/>
                    <a:pt x="142867" y="22450"/>
                  </a:cubicBezTo>
                  <a:cubicBezTo>
                    <a:pt x="141195" y="20593"/>
                    <a:pt x="139894" y="18411"/>
                    <a:pt x="139244" y="16368"/>
                  </a:cubicBezTo>
                  <a:cubicBezTo>
                    <a:pt x="131485" y="15253"/>
                    <a:pt x="120986" y="13999"/>
                    <a:pt x="118663" y="14882"/>
                  </a:cubicBezTo>
                  <a:cubicBezTo>
                    <a:pt x="114854" y="16321"/>
                    <a:pt x="99522" y="2855"/>
                    <a:pt x="96967" y="765"/>
                  </a:cubicBezTo>
                  <a:cubicBezTo>
                    <a:pt x="95295" y="-628"/>
                    <a:pt x="83959" y="115"/>
                    <a:pt x="73738" y="1137"/>
                  </a:cubicBezTo>
                  <a:cubicBezTo>
                    <a:pt x="67838" y="8334"/>
                    <a:pt x="72112" y="13674"/>
                    <a:pt x="71787" y="24772"/>
                  </a:cubicBezTo>
                  <a:cubicBezTo>
                    <a:pt x="71462" y="36102"/>
                    <a:pt x="60312" y="33966"/>
                    <a:pt x="54272" y="33966"/>
                  </a:cubicBezTo>
                  <a:cubicBezTo>
                    <a:pt x="48233" y="33966"/>
                    <a:pt x="38337" y="13814"/>
                    <a:pt x="35132" y="9217"/>
                  </a:cubicBezTo>
                  <a:cubicBezTo>
                    <a:pt x="31926" y="4620"/>
                    <a:pt x="21705" y="14882"/>
                    <a:pt x="14365" y="19804"/>
                  </a:cubicBezTo>
                  <a:cubicBezTo>
                    <a:pt x="7025" y="24772"/>
                    <a:pt x="10834" y="34291"/>
                    <a:pt x="5770" y="38888"/>
                  </a:cubicBezTo>
                  <a:cubicBezTo>
                    <a:pt x="660" y="43485"/>
                    <a:pt x="-2499" y="51240"/>
                    <a:pt x="2565" y="61502"/>
                  </a:cubicBezTo>
                  <a:cubicBezTo>
                    <a:pt x="2751" y="61920"/>
                    <a:pt x="2890" y="62338"/>
                    <a:pt x="3122" y="62756"/>
                  </a:cubicBezTo>
                  <a:cubicBezTo>
                    <a:pt x="9487" y="62199"/>
                    <a:pt x="16270" y="60898"/>
                    <a:pt x="20219" y="57834"/>
                  </a:cubicBezTo>
                  <a:cubicBezTo>
                    <a:pt x="27048" y="52447"/>
                    <a:pt x="45585" y="57834"/>
                    <a:pt x="51392" y="57834"/>
                  </a:cubicBezTo>
                  <a:close/>
                </a:path>
              </a:pathLst>
            </a:custGeom>
            <a:solidFill>
              <a:schemeClr val="accent1"/>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7" name="Freeform 63">
              <a:extLst>
                <a:ext uri="{FF2B5EF4-FFF2-40B4-BE49-F238E27FC236}">
                  <a16:creationId xmlns:a16="http://schemas.microsoft.com/office/drawing/2014/main" id="{A3EB449D-22AC-0F92-1A29-CC0B5764B248}"/>
                </a:ext>
              </a:extLst>
            </p:cNvPr>
            <p:cNvSpPr/>
            <p:nvPr/>
          </p:nvSpPr>
          <p:spPr>
            <a:xfrm>
              <a:off x="11564276" y="1742688"/>
              <a:ext cx="577631" cy="392637"/>
            </a:xfrm>
            <a:custGeom>
              <a:avLst/>
              <a:gdLst>
                <a:gd name="connsiteX0" fmla="*/ 16071 w 123667"/>
                <a:gd name="connsiteY0" fmla="*/ 41213 h 84061"/>
                <a:gd name="connsiteX1" fmla="*/ 28987 w 123667"/>
                <a:gd name="connsiteY1" fmla="*/ 46507 h 84061"/>
                <a:gd name="connsiteX2" fmla="*/ 40926 w 123667"/>
                <a:gd name="connsiteY2" fmla="*/ 54447 h 84061"/>
                <a:gd name="connsiteX3" fmla="*/ 40926 w 123667"/>
                <a:gd name="connsiteY3" fmla="*/ 71396 h 84061"/>
                <a:gd name="connsiteX4" fmla="*/ 57837 w 123667"/>
                <a:gd name="connsiteY4" fmla="*/ 82494 h 84061"/>
                <a:gd name="connsiteX5" fmla="*/ 73633 w 123667"/>
                <a:gd name="connsiteY5" fmla="*/ 83748 h 84061"/>
                <a:gd name="connsiteX6" fmla="*/ 84457 w 123667"/>
                <a:gd name="connsiteY6" fmla="*/ 78083 h 84061"/>
                <a:gd name="connsiteX7" fmla="*/ 98487 w 123667"/>
                <a:gd name="connsiteY7" fmla="*/ 73160 h 84061"/>
                <a:gd name="connsiteX8" fmla="*/ 101693 w 123667"/>
                <a:gd name="connsiteY8" fmla="*/ 61830 h 84061"/>
                <a:gd name="connsiteX9" fmla="*/ 112564 w 123667"/>
                <a:gd name="connsiteY9" fmla="*/ 50547 h 84061"/>
                <a:gd name="connsiteX10" fmla="*/ 119579 w 123667"/>
                <a:gd name="connsiteY10" fmla="*/ 44185 h 84061"/>
                <a:gd name="connsiteX11" fmla="*/ 122135 w 123667"/>
                <a:gd name="connsiteY11" fmla="*/ 34991 h 84061"/>
                <a:gd name="connsiteX12" fmla="*/ 123668 w 123667"/>
                <a:gd name="connsiteY12" fmla="*/ 27469 h 84061"/>
                <a:gd name="connsiteX13" fmla="*/ 112750 w 123667"/>
                <a:gd name="connsiteY13" fmla="*/ 19668 h 84061"/>
                <a:gd name="connsiteX14" fmla="*/ 92262 w 123667"/>
                <a:gd name="connsiteY14" fmla="*/ 7780 h 84061"/>
                <a:gd name="connsiteX15" fmla="*/ 79579 w 123667"/>
                <a:gd name="connsiteY15" fmla="*/ 2394 h 84061"/>
                <a:gd name="connsiteX16" fmla="*/ 52262 w 123667"/>
                <a:gd name="connsiteY16" fmla="*/ 2394 h 84061"/>
                <a:gd name="connsiteX17" fmla="*/ 21089 w 123667"/>
                <a:gd name="connsiteY17" fmla="*/ 2394 h 84061"/>
                <a:gd name="connsiteX18" fmla="*/ 3992 w 123667"/>
                <a:gd name="connsiteY18" fmla="*/ 7316 h 84061"/>
                <a:gd name="connsiteX19" fmla="*/ 1855 w 123667"/>
                <a:gd name="connsiteY19" fmla="*/ 33273 h 84061"/>
                <a:gd name="connsiteX20" fmla="*/ 2924 w 123667"/>
                <a:gd name="connsiteY20" fmla="*/ 39913 h 84061"/>
                <a:gd name="connsiteX21" fmla="*/ 16025 w 123667"/>
                <a:gd name="connsiteY21" fmla="*/ 41213 h 8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3667" h="84061">
                  <a:moveTo>
                    <a:pt x="16071" y="41213"/>
                  </a:moveTo>
                  <a:cubicBezTo>
                    <a:pt x="18441" y="44928"/>
                    <a:pt x="26106" y="48086"/>
                    <a:pt x="28987" y="46507"/>
                  </a:cubicBezTo>
                  <a:cubicBezTo>
                    <a:pt x="31867" y="44928"/>
                    <a:pt x="40926" y="50222"/>
                    <a:pt x="40926" y="54447"/>
                  </a:cubicBezTo>
                  <a:cubicBezTo>
                    <a:pt x="40926" y="58673"/>
                    <a:pt x="38557" y="71396"/>
                    <a:pt x="40926" y="71396"/>
                  </a:cubicBezTo>
                  <a:cubicBezTo>
                    <a:pt x="43110" y="71396"/>
                    <a:pt x="56861" y="76132"/>
                    <a:pt x="57837" y="82494"/>
                  </a:cubicBezTo>
                  <a:cubicBezTo>
                    <a:pt x="64016" y="82633"/>
                    <a:pt x="71031" y="83005"/>
                    <a:pt x="73633" y="83748"/>
                  </a:cubicBezTo>
                  <a:cubicBezTo>
                    <a:pt x="78743" y="85141"/>
                    <a:pt x="81902" y="81658"/>
                    <a:pt x="84457" y="78083"/>
                  </a:cubicBezTo>
                  <a:cubicBezTo>
                    <a:pt x="87012" y="74553"/>
                    <a:pt x="95932" y="73160"/>
                    <a:pt x="98487" y="73160"/>
                  </a:cubicBezTo>
                  <a:cubicBezTo>
                    <a:pt x="101043" y="73160"/>
                    <a:pt x="101043" y="65406"/>
                    <a:pt x="101693" y="61830"/>
                  </a:cubicBezTo>
                  <a:cubicBezTo>
                    <a:pt x="102343" y="58301"/>
                    <a:pt x="108708" y="51940"/>
                    <a:pt x="112564" y="50547"/>
                  </a:cubicBezTo>
                  <a:cubicBezTo>
                    <a:pt x="116420" y="49107"/>
                    <a:pt x="115770" y="44185"/>
                    <a:pt x="119579" y="44185"/>
                  </a:cubicBezTo>
                  <a:cubicBezTo>
                    <a:pt x="123389" y="44185"/>
                    <a:pt x="122785" y="38520"/>
                    <a:pt x="122135" y="34991"/>
                  </a:cubicBezTo>
                  <a:cubicBezTo>
                    <a:pt x="121763" y="32855"/>
                    <a:pt x="122228" y="30162"/>
                    <a:pt x="123668" y="27469"/>
                  </a:cubicBezTo>
                  <a:cubicBezTo>
                    <a:pt x="119579" y="24822"/>
                    <a:pt x="115863" y="22547"/>
                    <a:pt x="112750" y="19668"/>
                  </a:cubicBezTo>
                  <a:cubicBezTo>
                    <a:pt x="106896" y="14281"/>
                    <a:pt x="97140" y="6712"/>
                    <a:pt x="92262" y="7780"/>
                  </a:cubicBezTo>
                  <a:cubicBezTo>
                    <a:pt x="87384" y="8895"/>
                    <a:pt x="87384" y="-857"/>
                    <a:pt x="79579" y="2394"/>
                  </a:cubicBezTo>
                  <a:cubicBezTo>
                    <a:pt x="71774" y="5644"/>
                    <a:pt x="58116" y="2394"/>
                    <a:pt x="52262" y="2394"/>
                  </a:cubicBezTo>
                  <a:cubicBezTo>
                    <a:pt x="46408" y="2394"/>
                    <a:pt x="27872" y="-2992"/>
                    <a:pt x="21089" y="2394"/>
                  </a:cubicBezTo>
                  <a:cubicBezTo>
                    <a:pt x="17186" y="5459"/>
                    <a:pt x="10403" y="6759"/>
                    <a:pt x="3992" y="7316"/>
                  </a:cubicBezTo>
                  <a:cubicBezTo>
                    <a:pt x="8359" y="17160"/>
                    <a:pt x="6780" y="27144"/>
                    <a:pt x="1855" y="33273"/>
                  </a:cubicBezTo>
                  <a:cubicBezTo>
                    <a:pt x="-1629" y="37638"/>
                    <a:pt x="415" y="38195"/>
                    <a:pt x="2924" y="39913"/>
                  </a:cubicBezTo>
                  <a:cubicBezTo>
                    <a:pt x="8173" y="39356"/>
                    <a:pt x="14120" y="38242"/>
                    <a:pt x="16025" y="41213"/>
                  </a:cubicBezTo>
                  <a:close/>
                </a:path>
              </a:pathLst>
            </a:custGeom>
            <a:solidFill>
              <a:schemeClr val="accent1"/>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8" name="Freeform 64">
              <a:extLst>
                <a:ext uri="{FF2B5EF4-FFF2-40B4-BE49-F238E27FC236}">
                  <a16:creationId xmlns:a16="http://schemas.microsoft.com/office/drawing/2014/main" id="{E5B81925-2653-B68A-5AB9-A4A10B31C07D}"/>
                </a:ext>
              </a:extLst>
            </p:cNvPr>
            <p:cNvSpPr/>
            <p:nvPr/>
          </p:nvSpPr>
          <p:spPr>
            <a:xfrm>
              <a:off x="10121603" y="3070596"/>
              <a:ext cx="450540" cy="264401"/>
            </a:xfrm>
            <a:custGeom>
              <a:avLst/>
              <a:gdLst>
                <a:gd name="connsiteX0" fmla="*/ 85773 w 96458"/>
                <a:gd name="connsiteY0" fmla="*/ 23917 h 56607"/>
                <a:gd name="connsiteX1" fmla="*/ 74763 w 96458"/>
                <a:gd name="connsiteY1" fmla="*/ 17556 h 56607"/>
                <a:gd name="connsiteX2" fmla="*/ 74763 w 96458"/>
                <a:gd name="connsiteY2" fmla="*/ 7526 h 56607"/>
                <a:gd name="connsiteX3" fmla="*/ 62312 w 96458"/>
                <a:gd name="connsiteY3" fmla="*/ 1490 h 56607"/>
                <a:gd name="connsiteX4" fmla="*/ 47631 w 96458"/>
                <a:gd name="connsiteY4" fmla="*/ 2186 h 56607"/>
                <a:gd name="connsiteX5" fmla="*/ 29327 w 96458"/>
                <a:gd name="connsiteY5" fmla="*/ 2882 h 56607"/>
                <a:gd name="connsiteX6" fmla="*/ 26400 w 96458"/>
                <a:gd name="connsiteY6" fmla="*/ 6412 h 56607"/>
                <a:gd name="connsiteX7" fmla="*/ 15389 w 96458"/>
                <a:gd name="connsiteY7" fmla="*/ 16488 h 56607"/>
                <a:gd name="connsiteX8" fmla="*/ 1499 w 96458"/>
                <a:gd name="connsiteY8" fmla="*/ 35573 h 56607"/>
                <a:gd name="connsiteX9" fmla="*/ 4379 w 96458"/>
                <a:gd name="connsiteY9" fmla="*/ 43513 h 56607"/>
                <a:gd name="connsiteX10" fmla="*/ 13949 w 96458"/>
                <a:gd name="connsiteY10" fmla="*/ 44581 h 56607"/>
                <a:gd name="connsiteX11" fmla="*/ 17759 w 96458"/>
                <a:gd name="connsiteY11" fmla="*/ 56236 h 56607"/>
                <a:gd name="connsiteX12" fmla="*/ 17712 w 96458"/>
                <a:gd name="connsiteY12" fmla="*/ 56608 h 56607"/>
                <a:gd name="connsiteX13" fmla="*/ 36110 w 96458"/>
                <a:gd name="connsiteY13" fmla="*/ 55168 h 56607"/>
                <a:gd name="connsiteX14" fmla="*/ 46934 w 96458"/>
                <a:gd name="connsiteY14" fmla="*/ 38219 h 56607"/>
                <a:gd name="connsiteX15" fmla="*/ 59060 w 96458"/>
                <a:gd name="connsiteY15" fmla="*/ 54472 h 56607"/>
                <a:gd name="connsiteX16" fmla="*/ 64821 w 96458"/>
                <a:gd name="connsiteY16" fmla="*/ 45974 h 56607"/>
                <a:gd name="connsiteX17" fmla="*/ 72486 w 96458"/>
                <a:gd name="connsiteY17" fmla="*/ 41052 h 56607"/>
                <a:gd name="connsiteX18" fmla="*/ 82707 w 96458"/>
                <a:gd name="connsiteY18" fmla="*/ 38219 h 56607"/>
                <a:gd name="connsiteX19" fmla="*/ 89072 w 96458"/>
                <a:gd name="connsiteY19" fmla="*/ 35433 h 56607"/>
                <a:gd name="connsiteX20" fmla="*/ 92277 w 96458"/>
                <a:gd name="connsiteY20" fmla="*/ 29768 h 56607"/>
                <a:gd name="connsiteX21" fmla="*/ 96458 w 96458"/>
                <a:gd name="connsiteY21" fmla="*/ 25496 h 56607"/>
                <a:gd name="connsiteX22" fmla="*/ 85727 w 96458"/>
                <a:gd name="connsiteY22" fmla="*/ 23964 h 56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6458" h="56607">
                  <a:moveTo>
                    <a:pt x="85773" y="23917"/>
                  </a:moveTo>
                  <a:cubicBezTo>
                    <a:pt x="81453" y="26007"/>
                    <a:pt x="74763" y="19692"/>
                    <a:pt x="74763" y="17556"/>
                  </a:cubicBezTo>
                  <a:cubicBezTo>
                    <a:pt x="74763" y="16070"/>
                    <a:pt x="73880" y="10823"/>
                    <a:pt x="74763" y="7526"/>
                  </a:cubicBezTo>
                  <a:cubicBezTo>
                    <a:pt x="71232" y="5483"/>
                    <a:pt x="66122" y="2743"/>
                    <a:pt x="62312" y="1490"/>
                  </a:cubicBezTo>
                  <a:cubicBezTo>
                    <a:pt x="55947" y="-600"/>
                    <a:pt x="52742" y="-600"/>
                    <a:pt x="47631" y="2186"/>
                  </a:cubicBezTo>
                  <a:cubicBezTo>
                    <a:pt x="44379" y="3997"/>
                    <a:pt x="35413" y="3486"/>
                    <a:pt x="29327" y="2882"/>
                  </a:cubicBezTo>
                  <a:cubicBezTo>
                    <a:pt x="28769" y="4972"/>
                    <a:pt x="27933" y="6412"/>
                    <a:pt x="26400" y="6412"/>
                  </a:cubicBezTo>
                  <a:cubicBezTo>
                    <a:pt x="22079" y="6412"/>
                    <a:pt x="16365" y="11194"/>
                    <a:pt x="15389" y="16488"/>
                  </a:cubicBezTo>
                  <a:cubicBezTo>
                    <a:pt x="14414" y="21781"/>
                    <a:pt x="4379" y="26007"/>
                    <a:pt x="1499" y="35573"/>
                  </a:cubicBezTo>
                  <a:cubicBezTo>
                    <a:pt x="-1382" y="45092"/>
                    <a:pt x="58" y="49364"/>
                    <a:pt x="4379" y="43513"/>
                  </a:cubicBezTo>
                  <a:cubicBezTo>
                    <a:pt x="8699" y="37709"/>
                    <a:pt x="13949" y="39798"/>
                    <a:pt x="13949" y="44581"/>
                  </a:cubicBezTo>
                  <a:cubicBezTo>
                    <a:pt x="13949" y="49364"/>
                    <a:pt x="19710" y="49874"/>
                    <a:pt x="17759" y="56236"/>
                  </a:cubicBezTo>
                  <a:cubicBezTo>
                    <a:pt x="17759" y="56375"/>
                    <a:pt x="17759" y="56468"/>
                    <a:pt x="17712" y="56608"/>
                  </a:cubicBezTo>
                  <a:cubicBezTo>
                    <a:pt x="24263" y="55957"/>
                    <a:pt x="33369" y="55168"/>
                    <a:pt x="36110" y="55168"/>
                  </a:cubicBezTo>
                  <a:cubicBezTo>
                    <a:pt x="40570" y="55168"/>
                    <a:pt x="45030" y="39659"/>
                    <a:pt x="46934" y="38219"/>
                  </a:cubicBezTo>
                  <a:cubicBezTo>
                    <a:pt x="48839" y="36826"/>
                    <a:pt x="53949" y="49549"/>
                    <a:pt x="59060" y="54472"/>
                  </a:cubicBezTo>
                  <a:cubicBezTo>
                    <a:pt x="64170" y="59394"/>
                    <a:pt x="64821" y="50246"/>
                    <a:pt x="64821" y="45974"/>
                  </a:cubicBezTo>
                  <a:cubicBezTo>
                    <a:pt x="64821" y="41702"/>
                    <a:pt x="69281" y="40309"/>
                    <a:pt x="72486" y="41052"/>
                  </a:cubicBezTo>
                  <a:cubicBezTo>
                    <a:pt x="75692" y="41748"/>
                    <a:pt x="82707" y="43141"/>
                    <a:pt x="82707" y="38219"/>
                  </a:cubicBezTo>
                  <a:cubicBezTo>
                    <a:pt x="82707" y="33297"/>
                    <a:pt x="86516" y="35433"/>
                    <a:pt x="89072" y="35433"/>
                  </a:cubicBezTo>
                  <a:cubicBezTo>
                    <a:pt x="91627" y="35433"/>
                    <a:pt x="92277" y="29768"/>
                    <a:pt x="92277" y="29768"/>
                  </a:cubicBezTo>
                  <a:lnTo>
                    <a:pt x="96458" y="25496"/>
                  </a:lnTo>
                  <a:cubicBezTo>
                    <a:pt x="93067" y="23592"/>
                    <a:pt x="89118" y="22292"/>
                    <a:pt x="85727" y="23964"/>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9" name="Freeform 67">
              <a:extLst>
                <a:ext uri="{FF2B5EF4-FFF2-40B4-BE49-F238E27FC236}">
                  <a16:creationId xmlns:a16="http://schemas.microsoft.com/office/drawing/2014/main" id="{3E37F2A2-D21C-04AB-DF86-5B953DABB105}"/>
                </a:ext>
              </a:extLst>
            </p:cNvPr>
            <p:cNvSpPr/>
            <p:nvPr/>
          </p:nvSpPr>
          <p:spPr>
            <a:xfrm>
              <a:off x="10108679" y="2001996"/>
              <a:ext cx="895308" cy="1116032"/>
            </a:xfrm>
            <a:custGeom>
              <a:avLst/>
              <a:gdLst>
                <a:gd name="connsiteX0" fmla="*/ 24288 w 191679"/>
                <a:gd name="connsiteY0" fmla="*/ 62873 h 238935"/>
                <a:gd name="connsiteX1" fmla="*/ 13417 w 191679"/>
                <a:gd name="connsiteY1" fmla="*/ 74156 h 238935"/>
                <a:gd name="connsiteX2" fmla="*/ 20432 w 191679"/>
                <a:gd name="connsiteY2" fmla="*/ 86879 h 238935"/>
                <a:gd name="connsiteX3" fmla="*/ 15972 w 191679"/>
                <a:gd name="connsiteY3" fmla="*/ 94680 h 238935"/>
                <a:gd name="connsiteX4" fmla="*/ 3847 w 191679"/>
                <a:gd name="connsiteY4" fmla="*/ 101042 h 238935"/>
                <a:gd name="connsiteX5" fmla="*/ 2592 w 191679"/>
                <a:gd name="connsiteY5" fmla="*/ 112326 h 238935"/>
                <a:gd name="connsiteX6" fmla="*/ 37 w 191679"/>
                <a:gd name="connsiteY6" fmla="*/ 131410 h 238935"/>
                <a:gd name="connsiteX7" fmla="*/ 5798 w 191679"/>
                <a:gd name="connsiteY7" fmla="*/ 146223 h 238935"/>
                <a:gd name="connsiteX8" fmla="*/ 1338 w 191679"/>
                <a:gd name="connsiteY8" fmla="*/ 155417 h 238935"/>
                <a:gd name="connsiteX9" fmla="*/ 8167 w 191679"/>
                <a:gd name="connsiteY9" fmla="*/ 175198 h 238935"/>
                <a:gd name="connsiteX10" fmla="*/ 12952 w 191679"/>
                <a:gd name="connsiteY10" fmla="*/ 177984 h 238935"/>
                <a:gd name="connsiteX11" fmla="*/ 26843 w 191679"/>
                <a:gd name="connsiteY11" fmla="*/ 185414 h 238935"/>
                <a:gd name="connsiteX12" fmla="*/ 38318 w 191679"/>
                <a:gd name="connsiteY12" fmla="*/ 189639 h 238935"/>
                <a:gd name="connsiteX13" fmla="*/ 42639 w 191679"/>
                <a:gd name="connsiteY13" fmla="*/ 197580 h 238935"/>
                <a:gd name="connsiteX14" fmla="*/ 34044 w 191679"/>
                <a:gd name="connsiteY14" fmla="*/ 217175 h 238935"/>
                <a:gd name="connsiteX15" fmla="*/ 32186 w 191679"/>
                <a:gd name="connsiteY15" fmla="*/ 231663 h 238935"/>
                <a:gd name="connsiteX16" fmla="*/ 50490 w 191679"/>
                <a:gd name="connsiteY16" fmla="*/ 230966 h 238935"/>
                <a:gd name="connsiteX17" fmla="*/ 65171 w 191679"/>
                <a:gd name="connsiteY17" fmla="*/ 230270 h 238935"/>
                <a:gd name="connsiteX18" fmla="*/ 77622 w 191679"/>
                <a:gd name="connsiteY18" fmla="*/ 236306 h 238935"/>
                <a:gd name="connsiteX19" fmla="*/ 79991 w 191679"/>
                <a:gd name="connsiteY19" fmla="*/ 233613 h 238935"/>
                <a:gd name="connsiteX20" fmla="*/ 92442 w 191679"/>
                <a:gd name="connsiteY20" fmla="*/ 237328 h 238935"/>
                <a:gd name="connsiteX21" fmla="*/ 105357 w 191679"/>
                <a:gd name="connsiteY21" fmla="*/ 235238 h 238935"/>
                <a:gd name="connsiteX22" fmla="*/ 117808 w 191679"/>
                <a:gd name="connsiteY22" fmla="*/ 234170 h 238935"/>
                <a:gd name="connsiteX23" fmla="*/ 139829 w 191679"/>
                <a:gd name="connsiteY23" fmla="*/ 229434 h 238935"/>
                <a:gd name="connsiteX24" fmla="*/ 148424 w 191679"/>
                <a:gd name="connsiteY24" fmla="*/ 222562 h 238935"/>
                <a:gd name="connsiteX25" fmla="*/ 157018 w 191679"/>
                <a:gd name="connsiteY25" fmla="*/ 207749 h 238935"/>
                <a:gd name="connsiteX26" fmla="*/ 169004 w 191679"/>
                <a:gd name="connsiteY26" fmla="*/ 197162 h 238935"/>
                <a:gd name="connsiteX27" fmla="*/ 146519 w 191679"/>
                <a:gd name="connsiteY27" fmla="*/ 178634 h 238935"/>
                <a:gd name="connsiteX28" fmla="*/ 139364 w 191679"/>
                <a:gd name="connsiteY28" fmla="*/ 158482 h 238935"/>
                <a:gd name="connsiteX29" fmla="*/ 137924 w 191679"/>
                <a:gd name="connsiteY29" fmla="*/ 145759 h 238935"/>
                <a:gd name="connsiteX30" fmla="*/ 160409 w 191679"/>
                <a:gd name="connsiteY30" fmla="*/ 136239 h 238935"/>
                <a:gd name="connsiteX31" fmla="*/ 178110 w 191679"/>
                <a:gd name="connsiteY31" fmla="*/ 127231 h 238935"/>
                <a:gd name="connsiteX32" fmla="*/ 189585 w 191679"/>
                <a:gd name="connsiteY32" fmla="*/ 126674 h 238935"/>
                <a:gd name="connsiteX33" fmla="*/ 190050 w 191679"/>
                <a:gd name="connsiteY33" fmla="*/ 113440 h 238935"/>
                <a:gd name="connsiteX34" fmla="*/ 184800 w 191679"/>
                <a:gd name="connsiteY34" fmla="*/ 94355 h 238935"/>
                <a:gd name="connsiteX35" fmla="*/ 181920 w 191679"/>
                <a:gd name="connsiteY35" fmla="*/ 81632 h 238935"/>
                <a:gd name="connsiteX36" fmla="*/ 177134 w 191679"/>
                <a:gd name="connsiteY36" fmla="*/ 69977 h 238935"/>
                <a:gd name="connsiteX37" fmla="*/ 175694 w 191679"/>
                <a:gd name="connsiteY37" fmla="*/ 60458 h 238935"/>
                <a:gd name="connsiteX38" fmla="*/ 176159 w 191679"/>
                <a:gd name="connsiteY38" fmla="*/ 35569 h 238935"/>
                <a:gd name="connsiteX39" fmla="*/ 176066 w 191679"/>
                <a:gd name="connsiteY39" fmla="*/ 32644 h 238935"/>
                <a:gd name="connsiteX40" fmla="*/ 174254 w 191679"/>
                <a:gd name="connsiteY40" fmla="*/ 29718 h 238935"/>
                <a:gd name="connsiteX41" fmla="*/ 161525 w 191679"/>
                <a:gd name="connsiteY41" fmla="*/ 21964 h 238935"/>
                <a:gd name="connsiteX42" fmla="*/ 163429 w 191679"/>
                <a:gd name="connsiteY42" fmla="*/ 8172 h 238935"/>
                <a:gd name="connsiteX43" fmla="*/ 144289 w 191679"/>
                <a:gd name="connsiteY43" fmla="*/ 13791 h 238935"/>
                <a:gd name="connsiteX44" fmla="*/ 120038 w 191679"/>
                <a:gd name="connsiteY44" fmla="*/ 29347 h 238935"/>
                <a:gd name="connsiteX45" fmla="*/ 108841 w 191679"/>
                <a:gd name="connsiteY45" fmla="*/ 20153 h 238935"/>
                <a:gd name="connsiteX46" fmla="*/ 101176 w 191679"/>
                <a:gd name="connsiteY46" fmla="*/ 15927 h 238935"/>
                <a:gd name="connsiteX47" fmla="*/ 85241 w 191679"/>
                <a:gd name="connsiteY47" fmla="*/ 7429 h 238935"/>
                <a:gd name="connsiteX48" fmla="*/ 83987 w 191679"/>
                <a:gd name="connsiteY48" fmla="*/ 1950 h 238935"/>
                <a:gd name="connsiteX49" fmla="*/ 75996 w 191679"/>
                <a:gd name="connsiteY49" fmla="*/ 2136 h 238935"/>
                <a:gd name="connsiteX50" fmla="*/ 56298 w 191679"/>
                <a:gd name="connsiteY50" fmla="*/ 0 h 238935"/>
                <a:gd name="connsiteX51" fmla="*/ 60014 w 191679"/>
                <a:gd name="connsiteY51" fmla="*/ 11330 h 238935"/>
                <a:gd name="connsiteX52" fmla="*/ 65775 w 191679"/>
                <a:gd name="connsiteY52" fmla="*/ 31808 h 238935"/>
                <a:gd name="connsiteX53" fmla="*/ 56530 w 191679"/>
                <a:gd name="connsiteY53" fmla="*/ 41327 h 238935"/>
                <a:gd name="connsiteX54" fmla="*/ 40595 w 191679"/>
                <a:gd name="connsiteY54" fmla="*/ 38866 h 238935"/>
                <a:gd name="connsiteX55" fmla="*/ 24335 w 191679"/>
                <a:gd name="connsiteY55" fmla="*/ 41698 h 238935"/>
                <a:gd name="connsiteX56" fmla="*/ 23731 w 191679"/>
                <a:gd name="connsiteY56" fmla="*/ 46713 h 238935"/>
                <a:gd name="connsiteX57" fmla="*/ 24335 w 191679"/>
                <a:gd name="connsiteY57" fmla="*/ 62919 h 238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91679" h="238935">
                  <a:moveTo>
                    <a:pt x="24288" y="62873"/>
                  </a:moveTo>
                  <a:cubicBezTo>
                    <a:pt x="19178" y="71324"/>
                    <a:pt x="12163" y="72020"/>
                    <a:pt x="13417" y="74156"/>
                  </a:cubicBezTo>
                  <a:cubicBezTo>
                    <a:pt x="14718" y="76292"/>
                    <a:pt x="22337" y="83350"/>
                    <a:pt x="20432" y="86879"/>
                  </a:cubicBezTo>
                  <a:cubicBezTo>
                    <a:pt x="18527" y="90408"/>
                    <a:pt x="15972" y="88319"/>
                    <a:pt x="15972" y="94680"/>
                  </a:cubicBezTo>
                  <a:cubicBezTo>
                    <a:pt x="15972" y="101042"/>
                    <a:pt x="7052" y="101042"/>
                    <a:pt x="3847" y="101042"/>
                  </a:cubicBezTo>
                  <a:cubicBezTo>
                    <a:pt x="641" y="101042"/>
                    <a:pt x="4497" y="107403"/>
                    <a:pt x="2592" y="112326"/>
                  </a:cubicBezTo>
                  <a:cubicBezTo>
                    <a:pt x="687" y="117248"/>
                    <a:pt x="687" y="127138"/>
                    <a:pt x="37" y="131410"/>
                  </a:cubicBezTo>
                  <a:cubicBezTo>
                    <a:pt x="-567" y="135636"/>
                    <a:pt x="6402" y="142694"/>
                    <a:pt x="5798" y="146223"/>
                  </a:cubicBezTo>
                  <a:cubicBezTo>
                    <a:pt x="5147" y="149752"/>
                    <a:pt x="37" y="152584"/>
                    <a:pt x="1338" y="155417"/>
                  </a:cubicBezTo>
                  <a:cubicBezTo>
                    <a:pt x="2546" y="158110"/>
                    <a:pt x="7145" y="162150"/>
                    <a:pt x="8167" y="175198"/>
                  </a:cubicBezTo>
                  <a:cubicBezTo>
                    <a:pt x="10351" y="175895"/>
                    <a:pt x="12163" y="176823"/>
                    <a:pt x="12952" y="177984"/>
                  </a:cubicBezTo>
                  <a:cubicBezTo>
                    <a:pt x="15833" y="182210"/>
                    <a:pt x="20618" y="185414"/>
                    <a:pt x="26843" y="185414"/>
                  </a:cubicBezTo>
                  <a:cubicBezTo>
                    <a:pt x="33069" y="185414"/>
                    <a:pt x="35438" y="190197"/>
                    <a:pt x="38318" y="189639"/>
                  </a:cubicBezTo>
                  <a:cubicBezTo>
                    <a:pt x="41199" y="189129"/>
                    <a:pt x="48864" y="191775"/>
                    <a:pt x="42639" y="197580"/>
                  </a:cubicBezTo>
                  <a:cubicBezTo>
                    <a:pt x="36413" y="203384"/>
                    <a:pt x="35438" y="210303"/>
                    <a:pt x="34044" y="217175"/>
                  </a:cubicBezTo>
                  <a:cubicBezTo>
                    <a:pt x="33115" y="221633"/>
                    <a:pt x="33162" y="227809"/>
                    <a:pt x="32186" y="231663"/>
                  </a:cubicBezTo>
                  <a:cubicBezTo>
                    <a:pt x="38272" y="232266"/>
                    <a:pt x="47238" y="232731"/>
                    <a:pt x="50490" y="230966"/>
                  </a:cubicBezTo>
                  <a:cubicBezTo>
                    <a:pt x="55601" y="228180"/>
                    <a:pt x="58760" y="228180"/>
                    <a:pt x="65171" y="230270"/>
                  </a:cubicBezTo>
                  <a:cubicBezTo>
                    <a:pt x="68980" y="231524"/>
                    <a:pt x="74091" y="234263"/>
                    <a:pt x="77622" y="236306"/>
                  </a:cubicBezTo>
                  <a:cubicBezTo>
                    <a:pt x="77993" y="234867"/>
                    <a:pt x="78690" y="233799"/>
                    <a:pt x="79991" y="233613"/>
                  </a:cubicBezTo>
                  <a:cubicBezTo>
                    <a:pt x="84311" y="233102"/>
                    <a:pt x="89561" y="242621"/>
                    <a:pt x="92442" y="237328"/>
                  </a:cubicBezTo>
                  <a:cubicBezTo>
                    <a:pt x="95322" y="232034"/>
                    <a:pt x="102012" y="233102"/>
                    <a:pt x="105357" y="235238"/>
                  </a:cubicBezTo>
                  <a:cubicBezTo>
                    <a:pt x="108702" y="237328"/>
                    <a:pt x="113952" y="238396"/>
                    <a:pt x="117808" y="234170"/>
                  </a:cubicBezTo>
                  <a:cubicBezTo>
                    <a:pt x="121617" y="229945"/>
                    <a:pt x="136437" y="227809"/>
                    <a:pt x="139829" y="229434"/>
                  </a:cubicBezTo>
                  <a:cubicBezTo>
                    <a:pt x="143174" y="231013"/>
                    <a:pt x="151768" y="235238"/>
                    <a:pt x="148424" y="222562"/>
                  </a:cubicBezTo>
                  <a:cubicBezTo>
                    <a:pt x="145078" y="209839"/>
                    <a:pt x="155578" y="212485"/>
                    <a:pt x="157018" y="207749"/>
                  </a:cubicBezTo>
                  <a:cubicBezTo>
                    <a:pt x="158458" y="202966"/>
                    <a:pt x="170909" y="200877"/>
                    <a:pt x="169004" y="197162"/>
                  </a:cubicBezTo>
                  <a:cubicBezTo>
                    <a:pt x="167099" y="193447"/>
                    <a:pt x="151304" y="182303"/>
                    <a:pt x="146519" y="178634"/>
                  </a:cubicBezTo>
                  <a:cubicBezTo>
                    <a:pt x="141734" y="174920"/>
                    <a:pt x="141734" y="163264"/>
                    <a:pt x="139364" y="158482"/>
                  </a:cubicBezTo>
                  <a:cubicBezTo>
                    <a:pt x="136995" y="153699"/>
                    <a:pt x="131699" y="147384"/>
                    <a:pt x="137924" y="145759"/>
                  </a:cubicBezTo>
                  <a:cubicBezTo>
                    <a:pt x="144149" y="144180"/>
                    <a:pt x="155160" y="141533"/>
                    <a:pt x="160409" y="136239"/>
                  </a:cubicBezTo>
                  <a:cubicBezTo>
                    <a:pt x="165659" y="130946"/>
                    <a:pt x="175230" y="130435"/>
                    <a:pt x="178110" y="127231"/>
                  </a:cubicBezTo>
                  <a:cubicBezTo>
                    <a:pt x="180990" y="124074"/>
                    <a:pt x="187680" y="129878"/>
                    <a:pt x="189585" y="126674"/>
                  </a:cubicBezTo>
                  <a:cubicBezTo>
                    <a:pt x="191490" y="123516"/>
                    <a:pt x="192930" y="117155"/>
                    <a:pt x="190050" y="113440"/>
                  </a:cubicBezTo>
                  <a:cubicBezTo>
                    <a:pt x="187169" y="109725"/>
                    <a:pt x="185265" y="103364"/>
                    <a:pt x="184800" y="94355"/>
                  </a:cubicBezTo>
                  <a:cubicBezTo>
                    <a:pt x="184335" y="85347"/>
                    <a:pt x="181920" y="85858"/>
                    <a:pt x="181920" y="81632"/>
                  </a:cubicBezTo>
                  <a:cubicBezTo>
                    <a:pt x="181920" y="77407"/>
                    <a:pt x="180479" y="72113"/>
                    <a:pt x="177134" y="69977"/>
                  </a:cubicBezTo>
                  <a:cubicBezTo>
                    <a:pt x="173789" y="67888"/>
                    <a:pt x="172349" y="66262"/>
                    <a:pt x="175694" y="60458"/>
                  </a:cubicBezTo>
                  <a:cubicBezTo>
                    <a:pt x="179039" y="54607"/>
                    <a:pt x="177599" y="39794"/>
                    <a:pt x="176159" y="35569"/>
                  </a:cubicBezTo>
                  <a:cubicBezTo>
                    <a:pt x="175880" y="34733"/>
                    <a:pt x="175927" y="33758"/>
                    <a:pt x="176066" y="32644"/>
                  </a:cubicBezTo>
                  <a:cubicBezTo>
                    <a:pt x="175230" y="32179"/>
                    <a:pt x="174533" y="31250"/>
                    <a:pt x="174254" y="29718"/>
                  </a:cubicBezTo>
                  <a:cubicBezTo>
                    <a:pt x="173278" y="24053"/>
                    <a:pt x="169794" y="21964"/>
                    <a:pt x="161525" y="21964"/>
                  </a:cubicBezTo>
                  <a:cubicBezTo>
                    <a:pt x="153255" y="21964"/>
                    <a:pt x="166635" y="12770"/>
                    <a:pt x="163429" y="8172"/>
                  </a:cubicBezTo>
                  <a:cubicBezTo>
                    <a:pt x="160270" y="3575"/>
                    <a:pt x="151954" y="16624"/>
                    <a:pt x="144289" y="13791"/>
                  </a:cubicBezTo>
                  <a:cubicBezTo>
                    <a:pt x="136623" y="11005"/>
                    <a:pt x="126774" y="23682"/>
                    <a:pt x="120038" y="29347"/>
                  </a:cubicBezTo>
                  <a:cubicBezTo>
                    <a:pt x="113348" y="35012"/>
                    <a:pt x="103777" y="28279"/>
                    <a:pt x="108841" y="20153"/>
                  </a:cubicBezTo>
                  <a:cubicBezTo>
                    <a:pt x="113952" y="12027"/>
                    <a:pt x="108841" y="12723"/>
                    <a:pt x="101176" y="15927"/>
                  </a:cubicBezTo>
                  <a:cubicBezTo>
                    <a:pt x="93510" y="19085"/>
                    <a:pt x="84265" y="15231"/>
                    <a:pt x="85241" y="7429"/>
                  </a:cubicBezTo>
                  <a:cubicBezTo>
                    <a:pt x="85473" y="5479"/>
                    <a:pt x="84915" y="3668"/>
                    <a:pt x="83987" y="1950"/>
                  </a:cubicBezTo>
                  <a:cubicBezTo>
                    <a:pt x="80270" y="2507"/>
                    <a:pt x="77389" y="2647"/>
                    <a:pt x="75996" y="2136"/>
                  </a:cubicBezTo>
                  <a:cubicBezTo>
                    <a:pt x="72558" y="882"/>
                    <a:pt x="64799" y="186"/>
                    <a:pt x="56298" y="0"/>
                  </a:cubicBezTo>
                  <a:cubicBezTo>
                    <a:pt x="58853" y="4133"/>
                    <a:pt x="61594" y="8126"/>
                    <a:pt x="60014" y="11330"/>
                  </a:cubicBezTo>
                  <a:cubicBezTo>
                    <a:pt x="57134" y="17320"/>
                    <a:pt x="61594" y="22985"/>
                    <a:pt x="65775" y="31808"/>
                  </a:cubicBezTo>
                  <a:cubicBezTo>
                    <a:pt x="69910" y="40630"/>
                    <a:pt x="56855" y="35708"/>
                    <a:pt x="56530" y="41327"/>
                  </a:cubicBezTo>
                  <a:cubicBezTo>
                    <a:pt x="56205" y="46992"/>
                    <a:pt x="44404" y="40955"/>
                    <a:pt x="40595" y="38866"/>
                  </a:cubicBezTo>
                  <a:cubicBezTo>
                    <a:pt x="36785" y="36776"/>
                    <a:pt x="24009" y="38169"/>
                    <a:pt x="24335" y="41698"/>
                  </a:cubicBezTo>
                  <a:cubicBezTo>
                    <a:pt x="24474" y="43091"/>
                    <a:pt x="24242" y="45042"/>
                    <a:pt x="23731" y="46713"/>
                  </a:cubicBezTo>
                  <a:cubicBezTo>
                    <a:pt x="25449" y="53539"/>
                    <a:pt x="26193" y="59808"/>
                    <a:pt x="24335" y="62919"/>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20" name="Freeform 69">
              <a:extLst>
                <a:ext uri="{FF2B5EF4-FFF2-40B4-BE49-F238E27FC236}">
                  <a16:creationId xmlns:a16="http://schemas.microsoft.com/office/drawing/2014/main" id="{46440C43-B787-6482-C8AC-49914A7A6143}"/>
                </a:ext>
              </a:extLst>
            </p:cNvPr>
            <p:cNvSpPr/>
            <p:nvPr/>
          </p:nvSpPr>
          <p:spPr>
            <a:xfrm>
              <a:off x="11578581" y="-694094"/>
              <a:ext cx="1054834" cy="1851277"/>
            </a:xfrm>
            <a:custGeom>
              <a:avLst/>
              <a:gdLst>
                <a:gd name="connsiteX0" fmla="*/ 218538 w 225833"/>
                <a:gd name="connsiteY0" fmla="*/ 279847 h 396346"/>
                <a:gd name="connsiteX1" fmla="*/ 191128 w 225833"/>
                <a:gd name="connsiteY1" fmla="*/ 256537 h 396346"/>
                <a:gd name="connsiteX2" fmla="*/ 204508 w 225833"/>
                <a:gd name="connsiteY2" fmla="*/ 243117 h 396346"/>
                <a:gd name="connsiteX3" fmla="*/ 193032 w 225833"/>
                <a:gd name="connsiteY3" fmla="*/ 230394 h 396346"/>
                <a:gd name="connsiteX4" fmla="*/ 196238 w 225833"/>
                <a:gd name="connsiteY4" fmla="*/ 218367 h 396346"/>
                <a:gd name="connsiteX5" fmla="*/ 185413 w 225833"/>
                <a:gd name="connsiteY5" fmla="*/ 210566 h 396346"/>
                <a:gd name="connsiteX6" fmla="*/ 190524 w 225833"/>
                <a:gd name="connsiteY6" fmla="*/ 203508 h 396346"/>
                <a:gd name="connsiteX7" fmla="*/ 187365 w 225833"/>
                <a:gd name="connsiteY7" fmla="*/ 185120 h 396346"/>
                <a:gd name="connsiteX8" fmla="*/ 194380 w 225833"/>
                <a:gd name="connsiteY8" fmla="*/ 171004 h 396346"/>
                <a:gd name="connsiteX9" fmla="*/ 173985 w 225833"/>
                <a:gd name="connsiteY9" fmla="*/ 134970 h 396346"/>
                <a:gd name="connsiteX10" fmla="*/ 180396 w 225833"/>
                <a:gd name="connsiteY10" fmla="*/ 120854 h 396346"/>
                <a:gd name="connsiteX11" fmla="*/ 193776 w 225833"/>
                <a:gd name="connsiteY11" fmla="*/ 103163 h 396346"/>
                <a:gd name="connsiteX12" fmla="*/ 178491 w 225833"/>
                <a:gd name="connsiteY12" fmla="*/ 85517 h 396346"/>
                <a:gd name="connsiteX13" fmla="*/ 165111 w 225833"/>
                <a:gd name="connsiteY13" fmla="*/ 77020 h 396346"/>
                <a:gd name="connsiteX14" fmla="*/ 161906 w 225833"/>
                <a:gd name="connsiteY14" fmla="*/ 63600 h 396346"/>
                <a:gd name="connsiteX15" fmla="*/ 165111 w 225833"/>
                <a:gd name="connsiteY15" fmla="*/ 50877 h 396346"/>
                <a:gd name="connsiteX16" fmla="*/ 173381 w 225833"/>
                <a:gd name="connsiteY16" fmla="*/ 43819 h 396346"/>
                <a:gd name="connsiteX17" fmla="*/ 178166 w 225833"/>
                <a:gd name="connsiteY17" fmla="*/ 35136 h 396346"/>
                <a:gd name="connsiteX18" fmla="*/ 178166 w 225833"/>
                <a:gd name="connsiteY18" fmla="*/ 21809 h 396346"/>
                <a:gd name="connsiteX19" fmla="*/ 155634 w 225833"/>
                <a:gd name="connsiteY19" fmla="*/ 4767 h 396346"/>
                <a:gd name="connsiteX20" fmla="*/ 138212 w 225833"/>
                <a:gd name="connsiteY20" fmla="*/ 4767 h 396346"/>
                <a:gd name="connsiteX21" fmla="*/ 116702 w 225833"/>
                <a:gd name="connsiteY21" fmla="*/ 10432 h 396346"/>
                <a:gd name="connsiteX22" fmla="*/ 103415 w 225833"/>
                <a:gd name="connsiteY22" fmla="*/ 26313 h 396346"/>
                <a:gd name="connsiteX23" fmla="*/ 99327 w 225833"/>
                <a:gd name="connsiteY23" fmla="*/ 46744 h 396346"/>
                <a:gd name="connsiteX24" fmla="*/ 90128 w 225833"/>
                <a:gd name="connsiteY24" fmla="*/ 60350 h 396346"/>
                <a:gd name="connsiteX25" fmla="*/ 77817 w 225833"/>
                <a:gd name="connsiteY25" fmla="*/ 56960 h 396346"/>
                <a:gd name="connsiteX26" fmla="*/ 61417 w 225833"/>
                <a:gd name="connsiteY26" fmla="*/ 55846 h 396346"/>
                <a:gd name="connsiteX27" fmla="*/ 37863 w 225833"/>
                <a:gd name="connsiteY27" fmla="*/ 54731 h 396346"/>
                <a:gd name="connsiteX28" fmla="*/ 14309 w 225833"/>
                <a:gd name="connsiteY28" fmla="*/ 35461 h 396346"/>
                <a:gd name="connsiteX29" fmla="*/ 0 w 225833"/>
                <a:gd name="connsiteY29" fmla="*/ 47116 h 396346"/>
                <a:gd name="connsiteX30" fmla="*/ 23508 w 225833"/>
                <a:gd name="connsiteY30" fmla="*/ 66108 h 396346"/>
                <a:gd name="connsiteX31" fmla="*/ 54263 w 225833"/>
                <a:gd name="connsiteY31" fmla="*/ 86539 h 396346"/>
                <a:gd name="connsiteX32" fmla="*/ 55285 w 225833"/>
                <a:gd name="connsiteY32" fmla="*/ 109246 h 396346"/>
                <a:gd name="connsiteX33" fmla="*/ 60395 w 225833"/>
                <a:gd name="connsiteY33" fmla="*/ 130791 h 396346"/>
                <a:gd name="connsiteX34" fmla="*/ 59373 w 225833"/>
                <a:gd name="connsiteY34" fmla="*/ 151223 h 396346"/>
                <a:gd name="connsiteX35" fmla="*/ 63508 w 225833"/>
                <a:gd name="connsiteY35" fmla="*/ 163667 h 396346"/>
                <a:gd name="connsiteX36" fmla="*/ 66528 w 225833"/>
                <a:gd name="connsiteY36" fmla="*/ 175461 h 396346"/>
                <a:gd name="connsiteX37" fmla="*/ 83903 w 225833"/>
                <a:gd name="connsiteY37" fmla="*/ 183355 h 396346"/>
                <a:gd name="connsiteX38" fmla="*/ 91569 w 225833"/>
                <a:gd name="connsiteY38" fmla="*/ 201697 h 396346"/>
                <a:gd name="connsiteX39" fmla="*/ 87759 w 225833"/>
                <a:gd name="connsiteY39" fmla="*/ 210148 h 396346"/>
                <a:gd name="connsiteX40" fmla="*/ 75958 w 225833"/>
                <a:gd name="connsiteY40" fmla="*/ 220735 h 396346"/>
                <a:gd name="connsiteX41" fmla="*/ 53938 w 225833"/>
                <a:gd name="connsiteY41" fmla="*/ 244742 h 396346"/>
                <a:gd name="connsiteX42" fmla="*/ 41162 w 225833"/>
                <a:gd name="connsiteY42" fmla="*/ 255701 h 396346"/>
                <a:gd name="connsiteX43" fmla="*/ 31870 w 225833"/>
                <a:gd name="connsiteY43" fmla="*/ 261505 h 396346"/>
                <a:gd name="connsiteX44" fmla="*/ 29965 w 225833"/>
                <a:gd name="connsiteY44" fmla="*/ 265823 h 396346"/>
                <a:gd name="connsiteX45" fmla="*/ 29733 w 225833"/>
                <a:gd name="connsiteY45" fmla="*/ 268749 h 396346"/>
                <a:gd name="connsiteX46" fmla="*/ 15563 w 225833"/>
                <a:gd name="connsiteY46" fmla="*/ 276875 h 396346"/>
                <a:gd name="connsiteX47" fmla="*/ 12729 w 225833"/>
                <a:gd name="connsiteY47" fmla="*/ 277479 h 396346"/>
                <a:gd name="connsiteX48" fmla="*/ 5203 w 225833"/>
                <a:gd name="connsiteY48" fmla="*/ 292059 h 396346"/>
                <a:gd name="connsiteX49" fmla="*/ 5854 w 225833"/>
                <a:gd name="connsiteY49" fmla="*/ 305850 h 396346"/>
                <a:gd name="connsiteX50" fmla="*/ 8084 w 225833"/>
                <a:gd name="connsiteY50" fmla="*/ 322474 h 396346"/>
                <a:gd name="connsiteX51" fmla="*/ 11940 w 225833"/>
                <a:gd name="connsiteY51" fmla="*/ 349313 h 396346"/>
                <a:gd name="connsiteX52" fmla="*/ 6179 w 225833"/>
                <a:gd name="connsiteY52" fmla="*/ 374063 h 396346"/>
                <a:gd name="connsiteX53" fmla="*/ 26295 w 225833"/>
                <a:gd name="connsiteY53" fmla="*/ 382885 h 396346"/>
                <a:gd name="connsiteX54" fmla="*/ 39350 w 225833"/>
                <a:gd name="connsiteY54" fmla="*/ 390640 h 396346"/>
                <a:gd name="connsiteX55" fmla="*/ 62950 w 225833"/>
                <a:gd name="connsiteY55" fmla="*/ 396305 h 396346"/>
                <a:gd name="connsiteX56" fmla="*/ 129896 w 225833"/>
                <a:gd name="connsiteY56" fmla="*/ 379356 h 396346"/>
                <a:gd name="connsiteX57" fmla="*/ 149223 w 225833"/>
                <a:gd name="connsiteY57" fmla="*/ 376942 h 396346"/>
                <a:gd name="connsiteX58" fmla="*/ 159536 w 225833"/>
                <a:gd name="connsiteY58" fmla="*/ 362408 h 396346"/>
                <a:gd name="connsiteX59" fmla="*/ 192707 w 225833"/>
                <a:gd name="connsiteY59" fmla="*/ 332736 h 396346"/>
                <a:gd name="connsiteX60" fmla="*/ 224624 w 225833"/>
                <a:gd name="connsiteY60" fmla="*/ 298839 h 396346"/>
                <a:gd name="connsiteX61" fmla="*/ 218863 w 225833"/>
                <a:gd name="connsiteY61" fmla="*/ 279754 h 39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25833" h="396346">
                  <a:moveTo>
                    <a:pt x="218538" y="279847"/>
                  </a:moveTo>
                  <a:cubicBezTo>
                    <a:pt x="210222" y="269260"/>
                    <a:pt x="191778" y="262202"/>
                    <a:pt x="191128" y="256537"/>
                  </a:cubicBezTo>
                  <a:cubicBezTo>
                    <a:pt x="190477" y="250871"/>
                    <a:pt x="205158" y="250175"/>
                    <a:pt x="204508" y="243117"/>
                  </a:cubicBezTo>
                  <a:cubicBezTo>
                    <a:pt x="203857" y="236059"/>
                    <a:pt x="196238" y="236059"/>
                    <a:pt x="193032" y="230394"/>
                  </a:cubicBezTo>
                  <a:cubicBezTo>
                    <a:pt x="189827" y="224729"/>
                    <a:pt x="196888" y="221200"/>
                    <a:pt x="196238" y="218367"/>
                  </a:cubicBezTo>
                  <a:cubicBezTo>
                    <a:pt x="195587" y="215535"/>
                    <a:pt x="186017" y="214142"/>
                    <a:pt x="185413" y="210566"/>
                  </a:cubicBezTo>
                  <a:cubicBezTo>
                    <a:pt x="184763" y="207037"/>
                    <a:pt x="191824" y="207780"/>
                    <a:pt x="190524" y="203508"/>
                  </a:cubicBezTo>
                  <a:cubicBezTo>
                    <a:pt x="189269" y="199282"/>
                    <a:pt x="182905" y="191481"/>
                    <a:pt x="187365" y="185120"/>
                  </a:cubicBezTo>
                  <a:cubicBezTo>
                    <a:pt x="191824" y="178758"/>
                    <a:pt x="201395" y="185120"/>
                    <a:pt x="194380" y="171004"/>
                  </a:cubicBezTo>
                  <a:cubicBezTo>
                    <a:pt x="187365" y="156888"/>
                    <a:pt x="176540" y="139242"/>
                    <a:pt x="173985" y="134970"/>
                  </a:cubicBezTo>
                  <a:cubicBezTo>
                    <a:pt x="171430" y="130745"/>
                    <a:pt x="176540" y="123640"/>
                    <a:pt x="180396" y="120854"/>
                  </a:cubicBezTo>
                  <a:cubicBezTo>
                    <a:pt x="184206" y="118022"/>
                    <a:pt x="193776" y="107435"/>
                    <a:pt x="193776" y="103163"/>
                  </a:cubicBezTo>
                  <a:cubicBezTo>
                    <a:pt x="193776" y="98891"/>
                    <a:pt x="181650" y="87607"/>
                    <a:pt x="178491" y="85517"/>
                  </a:cubicBezTo>
                  <a:cubicBezTo>
                    <a:pt x="175285" y="83381"/>
                    <a:pt x="168270" y="84124"/>
                    <a:pt x="165111" y="77020"/>
                  </a:cubicBezTo>
                  <a:cubicBezTo>
                    <a:pt x="161906" y="69962"/>
                    <a:pt x="158746" y="67872"/>
                    <a:pt x="161906" y="63600"/>
                  </a:cubicBezTo>
                  <a:cubicBezTo>
                    <a:pt x="165111" y="59375"/>
                    <a:pt x="165111" y="55149"/>
                    <a:pt x="165111" y="50877"/>
                  </a:cubicBezTo>
                  <a:cubicBezTo>
                    <a:pt x="165111" y="46605"/>
                    <a:pt x="172126" y="50181"/>
                    <a:pt x="173381" y="43819"/>
                  </a:cubicBezTo>
                  <a:cubicBezTo>
                    <a:pt x="173985" y="40940"/>
                    <a:pt x="175797" y="37736"/>
                    <a:pt x="178166" y="35136"/>
                  </a:cubicBezTo>
                  <a:cubicBezTo>
                    <a:pt x="178166" y="30306"/>
                    <a:pt x="178677" y="25106"/>
                    <a:pt x="178166" y="21809"/>
                  </a:cubicBezTo>
                  <a:cubicBezTo>
                    <a:pt x="177144" y="14983"/>
                    <a:pt x="159722" y="12708"/>
                    <a:pt x="155634" y="4767"/>
                  </a:cubicBezTo>
                  <a:cubicBezTo>
                    <a:pt x="151499" y="-3173"/>
                    <a:pt x="141278" y="217"/>
                    <a:pt x="138212" y="4767"/>
                  </a:cubicBezTo>
                  <a:cubicBezTo>
                    <a:pt x="135146" y="9318"/>
                    <a:pt x="116702" y="3653"/>
                    <a:pt x="116702" y="10432"/>
                  </a:cubicBezTo>
                  <a:cubicBezTo>
                    <a:pt x="116702" y="17212"/>
                    <a:pt x="103415" y="18373"/>
                    <a:pt x="103415" y="26313"/>
                  </a:cubicBezTo>
                  <a:cubicBezTo>
                    <a:pt x="103415" y="34253"/>
                    <a:pt x="109548" y="47859"/>
                    <a:pt x="99327" y="46744"/>
                  </a:cubicBezTo>
                  <a:cubicBezTo>
                    <a:pt x="89060" y="45630"/>
                    <a:pt x="96261" y="51295"/>
                    <a:pt x="90128" y="60350"/>
                  </a:cubicBezTo>
                  <a:cubicBezTo>
                    <a:pt x="83949" y="69451"/>
                    <a:pt x="83949" y="54685"/>
                    <a:pt x="77817" y="56960"/>
                  </a:cubicBezTo>
                  <a:cubicBezTo>
                    <a:pt x="71684" y="59235"/>
                    <a:pt x="64484" y="50134"/>
                    <a:pt x="61417" y="55846"/>
                  </a:cubicBezTo>
                  <a:cubicBezTo>
                    <a:pt x="58351" y="61511"/>
                    <a:pt x="48084" y="56960"/>
                    <a:pt x="37863" y="54731"/>
                  </a:cubicBezTo>
                  <a:cubicBezTo>
                    <a:pt x="27596" y="52456"/>
                    <a:pt x="22486" y="36575"/>
                    <a:pt x="14309" y="35461"/>
                  </a:cubicBezTo>
                  <a:cubicBezTo>
                    <a:pt x="8873" y="34718"/>
                    <a:pt x="3066" y="39501"/>
                    <a:pt x="0" y="47116"/>
                  </a:cubicBezTo>
                  <a:cubicBezTo>
                    <a:pt x="7944" y="52781"/>
                    <a:pt x="13148" y="60861"/>
                    <a:pt x="23508" y="66108"/>
                  </a:cubicBezTo>
                  <a:cubicBezTo>
                    <a:pt x="34797" y="71773"/>
                    <a:pt x="55285" y="78599"/>
                    <a:pt x="54263" y="86539"/>
                  </a:cubicBezTo>
                  <a:cubicBezTo>
                    <a:pt x="53241" y="94479"/>
                    <a:pt x="50128" y="105809"/>
                    <a:pt x="55285" y="109246"/>
                  </a:cubicBezTo>
                  <a:cubicBezTo>
                    <a:pt x="60395" y="112635"/>
                    <a:pt x="54263" y="127402"/>
                    <a:pt x="60395" y="130791"/>
                  </a:cubicBezTo>
                  <a:cubicBezTo>
                    <a:pt x="66528" y="134181"/>
                    <a:pt x="64484" y="151223"/>
                    <a:pt x="59373" y="151223"/>
                  </a:cubicBezTo>
                  <a:cubicBezTo>
                    <a:pt x="54263" y="151223"/>
                    <a:pt x="60395" y="160277"/>
                    <a:pt x="63508" y="163667"/>
                  </a:cubicBezTo>
                  <a:cubicBezTo>
                    <a:pt x="64901" y="165246"/>
                    <a:pt x="66017" y="169843"/>
                    <a:pt x="66528" y="175461"/>
                  </a:cubicBezTo>
                  <a:cubicBezTo>
                    <a:pt x="72846" y="177133"/>
                    <a:pt x="78421" y="180662"/>
                    <a:pt x="83903" y="183355"/>
                  </a:cubicBezTo>
                  <a:cubicBezTo>
                    <a:pt x="92497" y="187581"/>
                    <a:pt x="91243" y="194314"/>
                    <a:pt x="91569" y="201697"/>
                  </a:cubicBezTo>
                  <a:cubicBezTo>
                    <a:pt x="91894" y="209127"/>
                    <a:pt x="92219" y="213352"/>
                    <a:pt x="87759" y="210148"/>
                  </a:cubicBezTo>
                  <a:cubicBezTo>
                    <a:pt x="83299" y="206991"/>
                    <a:pt x="78514" y="210148"/>
                    <a:pt x="75958" y="220735"/>
                  </a:cubicBezTo>
                  <a:cubicBezTo>
                    <a:pt x="73403" y="231322"/>
                    <a:pt x="61278" y="244046"/>
                    <a:pt x="53938" y="244742"/>
                  </a:cubicBezTo>
                  <a:cubicBezTo>
                    <a:pt x="46597" y="245439"/>
                    <a:pt x="47248" y="253936"/>
                    <a:pt x="41162" y="255701"/>
                  </a:cubicBezTo>
                  <a:cubicBezTo>
                    <a:pt x="37538" y="256769"/>
                    <a:pt x="34007" y="258626"/>
                    <a:pt x="31870" y="261505"/>
                  </a:cubicBezTo>
                  <a:cubicBezTo>
                    <a:pt x="31359" y="262991"/>
                    <a:pt x="30709" y="264430"/>
                    <a:pt x="29965" y="265823"/>
                  </a:cubicBezTo>
                  <a:cubicBezTo>
                    <a:pt x="29779" y="266752"/>
                    <a:pt x="29687" y="267681"/>
                    <a:pt x="29733" y="268749"/>
                  </a:cubicBezTo>
                  <a:cubicBezTo>
                    <a:pt x="30012" y="275853"/>
                    <a:pt x="21603" y="276782"/>
                    <a:pt x="15563" y="276875"/>
                  </a:cubicBezTo>
                  <a:cubicBezTo>
                    <a:pt x="14634" y="277154"/>
                    <a:pt x="13659" y="277339"/>
                    <a:pt x="12729" y="277479"/>
                  </a:cubicBezTo>
                  <a:cubicBezTo>
                    <a:pt x="8966" y="279893"/>
                    <a:pt x="9338" y="289319"/>
                    <a:pt x="5203" y="292059"/>
                  </a:cubicBezTo>
                  <a:cubicBezTo>
                    <a:pt x="418" y="295263"/>
                    <a:pt x="1347" y="299489"/>
                    <a:pt x="5854" y="305850"/>
                  </a:cubicBezTo>
                  <a:cubicBezTo>
                    <a:pt x="10314" y="312212"/>
                    <a:pt x="6504" y="317877"/>
                    <a:pt x="8084" y="322474"/>
                  </a:cubicBezTo>
                  <a:cubicBezTo>
                    <a:pt x="9710" y="327071"/>
                    <a:pt x="16725" y="337658"/>
                    <a:pt x="11940" y="349313"/>
                  </a:cubicBezTo>
                  <a:cubicBezTo>
                    <a:pt x="7154" y="360968"/>
                    <a:pt x="2044" y="375456"/>
                    <a:pt x="6179" y="374063"/>
                  </a:cubicBezTo>
                  <a:cubicBezTo>
                    <a:pt x="10314" y="372670"/>
                    <a:pt x="19884" y="383582"/>
                    <a:pt x="26295" y="382885"/>
                  </a:cubicBezTo>
                  <a:cubicBezTo>
                    <a:pt x="32660" y="382189"/>
                    <a:pt x="33310" y="392776"/>
                    <a:pt x="39350" y="390640"/>
                  </a:cubicBezTo>
                  <a:cubicBezTo>
                    <a:pt x="45389" y="388550"/>
                    <a:pt x="45389" y="397002"/>
                    <a:pt x="62950" y="396305"/>
                  </a:cubicBezTo>
                  <a:cubicBezTo>
                    <a:pt x="80465" y="395609"/>
                    <a:pt x="115866" y="379356"/>
                    <a:pt x="129896" y="379356"/>
                  </a:cubicBezTo>
                  <a:cubicBezTo>
                    <a:pt x="137840" y="379356"/>
                    <a:pt x="144205" y="378288"/>
                    <a:pt x="149223" y="376942"/>
                  </a:cubicBezTo>
                  <a:cubicBezTo>
                    <a:pt x="152243" y="371927"/>
                    <a:pt x="155866" y="366494"/>
                    <a:pt x="159536" y="362408"/>
                  </a:cubicBezTo>
                  <a:cubicBezTo>
                    <a:pt x="168456" y="352517"/>
                    <a:pt x="187597" y="345459"/>
                    <a:pt x="192707" y="332736"/>
                  </a:cubicBezTo>
                  <a:cubicBezTo>
                    <a:pt x="197818" y="320013"/>
                    <a:pt x="220768" y="310215"/>
                    <a:pt x="224624" y="298839"/>
                  </a:cubicBezTo>
                  <a:cubicBezTo>
                    <a:pt x="226529" y="293174"/>
                    <a:pt x="227179" y="290341"/>
                    <a:pt x="218863" y="279754"/>
                  </a:cubicBezTo>
                  <a:close/>
                </a:path>
              </a:pathLst>
            </a:custGeom>
            <a:solidFill>
              <a:schemeClr val="accent1"/>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21" name="Freeform 70">
              <a:extLst>
                <a:ext uri="{FF2B5EF4-FFF2-40B4-BE49-F238E27FC236}">
                  <a16:creationId xmlns:a16="http://schemas.microsoft.com/office/drawing/2014/main" id="{5DC1DB4B-337E-6DE6-FF3C-F376F588F251}"/>
                </a:ext>
              </a:extLst>
            </p:cNvPr>
            <p:cNvSpPr/>
            <p:nvPr/>
          </p:nvSpPr>
          <p:spPr>
            <a:xfrm>
              <a:off x="9006358" y="2578488"/>
              <a:ext cx="1312573" cy="1231436"/>
            </a:xfrm>
            <a:custGeom>
              <a:avLst/>
              <a:gdLst>
                <a:gd name="connsiteX0" fmla="*/ 254250 w 281013"/>
                <a:gd name="connsiteY0" fmla="*/ 121845 h 263642"/>
                <a:gd name="connsiteX1" fmla="*/ 265261 w 281013"/>
                <a:gd name="connsiteY1" fmla="*/ 111768 h 263642"/>
                <a:gd name="connsiteX2" fmla="*/ 270046 w 281013"/>
                <a:gd name="connsiteY2" fmla="*/ 93752 h 263642"/>
                <a:gd name="connsiteX3" fmla="*/ 278640 w 281013"/>
                <a:gd name="connsiteY3" fmla="*/ 74156 h 263642"/>
                <a:gd name="connsiteX4" fmla="*/ 274320 w 281013"/>
                <a:gd name="connsiteY4" fmla="*/ 66216 h 263642"/>
                <a:gd name="connsiteX5" fmla="*/ 262845 w 281013"/>
                <a:gd name="connsiteY5" fmla="*/ 61990 h 263642"/>
                <a:gd name="connsiteX6" fmla="*/ 248954 w 281013"/>
                <a:gd name="connsiteY6" fmla="*/ 54561 h 263642"/>
                <a:gd name="connsiteX7" fmla="*/ 226468 w 281013"/>
                <a:gd name="connsiteY7" fmla="*/ 50335 h 263642"/>
                <a:gd name="connsiteX8" fmla="*/ 215458 w 281013"/>
                <a:gd name="connsiteY8" fmla="*/ 42395 h 263642"/>
                <a:gd name="connsiteX9" fmla="*/ 209232 w 281013"/>
                <a:gd name="connsiteY9" fmla="*/ 31251 h 263642"/>
                <a:gd name="connsiteX10" fmla="*/ 199662 w 281013"/>
                <a:gd name="connsiteY10" fmla="*/ 36544 h 263642"/>
                <a:gd name="connsiteX11" fmla="*/ 193437 w 281013"/>
                <a:gd name="connsiteY11" fmla="*/ 28604 h 263642"/>
                <a:gd name="connsiteX12" fmla="*/ 180057 w 281013"/>
                <a:gd name="connsiteY12" fmla="*/ 19595 h 263642"/>
                <a:gd name="connsiteX13" fmla="*/ 169046 w 281013"/>
                <a:gd name="connsiteY13" fmla="*/ 12166 h 263642"/>
                <a:gd name="connsiteX14" fmla="*/ 161381 w 281013"/>
                <a:gd name="connsiteY14" fmla="*/ 3158 h 263642"/>
                <a:gd name="connsiteX15" fmla="*/ 158593 w 281013"/>
                <a:gd name="connsiteY15" fmla="*/ 0 h 263642"/>
                <a:gd name="connsiteX16" fmla="*/ 153715 w 281013"/>
                <a:gd name="connsiteY16" fmla="*/ 511 h 263642"/>
                <a:gd name="connsiteX17" fmla="*/ 140661 w 281013"/>
                <a:gd name="connsiteY17" fmla="*/ 21035 h 263642"/>
                <a:gd name="connsiteX18" fmla="*/ 118314 w 281013"/>
                <a:gd name="connsiteY18" fmla="*/ 37612 h 263642"/>
                <a:gd name="connsiteX19" fmla="*/ 104284 w 281013"/>
                <a:gd name="connsiteY19" fmla="*/ 54561 h 263642"/>
                <a:gd name="connsiteX20" fmla="*/ 77153 w 281013"/>
                <a:gd name="connsiteY20" fmla="*/ 44345 h 263642"/>
                <a:gd name="connsiteX21" fmla="*/ 64702 w 281013"/>
                <a:gd name="connsiteY21" fmla="*/ 53493 h 263642"/>
                <a:gd name="connsiteX22" fmla="*/ 67582 w 281013"/>
                <a:gd name="connsiteY22" fmla="*/ 78939 h 263642"/>
                <a:gd name="connsiteX23" fmla="*/ 48767 w 281013"/>
                <a:gd name="connsiteY23" fmla="*/ 77871 h 263642"/>
                <a:gd name="connsiteX24" fmla="*/ 35712 w 281013"/>
                <a:gd name="connsiteY24" fmla="*/ 70813 h 263642"/>
                <a:gd name="connsiteX25" fmla="*/ 14667 w 281013"/>
                <a:gd name="connsiteY25" fmla="*/ 73274 h 263642"/>
                <a:gd name="connsiteX26" fmla="*/ 1287 w 281013"/>
                <a:gd name="connsiteY26" fmla="*/ 84558 h 263642"/>
                <a:gd name="connsiteX27" fmla="*/ 3842 w 281013"/>
                <a:gd name="connsiteY27" fmla="*/ 99417 h 263642"/>
                <a:gd name="connsiteX28" fmla="*/ 16154 w 281013"/>
                <a:gd name="connsiteY28" fmla="*/ 104060 h 263642"/>
                <a:gd name="connsiteX29" fmla="*/ 29766 w 281013"/>
                <a:gd name="connsiteY29" fmla="*/ 103735 h 263642"/>
                <a:gd name="connsiteX30" fmla="*/ 42820 w 281013"/>
                <a:gd name="connsiteY30" fmla="*/ 113115 h 263642"/>
                <a:gd name="connsiteX31" fmla="*/ 51369 w 281013"/>
                <a:gd name="connsiteY31" fmla="*/ 115344 h 263642"/>
                <a:gd name="connsiteX32" fmla="*/ 58384 w 281013"/>
                <a:gd name="connsiteY32" fmla="*/ 125931 h 263642"/>
                <a:gd name="connsiteX33" fmla="*/ 58523 w 281013"/>
                <a:gd name="connsiteY33" fmla="*/ 127138 h 263642"/>
                <a:gd name="connsiteX34" fmla="*/ 64377 w 281013"/>
                <a:gd name="connsiteY34" fmla="*/ 134104 h 263642"/>
                <a:gd name="connsiteX35" fmla="*/ 68790 w 281013"/>
                <a:gd name="connsiteY35" fmla="*/ 143390 h 263642"/>
                <a:gd name="connsiteX36" fmla="*/ 75294 w 281013"/>
                <a:gd name="connsiteY36" fmla="*/ 146409 h 263642"/>
                <a:gd name="connsiteX37" fmla="*/ 81055 w 281013"/>
                <a:gd name="connsiteY37" fmla="*/ 165122 h 263642"/>
                <a:gd name="connsiteX38" fmla="*/ 81520 w 281013"/>
                <a:gd name="connsiteY38" fmla="*/ 172505 h 263642"/>
                <a:gd name="connsiteX39" fmla="*/ 85051 w 281013"/>
                <a:gd name="connsiteY39" fmla="*/ 183185 h 263642"/>
                <a:gd name="connsiteX40" fmla="*/ 77292 w 281013"/>
                <a:gd name="connsiteY40" fmla="*/ 207285 h 263642"/>
                <a:gd name="connsiteX41" fmla="*/ 67722 w 281013"/>
                <a:gd name="connsiteY41" fmla="*/ 236864 h 263642"/>
                <a:gd name="connsiteX42" fmla="*/ 66467 w 281013"/>
                <a:gd name="connsiteY42" fmla="*/ 237142 h 263642"/>
                <a:gd name="connsiteX43" fmla="*/ 78732 w 281013"/>
                <a:gd name="connsiteY43" fmla="*/ 243875 h 263642"/>
                <a:gd name="connsiteX44" fmla="*/ 99685 w 281013"/>
                <a:gd name="connsiteY44" fmla="*/ 255066 h 263642"/>
                <a:gd name="connsiteX45" fmla="*/ 116735 w 281013"/>
                <a:gd name="connsiteY45" fmla="*/ 253348 h 263642"/>
                <a:gd name="connsiteX46" fmla="*/ 126816 w 281013"/>
                <a:gd name="connsiteY46" fmla="*/ 255948 h 263642"/>
                <a:gd name="connsiteX47" fmla="*/ 152415 w 281013"/>
                <a:gd name="connsiteY47" fmla="*/ 262821 h 263642"/>
                <a:gd name="connsiteX48" fmla="*/ 174575 w 281013"/>
                <a:gd name="connsiteY48" fmla="*/ 263517 h 263642"/>
                <a:gd name="connsiteX49" fmla="*/ 173274 w 281013"/>
                <a:gd name="connsiteY49" fmla="*/ 257388 h 263642"/>
                <a:gd name="connsiteX50" fmla="*/ 191114 w 281013"/>
                <a:gd name="connsiteY50" fmla="*/ 233706 h 263642"/>
                <a:gd name="connsiteX51" fmla="*/ 230649 w 281013"/>
                <a:gd name="connsiteY51" fmla="*/ 243225 h 263642"/>
                <a:gd name="connsiteX52" fmla="*/ 255505 w 281013"/>
                <a:gd name="connsiteY52" fmla="*/ 234031 h 263642"/>
                <a:gd name="connsiteX53" fmla="*/ 269024 w 281013"/>
                <a:gd name="connsiteY53" fmla="*/ 224280 h 263642"/>
                <a:gd name="connsiteX54" fmla="*/ 271440 w 281013"/>
                <a:gd name="connsiteY54" fmla="*/ 216200 h 263642"/>
                <a:gd name="connsiteX55" fmla="*/ 261404 w 281013"/>
                <a:gd name="connsiteY55" fmla="*/ 212485 h 263642"/>
                <a:gd name="connsiteX56" fmla="*/ 256619 w 281013"/>
                <a:gd name="connsiteY56" fmla="*/ 200830 h 263642"/>
                <a:gd name="connsiteX57" fmla="*/ 250394 w 281013"/>
                <a:gd name="connsiteY57" fmla="*/ 188664 h 263642"/>
                <a:gd name="connsiteX58" fmla="*/ 254715 w 281013"/>
                <a:gd name="connsiteY58" fmla="*/ 182860 h 263642"/>
                <a:gd name="connsiteX59" fmla="*/ 259035 w 281013"/>
                <a:gd name="connsiteY59" fmla="*/ 173341 h 263642"/>
                <a:gd name="connsiteX60" fmla="*/ 256666 w 281013"/>
                <a:gd name="connsiteY60" fmla="*/ 161686 h 263642"/>
                <a:gd name="connsiteX61" fmla="*/ 252856 w 281013"/>
                <a:gd name="connsiteY61" fmla="*/ 150031 h 263642"/>
                <a:gd name="connsiteX62" fmla="*/ 243286 w 281013"/>
                <a:gd name="connsiteY62" fmla="*/ 148963 h 263642"/>
                <a:gd name="connsiteX63" fmla="*/ 240406 w 281013"/>
                <a:gd name="connsiteY63" fmla="*/ 141022 h 263642"/>
                <a:gd name="connsiteX64" fmla="*/ 254297 w 281013"/>
                <a:gd name="connsiteY64" fmla="*/ 121938 h 26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81013" h="263642">
                  <a:moveTo>
                    <a:pt x="254250" y="121845"/>
                  </a:moveTo>
                  <a:cubicBezTo>
                    <a:pt x="255226" y="116551"/>
                    <a:pt x="260940" y="111768"/>
                    <a:pt x="265261" y="111768"/>
                  </a:cubicBezTo>
                  <a:cubicBezTo>
                    <a:pt x="269581" y="111768"/>
                    <a:pt x="268606" y="100624"/>
                    <a:pt x="270046" y="93752"/>
                  </a:cubicBezTo>
                  <a:cubicBezTo>
                    <a:pt x="271486" y="86879"/>
                    <a:pt x="272461" y="79961"/>
                    <a:pt x="278640" y="74156"/>
                  </a:cubicBezTo>
                  <a:cubicBezTo>
                    <a:pt x="284866" y="68352"/>
                    <a:pt x="277200" y="65659"/>
                    <a:pt x="274320" y="66216"/>
                  </a:cubicBezTo>
                  <a:cubicBezTo>
                    <a:pt x="271440" y="66773"/>
                    <a:pt x="269070" y="61990"/>
                    <a:pt x="262845" y="61990"/>
                  </a:cubicBezTo>
                  <a:cubicBezTo>
                    <a:pt x="256619" y="61990"/>
                    <a:pt x="251834" y="58833"/>
                    <a:pt x="248954" y="54561"/>
                  </a:cubicBezTo>
                  <a:cubicBezTo>
                    <a:pt x="246073" y="50335"/>
                    <a:pt x="231253" y="49267"/>
                    <a:pt x="226468" y="50335"/>
                  </a:cubicBezTo>
                  <a:cubicBezTo>
                    <a:pt x="221683" y="51403"/>
                    <a:pt x="220243" y="41327"/>
                    <a:pt x="215458" y="42395"/>
                  </a:cubicBezTo>
                  <a:cubicBezTo>
                    <a:pt x="210673" y="43463"/>
                    <a:pt x="209232" y="35523"/>
                    <a:pt x="209232" y="31251"/>
                  </a:cubicBezTo>
                  <a:cubicBezTo>
                    <a:pt x="209232" y="26979"/>
                    <a:pt x="203983" y="34408"/>
                    <a:pt x="199662" y="36544"/>
                  </a:cubicBezTo>
                  <a:cubicBezTo>
                    <a:pt x="195342" y="38680"/>
                    <a:pt x="193901" y="31761"/>
                    <a:pt x="193437" y="28604"/>
                  </a:cubicBezTo>
                  <a:cubicBezTo>
                    <a:pt x="192972" y="25446"/>
                    <a:pt x="184331" y="22242"/>
                    <a:pt x="180057" y="19595"/>
                  </a:cubicBezTo>
                  <a:cubicBezTo>
                    <a:pt x="175736" y="16949"/>
                    <a:pt x="170951" y="8451"/>
                    <a:pt x="169046" y="12166"/>
                  </a:cubicBezTo>
                  <a:cubicBezTo>
                    <a:pt x="167142" y="15881"/>
                    <a:pt x="161892" y="6872"/>
                    <a:pt x="161381" y="3158"/>
                  </a:cubicBezTo>
                  <a:cubicBezTo>
                    <a:pt x="161056" y="696"/>
                    <a:pt x="159569" y="1486"/>
                    <a:pt x="158593" y="0"/>
                  </a:cubicBezTo>
                  <a:cubicBezTo>
                    <a:pt x="156967" y="371"/>
                    <a:pt x="155341" y="604"/>
                    <a:pt x="153715" y="511"/>
                  </a:cubicBezTo>
                  <a:cubicBezTo>
                    <a:pt x="146050" y="186"/>
                    <a:pt x="139360" y="6872"/>
                    <a:pt x="140661" y="21035"/>
                  </a:cubicBezTo>
                  <a:cubicBezTo>
                    <a:pt x="141915" y="35151"/>
                    <a:pt x="131415" y="36544"/>
                    <a:pt x="118314" y="37612"/>
                  </a:cubicBezTo>
                  <a:cubicBezTo>
                    <a:pt x="105213" y="38680"/>
                    <a:pt x="109720" y="49964"/>
                    <a:pt x="104284" y="54561"/>
                  </a:cubicBezTo>
                  <a:cubicBezTo>
                    <a:pt x="98848" y="59158"/>
                    <a:pt x="79708" y="52100"/>
                    <a:pt x="77153" y="44345"/>
                  </a:cubicBezTo>
                  <a:cubicBezTo>
                    <a:pt x="74598" y="36591"/>
                    <a:pt x="57408" y="44345"/>
                    <a:pt x="64702" y="53493"/>
                  </a:cubicBezTo>
                  <a:cubicBezTo>
                    <a:pt x="72042" y="62687"/>
                    <a:pt x="71717" y="75410"/>
                    <a:pt x="67582" y="78939"/>
                  </a:cubicBezTo>
                  <a:cubicBezTo>
                    <a:pt x="63448" y="82468"/>
                    <a:pt x="54481" y="73274"/>
                    <a:pt x="48767" y="77871"/>
                  </a:cubicBezTo>
                  <a:cubicBezTo>
                    <a:pt x="43053" y="82468"/>
                    <a:pt x="42727" y="73646"/>
                    <a:pt x="35712" y="70813"/>
                  </a:cubicBezTo>
                  <a:cubicBezTo>
                    <a:pt x="28697" y="67981"/>
                    <a:pt x="25817" y="74342"/>
                    <a:pt x="14667" y="73274"/>
                  </a:cubicBezTo>
                  <a:cubicBezTo>
                    <a:pt x="3517" y="72206"/>
                    <a:pt x="-2894" y="79264"/>
                    <a:pt x="1287" y="84558"/>
                  </a:cubicBezTo>
                  <a:cubicBezTo>
                    <a:pt x="5422" y="89851"/>
                    <a:pt x="636" y="94773"/>
                    <a:pt x="3842" y="99417"/>
                  </a:cubicBezTo>
                  <a:cubicBezTo>
                    <a:pt x="5515" y="101831"/>
                    <a:pt x="10346" y="102760"/>
                    <a:pt x="16154" y="104060"/>
                  </a:cubicBezTo>
                  <a:cubicBezTo>
                    <a:pt x="20567" y="102714"/>
                    <a:pt x="25631" y="102621"/>
                    <a:pt x="29766" y="103735"/>
                  </a:cubicBezTo>
                  <a:cubicBezTo>
                    <a:pt x="35201" y="105221"/>
                    <a:pt x="39568" y="108704"/>
                    <a:pt x="42820" y="113115"/>
                  </a:cubicBezTo>
                  <a:cubicBezTo>
                    <a:pt x="46119" y="113301"/>
                    <a:pt x="48302" y="112697"/>
                    <a:pt x="51369" y="115344"/>
                  </a:cubicBezTo>
                  <a:cubicBezTo>
                    <a:pt x="56804" y="119941"/>
                    <a:pt x="58059" y="117108"/>
                    <a:pt x="58384" y="125931"/>
                  </a:cubicBezTo>
                  <a:cubicBezTo>
                    <a:pt x="58384" y="126349"/>
                    <a:pt x="58477" y="126720"/>
                    <a:pt x="58523" y="127138"/>
                  </a:cubicBezTo>
                  <a:cubicBezTo>
                    <a:pt x="60707" y="128903"/>
                    <a:pt x="62751" y="131178"/>
                    <a:pt x="64377" y="134104"/>
                  </a:cubicBezTo>
                  <a:cubicBezTo>
                    <a:pt x="65956" y="136890"/>
                    <a:pt x="67396" y="140094"/>
                    <a:pt x="68790" y="143390"/>
                  </a:cubicBezTo>
                  <a:cubicBezTo>
                    <a:pt x="70695" y="144598"/>
                    <a:pt x="72879" y="145666"/>
                    <a:pt x="75294" y="146409"/>
                  </a:cubicBezTo>
                  <a:cubicBezTo>
                    <a:pt x="85840" y="149566"/>
                    <a:pt x="77849" y="157367"/>
                    <a:pt x="81055" y="165122"/>
                  </a:cubicBezTo>
                  <a:cubicBezTo>
                    <a:pt x="81938" y="167351"/>
                    <a:pt x="81938" y="169858"/>
                    <a:pt x="81520" y="172505"/>
                  </a:cubicBezTo>
                  <a:cubicBezTo>
                    <a:pt x="83006" y="176034"/>
                    <a:pt x="84354" y="179702"/>
                    <a:pt x="85051" y="183185"/>
                  </a:cubicBezTo>
                  <a:cubicBezTo>
                    <a:pt x="86862" y="192333"/>
                    <a:pt x="84121" y="201620"/>
                    <a:pt x="77292" y="207285"/>
                  </a:cubicBezTo>
                  <a:cubicBezTo>
                    <a:pt x="75480" y="219683"/>
                    <a:pt x="71206" y="234913"/>
                    <a:pt x="67722" y="236864"/>
                  </a:cubicBezTo>
                  <a:cubicBezTo>
                    <a:pt x="67396" y="237049"/>
                    <a:pt x="66885" y="237049"/>
                    <a:pt x="66467" y="237142"/>
                  </a:cubicBezTo>
                  <a:cubicBezTo>
                    <a:pt x="71252" y="239789"/>
                    <a:pt x="76270" y="242064"/>
                    <a:pt x="78732" y="243875"/>
                  </a:cubicBezTo>
                  <a:cubicBezTo>
                    <a:pt x="83378" y="247311"/>
                    <a:pt x="93459" y="250748"/>
                    <a:pt x="99685" y="255066"/>
                  </a:cubicBezTo>
                  <a:cubicBezTo>
                    <a:pt x="105910" y="259384"/>
                    <a:pt x="116735" y="258502"/>
                    <a:pt x="116735" y="253348"/>
                  </a:cubicBezTo>
                  <a:cubicBezTo>
                    <a:pt x="116735" y="248194"/>
                    <a:pt x="122914" y="251676"/>
                    <a:pt x="126816" y="255948"/>
                  </a:cubicBezTo>
                  <a:cubicBezTo>
                    <a:pt x="130672" y="260267"/>
                    <a:pt x="145446" y="261103"/>
                    <a:pt x="152415" y="262821"/>
                  </a:cubicBezTo>
                  <a:cubicBezTo>
                    <a:pt x="158314" y="264260"/>
                    <a:pt x="166909" y="263331"/>
                    <a:pt x="174575" y="263517"/>
                  </a:cubicBezTo>
                  <a:cubicBezTo>
                    <a:pt x="174296" y="261567"/>
                    <a:pt x="173878" y="259570"/>
                    <a:pt x="173274" y="257388"/>
                  </a:cubicBezTo>
                  <a:cubicBezTo>
                    <a:pt x="169464" y="243597"/>
                    <a:pt x="180614" y="235470"/>
                    <a:pt x="191114" y="233706"/>
                  </a:cubicBezTo>
                  <a:cubicBezTo>
                    <a:pt x="201613" y="231942"/>
                    <a:pt x="224610" y="239000"/>
                    <a:pt x="230649" y="243225"/>
                  </a:cubicBezTo>
                  <a:cubicBezTo>
                    <a:pt x="236689" y="247451"/>
                    <a:pt x="245005" y="246383"/>
                    <a:pt x="255505" y="234031"/>
                  </a:cubicBezTo>
                  <a:cubicBezTo>
                    <a:pt x="260800" y="227762"/>
                    <a:pt x="265168" y="225534"/>
                    <a:pt x="269024" y="224280"/>
                  </a:cubicBezTo>
                  <a:cubicBezTo>
                    <a:pt x="269302" y="221494"/>
                    <a:pt x="270603" y="218661"/>
                    <a:pt x="271440" y="216200"/>
                  </a:cubicBezTo>
                  <a:cubicBezTo>
                    <a:pt x="272880" y="211975"/>
                    <a:pt x="266190" y="212996"/>
                    <a:pt x="261404" y="212485"/>
                  </a:cubicBezTo>
                  <a:cubicBezTo>
                    <a:pt x="256619" y="211975"/>
                    <a:pt x="253274" y="206635"/>
                    <a:pt x="256619" y="200830"/>
                  </a:cubicBezTo>
                  <a:cubicBezTo>
                    <a:pt x="259964" y="195026"/>
                    <a:pt x="253739" y="194469"/>
                    <a:pt x="250394" y="188664"/>
                  </a:cubicBezTo>
                  <a:cubicBezTo>
                    <a:pt x="247049" y="182860"/>
                    <a:pt x="251834" y="184439"/>
                    <a:pt x="254715" y="182860"/>
                  </a:cubicBezTo>
                  <a:cubicBezTo>
                    <a:pt x="257595" y="181281"/>
                    <a:pt x="261404" y="174920"/>
                    <a:pt x="259035" y="173341"/>
                  </a:cubicBezTo>
                  <a:cubicBezTo>
                    <a:pt x="256666" y="171762"/>
                    <a:pt x="254715" y="168047"/>
                    <a:pt x="256666" y="161686"/>
                  </a:cubicBezTo>
                  <a:cubicBezTo>
                    <a:pt x="258571" y="155324"/>
                    <a:pt x="252856" y="154813"/>
                    <a:pt x="252856" y="150031"/>
                  </a:cubicBezTo>
                  <a:cubicBezTo>
                    <a:pt x="252856" y="145248"/>
                    <a:pt x="247607" y="143158"/>
                    <a:pt x="243286" y="148963"/>
                  </a:cubicBezTo>
                  <a:cubicBezTo>
                    <a:pt x="238966" y="154767"/>
                    <a:pt x="237525" y="150541"/>
                    <a:pt x="240406" y="141022"/>
                  </a:cubicBezTo>
                  <a:cubicBezTo>
                    <a:pt x="243286" y="131503"/>
                    <a:pt x="253321" y="127231"/>
                    <a:pt x="254297" y="121938"/>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22" name="Freeform 71">
              <a:extLst>
                <a:ext uri="{FF2B5EF4-FFF2-40B4-BE49-F238E27FC236}">
                  <a16:creationId xmlns:a16="http://schemas.microsoft.com/office/drawing/2014/main" id="{142096D5-C424-9CEB-654D-EDD04782F6D0}"/>
                </a:ext>
              </a:extLst>
            </p:cNvPr>
            <p:cNvSpPr/>
            <p:nvPr/>
          </p:nvSpPr>
          <p:spPr>
            <a:xfrm>
              <a:off x="10367442" y="3727524"/>
              <a:ext cx="91941" cy="208055"/>
            </a:xfrm>
            <a:custGeom>
              <a:avLst/>
              <a:gdLst>
                <a:gd name="connsiteX0" fmla="*/ 17066 w 19685"/>
                <a:gd name="connsiteY0" fmla="*/ 11 h 44543"/>
                <a:gd name="connsiteX1" fmla="*/ 3686 w 19685"/>
                <a:gd name="connsiteY1" fmla="*/ 12734 h 44543"/>
                <a:gd name="connsiteX2" fmla="*/ 12606 w 19685"/>
                <a:gd name="connsiteY2" fmla="*/ 44495 h 44543"/>
                <a:gd name="connsiteX3" fmla="*/ 17066 w 19685"/>
                <a:gd name="connsiteY3" fmla="*/ 11 h 44543"/>
              </a:gdLst>
              <a:ahLst/>
              <a:cxnLst>
                <a:cxn ang="0">
                  <a:pos x="connsiteX0" y="connsiteY0"/>
                </a:cxn>
                <a:cxn ang="0">
                  <a:pos x="connsiteX1" y="connsiteY1"/>
                </a:cxn>
                <a:cxn ang="0">
                  <a:pos x="connsiteX2" y="connsiteY2"/>
                </a:cxn>
                <a:cxn ang="0">
                  <a:pos x="connsiteX3" y="connsiteY3"/>
                </a:cxn>
              </a:cxnLst>
              <a:rect l="l" t="t" r="r" b="b"/>
              <a:pathLst>
                <a:path w="19685" h="44543">
                  <a:moveTo>
                    <a:pt x="17066" y="11"/>
                  </a:moveTo>
                  <a:cubicBezTo>
                    <a:pt x="13535" y="-314"/>
                    <a:pt x="12606" y="6698"/>
                    <a:pt x="3686" y="12734"/>
                  </a:cubicBezTo>
                  <a:cubicBezTo>
                    <a:pt x="-5234" y="18724"/>
                    <a:pt x="3733" y="45842"/>
                    <a:pt x="12606" y="44495"/>
                  </a:cubicBezTo>
                  <a:cubicBezTo>
                    <a:pt x="21851" y="43102"/>
                    <a:pt x="20550" y="336"/>
                    <a:pt x="17066" y="11"/>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23" name="Freeform 72">
              <a:extLst>
                <a:ext uri="{FF2B5EF4-FFF2-40B4-BE49-F238E27FC236}">
                  <a16:creationId xmlns:a16="http://schemas.microsoft.com/office/drawing/2014/main" id="{3EFDC528-1DA4-BB96-9D60-EB0D6B491B12}"/>
                </a:ext>
              </a:extLst>
            </p:cNvPr>
            <p:cNvSpPr/>
            <p:nvPr/>
          </p:nvSpPr>
          <p:spPr>
            <a:xfrm>
              <a:off x="8617858" y="3626934"/>
              <a:ext cx="1206108" cy="1014773"/>
            </a:xfrm>
            <a:custGeom>
              <a:avLst/>
              <a:gdLst>
                <a:gd name="connsiteX0" fmla="*/ 257748 w 258219"/>
                <a:gd name="connsiteY0" fmla="*/ 39005 h 217256"/>
                <a:gd name="connsiteX1" fmla="*/ 235588 w 258219"/>
                <a:gd name="connsiteY1" fmla="*/ 38309 h 217256"/>
                <a:gd name="connsiteX2" fmla="*/ 209990 w 258219"/>
                <a:gd name="connsiteY2" fmla="*/ 31436 h 217256"/>
                <a:gd name="connsiteX3" fmla="*/ 199908 w 258219"/>
                <a:gd name="connsiteY3" fmla="*/ 28836 h 217256"/>
                <a:gd name="connsiteX4" fmla="*/ 182858 w 258219"/>
                <a:gd name="connsiteY4" fmla="*/ 30554 h 217256"/>
                <a:gd name="connsiteX5" fmla="*/ 161906 w 258219"/>
                <a:gd name="connsiteY5" fmla="*/ 19363 h 217256"/>
                <a:gd name="connsiteX6" fmla="*/ 149641 w 258219"/>
                <a:gd name="connsiteY6" fmla="*/ 12630 h 217256"/>
                <a:gd name="connsiteX7" fmla="*/ 112335 w 258219"/>
                <a:gd name="connsiteY7" fmla="*/ 8126 h 217256"/>
                <a:gd name="connsiteX8" fmla="*/ 41208 w 258219"/>
                <a:gd name="connsiteY8" fmla="*/ 7430 h 217256"/>
                <a:gd name="connsiteX9" fmla="*/ 15052 w 258219"/>
                <a:gd name="connsiteY9" fmla="*/ 0 h 217256"/>
                <a:gd name="connsiteX10" fmla="*/ 0 w 258219"/>
                <a:gd name="connsiteY10" fmla="*/ 12027 h 217256"/>
                <a:gd name="connsiteX11" fmla="*/ 976 w 258219"/>
                <a:gd name="connsiteY11" fmla="*/ 23775 h 217256"/>
                <a:gd name="connsiteX12" fmla="*/ 9477 w 258219"/>
                <a:gd name="connsiteY12" fmla="*/ 33247 h 217256"/>
                <a:gd name="connsiteX13" fmla="*/ 11847 w 258219"/>
                <a:gd name="connsiteY13" fmla="*/ 51125 h 217256"/>
                <a:gd name="connsiteX14" fmla="*/ 11382 w 258219"/>
                <a:gd name="connsiteY14" fmla="*/ 52611 h 217256"/>
                <a:gd name="connsiteX15" fmla="*/ 11754 w 258219"/>
                <a:gd name="connsiteY15" fmla="*/ 54096 h 217256"/>
                <a:gd name="connsiteX16" fmla="*/ 22997 w 258219"/>
                <a:gd name="connsiteY16" fmla="*/ 54607 h 217256"/>
                <a:gd name="connsiteX17" fmla="*/ 31545 w 258219"/>
                <a:gd name="connsiteY17" fmla="*/ 54607 h 217256"/>
                <a:gd name="connsiteX18" fmla="*/ 44739 w 258219"/>
                <a:gd name="connsiteY18" fmla="*/ 57161 h 217256"/>
                <a:gd name="connsiteX19" fmla="*/ 50174 w 258219"/>
                <a:gd name="connsiteY19" fmla="*/ 66634 h 217256"/>
                <a:gd name="connsiteX20" fmla="*/ 36191 w 258219"/>
                <a:gd name="connsiteY20" fmla="*/ 80379 h 217256"/>
                <a:gd name="connsiteX21" fmla="*/ 37770 w 258219"/>
                <a:gd name="connsiteY21" fmla="*/ 102714 h 217256"/>
                <a:gd name="connsiteX22" fmla="*/ 33914 w 258219"/>
                <a:gd name="connsiteY22" fmla="*/ 119059 h 217256"/>
                <a:gd name="connsiteX23" fmla="*/ 28479 w 258219"/>
                <a:gd name="connsiteY23" fmla="*/ 128485 h 217256"/>
                <a:gd name="connsiteX24" fmla="*/ 34704 w 258219"/>
                <a:gd name="connsiteY24" fmla="*/ 141394 h 217256"/>
                <a:gd name="connsiteX25" fmla="*/ 29268 w 258219"/>
                <a:gd name="connsiteY25" fmla="*/ 154303 h 217256"/>
                <a:gd name="connsiteX26" fmla="*/ 33914 w 258219"/>
                <a:gd name="connsiteY26" fmla="*/ 166329 h 217256"/>
                <a:gd name="connsiteX27" fmla="*/ 25366 w 258219"/>
                <a:gd name="connsiteY27" fmla="*/ 180956 h 217256"/>
                <a:gd name="connsiteX28" fmla="*/ 28479 w 258219"/>
                <a:gd name="connsiteY28" fmla="*/ 188711 h 217256"/>
                <a:gd name="connsiteX29" fmla="*/ 39954 w 258219"/>
                <a:gd name="connsiteY29" fmla="*/ 189639 h 217256"/>
                <a:gd name="connsiteX30" fmla="*/ 66109 w 258219"/>
                <a:gd name="connsiteY30" fmla="*/ 217175 h 217256"/>
                <a:gd name="connsiteX31" fmla="*/ 71220 w 258219"/>
                <a:gd name="connsiteY31" fmla="*/ 209421 h 217256"/>
                <a:gd name="connsiteX32" fmla="*/ 83671 w 258219"/>
                <a:gd name="connsiteY32" fmla="*/ 208724 h 217256"/>
                <a:gd name="connsiteX33" fmla="*/ 103415 w 258219"/>
                <a:gd name="connsiteY33" fmla="*/ 200273 h 217256"/>
                <a:gd name="connsiteX34" fmla="*/ 130825 w 258219"/>
                <a:gd name="connsiteY34" fmla="*/ 199205 h 217256"/>
                <a:gd name="connsiteX35" fmla="*/ 146435 w 258219"/>
                <a:gd name="connsiteY35" fmla="*/ 190754 h 217256"/>
                <a:gd name="connsiteX36" fmla="*/ 163346 w 258219"/>
                <a:gd name="connsiteY36" fmla="*/ 178031 h 217256"/>
                <a:gd name="connsiteX37" fmla="*/ 171337 w 258219"/>
                <a:gd name="connsiteY37" fmla="*/ 161082 h 217256"/>
                <a:gd name="connsiteX38" fmla="*/ 187272 w 258219"/>
                <a:gd name="connsiteY38" fmla="*/ 142694 h 217256"/>
                <a:gd name="connsiteX39" fmla="*/ 187597 w 258219"/>
                <a:gd name="connsiteY39" fmla="*/ 107729 h 217256"/>
                <a:gd name="connsiteX40" fmla="*/ 205437 w 258219"/>
                <a:gd name="connsiteY40" fmla="*/ 84418 h 217256"/>
                <a:gd name="connsiteX41" fmla="*/ 225228 w 258219"/>
                <a:gd name="connsiteY41" fmla="*/ 72763 h 217256"/>
                <a:gd name="connsiteX42" fmla="*/ 248828 w 258219"/>
                <a:gd name="connsiteY42" fmla="*/ 59019 h 217256"/>
                <a:gd name="connsiteX43" fmla="*/ 257795 w 258219"/>
                <a:gd name="connsiteY43" fmla="*/ 39052 h 21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58219" h="217256">
                  <a:moveTo>
                    <a:pt x="257748" y="39005"/>
                  </a:moveTo>
                  <a:cubicBezTo>
                    <a:pt x="250083" y="38820"/>
                    <a:pt x="241488" y="39748"/>
                    <a:pt x="235588" y="38309"/>
                  </a:cubicBezTo>
                  <a:cubicBezTo>
                    <a:pt x="228619" y="36591"/>
                    <a:pt x="213846" y="35755"/>
                    <a:pt x="209990" y="31436"/>
                  </a:cubicBezTo>
                  <a:cubicBezTo>
                    <a:pt x="206087" y="27164"/>
                    <a:pt x="199908" y="23728"/>
                    <a:pt x="199908" y="28836"/>
                  </a:cubicBezTo>
                  <a:cubicBezTo>
                    <a:pt x="199908" y="33944"/>
                    <a:pt x="189037" y="34873"/>
                    <a:pt x="182858" y="30554"/>
                  </a:cubicBezTo>
                  <a:cubicBezTo>
                    <a:pt x="176633" y="26236"/>
                    <a:pt x="166551" y="22846"/>
                    <a:pt x="161906" y="19363"/>
                  </a:cubicBezTo>
                  <a:cubicBezTo>
                    <a:pt x="159443" y="17552"/>
                    <a:pt x="154426" y="15277"/>
                    <a:pt x="149641" y="12630"/>
                  </a:cubicBezTo>
                  <a:cubicBezTo>
                    <a:pt x="143183" y="14023"/>
                    <a:pt x="124600" y="6454"/>
                    <a:pt x="112335" y="8126"/>
                  </a:cubicBezTo>
                  <a:cubicBezTo>
                    <a:pt x="99234" y="9891"/>
                    <a:pt x="57468" y="5990"/>
                    <a:pt x="41208" y="7430"/>
                  </a:cubicBezTo>
                  <a:cubicBezTo>
                    <a:pt x="24948" y="8823"/>
                    <a:pt x="23972" y="0"/>
                    <a:pt x="15052" y="0"/>
                  </a:cubicBezTo>
                  <a:cubicBezTo>
                    <a:pt x="6876" y="0"/>
                    <a:pt x="9385" y="10076"/>
                    <a:pt x="0" y="12027"/>
                  </a:cubicBezTo>
                  <a:cubicBezTo>
                    <a:pt x="1301" y="15741"/>
                    <a:pt x="1533" y="19828"/>
                    <a:pt x="976" y="23775"/>
                  </a:cubicBezTo>
                  <a:cubicBezTo>
                    <a:pt x="4228" y="26468"/>
                    <a:pt x="6597" y="29161"/>
                    <a:pt x="9477" y="33247"/>
                  </a:cubicBezTo>
                  <a:cubicBezTo>
                    <a:pt x="13055" y="38309"/>
                    <a:pt x="13194" y="45320"/>
                    <a:pt x="11847" y="51125"/>
                  </a:cubicBezTo>
                  <a:cubicBezTo>
                    <a:pt x="11707" y="51635"/>
                    <a:pt x="11521" y="52146"/>
                    <a:pt x="11382" y="52611"/>
                  </a:cubicBezTo>
                  <a:cubicBezTo>
                    <a:pt x="11568" y="53121"/>
                    <a:pt x="11661" y="53586"/>
                    <a:pt x="11754" y="54096"/>
                  </a:cubicBezTo>
                  <a:cubicBezTo>
                    <a:pt x="14541" y="55443"/>
                    <a:pt x="19698" y="54607"/>
                    <a:pt x="22997" y="54607"/>
                  </a:cubicBezTo>
                  <a:cubicBezTo>
                    <a:pt x="27642" y="54607"/>
                    <a:pt x="26109" y="58926"/>
                    <a:pt x="31545" y="54607"/>
                  </a:cubicBezTo>
                  <a:cubicBezTo>
                    <a:pt x="36981" y="50289"/>
                    <a:pt x="44739" y="52007"/>
                    <a:pt x="44739" y="57161"/>
                  </a:cubicBezTo>
                  <a:cubicBezTo>
                    <a:pt x="44739" y="62315"/>
                    <a:pt x="56400" y="59715"/>
                    <a:pt x="50174" y="66634"/>
                  </a:cubicBezTo>
                  <a:cubicBezTo>
                    <a:pt x="43949" y="73506"/>
                    <a:pt x="36191" y="75224"/>
                    <a:pt x="36191" y="80379"/>
                  </a:cubicBezTo>
                  <a:cubicBezTo>
                    <a:pt x="36191" y="85533"/>
                    <a:pt x="43159" y="96677"/>
                    <a:pt x="37770" y="102714"/>
                  </a:cubicBezTo>
                  <a:cubicBezTo>
                    <a:pt x="32335" y="108704"/>
                    <a:pt x="39303" y="119059"/>
                    <a:pt x="33914" y="119059"/>
                  </a:cubicBezTo>
                  <a:cubicBezTo>
                    <a:pt x="28525" y="119059"/>
                    <a:pt x="22253" y="121613"/>
                    <a:pt x="28479" y="128485"/>
                  </a:cubicBezTo>
                  <a:cubicBezTo>
                    <a:pt x="34704" y="135357"/>
                    <a:pt x="39350" y="141394"/>
                    <a:pt x="34704" y="141394"/>
                  </a:cubicBezTo>
                  <a:cubicBezTo>
                    <a:pt x="30058" y="141394"/>
                    <a:pt x="26946" y="151702"/>
                    <a:pt x="29268" y="154303"/>
                  </a:cubicBezTo>
                  <a:cubicBezTo>
                    <a:pt x="31591" y="156857"/>
                    <a:pt x="42463" y="164611"/>
                    <a:pt x="33914" y="166329"/>
                  </a:cubicBezTo>
                  <a:cubicBezTo>
                    <a:pt x="25366" y="168047"/>
                    <a:pt x="25366" y="175755"/>
                    <a:pt x="25366" y="180956"/>
                  </a:cubicBezTo>
                  <a:cubicBezTo>
                    <a:pt x="25366" y="182860"/>
                    <a:pt x="26760" y="185785"/>
                    <a:pt x="28479" y="188711"/>
                  </a:cubicBezTo>
                  <a:cubicBezTo>
                    <a:pt x="32427" y="187921"/>
                    <a:pt x="36330" y="187782"/>
                    <a:pt x="39954" y="189639"/>
                  </a:cubicBezTo>
                  <a:cubicBezTo>
                    <a:pt x="48874" y="194237"/>
                    <a:pt x="54031" y="218847"/>
                    <a:pt x="66109" y="217175"/>
                  </a:cubicBezTo>
                  <a:cubicBezTo>
                    <a:pt x="71220" y="216479"/>
                    <a:pt x="68665" y="212207"/>
                    <a:pt x="71220" y="209421"/>
                  </a:cubicBezTo>
                  <a:cubicBezTo>
                    <a:pt x="73775" y="206588"/>
                    <a:pt x="78560" y="208724"/>
                    <a:pt x="83671" y="208724"/>
                  </a:cubicBezTo>
                  <a:cubicBezTo>
                    <a:pt x="88781" y="208724"/>
                    <a:pt x="91336" y="200598"/>
                    <a:pt x="103415" y="200273"/>
                  </a:cubicBezTo>
                  <a:cubicBezTo>
                    <a:pt x="115541" y="199902"/>
                    <a:pt x="123206" y="198834"/>
                    <a:pt x="130825" y="199205"/>
                  </a:cubicBezTo>
                  <a:cubicBezTo>
                    <a:pt x="138491" y="199530"/>
                    <a:pt x="144530" y="196744"/>
                    <a:pt x="146435" y="190754"/>
                  </a:cubicBezTo>
                  <a:cubicBezTo>
                    <a:pt x="148340" y="184764"/>
                    <a:pt x="154705" y="179470"/>
                    <a:pt x="163346" y="178031"/>
                  </a:cubicBezTo>
                  <a:cubicBezTo>
                    <a:pt x="171941" y="176638"/>
                    <a:pt x="170686" y="166701"/>
                    <a:pt x="171337" y="161082"/>
                  </a:cubicBezTo>
                  <a:cubicBezTo>
                    <a:pt x="171987" y="155464"/>
                    <a:pt x="186342" y="146966"/>
                    <a:pt x="187272" y="142694"/>
                  </a:cubicBezTo>
                  <a:cubicBezTo>
                    <a:pt x="188247" y="138468"/>
                    <a:pt x="178956" y="122216"/>
                    <a:pt x="187597" y="107729"/>
                  </a:cubicBezTo>
                  <a:cubicBezTo>
                    <a:pt x="196191" y="93241"/>
                    <a:pt x="205437" y="92544"/>
                    <a:pt x="205437" y="84418"/>
                  </a:cubicBezTo>
                  <a:cubicBezTo>
                    <a:pt x="205437" y="76989"/>
                    <a:pt x="214357" y="74203"/>
                    <a:pt x="225228" y="72763"/>
                  </a:cubicBezTo>
                  <a:cubicBezTo>
                    <a:pt x="236052" y="71370"/>
                    <a:pt x="239583" y="63244"/>
                    <a:pt x="248828" y="59019"/>
                  </a:cubicBezTo>
                  <a:cubicBezTo>
                    <a:pt x="256587" y="55443"/>
                    <a:pt x="259374" y="49128"/>
                    <a:pt x="257795" y="39052"/>
                  </a:cubicBezTo>
                  <a:close/>
                </a:path>
              </a:pathLst>
            </a:custGeom>
            <a:solidFill>
              <a:schemeClr val="accent1"/>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24" name="Freeform 73">
              <a:extLst>
                <a:ext uri="{FF2B5EF4-FFF2-40B4-BE49-F238E27FC236}">
                  <a16:creationId xmlns:a16="http://schemas.microsoft.com/office/drawing/2014/main" id="{35D0259A-6B67-3AF0-02AA-B64A00A2F121}"/>
                </a:ext>
              </a:extLst>
            </p:cNvPr>
            <p:cNvSpPr/>
            <p:nvPr/>
          </p:nvSpPr>
          <p:spPr>
            <a:xfrm>
              <a:off x="9739494" y="4148665"/>
              <a:ext cx="91673" cy="72711"/>
            </a:xfrm>
            <a:custGeom>
              <a:avLst/>
              <a:gdLst>
                <a:gd name="connsiteX0" fmla="*/ 19472 w 19626"/>
                <a:gd name="connsiteY0" fmla="*/ 4482 h 15567"/>
                <a:gd name="connsiteX1" fmla="*/ 657 w 19626"/>
                <a:gd name="connsiteY1" fmla="*/ 11540 h 15567"/>
                <a:gd name="connsiteX2" fmla="*/ 19472 w 19626"/>
                <a:gd name="connsiteY2" fmla="*/ 4482 h 15567"/>
              </a:gdLst>
              <a:ahLst/>
              <a:cxnLst>
                <a:cxn ang="0">
                  <a:pos x="connsiteX0" y="connsiteY0"/>
                </a:cxn>
                <a:cxn ang="0">
                  <a:pos x="connsiteX1" y="connsiteY1"/>
                </a:cxn>
                <a:cxn ang="0">
                  <a:pos x="connsiteX2" y="connsiteY2"/>
                </a:cxn>
              </a:cxnLst>
              <a:rect l="l" t="t" r="r" b="b"/>
              <a:pathLst>
                <a:path w="19626" h="15567">
                  <a:moveTo>
                    <a:pt x="19472" y="4482"/>
                  </a:moveTo>
                  <a:cubicBezTo>
                    <a:pt x="17893" y="-7545"/>
                    <a:pt x="-4035" y="8057"/>
                    <a:pt x="657" y="11540"/>
                  </a:cubicBezTo>
                  <a:cubicBezTo>
                    <a:pt x="10227" y="18598"/>
                    <a:pt x="21052" y="16462"/>
                    <a:pt x="19472" y="4482"/>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25" name="Freeform 74">
              <a:extLst>
                <a:ext uri="{FF2B5EF4-FFF2-40B4-BE49-F238E27FC236}">
                  <a16:creationId xmlns:a16="http://schemas.microsoft.com/office/drawing/2014/main" id="{1CE6D727-A3E2-584C-E577-04F46C2E2414}"/>
                </a:ext>
              </a:extLst>
            </p:cNvPr>
            <p:cNvSpPr/>
            <p:nvPr/>
          </p:nvSpPr>
          <p:spPr>
            <a:xfrm>
              <a:off x="11489615" y="3893277"/>
              <a:ext cx="638403" cy="883677"/>
            </a:xfrm>
            <a:custGeom>
              <a:avLst/>
              <a:gdLst>
                <a:gd name="connsiteX0" fmla="*/ 135053 w 136678"/>
                <a:gd name="connsiteY0" fmla="*/ 0 h 189189"/>
                <a:gd name="connsiteX1" fmla="*/ 124693 w 136678"/>
                <a:gd name="connsiteY1" fmla="*/ 5479 h 189189"/>
                <a:gd name="connsiteX2" fmla="*/ 116423 w 136678"/>
                <a:gd name="connsiteY2" fmla="*/ 11098 h 189189"/>
                <a:gd name="connsiteX3" fmla="*/ 93427 w 136678"/>
                <a:gd name="connsiteY3" fmla="*/ 6872 h 189189"/>
                <a:gd name="connsiteX4" fmla="*/ 64484 w 136678"/>
                <a:gd name="connsiteY4" fmla="*/ 6501 h 189189"/>
                <a:gd name="connsiteX5" fmla="*/ 64065 w 136678"/>
                <a:gd name="connsiteY5" fmla="*/ 7569 h 189189"/>
                <a:gd name="connsiteX6" fmla="*/ 43949 w 136678"/>
                <a:gd name="connsiteY6" fmla="*/ 17785 h 189189"/>
                <a:gd name="connsiteX7" fmla="*/ 33914 w 136678"/>
                <a:gd name="connsiteY7" fmla="*/ 24657 h 189189"/>
                <a:gd name="connsiteX8" fmla="*/ 19094 w 136678"/>
                <a:gd name="connsiteY8" fmla="*/ 26793 h 189189"/>
                <a:gd name="connsiteX9" fmla="*/ 11428 w 136678"/>
                <a:gd name="connsiteY9" fmla="*/ 40538 h 189189"/>
                <a:gd name="connsiteX10" fmla="*/ 6179 w 136678"/>
                <a:gd name="connsiteY10" fmla="*/ 49546 h 189189"/>
                <a:gd name="connsiteX11" fmla="*/ 0 w 136678"/>
                <a:gd name="connsiteY11" fmla="*/ 62455 h 189189"/>
                <a:gd name="connsiteX12" fmla="*/ 929 w 136678"/>
                <a:gd name="connsiteY12" fmla="*/ 63012 h 189189"/>
                <a:gd name="connsiteX13" fmla="*/ 12404 w 136678"/>
                <a:gd name="connsiteY13" fmla="*/ 83490 h 189189"/>
                <a:gd name="connsiteX14" fmla="*/ 27689 w 136678"/>
                <a:gd name="connsiteY14" fmla="*/ 89155 h 189189"/>
                <a:gd name="connsiteX15" fmla="*/ 47155 w 136678"/>
                <a:gd name="connsiteY15" fmla="*/ 96909 h 189189"/>
                <a:gd name="connsiteX16" fmla="*/ 24158 w 136678"/>
                <a:gd name="connsiteY16" fmla="*/ 99045 h 189189"/>
                <a:gd name="connsiteX17" fmla="*/ 28664 w 136678"/>
                <a:gd name="connsiteY17" fmla="*/ 119198 h 189189"/>
                <a:gd name="connsiteX18" fmla="*/ 39814 w 136678"/>
                <a:gd name="connsiteY18" fmla="*/ 135822 h 189189"/>
                <a:gd name="connsiteX19" fmla="*/ 59884 w 136678"/>
                <a:gd name="connsiteY19" fmla="*/ 146409 h 189189"/>
                <a:gd name="connsiteX20" fmla="*/ 56074 w 136678"/>
                <a:gd name="connsiteY20" fmla="*/ 122402 h 189189"/>
                <a:gd name="connsiteX21" fmla="*/ 71034 w 136678"/>
                <a:gd name="connsiteY21" fmla="*/ 121705 h 189189"/>
                <a:gd name="connsiteX22" fmla="*/ 61138 w 136678"/>
                <a:gd name="connsiteY22" fmla="*/ 112186 h 189189"/>
                <a:gd name="connsiteX23" fmla="*/ 68804 w 136678"/>
                <a:gd name="connsiteY23" fmla="*/ 107589 h 189189"/>
                <a:gd name="connsiteX24" fmla="*/ 84414 w 136678"/>
                <a:gd name="connsiteY24" fmla="*/ 105453 h 189189"/>
                <a:gd name="connsiteX25" fmla="*/ 77399 w 136678"/>
                <a:gd name="connsiteY25" fmla="*/ 86044 h 189189"/>
                <a:gd name="connsiteX26" fmla="*/ 59513 w 136678"/>
                <a:gd name="connsiteY26" fmla="*/ 86740 h 189189"/>
                <a:gd name="connsiteX27" fmla="*/ 66527 w 136678"/>
                <a:gd name="connsiteY27" fmla="*/ 74017 h 189189"/>
                <a:gd name="connsiteX28" fmla="*/ 48966 w 136678"/>
                <a:gd name="connsiteY28" fmla="*/ 47178 h 189189"/>
                <a:gd name="connsiteX29" fmla="*/ 60116 w 136678"/>
                <a:gd name="connsiteY29" fmla="*/ 40491 h 189189"/>
                <a:gd name="connsiteX30" fmla="*/ 77352 w 136678"/>
                <a:gd name="connsiteY30" fmla="*/ 43277 h 189189"/>
                <a:gd name="connsiteX31" fmla="*/ 81487 w 136678"/>
                <a:gd name="connsiteY31" fmla="*/ 25261 h 189189"/>
                <a:gd name="connsiteX32" fmla="*/ 94588 w 136678"/>
                <a:gd name="connsiteY32" fmla="*/ 29857 h 189189"/>
                <a:gd name="connsiteX33" fmla="*/ 110848 w 136678"/>
                <a:gd name="connsiteY33" fmla="*/ 21035 h 189189"/>
                <a:gd name="connsiteX34" fmla="*/ 125390 w 136678"/>
                <a:gd name="connsiteY34" fmla="*/ 28697 h 189189"/>
                <a:gd name="connsiteX35" fmla="*/ 130453 w 136678"/>
                <a:gd name="connsiteY35" fmla="*/ 20524 h 189189"/>
                <a:gd name="connsiteX36" fmla="*/ 136679 w 136678"/>
                <a:gd name="connsiteY36" fmla="*/ 9380 h 189189"/>
                <a:gd name="connsiteX37" fmla="*/ 134914 w 136678"/>
                <a:gd name="connsiteY37" fmla="*/ 0 h 189189"/>
                <a:gd name="connsiteX38" fmla="*/ 117027 w 136678"/>
                <a:gd name="connsiteY38" fmla="*/ 178217 h 189189"/>
                <a:gd name="connsiteX39" fmla="*/ 82927 w 136678"/>
                <a:gd name="connsiteY39" fmla="*/ 173991 h 189189"/>
                <a:gd name="connsiteX40" fmla="*/ 69826 w 136678"/>
                <a:gd name="connsiteY40" fmla="*/ 179981 h 189189"/>
                <a:gd name="connsiteX41" fmla="*/ 101371 w 136678"/>
                <a:gd name="connsiteY41" fmla="*/ 189175 h 189189"/>
                <a:gd name="connsiteX42" fmla="*/ 130407 w 136678"/>
                <a:gd name="connsiteY42" fmla="*/ 179285 h 189189"/>
                <a:gd name="connsiteX43" fmla="*/ 117027 w 136678"/>
                <a:gd name="connsiteY43" fmla="*/ 178217 h 18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36678" h="189189">
                  <a:moveTo>
                    <a:pt x="135053" y="0"/>
                  </a:moveTo>
                  <a:cubicBezTo>
                    <a:pt x="130268" y="557"/>
                    <a:pt x="123624" y="2508"/>
                    <a:pt x="124693" y="5479"/>
                  </a:cubicBezTo>
                  <a:cubicBezTo>
                    <a:pt x="125947" y="9008"/>
                    <a:pt x="121487" y="11098"/>
                    <a:pt x="116423" y="11098"/>
                  </a:cubicBezTo>
                  <a:cubicBezTo>
                    <a:pt x="116423" y="11098"/>
                    <a:pt x="98537" y="9705"/>
                    <a:pt x="93427" y="6872"/>
                  </a:cubicBezTo>
                  <a:cubicBezTo>
                    <a:pt x="89571" y="4736"/>
                    <a:pt x="72521" y="5804"/>
                    <a:pt x="64484" y="6501"/>
                  </a:cubicBezTo>
                  <a:cubicBezTo>
                    <a:pt x="64484" y="6872"/>
                    <a:pt x="64344" y="7197"/>
                    <a:pt x="64065" y="7569"/>
                  </a:cubicBezTo>
                  <a:cubicBezTo>
                    <a:pt x="62161" y="10726"/>
                    <a:pt x="46829" y="19410"/>
                    <a:pt x="43949" y="17785"/>
                  </a:cubicBezTo>
                  <a:cubicBezTo>
                    <a:pt x="41069" y="16206"/>
                    <a:pt x="39628" y="23078"/>
                    <a:pt x="33914" y="24657"/>
                  </a:cubicBezTo>
                  <a:cubicBezTo>
                    <a:pt x="28153" y="26236"/>
                    <a:pt x="19559" y="24100"/>
                    <a:pt x="19094" y="26793"/>
                  </a:cubicBezTo>
                  <a:cubicBezTo>
                    <a:pt x="18583" y="29440"/>
                    <a:pt x="14774" y="36869"/>
                    <a:pt x="11428" y="40538"/>
                  </a:cubicBezTo>
                  <a:cubicBezTo>
                    <a:pt x="8084" y="44252"/>
                    <a:pt x="10964" y="48478"/>
                    <a:pt x="6179" y="49546"/>
                  </a:cubicBezTo>
                  <a:cubicBezTo>
                    <a:pt x="3020" y="50242"/>
                    <a:pt x="1719" y="56743"/>
                    <a:pt x="0" y="62455"/>
                  </a:cubicBezTo>
                  <a:cubicBezTo>
                    <a:pt x="325" y="62641"/>
                    <a:pt x="604" y="62873"/>
                    <a:pt x="929" y="63012"/>
                  </a:cubicBezTo>
                  <a:cubicBezTo>
                    <a:pt x="7944" y="65473"/>
                    <a:pt x="13380" y="74667"/>
                    <a:pt x="12404" y="83490"/>
                  </a:cubicBezTo>
                  <a:cubicBezTo>
                    <a:pt x="11475" y="92312"/>
                    <a:pt x="22625" y="95516"/>
                    <a:pt x="27689" y="89155"/>
                  </a:cubicBezTo>
                  <a:cubicBezTo>
                    <a:pt x="32799" y="82793"/>
                    <a:pt x="47155" y="92684"/>
                    <a:pt x="47155" y="96909"/>
                  </a:cubicBezTo>
                  <a:cubicBezTo>
                    <a:pt x="47155" y="101135"/>
                    <a:pt x="32474" y="92312"/>
                    <a:pt x="24158" y="99045"/>
                  </a:cubicBezTo>
                  <a:cubicBezTo>
                    <a:pt x="15889" y="105732"/>
                    <a:pt x="30569" y="112094"/>
                    <a:pt x="28664" y="119198"/>
                  </a:cubicBezTo>
                  <a:cubicBezTo>
                    <a:pt x="26759" y="126256"/>
                    <a:pt x="32474" y="136147"/>
                    <a:pt x="39814" y="135822"/>
                  </a:cubicBezTo>
                  <a:cubicBezTo>
                    <a:pt x="47155" y="135450"/>
                    <a:pt x="55424" y="148870"/>
                    <a:pt x="59884" y="146409"/>
                  </a:cubicBezTo>
                  <a:cubicBezTo>
                    <a:pt x="64344" y="143948"/>
                    <a:pt x="54448" y="125234"/>
                    <a:pt x="56074" y="122402"/>
                  </a:cubicBezTo>
                  <a:cubicBezTo>
                    <a:pt x="57654" y="119569"/>
                    <a:pt x="66574" y="127324"/>
                    <a:pt x="71034" y="121705"/>
                  </a:cubicBezTo>
                  <a:cubicBezTo>
                    <a:pt x="75494" y="116087"/>
                    <a:pt x="67828" y="111815"/>
                    <a:pt x="61138" y="112186"/>
                  </a:cubicBezTo>
                  <a:cubicBezTo>
                    <a:pt x="54448" y="112511"/>
                    <a:pt x="60813" y="102296"/>
                    <a:pt x="68804" y="107589"/>
                  </a:cubicBezTo>
                  <a:cubicBezTo>
                    <a:pt x="76748" y="112883"/>
                    <a:pt x="80604" y="106196"/>
                    <a:pt x="84414" y="105453"/>
                  </a:cubicBezTo>
                  <a:cubicBezTo>
                    <a:pt x="88223" y="104757"/>
                    <a:pt x="89199" y="89573"/>
                    <a:pt x="77399" y="86044"/>
                  </a:cubicBezTo>
                  <a:cubicBezTo>
                    <a:pt x="65598" y="82515"/>
                    <a:pt x="67178" y="95563"/>
                    <a:pt x="59513" y="86740"/>
                  </a:cubicBezTo>
                  <a:cubicBezTo>
                    <a:pt x="51847" y="77917"/>
                    <a:pt x="66527" y="81447"/>
                    <a:pt x="66527" y="74017"/>
                  </a:cubicBezTo>
                  <a:cubicBezTo>
                    <a:pt x="66527" y="66587"/>
                    <a:pt x="54727" y="56000"/>
                    <a:pt x="48966" y="47178"/>
                  </a:cubicBezTo>
                  <a:cubicBezTo>
                    <a:pt x="43206" y="38355"/>
                    <a:pt x="56957" y="34130"/>
                    <a:pt x="60116" y="40491"/>
                  </a:cubicBezTo>
                  <a:cubicBezTo>
                    <a:pt x="63322" y="46853"/>
                    <a:pt x="71917" y="45785"/>
                    <a:pt x="77352" y="43277"/>
                  </a:cubicBezTo>
                  <a:cubicBezTo>
                    <a:pt x="82788" y="40816"/>
                    <a:pt x="71591" y="29486"/>
                    <a:pt x="81487" y="25261"/>
                  </a:cubicBezTo>
                  <a:cubicBezTo>
                    <a:pt x="91383" y="21035"/>
                    <a:pt x="91383" y="28418"/>
                    <a:pt x="94588" y="29857"/>
                  </a:cubicBezTo>
                  <a:cubicBezTo>
                    <a:pt x="97794" y="31251"/>
                    <a:pt x="100628" y="21035"/>
                    <a:pt x="110848" y="21035"/>
                  </a:cubicBezTo>
                  <a:cubicBezTo>
                    <a:pt x="116145" y="21035"/>
                    <a:pt x="120883" y="24935"/>
                    <a:pt x="125390" y="28697"/>
                  </a:cubicBezTo>
                  <a:cubicBezTo>
                    <a:pt x="128177" y="25307"/>
                    <a:pt x="130453" y="23357"/>
                    <a:pt x="130453" y="20524"/>
                  </a:cubicBezTo>
                  <a:cubicBezTo>
                    <a:pt x="130453" y="16809"/>
                    <a:pt x="136679" y="15231"/>
                    <a:pt x="136679" y="9380"/>
                  </a:cubicBezTo>
                  <a:cubicBezTo>
                    <a:pt x="136679" y="6594"/>
                    <a:pt x="135703" y="3065"/>
                    <a:pt x="134914" y="0"/>
                  </a:cubicBezTo>
                  <a:close/>
                  <a:moveTo>
                    <a:pt x="117027" y="178217"/>
                  </a:moveTo>
                  <a:cubicBezTo>
                    <a:pt x="111917" y="175059"/>
                    <a:pt x="88967" y="180352"/>
                    <a:pt x="82927" y="173991"/>
                  </a:cubicBezTo>
                  <a:cubicBezTo>
                    <a:pt x="76841" y="167629"/>
                    <a:pt x="64484" y="179006"/>
                    <a:pt x="69826" y="179981"/>
                  </a:cubicBezTo>
                  <a:cubicBezTo>
                    <a:pt x="77492" y="181374"/>
                    <a:pt x="88967" y="188804"/>
                    <a:pt x="101371" y="189175"/>
                  </a:cubicBezTo>
                  <a:cubicBezTo>
                    <a:pt x="113822" y="189547"/>
                    <a:pt x="130686" y="182814"/>
                    <a:pt x="130407" y="179285"/>
                  </a:cubicBezTo>
                  <a:cubicBezTo>
                    <a:pt x="130082" y="175755"/>
                    <a:pt x="122091" y="181421"/>
                    <a:pt x="117027" y="178217"/>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26" name="Freeform 75">
              <a:extLst>
                <a:ext uri="{FF2B5EF4-FFF2-40B4-BE49-F238E27FC236}">
                  <a16:creationId xmlns:a16="http://schemas.microsoft.com/office/drawing/2014/main" id="{42CAEBF0-30B2-21A0-7DDC-4ACB3DD0051F}"/>
                </a:ext>
              </a:extLst>
            </p:cNvPr>
            <p:cNvSpPr/>
            <p:nvPr/>
          </p:nvSpPr>
          <p:spPr>
            <a:xfrm>
              <a:off x="8442098" y="1959501"/>
              <a:ext cx="424363" cy="493185"/>
            </a:xfrm>
            <a:custGeom>
              <a:avLst/>
              <a:gdLst>
                <a:gd name="connsiteX0" fmla="*/ 85481 w 90853"/>
                <a:gd name="connsiteY0" fmla="*/ 40208 h 105588"/>
                <a:gd name="connsiteX1" fmla="*/ 85110 w 90853"/>
                <a:gd name="connsiteY1" fmla="*/ 36540 h 105588"/>
                <a:gd name="connsiteX2" fmla="*/ 78002 w 90853"/>
                <a:gd name="connsiteY2" fmla="*/ 29389 h 105588"/>
                <a:gd name="connsiteX3" fmla="*/ 65458 w 90853"/>
                <a:gd name="connsiteY3" fmla="*/ 33661 h 105588"/>
                <a:gd name="connsiteX4" fmla="*/ 51939 w 90853"/>
                <a:gd name="connsiteY4" fmla="*/ 30457 h 105588"/>
                <a:gd name="connsiteX5" fmla="*/ 56770 w 90853"/>
                <a:gd name="connsiteY5" fmla="*/ 16573 h 105588"/>
                <a:gd name="connsiteX6" fmla="*/ 62624 w 90853"/>
                <a:gd name="connsiteY6" fmla="*/ 2968 h 105588"/>
                <a:gd name="connsiteX7" fmla="*/ 59930 w 90853"/>
                <a:gd name="connsiteY7" fmla="*/ 2457 h 105588"/>
                <a:gd name="connsiteX8" fmla="*/ 38234 w 90853"/>
                <a:gd name="connsiteY8" fmla="*/ 7426 h 105588"/>
                <a:gd name="connsiteX9" fmla="*/ 48455 w 90853"/>
                <a:gd name="connsiteY9" fmla="*/ 18709 h 105588"/>
                <a:gd name="connsiteX10" fmla="*/ 30893 w 90853"/>
                <a:gd name="connsiteY10" fmla="*/ 28600 h 105588"/>
                <a:gd name="connsiteX11" fmla="*/ 7943 w 90853"/>
                <a:gd name="connsiteY11" fmla="*/ 28925 h 105588"/>
                <a:gd name="connsiteX12" fmla="*/ 10498 w 90853"/>
                <a:gd name="connsiteY12" fmla="*/ 46942 h 105588"/>
                <a:gd name="connsiteX13" fmla="*/ 20394 w 90853"/>
                <a:gd name="connsiteY13" fmla="*/ 63890 h 105588"/>
                <a:gd name="connsiteX14" fmla="*/ 14680 w 90853"/>
                <a:gd name="connsiteY14" fmla="*/ 84043 h 105588"/>
                <a:gd name="connsiteX15" fmla="*/ 324 w 90853"/>
                <a:gd name="connsiteY15" fmla="*/ 99599 h 105588"/>
                <a:gd name="connsiteX16" fmla="*/ 696 w 90853"/>
                <a:gd name="connsiteY16" fmla="*/ 104474 h 105588"/>
                <a:gd name="connsiteX17" fmla="*/ 54773 w 90853"/>
                <a:gd name="connsiteY17" fmla="*/ 105589 h 105588"/>
                <a:gd name="connsiteX18" fmla="*/ 59000 w 90853"/>
                <a:gd name="connsiteY18" fmla="*/ 101734 h 105588"/>
                <a:gd name="connsiteX19" fmla="*/ 85481 w 90853"/>
                <a:gd name="connsiteY19" fmla="*/ 95744 h 105588"/>
                <a:gd name="connsiteX20" fmla="*/ 85481 w 90853"/>
                <a:gd name="connsiteY20" fmla="*/ 40301 h 105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0853" h="105588">
                  <a:moveTo>
                    <a:pt x="85481" y="40208"/>
                  </a:moveTo>
                  <a:cubicBezTo>
                    <a:pt x="84831" y="38722"/>
                    <a:pt x="84831" y="37562"/>
                    <a:pt x="85110" y="36540"/>
                  </a:cubicBezTo>
                  <a:cubicBezTo>
                    <a:pt x="82415" y="34311"/>
                    <a:pt x="79906" y="31943"/>
                    <a:pt x="78002" y="29389"/>
                  </a:cubicBezTo>
                  <a:cubicBezTo>
                    <a:pt x="69825" y="18709"/>
                    <a:pt x="66434" y="27253"/>
                    <a:pt x="65458" y="33661"/>
                  </a:cubicBezTo>
                  <a:cubicBezTo>
                    <a:pt x="64483" y="40069"/>
                    <a:pt x="56770" y="31525"/>
                    <a:pt x="51939" y="30457"/>
                  </a:cubicBezTo>
                  <a:cubicBezTo>
                    <a:pt x="47107" y="29389"/>
                    <a:pt x="53379" y="19266"/>
                    <a:pt x="56770" y="16573"/>
                  </a:cubicBezTo>
                  <a:cubicBezTo>
                    <a:pt x="59047" y="14809"/>
                    <a:pt x="61277" y="9840"/>
                    <a:pt x="62624" y="2968"/>
                  </a:cubicBezTo>
                  <a:cubicBezTo>
                    <a:pt x="61695" y="2968"/>
                    <a:pt x="60812" y="2829"/>
                    <a:pt x="59930" y="2457"/>
                  </a:cubicBezTo>
                  <a:cubicBezTo>
                    <a:pt x="51010" y="-1397"/>
                    <a:pt x="38559" y="-1397"/>
                    <a:pt x="38234" y="7426"/>
                  </a:cubicBezTo>
                  <a:cubicBezTo>
                    <a:pt x="37909" y="16248"/>
                    <a:pt x="48129" y="13091"/>
                    <a:pt x="48455" y="18709"/>
                  </a:cubicBezTo>
                  <a:cubicBezTo>
                    <a:pt x="48780" y="24374"/>
                    <a:pt x="38234" y="22935"/>
                    <a:pt x="30893" y="28600"/>
                  </a:cubicBezTo>
                  <a:cubicBezTo>
                    <a:pt x="23553" y="34265"/>
                    <a:pt x="15609" y="24746"/>
                    <a:pt x="7943" y="28925"/>
                  </a:cubicBezTo>
                  <a:cubicBezTo>
                    <a:pt x="278" y="33150"/>
                    <a:pt x="16213" y="38119"/>
                    <a:pt x="10498" y="46942"/>
                  </a:cubicBezTo>
                  <a:cubicBezTo>
                    <a:pt x="4738" y="55764"/>
                    <a:pt x="10824" y="55393"/>
                    <a:pt x="20394" y="63890"/>
                  </a:cubicBezTo>
                  <a:cubicBezTo>
                    <a:pt x="29964" y="72388"/>
                    <a:pt x="14680" y="74477"/>
                    <a:pt x="14680" y="84043"/>
                  </a:cubicBezTo>
                  <a:cubicBezTo>
                    <a:pt x="14680" y="93608"/>
                    <a:pt x="2879" y="93237"/>
                    <a:pt x="324" y="99599"/>
                  </a:cubicBezTo>
                  <a:cubicBezTo>
                    <a:pt x="-233" y="100991"/>
                    <a:pt x="-47" y="102663"/>
                    <a:pt x="696" y="104474"/>
                  </a:cubicBezTo>
                  <a:cubicBezTo>
                    <a:pt x="18721" y="104660"/>
                    <a:pt x="36747" y="105496"/>
                    <a:pt x="54773" y="105589"/>
                  </a:cubicBezTo>
                  <a:cubicBezTo>
                    <a:pt x="56259" y="104381"/>
                    <a:pt x="57700" y="103128"/>
                    <a:pt x="59000" y="101734"/>
                  </a:cubicBezTo>
                  <a:cubicBezTo>
                    <a:pt x="69825" y="90451"/>
                    <a:pt x="75586" y="101363"/>
                    <a:pt x="85481" y="95744"/>
                  </a:cubicBezTo>
                  <a:cubicBezTo>
                    <a:pt x="95377" y="90079"/>
                    <a:pt x="89291" y="48752"/>
                    <a:pt x="85481" y="40301"/>
                  </a:cubicBezTo>
                  <a:close/>
                </a:path>
              </a:pathLst>
            </a:custGeom>
            <a:solidFill>
              <a:schemeClr val="accent1"/>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nvGrpSpPr>
            <p:cNvPr id="27" name="Graphic 8">
              <a:extLst>
                <a:ext uri="{FF2B5EF4-FFF2-40B4-BE49-F238E27FC236}">
                  <a16:creationId xmlns:a16="http://schemas.microsoft.com/office/drawing/2014/main" id="{C4736F1D-EAED-EE33-AC53-42EE9176E3B6}"/>
                </a:ext>
              </a:extLst>
            </p:cNvPr>
            <p:cNvGrpSpPr/>
            <p:nvPr/>
          </p:nvGrpSpPr>
          <p:grpSpPr>
            <a:xfrm>
              <a:off x="8676730" y="1353108"/>
              <a:ext cx="998299" cy="1388930"/>
              <a:chOff x="4287738" y="2530272"/>
              <a:chExt cx="213729" cy="297362"/>
            </a:xfrm>
            <a:grpFill/>
          </p:grpSpPr>
          <p:grpSp>
            <p:nvGrpSpPr>
              <p:cNvPr id="51" name="Graphic 8">
                <a:extLst>
                  <a:ext uri="{FF2B5EF4-FFF2-40B4-BE49-F238E27FC236}">
                    <a16:creationId xmlns:a16="http://schemas.microsoft.com/office/drawing/2014/main" id="{CD1D57BB-7AB3-46A5-626B-78BC27C6BD4D}"/>
                  </a:ext>
                </a:extLst>
              </p:cNvPr>
              <p:cNvGrpSpPr/>
              <p:nvPr/>
            </p:nvGrpSpPr>
            <p:grpSpPr>
              <a:xfrm>
                <a:off x="4287738" y="2530272"/>
                <a:ext cx="213729" cy="297362"/>
                <a:chOff x="4287738" y="2530272"/>
                <a:chExt cx="213729" cy="297362"/>
              </a:xfrm>
              <a:grpFill/>
            </p:grpSpPr>
            <p:sp>
              <p:nvSpPr>
                <p:cNvPr id="53" name="Freeform 131">
                  <a:extLst>
                    <a:ext uri="{FF2B5EF4-FFF2-40B4-BE49-F238E27FC236}">
                      <a16:creationId xmlns:a16="http://schemas.microsoft.com/office/drawing/2014/main" id="{4136C556-4C20-D4B0-6577-A576E7962E7D}"/>
                    </a:ext>
                  </a:extLst>
                </p:cNvPr>
                <p:cNvSpPr/>
                <p:nvPr/>
              </p:nvSpPr>
              <p:spPr>
                <a:xfrm>
                  <a:off x="4308478" y="2551005"/>
                  <a:ext cx="15149" cy="17508"/>
                </a:xfrm>
                <a:custGeom>
                  <a:avLst/>
                  <a:gdLst>
                    <a:gd name="connsiteX0" fmla="*/ 8692 w 15149"/>
                    <a:gd name="connsiteY0" fmla="*/ 0 h 17508"/>
                    <a:gd name="connsiteX1" fmla="*/ 1444 w 15149"/>
                    <a:gd name="connsiteY1" fmla="*/ 17506 h 17508"/>
                    <a:gd name="connsiteX2" fmla="*/ 15150 w 15149"/>
                    <a:gd name="connsiteY2" fmla="*/ 5386 h 17508"/>
                    <a:gd name="connsiteX3" fmla="*/ 8692 w 15149"/>
                    <a:gd name="connsiteY3" fmla="*/ 0 h 17508"/>
                  </a:gdLst>
                  <a:ahLst/>
                  <a:cxnLst>
                    <a:cxn ang="0">
                      <a:pos x="connsiteX0" y="connsiteY0"/>
                    </a:cxn>
                    <a:cxn ang="0">
                      <a:pos x="connsiteX1" y="connsiteY1"/>
                    </a:cxn>
                    <a:cxn ang="0">
                      <a:pos x="connsiteX2" y="connsiteY2"/>
                    </a:cxn>
                    <a:cxn ang="0">
                      <a:pos x="connsiteX3" y="connsiteY3"/>
                    </a:cxn>
                  </a:cxnLst>
                  <a:rect l="l" t="t" r="r" b="b"/>
                  <a:pathLst>
                    <a:path w="15149" h="17508">
                      <a:moveTo>
                        <a:pt x="8692" y="0"/>
                      </a:moveTo>
                      <a:cubicBezTo>
                        <a:pt x="3071" y="6362"/>
                        <a:pt x="-2783" y="17692"/>
                        <a:pt x="1444" y="17506"/>
                      </a:cubicBezTo>
                      <a:cubicBezTo>
                        <a:pt x="6694" y="17274"/>
                        <a:pt x="12408" y="11144"/>
                        <a:pt x="15150" y="5386"/>
                      </a:cubicBezTo>
                      <a:cubicBezTo>
                        <a:pt x="12548" y="3993"/>
                        <a:pt x="10411" y="2182"/>
                        <a:pt x="8692" y="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54" name="Freeform 133">
                  <a:extLst>
                    <a:ext uri="{FF2B5EF4-FFF2-40B4-BE49-F238E27FC236}">
                      <a16:creationId xmlns:a16="http://schemas.microsoft.com/office/drawing/2014/main" id="{31C69A64-2986-7A2F-8036-14AE4BA09A69}"/>
                    </a:ext>
                  </a:extLst>
                </p:cNvPr>
                <p:cNvSpPr/>
                <p:nvPr/>
              </p:nvSpPr>
              <p:spPr>
                <a:xfrm>
                  <a:off x="4287738" y="2655337"/>
                  <a:ext cx="53616" cy="41241"/>
                </a:xfrm>
                <a:custGeom>
                  <a:avLst/>
                  <a:gdLst>
                    <a:gd name="connsiteX0" fmla="*/ 12428 w 53616"/>
                    <a:gd name="connsiteY0" fmla="*/ 7669 h 41241"/>
                    <a:gd name="connsiteX1" fmla="*/ 6574 w 53616"/>
                    <a:gd name="connsiteY1" fmla="*/ 21274 h 41241"/>
                    <a:gd name="connsiteX2" fmla="*/ 1743 w 53616"/>
                    <a:gd name="connsiteY2" fmla="*/ 35158 h 41241"/>
                    <a:gd name="connsiteX3" fmla="*/ 15262 w 53616"/>
                    <a:gd name="connsiteY3" fmla="*/ 38362 h 41241"/>
                    <a:gd name="connsiteX4" fmla="*/ 27806 w 53616"/>
                    <a:gd name="connsiteY4" fmla="*/ 34090 h 41241"/>
                    <a:gd name="connsiteX5" fmla="*/ 34914 w 53616"/>
                    <a:gd name="connsiteY5" fmla="*/ 41241 h 41241"/>
                    <a:gd name="connsiteX6" fmla="*/ 51546 w 53616"/>
                    <a:gd name="connsiteY6" fmla="*/ 29726 h 41241"/>
                    <a:gd name="connsiteX7" fmla="*/ 39467 w 53616"/>
                    <a:gd name="connsiteY7" fmla="*/ 2886 h 41241"/>
                    <a:gd name="connsiteX8" fmla="*/ 12475 w 53616"/>
                    <a:gd name="connsiteY8" fmla="*/ 7623 h 41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616" h="41241">
                      <a:moveTo>
                        <a:pt x="12428" y="7669"/>
                      </a:moveTo>
                      <a:cubicBezTo>
                        <a:pt x="11034" y="14541"/>
                        <a:pt x="8804" y="19510"/>
                        <a:pt x="6574" y="21274"/>
                      </a:cubicBezTo>
                      <a:cubicBezTo>
                        <a:pt x="3183" y="23968"/>
                        <a:pt x="-3042" y="34090"/>
                        <a:pt x="1743" y="35158"/>
                      </a:cubicBezTo>
                      <a:cubicBezTo>
                        <a:pt x="6574" y="36226"/>
                        <a:pt x="14240" y="44770"/>
                        <a:pt x="15262" y="38362"/>
                      </a:cubicBezTo>
                      <a:cubicBezTo>
                        <a:pt x="16238" y="31954"/>
                        <a:pt x="19583" y="23410"/>
                        <a:pt x="27806" y="34090"/>
                      </a:cubicBezTo>
                      <a:cubicBezTo>
                        <a:pt x="29757" y="36644"/>
                        <a:pt x="32265" y="39059"/>
                        <a:pt x="34914" y="41241"/>
                      </a:cubicBezTo>
                      <a:cubicBezTo>
                        <a:pt x="36261" y="36412"/>
                        <a:pt x="46296" y="35576"/>
                        <a:pt x="51546" y="29726"/>
                      </a:cubicBezTo>
                      <a:cubicBezTo>
                        <a:pt x="57910" y="22667"/>
                        <a:pt x="48386" y="12405"/>
                        <a:pt x="39467" y="2886"/>
                      </a:cubicBezTo>
                      <a:cubicBezTo>
                        <a:pt x="31383" y="-5751"/>
                        <a:pt x="21023" y="7762"/>
                        <a:pt x="12475" y="7623"/>
                      </a:cubicBezTo>
                      <a:close/>
                    </a:path>
                  </a:pathLst>
                </a:custGeom>
                <a:solidFill>
                  <a:schemeClr val="accent1"/>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55" name="Freeform 134">
                  <a:extLst>
                    <a:ext uri="{FF2B5EF4-FFF2-40B4-BE49-F238E27FC236}">
                      <a16:creationId xmlns:a16="http://schemas.microsoft.com/office/drawing/2014/main" id="{CE0E58C3-B947-86A3-9719-8DD663537528}"/>
                    </a:ext>
                  </a:extLst>
                </p:cNvPr>
                <p:cNvSpPr/>
                <p:nvPr/>
              </p:nvSpPr>
              <p:spPr>
                <a:xfrm>
                  <a:off x="4317114" y="2530272"/>
                  <a:ext cx="184353" cy="297362"/>
                </a:xfrm>
                <a:custGeom>
                  <a:avLst/>
                  <a:gdLst>
                    <a:gd name="connsiteX0" fmla="*/ 179940 w 184353"/>
                    <a:gd name="connsiteY0" fmla="*/ 213298 h 297362"/>
                    <a:gd name="connsiteX1" fmla="*/ 177246 w 184353"/>
                    <a:gd name="connsiteY1" fmla="*/ 212416 h 297362"/>
                    <a:gd name="connsiteX2" fmla="*/ 163215 w 184353"/>
                    <a:gd name="connsiteY2" fmla="*/ 201782 h 297362"/>
                    <a:gd name="connsiteX3" fmla="*/ 161775 w 184353"/>
                    <a:gd name="connsiteY3" fmla="*/ 203175 h 297362"/>
                    <a:gd name="connsiteX4" fmla="*/ 151229 w 184353"/>
                    <a:gd name="connsiteY4" fmla="*/ 201782 h 297362"/>
                    <a:gd name="connsiteX5" fmla="*/ 150904 w 184353"/>
                    <a:gd name="connsiteY5" fmla="*/ 188688 h 297362"/>
                    <a:gd name="connsiteX6" fmla="*/ 143889 w 184353"/>
                    <a:gd name="connsiteY6" fmla="*/ 175639 h 297362"/>
                    <a:gd name="connsiteX7" fmla="*/ 143935 w 184353"/>
                    <a:gd name="connsiteY7" fmla="*/ 174107 h 297362"/>
                    <a:gd name="connsiteX8" fmla="*/ 133157 w 184353"/>
                    <a:gd name="connsiteY8" fmla="*/ 161709 h 297362"/>
                    <a:gd name="connsiteX9" fmla="*/ 130463 w 184353"/>
                    <a:gd name="connsiteY9" fmla="*/ 155255 h 297362"/>
                    <a:gd name="connsiteX10" fmla="*/ 128651 w 184353"/>
                    <a:gd name="connsiteY10" fmla="*/ 154372 h 297362"/>
                    <a:gd name="connsiteX11" fmla="*/ 117826 w 184353"/>
                    <a:gd name="connsiteY11" fmla="*/ 140488 h 297362"/>
                    <a:gd name="connsiteX12" fmla="*/ 116943 w 184353"/>
                    <a:gd name="connsiteY12" fmla="*/ 134127 h 297362"/>
                    <a:gd name="connsiteX13" fmla="*/ 115410 w 184353"/>
                    <a:gd name="connsiteY13" fmla="*/ 128694 h 297362"/>
                    <a:gd name="connsiteX14" fmla="*/ 103564 w 184353"/>
                    <a:gd name="connsiteY14" fmla="*/ 109702 h 297362"/>
                    <a:gd name="connsiteX15" fmla="*/ 98871 w 184353"/>
                    <a:gd name="connsiteY15" fmla="*/ 105616 h 297362"/>
                    <a:gd name="connsiteX16" fmla="*/ 79405 w 184353"/>
                    <a:gd name="connsiteY16" fmla="*/ 102087 h 297362"/>
                    <a:gd name="connsiteX17" fmla="*/ 84237 w 184353"/>
                    <a:gd name="connsiteY17" fmla="*/ 88946 h 297362"/>
                    <a:gd name="connsiteX18" fmla="*/ 82843 w 184353"/>
                    <a:gd name="connsiteY18" fmla="*/ 81470 h 297362"/>
                    <a:gd name="connsiteX19" fmla="*/ 96966 w 184353"/>
                    <a:gd name="connsiteY19" fmla="*/ 60156 h 297362"/>
                    <a:gd name="connsiteX20" fmla="*/ 101473 w 184353"/>
                    <a:gd name="connsiteY20" fmla="*/ 54631 h 297362"/>
                    <a:gd name="connsiteX21" fmla="*/ 101752 w 184353"/>
                    <a:gd name="connsiteY21" fmla="*/ 54398 h 297362"/>
                    <a:gd name="connsiteX22" fmla="*/ 103610 w 184353"/>
                    <a:gd name="connsiteY22" fmla="*/ 44926 h 297362"/>
                    <a:gd name="connsiteX23" fmla="*/ 63749 w 184353"/>
                    <a:gd name="connsiteY23" fmla="*/ 42790 h 297362"/>
                    <a:gd name="connsiteX24" fmla="*/ 56409 w 184353"/>
                    <a:gd name="connsiteY24" fmla="*/ 35035 h 297362"/>
                    <a:gd name="connsiteX25" fmla="*/ 72669 w 184353"/>
                    <a:gd name="connsiteY25" fmla="*/ 15254 h 297362"/>
                    <a:gd name="connsiteX26" fmla="*/ 75875 w 184353"/>
                    <a:gd name="connsiteY26" fmla="*/ 1138 h 297362"/>
                    <a:gd name="connsiteX27" fmla="*/ 66304 w 184353"/>
                    <a:gd name="connsiteY27" fmla="*/ 10657 h 297362"/>
                    <a:gd name="connsiteX28" fmla="*/ 43029 w 184353"/>
                    <a:gd name="connsiteY28" fmla="*/ 11028 h 297362"/>
                    <a:gd name="connsiteX29" fmla="*/ 39684 w 184353"/>
                    <a:gd name="connsiteY29" fmla="*/ 11028 h 297362"/>
                    <a:gd name="connsiteX30" fmla="*/ 30160 w 184353"/>
                    <a:gd name="connsiteY30" fmla="*/ 25284 h 297362"/>
                    <a:gd name="connsiteX31" fmla="*/ 29649 w 184353"/>
                    <a:gd name="connsiteY31" fmla="*/ 31181 h 297362"/>
                    <a:gd name="connsiteX32" fmla="*/ 20079 w 184353"/>
                    <a:gd name="connsiteY32" fmla="*/ 47433 h 297362"/>
                    <a:gd name="connsiteX33" fmla="*/ 14690 w 184353"/>
                    <a:gd name="connsiteY33" fmla="*/ 54120 h 297362"/>
                    <a:gd name="connsiteX34" fmla="*/ 1635 w 184353"/>
                    <a:gd name="connsiteY34" fmla="*/ 48826 h 297362"/>
                    <a:gd name="connsiteX35" fmla="*/ 17245 w 184353"/>
                    <a:gd name="connsiteY35" fmla="*/ 62989 h 297362"/>
                    <a:gd name="connsiteX36" fmla="*/ 9300 w 184353"/>
                    <a:gd name="connsiteY36" fmla="*/ 80634 h 297362"/>
                    <a:gd name="connsiteX37" fmla="*/ 20776 w 184353"/>
                    <a:gd name="connsiteY37" fmla="*/ 93357 h 297362"/>
                    <a:gd name="connsiteX38" fmla="*/ 2889 w 184353"/>
                    <a:gd name="connsiteY38" fmla="*/ 108170 h 297362"/>
                    <a:gd name="connsiteX39" fmla="*/ 18174 w 184353"/>
                    <a:gd name="connsiteY39" fmla="*/ 102180 h 297362"/>
                    <a:gd name="connsiteX40" fmla="*/ 27094 w 184353"/>
                    <a:gd name="connsiteY40" fmla="*/ 116667 h 297362"/>
                    <a:gd name="connsiteX41" fmla="*/ 39544 w 184353"/>
                    <a:gd name="connsiteY41" fmla="*/ 97954 h 297362"/>
                    <a:gd name="connsiteX42" fmla="*/ 41171 w 184353"/>
                    <a:gd name="connsiteY42" fmla="*/ 114531 h 297362"/>
                    <a:gd name="connsiteX43" fmla="*/ 33505 w 184353"/>
                    <a:gd name="connsiteY43" fmla="*/ 138585 h 297362"/>
                    <a:gd name="connsiteX44" fmla="*/ 64446 w 184353"/>
                    <a:gd name="connsiteY44" fmla="*/ 135427 h 297362"/>
                    <a:gd name="connsiteX45" fmla="*/ 70207 w 184353"/>
                    <a:gd name="connsiteY45" fmla="*/ 142485 h 297362"/>
                    <a:gd name="connsiteX46" fmla="*/ 73737 w 184353"/>
                    <a:gd name="connsiteY46" fmla="*/ 157344 h 297362"/>
                    <a:gd name="connsiteX47" fmla="*/ 79452 w 184353"/>
                    <a:gd name="connsiteY47" fmla="*/ 166167 h 297362"/>
                    <a:gd name="connsiteX48" fmla="*/ 77547 w 184353"/>
                    <a:gd name="connsiteY48" fmla="*/ 187712 h 297362"/>
                    <a:gd name="connsiteX49" fmla="*/ 55526 w 184353"/>
                    <a:gd name="connsiteY49" fmla="*/ 188780 h 297362"/>
                    <a:gd name="connsiteX50" fmla="*/ 48836 w 184353"/>
                    <a:gd name="connsiteY50" fmla="*/ 192634 h 297362"/>
                    <a:gd name="connsiteX51" fmla="*/ 42471 w 184353"/>
                    <a:gd name="connsiteY51" fmla="*/ 207494 h 297362"/>
                    <a:gd name="connsiteX52" fmla="*/ 55201 w 184353"/>
                    <a:gd name="connsiteY52" fmla="*/ 216688 h 297362"/>
                    <a:gd name="connsiteX53" fmla="*/ 34481 w 184353"/>
                    <a:gd name="connsiteY53" fmla="*/ 232940 h 297362"/>
                    <a:gd name="connsiteX54" fmla="*/ 42750 w 184353"/>
                    <a:gd name="connsiteY54" fmla="*/ 242830 h 297362"/>
                    <a:gd name="connsiteX55" fmla="*/ 55526 w 184353"/>
                    <a:gd name="connsiteY55" fmla="*/ 245988 h 297362"/>
                    <a:gd name="connsiteX56" fmla="*/ 78151 w 184353"/>
                    <a:gd name="connsiteY56" fmla="*/ 249517 h 297362"/>
                    <a:gd name="connsiteX57" fmla="*/ 80056 w 184353"/>
                    <a:gd name="connsiteY57" fmla="*/ 255507 h 297362"/>
                    <a:gd name="connsiteX58" fmla="*/ 56130 w 184353"/>
                    <a:gd name="connsiteY58" fmla="*/ 259036 h 297362"/>
                    <a:gd name="connsiteX59" fmla="*/ 28720 w 184353"/>
                    <a:gd name="connsiteY59" fmla="*/ 296463 h 297362"/>
                    <a:gd name="connsiteX60" fmla="*/ 44655 w 184353"/>
                    <a:gd name="connsiteY60" fmla="*/ 286572 h 297362"/>
                    <a:gd name="connsiteX61" fmla="*/ 54597 w 184353"/>
                    <a:gd name="connsiteY61" fmla="*/ 286758 h 297362"/>
                    <a:gd name="connsiteX62" fmla="*/ 63331 w 184353"/>
                    <a:gd name="connsiteY62" fmla="*/ 277935 h 297362"/>
                    <a:gd name="connsiteX63" fmla="*/ 81450 w 184353"/>
                    <a:gd name="connsiteY63" fmla="*/ 275613 h 297362"/>
                    <a:gd name="connsiteX64" fmla="*/ 85073 w 184353"/>
                    <a:gd name="connsiteY64" fmla="*/ 277006 h 297362"/>
                    <a:gd name="connsiteX65" fmla="*/ 85770 w 184353"/>
                    <a:gd name="connsiteY65" fmla="*/ 277053 h 297362"/>
                    <a:gd name="connsiteX66" fmla="*/ 102681 w 184353"/>
                    <a:gd name="connsiteY66" fmla="*/ 271759 h 297362"/>
                    <a:gd name="connsiteX67" fmla="*/ 119916 w 184353"/>
                    <a:gd name="connsiteY67" fmla="*/ 276356 h 297362"/>
                    <a:gd name="connsiteX68" fmla="*/ 144168 w 184353"/>
                    <a:gd name="connsiteY68" fmla="*/ 271388 h 297362"/>
                    <a:gd name="connsiteX69" fmla="*/ 174133 w 184353"/>
                    <a:gd name="connsiteY69" fmla="*/ 257597 h 297362"/>
                    <a:gd name="connsiteX70" fmla="*/ 164888 w 184353"/>
                    <a:gd name="connsiteY70" fmla="*/ 252675 h 297362"/>
                    <a:gd name="connsiteX71" fmla="*/ 166467 w 184353"/>
                    <a:gd name="connsiteY71" fmla="*/ 238559 h 297362"/>
                    <a:gd name="connsiteX72" fmla="*/ 184354 w 184353"/>
                    <a:gd name="connsiteY72" fmla="*/ 215620 h 297362"/>
                    <a:gd name="connsiteX73" fmla="*/ 184354 w 184353"/>
                    <a:gd name="connsiteY73" fmla="*/ 215620 h 297362"/>
                    <a:gd name="connsiteX74" fmla="*/ 179847 w 184353"/>
                    <a:gd name="connsiteY74" fmla="*/ 213391 h 297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84353" h="297362">
                      <a:moveTo>
                        <a:pt x="179940" y="213298"/>
                      </a:moveTo>
                      <a:cubicBezTo>
                        <a:pt x="179058" y="212973"/>
                        <a:pt x="178175" y="212648"/>
                        <a:pt x="177246" y="212416"/>
                      </a:cubicBezTo>
                      <a:cubicBezTo>
                        <a:pt x="171253" y="210837"/>
                        <a:pt x="166514" y="206844"/>
                        <a:pt x="163215" y="201782"/>
                      </a:cubicBezTo>
                      <a:cubicBezTo>
                        <a:pt x="162565" y="202107"/>
                        <a:pt x="162007" y="202525"/>
                        <a:pt x="161775" y="203175"/>
                      </a:cubicBezTo>
                      <a:cubicBezTo>
                        <a:pt x="159545" y="208840"/>
                        <a:pt x="154760" y="208144"/>
                        <a:pt x="151229" y="201782"/>
                      </a:cubicBezTo>
                      <a:cubicBezTo>
                        <a:pt x="147745" y="195421"/>
                        <a:pt x="154435" y="189384"/>
                        <a:pt x="150904" y="188688"/>
                      </a:cubicBezTo>
                      <a:cubicBezTo>
                        <a:pt x="147373" y="187991"/>
                        <a:pt x="142913" y="179122"/>
                        <a:pt x="143889" y="175639"/>
                      </a:cubicBezTo>
                      <a:cubicBezTo>
                        <a:pt x="143982" y="175314"/>
                        <a:pt x="143982" y="174757"/>
                        <a:pt x="143935" y="174107"/>
                      </a:cubicBezTo>
                      <a:cubicBezTo>
                        <a:pt x="139754" y="170485"/>
                        <a:pt x="136316" y="166213"/>
                        <a:pt x="133157" y="161709"/>
                      </a:cubicBezTo>
                      <a:cubicBezTo>
                        <a:pt x="131810" y="159759"/>
                        <a:pt x="130973" y="157576"/>
                        <a:pt x="130463" y="155255"/>
                      </a:cubicBezTo>
                      <a:lnTo>
                        <a:pt x="128651" y="154372"/>
                      </a:lnTo>
                      <a:cubicBezTo>
                        <a:pt x="123215" y="151679"/>
                        <a:pt x="119638" y="146060"/>
                        <a:pt x="117826" y="140488"/>
                      </a:cubicBezTo>
                      <a:cubicBezTo>
                        <a:pt x="117129" y="138399"/>
                        <a:pt x="116897" y="136263"/>
                        <a:pt x="116943" y="134127"/>
                      </a:cubicBezTo>
                      <a:cubicBezTo>
                        <a:pt x="116339" y="132362"/>
                        <a:pt x="115828" y="130551"/>
                        <a:pt x="115410" y="128694"/>
                      </a:cubicBezTo>
                      <a:cubicBezTo>
                        <a:pt x="108720" y="124840"/>
                        <a:pt x="104260" y="117782"/>
                        <a:pt x="103564" y="109702"/>
                      </a:cubicBezTo>
                      <a:cubicBezTo>
                        <a:pt x="101984" y="108913"/>
                        <a:pt x="100358" y="107752"/>
                        <a:pt x="98871" y="105616"/>
                      </a:cubicBezTo>
                      <a:cubicBezTo>
                        <a:pt x="93436" y="97861"/>
                        <a:pt x="84190" y="101715"/>
                        <a:pt x="79405" y="102087"/>
                      </a:cubicBezTo>
                      <a:cubicBezTo>
                        <a:pt x="75224" y="102365"/>
                        <a:pt x="78337" y="94657"/>
                        <a:pt x="84237" y="88946"/>
                      </a:cubicBezTo>
                      <a:cubicBezTo>
                        <a:pt x="83447" y="86531"/>
                        <a:pt x="82936" y="83977"/>
                        <a:pt x="82843" y="81470"/>
                      </a:cubicBezTo>
                      <a:cubicBezTo>
                        <a:pt x="82425" y="72554"/>
                        <a:pt x="88697" y="63871"/>
                        <a:pt x="96966" y="60156"/>
                      </a:cubicBezTo>
                      <a:cubicBezTo>
                        <a:pt x="98314" y="58160"/>
                        <a:pt x="99754" y="56209"/>
                        <a:pt x="101473" y="54631"/>
                      </a:cubicBezTo>
                      <a:cubicBezTo>
                        <a:pt x="101566" y="54538"/>
                        <a:pt x="101659" y="54491"/>
                        <a:pt x="101752" y="54398"/>
                      </a:cubicBezTo>
                      <a:cubicBezTo>
                        <a:pt x="102913" y="50080"/>
                        <a:pt x="103610" y="46551"/>
                        <a:pt x="103610" y="44926"/>
                      </a:cubicBezTo>
                      <a:cubicBezTo>
                        <a:pt x="103610" y="38936"/>
                        <a:pt x="70114" y="39261"/>
                        <a:pt x="63749" y="42790"/>
                      </a:cubicBezTo>
                      <a:cubicBezTo>
                        <a:pt x="57384" y="46319"/>
                        <a:pt x="51020" y="37496"/>
                        <a:pt x="56409" y="35035"/>
                      </a:cubicBezTo>
                      <a:cubicBezTo>
                        <a:pt x="61844" y="32574"/>
                        <a:pt x="73319" y="20222"/>
                        <a:pt x="72669" y="15254"/>
                      </a:cubicBezTo>
                      <a:cubicBezTo>
                        <a:pt x="72018" y="10332"/>
                        <a:pt x="80660" y="5735"/>
                        <a:pt x="75875" y="1138"/>
                      </a:cubicBezTo>
                      <a:cubicBezTo>
                        <a:pt x="71090" y="-3459"/>
                        <a:pt x="70439" y="7128"/>
                        <a:pt x="66304" y="10657"/>
                      </a:cubicBezTo>
                      <a:cubicBezTo>
                        <a:pt x="62169" y="14186"/>
                        <a:pt x="52924" y="13118"/>
                        <a:pt x="43029" y="11028"/>
                      </a:cubicBezTo>
                      <a:cubicBezTo>
                        <a:pt x="41821" y="10750"/>
                        <a:pt x="40706" y="10796"/>
                        <a:pt x="39684" y="11028"/>
                      </a:cubicBezTo>
                      <a:cubicBezTo>
                        <a:pt x="38476" y="16786"/>
                        <a:pt x="35270" y="22033"/>
                        <a:pt x="30160" y="25284"/>
                      </a:cubicBezTo>
                      <a:cubicBezTo>
                        <a:pt x="29742" y="27513"/>
                        <a:pt x="29602" y="29602"/>
                        <a:pt x="29649" y="31181"/>
                      </a:cubicBezTo>
                      <a:cubicBezTo>
                        <a:pt x="29974" y="37868"/>
                        <a:pt x="18174" y="41768"/>
                        <a:pt x="20079" y="47433"/>
                      </a:cubicBezTo>
                      <a:cubicBezTo>
                        <a:pt x="21984" y="53098"/>
                        <a:pt x="17849" y="57324"/>
                        <a:pt x="14690" y="54120"/>
                      </a:cubicBezTo>
                      <a:cubicBezTo>
                        <a:pt x="11531" y="50962"/>
                        <a:pt x="8000" y="43161"/>
                        <a:pt x="1635" y="48826"/>
                      </a:cubicBezTo>
                      <a:cubicBezTo>
                        <a:pt x="-4730" y="54491"/>
                        <a:pt x="8975" y="61921"/>
                        <a:pt x="17245" y="62989"/>
                      </a:cubicBezTo>
                      <a:cubicBezTo>
                        <a:pt x="25561" y="64057"/>
                        <a:pt x="10880" y="70743"/>
                        <a:pt x="9300" y="80634"/>
                      </a:cubicBezTo>
                      <a:cubicBezTo>
                        <a:pt x="7721" y="90525"/>
                        <a:pt x="20125" y="86299"/>
                        <a:pt x="20776" y="93357"/>
                      </a:cubicBezTo>
                      <a:cubicBezTo>
                        <a:pt x="21426" y="100415"/>
                        <a:pt x="2889" y="101483"/>
                        <a:pt x="2889" y="108170"/>
                      </a:cubicBezTo>
                      <a:cubicBezTo>
                        <a:pt x="2889" y="114856"/>
                        <a:pt x="13435" y="105012"/>
                        <a:pt x="18174" y="102180"/>
                      </a:cubicBezTo>
                      <a:cubicBezTo>
                        <a:pt x="22959" y="99347"/>
                        <a:pt x="15619" y="118757"/>
                        <a:pt x="27094" y="116667"/>
                      </a:cubicBezTo>
                      <a:cubicBezTo>
                        <a:pt x="38569" y="114531"/>
                        <a:pt x="35363" y="97258"/>
                        <a:pt x="39544" y="97954"/>
                      </a:cubicBezTo>
                      <a:cubicBezTo>
                        <a:pt x="43679" y="98651"/>
                        <a:pt x="37640" y="107148"/>
                        <a:pt x="41171" y="114531"/>
                      </a:cubicBezTo>
                      <a:cubicBezTo>
                        <a:pt x="44655" y="121961"/>
                        <a:pt x="32855" y="133245"/>
                        <a:pt x="33505" y="138585"/>
                      </a:cubicBezTo>
                      <a:cubicBezTo>
                        <a:pt x="34155" y="143878"/>
                        <a:pt x="57106" y="143878"/>
                        <a:pt x="64446" y="135427"/>
                      </a:cubicBezTo>
                      <a:cubicBezTo>
                        <a:pt x="71786" y="126929"/>
                        <a:pt x="75271" y="136124"/>
                        <a:pt x="70207" y="142485"/>
                      </a:cubicBezTo>
                      <a:cubicBezTo>
                        <a:pt x="65096" y="148847"/>
                        <a:pt x="67326" y="154837"/>
                        <a:pt x="73737" y="157344"/>
                      </a:cubicBezTo>
                      <a:cubicBezTo>
                        <a:pt x="80102" y="159805"/>
                        <a:pt x="82332" y="160502"/>
                        <a:pt x="79452" y="166167"/>
                      </a:cubicBezTo>
                      <a:cubicBezTo>
                        <a:pt x="76572" y="171832"/>
                        <a:pt x="79127" y="182419"/>
                        <a:pt x="77547" y="187712"/>
                      </a:cubicBezTo>
                      <a:cubicBezTo>
                        <a:pt x="75968" y="193006"/>
                        <a:pt x="56176" y="192310"/>
                        <a:pt x="55526" y="188780"/>
                      </a:cubicBezTo>
                      <a:cubicBezTo>
                        <a:pt x="54875" y="185251"/>
                        <a:pt x="46606" y="187712"/>
                        <a:pt x="48836" y="192634"/>
                      </a:cubicBezTo>
                      <a:cubicBezTo>
                        <a:pt x="51066" y="197603"/>
                        <a:pt x="41821" y="202897"/>
                        <a:pt x="42471" y="207494"/>
                      </a:cubicBezTo>
                      <a:cubicBezTo>
                        <a:pt x="43122" y="212091"/>
                        <a:pt x="54922" y="211023"/>
                        <a:pt x="55201" y="216688"/>
                      </a:cubicBezTo>
                      <a:cubicBezTo>
                        <a:pt x="55526" y="222306"/>
                        <a:pt x="46606" y="229039"/>
                        <a:pt x="34481" y="232940"/>
                      </a:cubicBezTo>
                      <a:cubicBezTo>
                        <a:pt x="22355" y="236794"/>
                        <a:pt x="37036" y="247428"/>
                        <a:pt x="42750" y="242830"/>
                      </a:cubicBezTo>
                      <a:cubicBezTo>
                        <a:pt x="48465" y="238233"/>
                        <a:pt x="47210" y="245988"/>
                        <a:pt x="55526" y="245988"/>
                      </a:cubicBezTo>
                      <a:cubicBezTo>
                        <a:pt x="63842" y="245988"/>
                        <a:pt x="68906" y="253418"/>
                        <a:pt x="78151" y="249517"/>
                      </a:cubicBezTo>
                      <a:cubicBezTo>
                        <a:pt x="87396" y="245617"/>
                        <a:pt x="87071" y="249517"/>
                        <a:pt x="80056" y="255507"/>
                      </a:cubicBezTo>
                      <a:cubicBezTo>
                        <a:pt x="73041" y="261497"/>
                        <a:pt x="62541" y="255182"/>
                        <a:pt x="56130" y="259036"/>
                      </a:cubicBezTo>
                      <a:cubicBezTo>
                        <a:pt x="49765" y="262890"/>
                        <a:pt x="23795" y="289869"/>
                        <a:pt x="28720" y="296463"/>
                      </a:cubicBezTo>
                      <a:cubicBezTo>
                        <a:pt x="31600" y="300317"/>
                        <a:pt x="35410" y="290798"/>
                        <a:pt x="44655" y="286572"/>
                      </a:cubicBezTo>
                      <a:cubicBezTo>
                        <a:pt x="49580" y="284297"/>
                        <a:pt x="52320" y="285272"/>
                        <a:pt x="54597" y="286758"/>
                      </a:cubicBezTo>
                      <a:cubicBezTo>
                        <a:pt x="56687" y="283182"/>
                        <a:pt x="59847" y="280164"/>
                        <a:pt x="63331" y="277935"/>
                      </a:cubicBezTo>
                      <a:cubicBezTo>
                        <a:pt x="68348" y="274778"/>
                        <a:pt x="75828" y="274081"/>
                        <a:pt x="81450" y="275613"/>
                      </a:cubicBezTo>
                      <a:cubicBezTo>
                        <a:pt x="82611" y="275938"/>
                        <a:pt x="83865" y="276403"/>
                        <a:pt x="85073" y="277006"/>
                      </a:cubicBezTo>
                      <a:cubicBezTo>
                        <a:pt x="85306" y="277006"/>
                        <a:pt x="85538" y="277006"/>
                        <a:pt x="85770" y="277053"/>
                      </a:cubicBezTo>
                      <a:cubicBezTo>
                        <a:pt x="93436" y="278446"/>
                        <a:pt x="98871" y="275288"/>
                        <a:pt x="102681" y="271759"/>
                      </a:cubicBezTo>
                      <a:cubicBezTo>
                        <a:pt x="106490" y="268230"/>
                        <a:pt x="116711" y="278817"/>
                        <a:pt x="119916" y="276356"/>
                      </a:cubicBezTo>
                      <a:cubicBezTo>
                        <a:pt x="123076" y="273895"/>
                        <a:pt x="137152" y="271063"/>
                        <a:pt x="144168" y="271388"/>
                      </a:cubicBezTo>
                      <a:cubicBezTo>
                        <a:pt x="151183" y="271759"/>
                        <a:pt x="169348" y="262565"/>
                        <a:pt x="174133" y="257597"/>
                      </a:cubicBezTo>
                      <a:cubicBezTo>
                        <a:pt x="178918" y="252675"/>
                        <a:pt x="171253" y="251607"/>
                        <a:pt x="164888" y="252675"/>
                      </a:cubicBezTo>
                      <a:cubicBezTo>
                        <a:pt x="158523" y="253743"/>
                        <a:pt x="159777" y="245617"/>
                        <a:pt x="166467" y="238559"/>
                      </a:cubicBezTo>
                      <a:cubicBezTo>
                        <a:pt x="173157" y="231500"/>
                        <a:pt x="183703" y="226207"/>
                        <a:pt x="184354" y="215620"/>
                      </a:cubicBezTo>
                      <a:lnTo>
                        <a:pt x="184354" y="215620"/>
                      </a:lnTo>
                      <a:cubicBezTo>
                        <a:pt x="182867" y="214830"/>
                        <a:pt x="181380" y="214087"/>
                        <a:pt x="179847" y="213391"/>
                      </a:cubicBezTo>
                      <a:close/>
                    </a:path>
                  </a:pathLst>
                </a:custGeom>
                <a:solidFill>
                  <a:schemeClr val="accent1"/>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sp>
            <p:nvSpPr>
              <p:cNvPr id="52" name="Freeform 130">
                <a:extLst>
                  <a:ext uri="{FF2B5EF4-FFF2-40B4-BE49-F238E27FC236}">
                    <a16:creationId xmlns:a16="http://schemas.microsoft.com/office/drawing/2014/main" id="{1057CA37-C299-50C8-340C-2716D8CC328B}"/>
                  </a:ext>
                </a:extLst>
              </p:cNvPr>
              <p:cNvSpPr/>
              <p:nvPr/>
            </p:nvSpPr>
            <p:spPr>
              <a:xfrm>
                <a:off x="4308478" y="2551005"/>
                <a:ext cx="15149" cy="17508"/>
              </a:xfrm>
              <a:custGeom>
                <a:avLst/>
                <a:gdLst>
                  <a:gd name="connsiteX0" fmla="*/ 8692 w 15149"/>
                  <a:gd name="connsiteY0" fmla="*/ 0 h 17508"/>
                  <a:gd name="connsiteX1" fmla="*/ 1444 w 15149"/>
                  <a:gd name="connsiteY1" fmla="*/ 17506 h 17508"/>
                  <a:gd name="connsiteX2" fmla="*/ 15150 w 15149"/>
                  <a:gd name="connsiteY2" fmla="*/ 5386 h 17508"/>
                  <a:gd name="connsiteX3" fmla="*/ 8692 w 15149"/>
                  <a:gd name="connsiteY3" fmla="*/ 0 h 17508"/>
                </a:gdLst>
                <a:ahLst/>
                <a:cxnLst>
                  <a:cxn ang="0">
                    <a:pos x="connsiteX0" y="connsiteY0"/>
                  </a:cxn>
                  <a:cxn ang="0">
                    <a:pos x="connsiteX1" y="connsiteY1"/>
                  </a:cxn>
                  <a:cxn ang="0">
                    <a:pos x="connsiteX2" y="connsiteY2"/>
                  </a:cxn>
                  <a:cxn ang="0">
                    <a:pos x="connsiteX3" y="connsiteY3"/>
                  </a:cxn>
                </a:cxnLst>
                <a:rect l="l" t="t" r="r" b="b"/>
                <a:pathLst>
                  <a:path w="15149" h="17508">
                    <a:moveTo>
                      <a:pt x="8692" y="0"/>
                    </a:moveTo>
                    <a:cubicBezTo>
                      <a:pt x="3071" y="6362"/>
                      <a:pt x="-2783" y="17692"/>
                      <a:pt x="1444" y="17506"/>
                    </a:cubicBezTo>
                    <a:cubicBezTo>
                      <a:pt x="6694" y="17274"/>
                      <a:pt x="12408" y="11144"/>
                      <a:pt x="15150" y="5386"/>
                    </a:cubicBezTo>
                    <a:cubicBezTo>
                      <a:pt x="12548" y="3993"/>
                      <a:pt x="10411" y="2182"/>
                      <a:pt x="8692" y="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sp>
          <p:nvSpPr>
            <p:cNvPr id="28" name="Freeform 77">
              <a:extLst>
                <a:ext uri="{FF2B5EF4-FFF2-40B4-BE49-F238E27FC236}">
                  <a16:creationId xmlns:a16="http://schemas.microsoft.com/office/drawing/2014/main" id="{C696D008-0F20-F102-D086-6E0EBE8247E3}"/>
                </a:ext>
              </a:extLst>
            </p:cNvPr>
            <p:cNvSpPr/>
            <p:nvPr/>
          </p:nvSpPr>
          <p:spPr>
            <a:xfrm>
              <a:off x="10628165" y="1814647"/>
              <a:ext cx="146281" cy="224161"/>
            </a:xfrm>
            <a:custGeom>
              <a:avLst/>
              <a:gdLst>
                <a:gd name="connsiteX0" fmla="*/ 30749 w 31318"/>
                <a:gd name="connsiteY0" fmla="*/ 2358 h 47991"/>
                <a:gd name="connsiteX1" fmla="*/ 23408 w 31318"/>
                <a:gd name="connsiteY1" fmla="*/ 7976 h 47991"/>
                <a:gd name="connsiteX2" fmla="*/ 16068 w 31318"/>
                <a:gd name="connsiteY2" fmla="*/ 2358 h 47991"/>
                <a:gd name="connsiteX3" fmla="*/ 2038 w 31318"/>
                <a:gd name="connsiteY3" fmla="*/ 9044 h 47991"/>
                <a:gd name="connsiteX4" fmla="*/ 10307 w 31318"/>
                <a:gd name="connsiteY4" fmla="*/ 30961 h 47991"/>
                <a:gd name="connsiteX5" fmla="*/ 4268 w 31318"/>
                <a:gd name="connsiteY5" fmla="*/ 37323 h 47991"/>
                <a:gd name="connsiteX6" fmla="*/ 9982 w 31318"/>
                <a:gd name="connsiteY6" fmla="*/ 47910 h 47991"/>
                <a:gd name="connsiteX7" fmla="*/ 25592 w 31318"/>
                <a:gd name="connsiteY7" fmla="*/ 28129 h 47991"/>
                <a:gd name="connsiteX8" fmla="*/ 30702 w 31318"/>
                <a:gd name="connsiteY8" fmla="*/ 2358 h 4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18" h="47991">
                  <a:moveTo>
                    <a:pt x="30749" y="2358"/>
                  </a:moveTo>
                  <a:cubicBezTo>
                    <a:pt x="28194" y="593"/>
                    <a:pt x="26289" y="7280"/>
                    <a:pt x="23408" y="7976"/>
                  </a:cubicBezTo>
                  <a:cubicBezTo>
                    <a:pt x="20528" y="8673"/>
                    <a:pt x="17369" y="-5443"/>
                    <a:pt x="16068" y="2358"/>
                  </a:cubicBezTo>
                  <a:cubicBezTo>
                    <a:pt x="14767" y="10112"/>
                    <a:pt x="8403" y="-846"/>
                    <a:pt x="2038" y="9044"/>
                  </a:cubicBezTo>
                  <a:cubicBezTo>
                    <a:pt x="-4327" y="18935"/>
                    <a:pt x="5848" y="27757"/>
                    <a:pt x="10307" y="30961"/>
                  </a:cubicBezTo>
                  <a:cubicBezTo>
                    <a:pt x="14767" y="34119"/>
                    <a:pt x="9982" y="38716"/>
                    <a:pt x="4268" y="37323"/>
                  </a:cubicBezTo>
                  <a:cubicBezTo>
                    <a:pt x="-1493" y="35930"/>
                    <a:pt x="2038" y="46471"/>
                    <a:pt x="9982" y="47910"/>
                  </a:cubicBezTo>
                  <a:cubicBezTo>
                    <a:pt x="17973" y="49303"/>
                    <a:pt x="26568" y="32354"/>
                    <a:pt x="25592" y="28129"/>
                  </a:cubicBezTo>
                  <a:cubicBezTo>
                    <a:pt x="24616" y="23903"/>
                    <a:pt x="33722" y="4447"/>
                    <a:pt x="30702" y="2358"/>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29" name="Freeform 78">
              <a:extLst>
                <a:ext uri="{FF2B5EF4-FFF2-40B4-BE49-F238E27FC236}">
                  <a16:creationId xmlns:a16="http://schemas.microsoft.com/office/drawing/2014/main" id="{D9F8C4AE-B4CC-C281-D111-BB6D2DC27605}"/>
                </a:ext>
              </a:extLst>
            </p:cNvPr>
            <p:cNvSpPr/>
            <p:nvPr/>
          </p:nvSpPr>
          <p:spPr>
            <a:xfrm>
              <a:off x="10330413" y="1545253"/>
              <a:ext cx="265029" cy="467977"/>
            </a:xfrm>
            <a:custGeom>
              <a:avLst/>
              <a:gdLst>
                <a:gd name="connsiteX0" fmla="*/ 46365 w 56741"/>
                <a:gd name="connsiteY0" fmla="*/ 38442 h 100191"/>
                <a:gd name="connsiteX1" fmla="*/ 45715 w 56741"/>
                <a:gd name="connsiteY1" fmla="*/ 21865 h 100191"/>
                <a:gd name="connsiteX2" fmla="*/ 47945 w 56741"/>
                <a:gd name="connsiteY2" fmla="*/ 1341 h 100191"/>
                <a:gd name="connsiteX3" fmla="*/ 32335 w 56741"/>
                <a:gd name="connsiteY3" fmla="*/ 10860 h 100191"/>
                <a:gd name="connsiteX4" fmla="*/ 19559 w 56741"/>
                <a:gd name="connsiteY4" fmla="*/ 18289 h 100191"/>
                <a:gd name="connsiteX5" fmla="*/ 20535 w 56741"/>
                <a:gd name="connsiteY5" fmla="*/ 28876 h 100191"/>
                <a:gd name="connsiteX6" fmla="*/ 8084 w 56741"/>
                <a:gd name="connsiteY6" fmla="*/ 21818 h 100191"/>
                <a:gd name="connsiteX7" fmla="*/ 0 w 56741"/>
                <a:gd name="connsiteY7" fmla="*/ 32173 h 100191"/>
                <a:gd name="connsiteX8" fmla="*/ 2927 w 56741"/>
                <a:gd name="connsiteY8" fmla="*/ 42621 h 100191"/>
                <a:gd name="connsiteX9" fmla="*/ 5064 w 56741"/>
                <a:gd name="connsiteY9" fmla="*/ 75404 h 100191"/>
                <a:gd name="connsiteX10" fmla="*/ 5715 w 56741"/>
                <a:gd name="connsiteY10" fmla="*/ 83437 h 100191"/>
                <a:gd name="connsiteX11" fmla="*/ 5528 w 56741"/>
                <a:gd name="connsiteY11" fmla="*/ 87152 h 100191"/>
                <a:gd name="connsiteX12" fmla="*/ 8827 w 56741"/>
                <a:gd name="connsiteY12" fmla="*/ 97739 h 100191"/>
                <a:gd name="connsiteX13" fmla="*/ 28525 w 56741"/>
                <a:gd name="connsiteY13" fmla="*/ 99875 h 100191"/>
                <a:gd name="connsiteX14" fmla="*/ 36516 w 56741"/>
                <a:gd name="connsiteY14" fmla="*/ 99689 h 100191"/>
                <a:gd name="connsiteX15" fmla="*/ 27875 w 56741"/>
                <a:gd name="connsiteY15" fmla="*/ 86827 h 100191"/>
                <a:gd name="connsiteX16" fmla="*/ 39025 w 56741"/>
                <a:gd name="connsiteY16" fmla="*/ 89288 h 100191"/>
                <a:gd name="connsiteX17" fmla="*/ 54309 w 56741"/>
                <a:gd name="connsiteY17" fmla="*/ 88963 h 100191"/>
                <a:gd name="connsiteX18" fmla="*/ 46644 w 56741"/>
                <a:gd name="connsiteY18" fmla="*/ 74150 h 100191"/>
                <a:gd name="connsiteX19" fmla="*/ 36748 w 56741"/>
                <a:gd name="connsiteY19" fmla="*/ 72757 h 100191"/>
                <a:gd name="connsiteX20" fmla="*/ 42834 w 56741"/>
                <a:gd name="connsiteY20" fmla="*/ 57945 h 100191"/>
                <a:gd name="connsiteX21" fmla="*/ 56539 w 56741"/>
                <a:gd name="connsiteY21" fmla="*/ 49818 h 100191"/>
                <a:gd name="connsiteX22" fmla="*/ 46319 w 56741"/>
                <a:gd name="connsiteY22" fmla="*/ 38535 h 100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741" h="100191">
                  <a:moveTo>
                    <a:pt x="46365" y="38442"/>
                  </a:moveTo>
                  <a:cubicBezTo>
                    <a:pt x="43160" y="36677"/>
                    <a:pt x="41905" y="25394"/>
                    <a:pt x="45715" y="21865"/>
                  </a:cubicBezTo>
                  <a:cubicBezTo>
                    <a:pt x="49524" y="18336"/>
                    <a:pt x="51150" y="4916"/>
                    <a:pt x="47945" y="1341"/>
                  </a:cubicBezTo>
                  <a:cubicBezTo>
                    <a:pt x="44785" y="-2188"/>
                    <a:pt x="33264" y="1341"/>
                    <a:pt x="32335" y="10860"/>
                  </a:cubicBezTo>
                  <a:cubicBezTo>
                    <a:pt x="31359" y="20379"/>
                    <a:pt x="22160" y="16153"/>
                    <a:pt x="19559" y="18289"/>
                  </a:cubicBezTo>
                  <a:cubicBezTo>
                    <a:pt x="17004" y="20425"/>
                    <a:pt x="24669" y="24651"/>
                    <a:pt x="20535" y="28876"/>
                  </a:cubicBezTo>
                  <a:cubicBezTo>
                    <a:pt x="16400" y="33102"/>
                    <a:pt x="14774" y="22515"/>
                    <a:pt x="8084" y="21818"/>
                  </a:cubicBezTo>
                  <a:cubicBezTo>
                    <a:pt x="3531" y="21308"/>
                    <a:pt x="1765" y="26740"/>
                    <a:pt x="0" y="32173"/>
                  </a:cubicBezTo>
                  <a:cubicBezTo>
                    <a:pt x="1208" y="35563"/>
                    <a:pt x="2276" y="39046"/>
                    <a:pt x="2927" y="42621"/>
                  </a:cubicBezTo>
                  <a:cubicBezTo>
                    <a:pt x="4878" y="53440"/>
                    <a:pt x="2462" y="64910"/>
                    <a:pt x="5064" y="75404"/>
                  </a:cubicBezTo>
                  <a:cubicBezTo>
                    <a:pt x="5761" y="78236"/>
                    <a:pt x="5947" y="80930"/>
                    <a:pt x="5715" y="83437"/>
                  </a:cubicBezTo>
                  <a:cubicBezTo>
                    <a:pt x="5947" y="84644"/>
                    <a:pt x="5947" y="85852"/>
                    <a:pt x="5528" y="87152"/>
                  </a:cubicBezTo>
                  <a:cubicBezTo>
                    <a:pt x="4507" y="90449"/>
                    <a:pt x="6597" y="94117"/>
                    <a:pt x="8827" y="97739"/>
                  </a:cubicBezTo>
                  <a:cubicBezTo>
                    <a:pt x="17329" y="97925"/>
                    <a:pt x="25087" y="98621"/>
                    <a:pt x="28525" y="99875"/>
                  </a:cubicBezTo>
                  <a:cubicBezTo>
                    <a:pt x="29919" y="100386"/>
                    <a:pt x="32753" y="100247"/>
                    <a:pt x="36516" y="99689"/>
                  </a:cubicBezTo>
                  <a:cubicBezTo>
                    <a:pt x="33728" y="94628"/>
                    <a:pt x="27410" y="90542"/>
                    <a:pt x="27875" y="86827"/>
                  </a:cubicBezTo>
                  <a:cubicBezTo>
                    <a:pt x="28525" y="81905"/>
                    <a:pt x="34565" y="85016"/>
                    <a:pt x="39025" y="89288"/>
                  </a:cubicBezTo>
                  <a:cubicBezTo>
                    <a:pt x="43485" y="93514"/>
                    <a:pt x="53380" y="94257"/>
                    <a:pt x="54309" y="88963"/>
                  </a:cubicBezTo>
                  <a:cubicBezTo>
                    <a:pt x="54913" y="85713"/>
                    <a:pt x="52683" y="70621"/>
                    <a:pt x="46644" y="74150"/>
                  </a:cubicBezTo>
                  <a:cubicBezTo>
                    <a:pt x="40558" y="77679"/>
                    <a:pt x="38978" y="76240"/>
                    <a:pt x="36748" y="72757"/>
                  </a:cubicBezTo>
                  <a:cubicBezTo>
                    <a:pt x="34518" y="69228"/>
                    <a:pt x="41208" y="63563"/>
                    <a:pt x="42834" y="57945"/>
                  </a:cubicBezTo>
                  <a:cubicBezTo>
                    <a:pt x="44414" y="52279"/>
                    <a:pt x="54913" y="54415"/>
                    <a:pt x="56539" y="49818"/>
                  </a:cubicBezTo>
                  <a:cubicBezTo>
                    <a:pt x="58165" y="45268"/>
                    <a:pt x="49524" y="40299"/>
                    <a:pt x="46319" y="38535"/>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30" name="Freeform 79">
              <a:extLst>
                <a:ext uri="{FF2B5EF4-FFF2-40B4-BE49-F238E27FC236}">
                  <a16:creationId xmlns:a16="http://schemas.microsoft.com/office/drawing/2014/main" id="{90E7D34C-8918-D2FF-CC11-2317B860800B}"/>
                </a:ext>
              </a:extLst>
            </p:cNvPr>
            <p:cNvSpPr/>
            <p:nvPr/>
          </p:nvSpPr>
          <p:spPr>
            <a:xfrm>
              <a:off x="11297986" y="1522004"/>
              <a:ext cx="88176" cy="146492"/>
            </a:xfrm>
            <a:custGeom>
              <a:avLst/>
              <a:gdLst>
                <a:gd name="connsiteX0" fmla="*/ 15522 w 18878"/>
                <a:gd name="connsiteY0" fmla="*/ 2 h 31363"/>
                <a:gd name="connsiteX1" fmla="*/ 841 w 18878"/>
                <a:gd name="connsiteY1" fmla="*/ 31113 h 31363"/>
                <a:gd name="connsiteX2" fmla="*/ 15522 w 18878"/>
                <a:gd name="connsiteY2" fmla="*/ 2 h 31363"/>
              </a:gdLst>
              <a:ahLst/>
              <a:cxnLst>
                <a:cxn ang="0">
                  <a:pos x="connsiteX0" y="connsiteY0"/>
                </a:cxn>
                <a:cxn ang="0">
                  <a:pos x="connsiteX1" y="connsiteY1"/>
                </a:cxn>
                <a:cxn ang="0">
                  <a:pos x="connsiteX2" y="connsiteY2"/>
                </a:cxn>
              </a:cxnLst>
              <a:rect l="l" t="t" r="r" b="b"/>
              <a:pathLst>
                <a:path w="18878" h="31363">
                  <a:moveTo>
                    <a:pt x="15522" y="2"/>
                  </a:moveTo>
                  <a:cubicBezTo>
                    <a:pt x="3396" y="374"/>
                    <a:pt x="-2272" y="26749"/>
                    <a:pt x="841" y="31113"/>
                  </a:cubicBezTo>
                  <a:cubicBezTo>
                    <a:pt x="3396" y="34643"/>
                    <a:pt x="27601" y="-323"/>
                    <a:pt x="15522" y="2"/>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31" name="Freeform 80">
              <a:extLst>
                <a:ext uri="{FF2B5EF4-FFF2-40B4-BE49-F238E27FC236}">
                  <a16:creationId xmlns:a16="http://schemas.microsoft.com/office/drawing/2014/main" id="{B69B567F-3670-903D-81C0-7A31EBE12D3D}"/>
                </a:ext>
              </a:extLst>
            </p:cNvPr>
            <p:cNvSpPr/>
            <p:nvPr/>
          </p:nvSpPr>
          <p:spPr>
            <a:xfrm>
              <a:off x="10631494" y="-486208"/>
              <a:ext cx="1256098" cy="2407489"/>
            </a:xfrm>
            <a:custGeom>
              <a:avLst/>
              <a:gdLst>
                <a:gd name="connsiteX0" fmla="*/ 266042 w 268922"/>
                <a:gd name="connsiteY0" fmla="*/ 119253 h 515427"/>
                <a:gd name="connsiteX1" fmla="*/ 261908 w 268922"/>
                <a:gd name="connsiteY1" fmla="*/ 106808 h 515427"/>
                <a:gd name="connsiteX2" fmla="*/ 262930 w 268922"/>
                <a:gd name="connsiteY2" fmla="*/ 86377 h 515427"/>
                <a:gd name="connsiteX3" fmla="*/ 257819 w 268922"/>
                <a:gd name="connsiteY3" fmla="*/ 64831 h 515427"/>
                <a:gd name="connsiteX4" fmla="*/ 256797 w 268922"/>
                <a:gd name="connsiteY4" fmla="*/ 42124 h 515427"/>
                <a:gd name="connsiteX5" fmla="*/ 226042 w 268922"/>
                <a:gd name="connsiteY5" fmla="*/ 21693 h 515427"/>
                <a:gd name="connsiteX6" fmla="*/ 200444 w 268922"/>
                <a:gd name="connsiteY6" fmla="*/ 1262 h 515427"/>
                <a:gd name="connsiteX7" fmla="*/ 188132 w 268922"/>
                <a:gd name="connsiteY7" fmla="*/ 19418 h 515427"/>
                <a:gd name="connsiteX8" fmla="*/ 173777 w 268922"/>
                <a:gd name="connsiteY8" fmla="*/ 23968 h 515427"/>
                <a:gd name="connsiteX9" fmla="*/ 151245 w 268922"/>
                <a:gd name="connsiteY9" fmla="*/ 19418 h 515427"/>
                <a:gd name="connsiteX10" fmla="*/ 146135 w 268922"/>
                <a:gd name="connsiteY10" fmla="*/ 36413 h 515427"/>
                <a:gd name="connsiteX11" fmla="*/ 129735 w 268922"/>
                <a:gd name="connsiteY11" fmla="*/ 43192 h 515427"/>
                <a:gd name="connsiteX12" fmla="*/ 113335 w 268922"/>
                <a:gd name="connsiteY12" fmla="*/ 56798 h 515427"/>
                <a:gd name="connsiteX13" fmla="*/ 107203 w 268922"/>
                <a:gd name="connsiteY13" fmla="*/ 73839 h 515427"/>
                <a:gd name="connsiteX14" fmla="*/ 102093 w 268922"/>
                <a:gd name="connsiteY14" fmla="*/ 86330 h 515427"/>
                <a:gd name="connsiteX15" fmla="*/ 90803 w 268922"/>
                <a:gd name="connsiteY15" fmla="*/ 104486 h 515427"/>
                <a:gd name="connsiteX16" fmla="*/ 86715 w 268922"/>
                <a:gd name="connsiteY16" fmla="*/ 118092 h 515427"/>
                <a:gd name="connsiteX17" fmla="*/ 70315 w 268922"/>
                <a:gd name="connsiteY17" fmla="*/ 122596 h 515427"/>
                <a:gd name="connsiteX18" fmla="*/ 69293 w 268922"/>
                <a:gd name="connsiteY18" fmla="*/ 144188 h 515427"/>
                <a:gd name="connsiteX19" fmla="*/ 54938 w 268922"/>
                <a:gd name="connsiteY19" fmla="*/ 174788 h 515427"/>
                <a:gd name="connsiteX20" fmla="*/ 60048 w 268922"/>
                <a:gd name="connsiteY20" fmla="*/ 187279 h 515427"/>
                <a:gd name="connsiteX21" fmla="*/ 60048 w 268922"/>
                <a:gd name="connsiteY21" fmla="*/ 200885 h 515427"/>
                <a:gd name="connsiteX22" fmla="*/ 45693 w 268922"/>
                <a:gd name="connsiteY22" fmla="*/ 202046 h 515427"/>
                <a:gd name="connsiteX23" fmla="*/ 24183 w 268922"/>
                <a:gd name="connsiteY23" fmla="*/ 217926 h 515427"/>
                <a:gd name="connsiteX24" fmla="*/ 22139 w 268922"/>
                <a:gd name="connsiteY24" fmla="*/ 241747 h 515427"/>
                <a:gd name="connsiteX25" fmla="*/ 22139 w 268922"/>
                <a:gd name="connsiteY25" fmla="*/ 265568 h 515427"/>
                <a:gd name="connsiteX26" fmla="*/ 21117 w 268922"/>
                <a:gd name="connsiteY26" fmla="*/ 288275 h 515427"/>
                <a:gd name="connsiteX27" fmla="*/ 35472 w 268922"/>
                <a:gd name="connsiteY27" fmla="*/ 305270 h 515427"/>
                <a:gd name="connsiteX28" fmla="*/ 27249 w 268922"/>
                <a:gd name="connsiteY28" fmla="*/ 317761 h 515427"/>
                <a:gd name="connsiteX29" fmla="*/ 28271 w 268922"/>
                <a:gd name="connsiteY29" fmla="*/ 329091 h 515427"/>
                <a:gd name="connsiteX30" fmla="*/ 29293 w 268922"/>
                <a:gd name="connsiteY30" fmla="*/ 351798 h 515427"/>
                <a:gd name="connsiteX31" fmla="*/ 14938 w 268922"/>
                <a:gd name="connsiteY31" fmla="*/ 357463 h 515427"/>
                <a:gd name="connsiteX32" fmla="*/ 11871 w 268922"/>
                <a:gd name="connsiteY32" fmla="*/ 376780 h 515427"/>
                <a:gd name="connsiteX33" fmla="*/ 6761 w 268922"/>
                <a:gd name="connsiteY33" fmla="*/ 392660 h 515427"/>
                <a:gd name="connsiteX34" fmla="*/ 25 w 268922"/>
                <a:gd name="connsiteY34" fmla="*/ 391592 h 515427"/>
                <a:gd name="connsiteX35" fmla="*/ 25 w 268922"/>
                <a:gd name="connsiteY35" fmla="*/ 393821 h 515427"/>
                <a:gd name="connsiteX36" fmla="*/ 9595 w 268922"/>
                <a:gd name="connsiteY36" fmla="*/ 417828 h 515427"/>
                <a:gd name="connsiteX37" fmla="*/ 17261 w 268922"/>
                <a:gd name="connsiteY37" fmla="*/ 442578 h 515427"/>
                <a:gd name="connsiteX38" fmla="*/ 28085 w 268922"/>
                <a:gd name="connsiteY38" fmla="*/ 464123 h 515427"/>
                <a:gd name="connsiteX39" fmla="*/ 32545 w 268922"/>
                <a:gd name="connsiteY39" fmla="*/ 482140 h 515427"/>
                <a:gd name="connsiteX40" fmla="*/ 38585 w 268922"/>
                <a:gd name="connsiteY40" fmla="*/ 493099 h 515427"/>
                <a:gd name="connsiteX41" fmla="*/ 38910 w 268922"/>
                <a:gd name="connsiteY41" fmla="*/ 513251 h 515427"/>
                <a:gd name="connsiteX42" fmla="*/ 55821 w 268922"/>
                <a:gd name="connsiteY42" fmla="*/ 512926 h 515427"/>
                <a:gd name="connsiteX43" fmla="*/ 63765 w 268922"/>
                <a:gd name="connsiteY43" fmla="*/ 498810 h 515427"/>
                <a:gd name="connsiteX44" fmla="*/ 70455 w 268922"/>
                <a:gd name="connsiteY44" fmla="*/ 491055 h 515427"/>
                <a:gd name="connsiteX45" fmla="*/ 88295 w 268922"/>
                <a:gd name="connsiteY45" fmla="*/ 489244 h 515427"/>
                <a:gd name="connsiteX46" fmla="*/ 100745 w 268922"/>
                <a:gd name="connsiteY46" fmla="*/ 478286 h 515427"/>
                <a:gd name="connsiteX47" fmla="*/ 108411 w 268922"/>
                <a:gd name="connsiteY47" fmla="*/ 481815 h 515427"/>
                <a:gd name="connsiteX48" fmla="*/ 120536 w 268922"/>
                <a:gd name="connsiteY48" fmla="*/ 459248 h 515427"/>
                <a:gd name="connsiteX49" fmla="*/ 112871 w 268922"/>
                <a:gd name="connsiteY49" fmla="*/ 460641 h 515427"/>
                <a:gd name="connsiteX50" fmla="*/ 112546 w 268922"/>
                <a:gd name="connsiteY50" fmla="*/ 444064 h 515427"/>
                <a:gd name="connsiteX51" fmla="*/ 116030 w 268922"/>
                <a:gd name="connsiteY51" fmla="*/ 410166 h 515427"/>
                <a:gd name="connsiteX52" fmla="*/ 128155 w 268922"/>
                <a:gd name="connsiteY52" fmla="*/ 395679 h 515427"/>
                <a:gd name="connsiteX53" fmla="*/ 147621 w 268922"/>
                <a:gd name="connsiteY53" fmla="*/ 375572 h 515427"/>
                <a:gd name="connsiteX54" fmla="*/ 160351 w 268922"/>
                <a:gd name="connsiteY54" fmla="*/ 356163 h 515427"/>
                <a:gd name="connsiteX55" fmla="*/ 139956 w 268922"/>
                <a:gd name="connsiteY55" fmla="*/ 331088 h 515427"/>
                <a:gd name="connsiteX56" fmla="*/ 124671 w 268922"/>
                <a:gd name="connsiteY56" fmla="*/ 326491 h 515427"/>
                <a:gd name="connsiteX57" fmla="*/ 122116 w 268922"/>
                <a:gd name="connsiteY57" fmla="*/ 299651 h 515427"/>
                <a:gd name="connsiteX58" fmla="*/ 129503 w 268922"/>
                <a:gd name="connsiteY58" fmla="*/ 279685 h 515427"/>
                <a:gd name="connsiteX59" fmla="*/ 130385 w 268922"/>
                <a:gd name="connsiteY59" fmla="*/ 258092 h 515427"/>
                <a:gd name="connsiteX60" fmla="*/ 148969 w 268922"/>
                <a:gd name="connsiteY60" fmla="*/ 236361 h 515427"/>
                <a:gd name="connsiteX61" fmla="*/ 157656 w 268922"/>
                <a:gd name="connsiteY61" fmla="*/ 230789 h 515427"/>
                <a:gd name="connsiteX62" fmla="*/ 161001 w 268922"/>
                <a:gd name="connsiteY62" fmla="*/ 228281 h 515427"/>
                <a:gd name="connsiteX63" fmla="*/ 167134 w 268922"/>
                <a:gd name="connsiteY63" fmla="*/ 224799 h 515427"/>
                <a:gd name="connsiteX64" fmla="*/ 174009 w 268922"/>
                <a:gd name="connsiteY64" fmla="*/ 208500 h 515427"/>
                <a:gd name="connsiteX65" fmla="*/ 177122 w 268922"/>
                <a:gd name="connsiteY65" fmla="*/ 205389 h 515427"/>
                <a:gd name="connsiteX66" fmla="*/ 190455 w 268922"/>
                <a:gd name="connsiteY66" fmla="*/ 198981 h 515427"/>
                <a:gd name="connsiteX67" fmla="*/ 194358 w 268922"/>
                <a:gd name="connsiteY67" fmla="*/ 193780 h 515427"/>
                <a:gd name="connsiteX68" fmla="*/ 203185 w 268922"/>
                <a:gd name="connsiteY68" fmla="*/ 188440 h 515427"/>
                <a:gd name="connsiteX69" fmla="*/ 209410 w 268922"/>
                <a:gd name="connsiteY69" fmla="*/ 172049 h 515427"/>
                <a:gd name="connsiteX70" fmla="*/ 212337 w 268922"/>
                <a:gd name="connsiteY70" fmla="*/ 164666 h 515427"/>
                <a:gd name="connsiteX71" fmla="*/ 220607 w 268922"/>
                <a:gd name="connsiteY71" fmla="*/ 145256 h 515427"/>
                <a:gd name="connsiteX72" fmla="*/ 234637 w 268922"/>
                <a:gd name="connsiteY72" fmla="*/ 132904 h 515427"/>
                <a:gd name="connsiteX73" fmla="*/ 257262 w 268922"/>
                <a:gd name="connsiteY73" fmla="*/ 130443 h 515427"/>
                <a:gd name="connsiteX74" fmla="*/ 268923 w 268922"/>
                <a:gd name="connsiteY74" fmla="*/ 131001 h 515427"/>
                <a:gd name="connsiteX75" fmla="*/ 265903 w 268922"/>
                <a:gd name="connsiteY75" fmla="*/ 119206 h 51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68922" h="515427">
                  <a:moveTo>
                    <a:pt x="266042" y="119253"/>
                  </a:moveTo>
                  <a:cubicBezTo>
                    <a:pt x="262976" y="115863"/>
                    <a:pt x="256844" y="106808"/>
                    <a:pt x="261908" y="106808"/>
                  </a:cubicBezTo>
                  <a:cubicBezTo>
                    <a:pt x="266972" y="106808"/>
                    <a:pt x="269062" y="89813"/>
                    <a:pt x="262930" y="86377"/>
                  </a:cubicBezTo>
                  <a:cubicBezTo>
                    <a:pt x="256797" y="82987"/>
                    <a:pt x="262930" y="68221"/>
                    <a:pt x="257819" y="64831"/>
                  </a:cubicBezTo>
                  <a:cubicBezTo>
                    <a:pt x="252709" y="61441"/>
                    <a:pt x="255775" y="50065"/>
                    <a:pt x="256797" y="42124"/>
                  </a:cubicBezTo>
                  <a:cubicBezTo>
                    <a:pt x="257819" y="34184"/>
                    <a:pt x="237331" y="27358"/>
                    <a:pt x="226042" y="21693"/>
                  </a:cubicBezTo>
                  <a:cubicBezTo>
                    <a:pt x="214800" y="16028"/>
                    <a:pt x="209642" y="6927"/>
                    <a:pt x="200444" y="1262"/>
                  </a:cubicBezTo>
                  <a:cubicBezTo>
                    <a:pt x="191245" y="-4403"/>
                    <a:pt x="188132" y="10317"/>
                    <a:pt x="188132" y="19418"/>
                  </a:cubicBezTo>
                  <a:cubicBezTo>
                    <a:pt x="188132" y="28519"/>
                    <a:pt x="179956" y="29634"/>
                    <a:pt x="173777" y="23968"/>
                  </a:cubicBezTo>
                  <a:cubicBezTo>
                    <a:pt x="167645" y="18303"/>
                    <a:pt x="160444" y="23968"/>
                    <a:pt x="151245" y="19418"/>
                  </a:cubicBezTo>
                  <a:cubicBezTo>
                    <a:pt x="142046" y="14867"/>
                    <a:pt x="146135" y="29634"/>
                    <a:pt x="146135" y="36413"/>
                  </a:cubicBezTo>
                  <a:cubicBezTo>
                    <a:pt x="146135" y="43192"/>
                    <a:pt x="135867" y="43192"/>
                    <a:pt x="129735" y="43192"/>
                  </a:cubicBezTo>
                  <a:cubicBezTo>
                    <a:pt x="123603" y="43192"/>
                    <a:pt x="113335" y="48857"/>
                    <a:pt x="113335" y="56798"/>
                  </a:cubicBezTo>
                  <a:cubicBezTo>
                    <a:pt x="113335" y="64738"/>
                    <a:pt x="104137" y="69289"/>
                    <a:pt x="107203" y="73839"/>
                  </a:cubicBezTo>
                  <a:cubicBezTo>
                    <a:pt x="110269" y="78344"/>
                    <a:pt x="106181" y="82894"/>
                    <a:pt x="102093" y="86330"/>
                  </a:cubicBezTo>
                  <a:cubicBezTo>
                    <a:pt x="98004" y="89720"/>
                    <a:pt x="93916" y="101050"/>
                    <a:pt x="90803" y="104486"/>
                  </a:cubicBezTo>
                  <a:cubicBezTo>
                    <a:pt x="87737" y="107876"/>
                    <a:pt x="92848" y="113541"/>
                    <a:pt x="86715" y="118092"/>
                  </a:cubicBezTo>
                  <a:cubicBezTo>
                    <a:pt x="80583" y="122596"/>
                    <a:pt x="73382" y="119206"/>
                    <a:pt x="70315" y="122596"/>
                  </a:cubicBezTo>
                  <a:cubicBezTo>
                    <a:pt x="67249" y="125986"/>
                    <a:pt x="70315" y="133972"/>
                    <a:pt x="69293" y="144188"/>
                  </a:cubicBezTo>
                  <a:cubicBezTo>
                    <a:pt x="68271" y="154357"/>
                    <a:pt x="61070" y="165734"/>
                    <a:pt x="54938" y="174788"/>
                  </a:cubicBezTo>
                  <a:cubicBezTo>
                    <a:pt x="48805" y="183890"/>
                    <a:pt x="56982" y="186165"/>
                    <a:pt x="60048" y="187279"/>
                  </a:cubicBezTo>
                  <a:cubicBezTo>
                    <a:pt x="63114" y="188440"/>
                    <a:pt x="63114" y="194105"/>
                    <a:pt x="60048" y="200885"/>
                  </a:cubicBezTo>
                  <a:cubicBezTo>
                    <a:pt x="56982" y="207711"/>
                    <a:pt x="49781" y="203160"/>
                    <a:pt x="45693" y="202046"/>
                  </a:cubicBezTo>
                  <a:cubicBezTo>
                    <a:pt x="41604" y="200885"/>
                    <a:pt x="30315" y="206550"/>
                    <a:pt x="24183" y="217926"/>
                  </a:cubicBezTo>
                  <a:cubicBezTo>
                    <a:pt x="18050" y="229256"/>
                    <a:pt x="20094" y="236082"/>
                    <a:pt x="22139" y="241747"/>
                  </a:cubicBezTo>
                  <a:cubicBezTo>
                    <a:pt x="24183" y="247412"/>
                    <a:pt x="17028" y="254238"/>
                    <a:pt x="22139" y="265568"/>
                  </a:cubicBezTo>
                  <a:cubicBezTo>
                    <a:pt x="27249" y="276898"/>
                    <a:pt x="20094" y="279174"/>
                    <a:pt x="21117" y="288275"/>
                  </a:cubicBezTo>
                  <a:cubicBezTo>
                    <a:pt x="22139" y="297330"/>
                    <a:pt x="34450" y="296215"/>
                    <a:pt x="35472" y="305270"/>
                  </a:cubicBezTo>
                  <a:cubicBezTo>
                    <a:pt x="36494" y="314325"/>
                    <a:pt x="31384" y="317761"/>
                    <a:pt x="27249" y="317761"/>
                  </a:cubicBezTo>
                  <a:cubicBezTo>
                    <a:pt x="23114" y="317761"/>
                    <a:pt x="24183" y="326816"/>
                    <a:pt x="28271" y="329091"/>
                  </a:cubicBezTo>
                  <a:cubicBezTo>
                    <a:pt x="32359" y="331366"/>
                    <a:pt x="31337" y="347247"/>
                    <a:pt x="29293" y="351798"/>
                  </a:cubicBezTo>
                  <a:cubicBezTo>
                    <a:pt x="27249" y="356348"/>
                    <a:pt x="13915" y="351798"/>
                    <a:pt x="14938" y="357463"/>
                  </a:cubicBezTo>
                  <a:cubicBezTo>
                    <a:pt x="15960" y="363128"/>
                    <a:pt x="11871" y="372229"/>
                    <a:pt x="11871" y="376780"/>
                  </a:cubicBezTo>
                  <a:cubicBezTo>
                    <a:pt x="11871" y="381330"/>
                    <a:pt x="10849" y="396050"/>
                    <a:pt x="6761" y="392660"/>
                  </a:cubicBezTo>
                  <a:cubicBezTo>
                    <a:pt x="5135" y="391314"/>
                    <a:pt x="2580" y="391221"/>
                    <a:pt x="25" y="391592"/>
                  </a:cubicBezTo>
                  <a:cubicBezTo>
                    <a:pt x="25" y="392289"/>
                    <a:pt x="25" y="392985"/>
                    <a:pt x="25" y="393821"/>
                  </a:cubicBezTo>
                  <a:cubicBezTo>
                    <a:pt x="-301" y="402644"/>
                    <a:pt x="2580" y="411466"/>
                    <a:pt x="9595" y="417828"/>
                  </a:cubicBezTo>
                  <a:cubicBezTo>
                    <a:pt x="16610" y="424189"/>
                    <a:pt x="11175" y="433709"/>
                    <a:pt x="17261" y="442578"/>
                  </a:cubicBezTo>
                  <a:cubicBezTo>
                    <a:pt x="23300" y="451400"/>
                    <a:pt x="21395" y="457762"/>
                    <a:pt x="28085" y="464123"/>
                  </a:cubicBezTo>
                  <a:cubicBezTo>
                    <a:pt x="34775" y="470485"/>
                    <a:pt x="35425" y="474014"/>
                    <a:pt x="32545" y="482140"/>
                  </a:cubicBezTo>
                  <a:cubicBezTo>
                    <a:pt x="29665" y="490266"/>
                    <a:pt x="38306" y="488130"/>
                    <a:pt x="38585" y="493099"/>
                  </a:cubicBezTo>
                  <a:cubicBezTo>
                    <a:pt x="38910" y="498067"/>
                    <a:pt x="36680" y="508283"/>
                    <a:pt x="38910" y="513251"/>
                  </a:cubicBezTo>
                  <a:cubicBezTo>
                    <a:pt x="41140" y="518173"/>
                    <a:pt x="45600" y="513251"/>
                    <a:pt x="55821" y="512926"/>
                  </a:cubicBezTo>
                  <a:cubicBezTo>
                    <a:pt x="65995" y="512555"/>
                    <a:pt x="63486" y="505497"/>
                    <a:pt x="63765" y="498810"/>
                  </a:cubicBezTo>
                  <a:cubicBezTo>
                    <a:pt x="64090" y="492123"/>
                    <a:pt x="69200" y="495281"/>
                    <a:pt x="70455" y="491055"/>
                  </a:cubicBezTo>
                  <a:cubicBezTo>
                    <a:pt x="71709" y="486830"/>
                    <a:pt x="81001" y="485762"/>
                    <a:pt x="88295" y="489244"/>
                  </a:cubicBezTo>
                  <a:cubicBezTo>
                    <a:pt x="95635" y="492774"/>
                    <a:pt x="99445" y="486783"/>
                    <a:pt x="100745" y="478286"/>
                  </a:cubicBezTo>
                  <a:cubicBezTo>
                    <a:pt x="102000" y="469835"/>
                    <a:pt x="106135" y="480050"/>
                    <a:pt x="108411" y="481815"/>
                  </a:cubicBezTo>
                  <a:cubicBezTo>
                    <a:pt x="110641" y="483579"/>
                    <a:pt x="117331" y="468767"/>
                    <a:pt x="120536" y="459248"/>
                  </a:cubicBezTo>
                  <a:cubicBezTo>
                    <a:pt x="123742" y="449729"/>
                    <a:pt x="120211" y="451493"/>
                    <a:pt x="112871" y="460641"/>
                  </a:cubicBezTo>
                  <a:cubicBezTo>
                    <a:pt x="105531" y="469835"/>
                    <a:pt x="109665" y="451493"/>
                    <a:pt x="112546" y="444064"/>
                  </a:cubicBezTo>
                  <a:cubicBezTo>
                    <a:pt x="115426" y="436634"/>
                    <a:pt x="115101" y="415088"/>
                    <a:pt x="116030" y="410166"/>
                  </a:cubicBezTo>
                  <a:cubicBezTo>
                    <a:pt x="117005" y="405244"/>
                    <a:pt x="118910" y="397814"/>
                    <a:pt x="128155" y="395679"/>
                  </a:cubicBezTo>
                  <a:cubicBezTo>
                    <a:pt x="137401" y="393542"/>
                    <a:pt x="149526" y="380866"/>
                    <a:pt x="147621" y="375572"/>
                  </a:cubicBezTo>
                  <a:cubicBezTo>
                    <a:pt x="145716" y="370279"/>
                    <a:pt x="160351" y="361456"/>
                    <a:pt x="160351" y="356163"/>
                  </a:cubicBezTo>
                  <a:cubicBezTo>
                    <a:pt x="160351" y="350869"/>
                    <a:pt x="145020" y="334617"/>
                    <a:pt x="139956" y="331088"/>
                  </a:cubicBezTo>
                  <a:cubicBezTo>
                    <a:pt x="134845" y="327559"/>
                    <a:pt x="123695" y="330391"/>
                    <a:pt x="124671" y="326491"/>
                  </a:cubicBezTo>
                  <a:cubicBezTo>
                    <a:pt x="125600" y="322590"/>
                    <a:pt x="123370" y="307406"/>
                    <a:pt x="122116" y="299651"/>
                  </a:cubicBezTo>
                  <a:cubicBezTo>
                    <a:pt x="121047" y="293011"/>
                    <a:pt x="127505" y="286185"/>
                    <a:pt x="129503" y="279685"/>
                  </a:cubicBezTo>
                  <a:cubicBezTo>
                    <a:pt x="126344" y="272812"/>
                    <a:pt x="126297" y="264408"/>
                    <a:pt x="130385" y="258092"/>
                  </a:cubicBezTo>
                  <a:cubicBezTo>
                    <a:pt x="135682" y="250013"/>
                    <a:pt x="142557" y="243512"/>
                    <a:pt x="148969" y="236361"/>
                  </a:cubicBezTo>
                  <a:cubicBezTo>
                    <a:pt x="151431" y="233621"/>
                    <a:pt x="154404" y="231810"/>
                    <a:pt x="157656" y="230789"/>
                  </a:cubicBezTo>
                  <a:cubicBezTo>
                    <a:pt x="158585" y="229814"/>
                    <a:pt x="159654" y="228885"/>
                    <a:pt x="161001" y="228281"/>
                  </a:cubicBezTo>
                  <a:cubicBezTo>
                    <a:pt x="163649" y="227120"/>
                    <a:pt x="165461" y="225960"/>
                    <a:pt x="167134" y="224799"/>
                  </a:cubicBezTo>
                  <a:cubicBezTo>
                    <a:pt x="167134" y="218901"/>
                    <a:pt x="169782" y="212679"/>
                    <a:pt x="174009" y="208500"/>
                  </a:cubicBezTo>
                  <a:lnTo>
                    <a:pt x="177122" y="205389"/>
                  </a:lnTo>
                  <a:cubicBezTo>
                    <a:pt x="180839" y="201721"/>
                    <a:pt x="185485" y="199770"/>
                    <a:pt x="190455" y="198981"/>
                  </a:cubicBezTo>
                  <a:cubicBezTo>
                    <a:pt x="191571" y="197031"/>
                    <a:pt x="192871" y="195220"/>
                    <a:pt x="194358" y="193780"/>
                  </a:cubicBezTo>
                  <a:cubicBezTo>
                    <a:pt x="196774" y="191412"/>
                    <a:pt x="199886" y="189601"/>
                    <a:pt x="203185" y="188440"/>
                  </a:cubicBezTo>
                  <a:cubicBezTo>
                    <a:pt x="203185" y="182404"/>
                    <a:pt x="205275" y="176414"/>
                    <a:pt x="209410" y="172049"/>
                  </a:cubicBezTo>
                  <a:cubicBezTo>
                    <a:pt x="208853" y="169588"/>
                    <a:pt x="209410" y="167127"/>
                    <a:pt x="212337" y="164666"/>
                  </a:cubicBezTo>
                  <a:cubicBezTo>
                    <a:pt x="221582" y="156911"/>
                    <a:pt x="213917" y="148042"/>
                    <a:pt x="220607" y="145256"/>
                  </a:cubicBezTo>
                  <a:cubicBezTo>
                    <a:pt x="227297" y="142423"/>
                    <a:pt x="229852" y="138569"/>
                    <a:pt x="234637" y="132904"/>
                  </a:cubicBezTo>
                  <a:cubicBezTo>
                    <a:pt x="239422" y="127239"/>
                    <a:pt x="245787" y="132533"/>
                    <a:pt x="257262" y="130443"/>
                  </a:cubicBezTo>
                  <a:cubicBezTo>
                    <a:pt x="261443" y="129654"/>
                    <a:pt x="265299" y="130072"/>
                    <a:pt x="268923" y="131001"/>
                  </a:cubicBezTo>
                  <a:cubicBezTo>
                    <a:pt x="268412" y="125382"/>
                    <a:pt x="267297" y="120785"/>
                    <a:pt x="265903" y="119206"/>
                  </a:cubicBezTo>
                  <a:close/>
                </a:path>
              </a:pathLst>
            </a:custGeom>
            <a:solidFill>
              <a:schemeClr val="accent1"/>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32" name="Freeform 81">
              <a:extLst>
                <a:ext uri="{FF2B5EF4-FFF2-40B4-BE49-F238E27FC236}">
                  <a16:creationId xmlns:a16="http://schemas.microsoft.com/office/drawing/2014/main" id="{2EFC8058-58C6-E28E-8022-1924798413EC}"/>
                </a:ext>
              </a:extLst>
            </p:cNvPr>
            <p:cNvSpPr/>
            <p:nvPr/>
          </p:nvSpPr>
          <p:spPr>
            <a:xfrm>
              <a:off x="11675480" y="1226490"/>
              <a:ext cx="607706" cy="333694"/>
            </a:xfrm>
            <a:custGeom>
              <a:avLst/>
              <a:gdLst>
                <a:gd name="connsiteX0" fmla="*/ 123833 w 130106"/>
                <a:gd name="connsiteY0" fmla="*/ 18228 h 71442"/>
                <a:gd name="connsiteX1" fmla="*/ 128246 w 130106"/>
                <a:gd name="connsiteY1" fmla="*/ 2533 h 71442"/>
                <a:gd name="connsiteX2" fmla="*/ 123554 w 130106"/>
                <a:gd name="connsiteY2" fmla="*/ 4994 h 71442"/>
                <a:gd name="connsiteX3" fmla="*/ 82718 w 130106"/>
                <a:gd name="connsiteY3" fmla="*/ 397 h 71442"/>
                <a:gd name="connsiteX4" fmla="*/ 42531 w 130106"/>
                <a:gd name="connsiteY4" fmla="*/ 9220 h 71442"/>
                <a:gd name="connsiteX5" fmla="*/ 29477 w 130106"/>
                <a:gd name="connsiteY5" fmla="*/ 23011 h 71442"/>
                <a:gd name="connsiteX6" fmla="*/ 33937 w 130106"/>
                <a:gd name="connsiteY6" fmla="*/ 38195 h 71442"/>
                <a:gd name="connsiteX7" fmla="*/ 46713 w 130106"/>
                <a:gd name="connsiteY7" fmla="*/ 46321 h 71442"/>
                <a:gd name="connsiteX8" fmla="*/ 51172 w 130106"/>
                <a:gd name="connsiteY8" fmla="*/ 55840 h 71442"/>
                <a:gd name="connsiteX9" fmla="*/ 50894 w 130106"/>
                <a:gd name="connsiteY9" fmla="*/ 56212 h 71442"/>
                <a:gd name="connsiteX10" fmla="*/ 74123 w 130106"/>
                <a:gd name="connsiteY10" fmla="*/ 55840 h 71442"/>
                <a:gd name="connsiteX11" fmla="*/ 95819 w 130106"/>
                <a:gd name="connsiteY11" fmla="*/ 69957 h 71442"/>
                <a:gd name="connsiteX12" fmla="*/ 116399 w 130106"/>
                <a:gd name="connsiteY12" fmla="*/ 71442 h 71442"/>
                <a:gd name="connsiteX13" fmla="*/ 117189 w 130106"/>
                <a:gd name="connsiteY13" fmla="*/ 64849 h 71442"/>
                <a:gd name="connsiteX14" fmla="*/ 122950 w 130106"/>
                <a:gd name="connsiteY14" fmla="*/ 56908 h 71442"/>
                <a:gd name="connsiteX15" fmla="*/ 118165 w 130106"/>
                <a:gd name="connsiteY15" fmla="*/ 44185 h 71442"/>
                <a:gd name="connsiteX16" fmla="*/ 116725 w 130106"/>
                <a:gd name="connsiteY16" fmla="*/ 30394 h 71442"/>
                <a:gd name="connsiteX17" fmla="*/ 123879 w 130106"/>
                <a:gd name="connsiteY17" fmla="*/ 18228 h 71442"/>
                <a:gd name="connsiteX18" fmla="*/ 10940 w 130106"/>
                <a:gd name="connsiteY18" fmla="*/ 35363 h 71442"/>
                <a:gd name="connsiteX19" fmla="*/ 2345 w 130106"/>
                <a:gd name="connsiteY19" fmla="*/ 56212 h 71442"/>
                <a:gd name="connsiteX20" fmla="*/ 24692 w 130106"/>
                <a:gd name="connsiteY20" fmla="*/ 39960 h 71442"/>
                <a:gd name="connsiteX21" fmla="*/ 10987 w 130106"/>
                <a:gd name="connsiteY21" fmla="*/ 35363 h 71442"/>
                <a:gd name="connsiteX22" fmla="*/ 20510 w 130106"/>
                <a:gd name="connsiteY22" fmla="*/ 25101 h 71442"/>
                <a:gd name="connsiteX23" fmla="*/ 6805 w 130106"/>
                <a:gd name="connsiteY23" fmla="*/ 26865 h 71442"/>
                <a:gd name="connsiteX24" fmla="*/ 20510 w 130106"/>
                <a:gd name="connsiteY24" fmla="*/ 25101 h 7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0106" h="71442">
                  <a:moveTo>
                    <a:pt x="123833" y="18228"/>
                  </a:moveTo>
                  <a:cubicBezTo>
                    <a:pt x="126481" y="11913"/>
                    <a:pt x="133403" y="10845"/>
                    <a:pt x="128246" y="2533"/>
                  </a:cubicBezTo>
                  <a:cubicBezTo>
                    <a:pt x="127270" y="3416"/>
                    <a:pt x="125877" y="4251"/>
                    <a:pt x="123554" y="4994"/>
                  </a:cubicBezTo>
                  <a:cubicBezTo>
                    <a:pt x="114309" y="7827"/>
                    <a:pt x="94192" y="-2064"/>
                    <a:pt x="82718" y="397"/>
                  </a:cubicBezTo>
                  <a:cubicBezTo>
                    <a:pt x="71242" y="2858"/>
                    <a:pt x="47967" y="2858"/>
                    <a:pt x="42531" y="9220"/>
                  </a:cubicBezTo>
                  <a:cubicBezTo>
                    <a:pt x="37096" y="15582"/>
                    <a:pt x="23391" y="17346"/>
                    <a:pt x="29477" y="23011"/>
                  </a:cubicBezTo>
                  <a:cubicBezTo>
                    <a:pt x="35563" y="28676"/>
                    <a:pt x="29477" y="31509"/>
                    <a:pt x="33937" y="38195"/>
                  </a:cubicBezTo>
                  <a:cubicBezTo>
                    <a:pt x="38397" y="44882"/>
                    <a:pt x="40627" y="47714"/>
                    <a:pt x="46713" y="46321"/>
                  </a:cubicBezTo>
                  <a:cubicBezTo>
                    <a:pt x="52799" y="44928"/>
                    <a:pt x="57537" y="48411"/>
                    <a:pt x="51172" y="55840"/>
                  </a:cubicBezTo>
                  <a:cubicBezTo>
                    <a:pt x="51080" y="55980"/>
                    <a:pt x="51033" y="56119"/>
                    <a:pt x="50894" y="56212"/>
                  </a:cubicBezTo>
                  <a:cubicBezTo>
                    <a:pt x="61115" y="55144"/>
                    <a:pt x="72450" y="54447"/>
                    <a:pt x="74123" y="55840"/>
                  </a:cubicBezTo>
                  <a:cubicBezTo>
                    <a:pt x="76678" y="57976"/>
                    <a:pt x="91963" y="71396"/>
                    <a:pt x="95819" y="69957"/>
                  </a:cubicBezTo>
                  <a:cubicBezTo>
                    <a:pt x="98188" y="69074"/>
                    <a:pt x="108641" y="70328"/>
                    <a:pt x="116399" y="71442"/>
                  </a:cubicBezTo>
                  <a:cubicBezTo>
                    <a:pt x="115517" y="68796"/>
                    <a:pt x="115563" y="66335"/>
                    <a:pt x="117189" y="64849"/>
                  </a:cubicBezTo>
                  <a:cubicBezTo>
                    <a:pt x="120070" y="62202"/>
                    <a:pt x="126295" y="62202"/>
                    <a:pt x="122950" y="56908"/>
                  </a:cubicBezTo>
                  <a:cubicBezTo>
                    <a:pt x="119605" y="51615"/>
                    <a:pt x="118629" y="50547"/>
                    <a:pt x="118165" y="44185"/>
                  </a:cubicBezTo>
                  <a:cubicBezTo>
                    <a:pt x="117700" y="37824"/>
                    <a:pt x="116260" y="34666"/>
                    <a:pt x="116725" y="30394"/>
                  </a:cubicBezTo>
                  <a:cubicBezTo>
                    <a:pt x="117189" y="26169"/>
                    <a:pt x="121045" y="25101"/>
                    <a:pt x="123879" y="18228"/>
                  </a:cubicBezTo>
                  <a:close/>
                  <a:moveTo>
                    <a:pt x="10940" y="35363"/>
                  </a:moveTo>
                  <a:cubicBezTo>
                    <a:pt x="-535" y="38892"/>
                    <a:pt x="-2208" y="56490"/>
                    <a:pt x="2345" y="56212"/>
                  </a:cubicBezTo>
                  <a:cubicBezTo>
                    <a:pt x="8060" y="55840"/>
                    <a:pt x="21161" y="43814"/>
                    <a:pt x="24692" y="39960"/>
                  </a:cubicBezTo>
                  <a:cubicBezTo>
                    <a:pt x="28176" y="36106"/>
                    <a:pt x="22462" y="31834"/>
                    <a:pt x="10987" y="35363"/>
                  </a:cubicBezTo>
                  <a:close/>
                  <a:moveTo>
                    <a:pt x="20510" y="25101"/>
                  </a:moveTo>
                  <a:cubicBezTo>
                    <a:pt x="23066" y="19807"/>
                    <a:pt x="2113" y="22129"/>
                    <a:pt x="6805" y="26865"/>
                  </a:cubicBezTo>
                  <a:cubicBezTo>
                    <a:pt x="10336" y="30394"/>
                    <a:pt x="17955" y="30394"/>
                    <a:pt x="20510" y="25101"/>
                  </a:cubicBezTo>
                  <a:close/>
                </a:path>
              </a:pathLst>
            </a:custGeom>
            <a:solidFill>
              <a:schemeClr val="accent1"/>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33" name="Freeform 83">
              <a:extLst>
                <a:ext uri="{FF2B5EF4-FFF2-40B4-BE49-F238E27FC236}">
                  <a16:creationId xmlns:a16="http://schemas.microsoft.com/office/drawing/2014/main" id="{15C9D8F5-E930-D2F5-DA7C-C0614C2B78CC}"/>
                </a:ext>
              </a:extLst>
            </p:cNvPr>
            <p:cNvSpPr/>
            <p:nvPr/>
          </p:nvSpPr>
          <p:spPr>
            <a:xfrm>
              <a:off x="10004288" y="-912675"/>
              <a:ext cx="2588204" cy="2396397"/>
            </a:xfrm>
            <a:custGeom>
              <a:avLst/>
              <a:gdLst>
                <a:gd name="connsiteX0" fmla="*/ 537745 w 554117"/>
                <a:gd name="connsiteY0" fmla="*/ 59643 h 513052"/>
                <a:gd name="connsiteX1" fmla="*/ 528175 w 554117"/>
                <a:gd name="connsiteY1" fmla="*/ 58575 h 513052"/>
                <a:gd name="connsiteX2" fmla="*/ 514145 w 554117"/>
                <a:gd name="connsiteY2" fmla="*/ 46549 h 513052"/>
                <a:gd name="connsiteX3" fmla="*/ 525016 w 554117"/>
                <a:gd name="connsiteY3" fmla="*/ 47617 h 513052"/>
                <a:gd name="connsiteX4" fmla="*/ 539371 w 554117"/>
                <a:gd name="connsiteY4" fmla="*/ 42694 h 513052"/>
                <a:gd name="connsiteX5" fmla="*/ 554052 w 554117"/>
                <a:gd name="connsiteY5" fmla="*/ 36333 h 513052"/>
                <a:gd name="connsiteX6" fmla="*/ 542902 w 554117"/>
                <a:gd name="connsiteY6" fmla="*/ 24306 h 513052"/>
                <a:gd name="connsiteX7" fmla="*/ 526642 w 554117"/>
                <a:gd name="connsiteY7" fmla="*/ 18316 h 513052"/>
                <a:gd name="connsiteX8" fmla="*/ 515167 w 554117"/>
                <a:gd name="connsiteY8" fmla="*/ 12326 h 513052"/>
                <a:gd name="connsiteX9" fmla="*/ 510800 w 554117"/>
                <a:gd name="connsiteY9" fmla="*/ 11119 h 513052"/>
                <a:gd name="connsiteX10" fmla="*/ 503738 w 554117"/>
                <a:gd name="connsiteY10" fmla="*/ 14416 h 513052"/>
                <a:gd name="connsiteX11" fmla="*/ 498256 w 554117"/>
                <a:gd name="connsiteY11" fmla="*/ 25003 h 513052"/>
                <a:gd name="connsiteX12" fmla="*/ 493146 w 554117"/>
                <a:gd name="connsiteY12" fmla="*/ 27139 h 513052"/>
                <a:gd name="connsiteX13" fmla="*/ 493750 w 554117"/>
                <a:gd name="connsiteY13" fmla="*/ 14741 h 513052"/>
                <a:gd name="connsiteX14" fmla="*/ 491752 w 554117"/>
                <a:gd name="connsiteY14" fmla="*/ 14091 h 513052"/>
                <a:gd name="connsiteX15" fmla="*/ 483994 w 554117"/>
                <a:gd name="connsiteY15" fmla="*/ 11583 h 513052"/>
                <a:gd name="connsiteX16" fmla="*/ 482879 w 554117"/>
                <a:gd name="connsiteY16" fmla="*/ 11305 h 513052"/>
                <a:gd name="connsiteX17" fmla="*/ 480834 w 554117"/>
                <a:gd name="connsiteY17" fmla="*/ 11165 h 513052"/>
                <a:gd name="connsiteX18" fmla="*/ 472611 w 554117"/>
                <a:gd name="connsiteY18" fmla="*/ 11258 h 513052"/>
                <a:gd name="connsiteX19" fmla="*/ 473448 w 554117"/>
                <a:gd name="connsiteY19" fmla="*/ 13673 h 513052"/>
                <a:gd name="connsiteX20" fmla="*/ 460672 w 554117"/>
                <a:gd name="connsiteY20" fmla="*/ 32386 h 513052"/>
                <a:gd name="connsiteX21" fmla="*/ 460997 w 554117"/>
                <a:gd name="connsiteY21" fmla="*/ 12280 h 513052"/>
                <a:gd name="connsiteX22" fmla="*/ 460997 w 554117"/>
                <a:gd name="connsiteY22" fmla="*/ 12094 h 513052"/>
                <a:gd name="connsiteX23" fmla="*/ 455422 w 554117"/>
                <a:gd name="connsiteY23" fmla="*/ 11072 h 513052"/>
                <a:gd name="connsiteX24" fmla="*/ 447292 w 554117"/>
                <a:gd name="connsiteY24" fmla="*/ 20406 h 513052"/>
                <a:gd name="connsiteX25" fmla="*/ 426572 w 554117"/>
                <a:gd name="connsiteY25" fmla="*/ 43019 h 513052"/>
                <a:gd name="connsiteX26" fmla="*/ 430381 w 554117"/>
                <a:gd name="connsiteY26" fmla="*/ 27835 h 513052"/>
                <a:gd name="connsiteX27" fmla="*/ 444411 w 554117"/>
                <a:gd name="connsiteY27" fmla="*/ 9447 h 513052"/>
                <a:gd name="connsiteX28" fmla="*/ 448035 w 554117"/>
                <a:gd name="connsiteY28" fmla="*/ 7172 h 513052"/>
                <a:gd name="connsiteX29" fmla="*/ 442274 w 554117"/>
                <a:gd name="connsiteY29" fmla="*/ 439 h 513052"/>
                <a:gd name="connsiteX30" fmla="*/ 441856 w 554117"/>
                <a:gd name="connsiteY30" fmla="*/ 300 h 513052"/>
                <a:gd name="connsiteX31" fmla="*/ 430056 w 554117"/>
                <a:gd name="connsiteY31" fmla="*/ 10887 h 513052"/>
                <a:gd name="connsiteX32" fmla="*/ 420393 w 554117"/>
                <a:gd name="connsiteY32" fmla="*/ 9494 h 513052"/>
                <a:gd name="connsiteX33" fmla="*/ 411752 w 554117"/>
                <a:gd name="connsiteY33" fmla="*/ 12465 h 513052"/>
                <a:gd name="connsiteX34" fmla="*/ 410962 w 554117"/>
                <a:gd name="connsiteY34" fmla="*/ 17945 h 513052"/>
                <a:gd name="connsiteX35" fmla="*/ 406177 w 554117"/>
                <a:gd name="connsiteY35" fmla="*/ 21474 h 513052"/>
                <a:gd name="connsiteX36" fmla="*/ 391217 w 554117"/>
                <a:gd name="connsiteY36" fmla="*/ 27139 h 513052"/>
                <a:gd name="connsiteX37" fmla="*/ 386107 w 554117"/>
                <a:gd name="connsiteY37" fmla="*/ 36333 h 513052"/>
                <a:gd name="connsiteX38" fmla="*/ 383877 w 554117"/>
                <a:gd name="connsiteY38" fmla="*/ 50124 h 513052"/>
                <a:gd name="connsiteX39" fmla="*/ 375886 w 554117"/>
                <a:gd name="connsiteY39" fmla="*/ 34568 h 513052"/>
                <a:gd name="connsiteX40" fmla="*/ 380346 w 554117"/>
                <a:gd name="connsiteY40" fmla="*/ 25374 h 513052"/>
                <a:gd name="connsiteX41" fmla="*/ 391078 w 554117"/>
                <a:gd name="connsiteY41" fmla="*/ 16087 h 513052"/>
                <a:gd name="connsiteX42" fmla="*/ 376118 w 554117"/>
                <a:gd name="connsiteY42" fmla="*/ 21056 h 513052"/>
                <a:gd name="connsiteX43" fmla="*/ 362274 w 554117"/>
                <a:gd name="connsiteY43" fmla="*/ 20499 h 513052"/>
                <a:gd name="connsiteX44" fmla="*/ 367895 w 554117"/>
                <a:gd name="connsiteY44" fmla="*/ 34893 h 513052"/>
                <a:gd name="connsiteX45" fmla="*/ 361809 w 554117"/>
                <a:gd name="connsiteY45" fmla="*/ 39862 h 513052"/>
                <a:gd name="connsiteX46" fmla="*/ 345549 w 554117"/>
                <a:gd name="connsiteY46" fmla="*/ 40187 h 513052"/>
                <a:gd name="connsiteX47" fmla="*/ 357675 w 554117"/>
                <a:gd name="connsiteY47" fmla="*/ 52214 h 513052"/>
                <a:gd name="connsiteX48" fmla="*/ 347454 w 554117"/>
                <a:gd name="connsiteY48" fmla="*/ 50774 h 513052"/>
                <a:gd name="connsiteX49" fmla="*/ 335979 w 554117"/>
                <a:gd name="connsiteY49" fmla="*/ 43019 h 513052"/>
                <a:gd name="connsiteX50" fmla="*/ 328964 w 554117"/>
                <a:gd name="connsiteY50" fmla="*/ 47617 h 513052"/>
                <a:gd name="connsiteX51" fmla="*/ 334074 w 554117"/>
                <a:gd name="connsiteY51" fmla="*/ 63172 h 513052"/>
                <a:gd name="connsiteX52" fmla="*/ 326734 w 554117"/>
                <a:gd name="connsiteY52" fmla="*/ 58250 h 513052"/>
                <a:gd name="connsiteX53" fmla="*/ 314608 w 554117"/>
                <a:gd name="connsiteY53" fmla="*/ 57182 h 513052"/>
                <a:gd name="connsiteX54" fmla="*/ 313029 w 554117"/>
                <a:gd name="connsiteY54" fmla="*/ 43391 h 513052"/>
                <a:gd name="connsiteX55" fmla="*/ 298023 w 554117"/>
                <a:gd name="connsiteY55" fmla="*/ 44830 h 513052"/>
                <a:gd name="connsiteX56" fmla="*/ 291983 w 554117"/>
                <a:gd name="connsiteY56" fmla="*/ 51517 h 513052"/>
                <a:gd name="connsiteX57" fmla="*/ 290032 w 554117"/>
                <a:gd name="connsiteY57" fmla="*/ 62476 h 513052"/>
                <a:gd name="connsiteX58" fmla="*/ 283017 w 554117"/>
                <a:gd name="connsiteY58" fmla="*/ 68141 h 513052"/>
                <a:gd name="connsiteX59" fmla="*/ 275351 w 554117"/>
                <a:gd name="connsiteY59" fmla="*/ 69209 h 513052"/>
                <a:gd name="connsiteX60" fmla="*/ 260671 w 554117"/>
                <a:gd name="connsiteY60" fmla="*/ 71345 h 513052"/>
                <a:gd name="connsiteX61" fmla="*/ 249521 w 554117"/>
                <a:gd name="connsiteY61" fmla="*/ 87597 h 513052"/>
                <a:gd name="connsiteX62" fmla="*/ 263226 w 554117"/>
                <a:gd name="connsiteY62" fmla="*/ 86529 h 513052"/>
                <a:gd name="connsiteX63" fmla="*/ 266106 w 554117"/>
                <a:gd name="connsiteY63" fmla="*/ 94980 h 513052"/>
                <a:gd name="connsiteX64" fmla="*/ 264201 w 554117"/>
                <a:gd name="connsiteY64" fmla="*/ 101342 h 513052"/>
                <a:gd name="connsiteX65" fmla="*/ 253051 w 554117"/>
                <a:gd name="connsiteY65" fmla="*/ 102735 h 513052"/>
                <a:gd name="connsiteX66" fmla="*/ 243481 w 554117"/>
                <a:gd name="connsiteY66" fmla="*/ 96373 h 513052"/>
                <a:gd name="connsiteX67" fmla="*/ 231681 w 554117"/>
                <a:gd name="connsiteY67" fmla="*/ 102735 h 513052"/>
                <a:gd name="connsiteX68" fmla="*/ 236791 w 554117"/>
                <a:gd name="connsiteY68" fmla="*/ 82953 h 513052"/>
                <a:gd name="connsiteX69" fmla="*/ 224062 w 554117"/>
                <a:gd name="connsiteY69" fmla="*/ 94237 h 513052"/>
                <a:gd name="connsiteX70" fmla="*/ 210357 w 554117"/>
                <a:gd name="connsiteY70" fmla="*/ 105892 h 513052"/>
                <a:gd name="connsiteX71" fmla="*/ 201112 w 554117"/>
                <a:gd name="connsiteY71" fmla="*/ 118615 h 513052"/>
                <a:gd name="connsiteX72" fmla="*/ 174631 w 554117"/>
                <a:gd name="connsiteY72" fmla="*/ 134867 h 513052"/>
                <a:gd name="connsiteX73" fmla="*/ 181971 w 554117"/>
                <a:gd name="connsiteY73" fmla="*/ 135564 h 513052"/>
                <a:gd name="connsiteX74" fmla="*/ 197906 w 554117"/>
                <a:gd name="connsiteY74" fmla="*/ 126741 h 513052"/>
                <a:gd name="connsiteX75" fmla="*/ 218951 w 554117"/>
                <a:gd name="connsiteY75" fmla="*/ 118244 h 513052"/>
                <a:gd name="connsiteX76" fmla="*/ 231681 w 554117"/>
                <a:gd name="connsiteY76" fmla="*/ 116154 h 513052"/>
                <a:gd name="connsiteX77" fmla="*/ 245061 w 554117"/>
                <a:gd name="connsiteY77" fmla="*/ 115086 h 513052"/>
                <a:gd name="connsiteX78" fmla="*/ 243156 w 554117"/>
                <a:gd name="connsiteY78" fmla="*/ 127809 h 513052"/>
                <a:gd name="connsiteX79" fmla="*/ 237116 w 554117"/>
                <a:gd name="connsiteY79" fmla="*/ 131663 h 513052"/>
                <a:gd name="connsiteX80" fmla="*/ 228475 w 554117"/>
                <a:gd name="connsiteY80" fmla="*/ 127066 h 513052"/>
                <a:gd name="connsiteX81" fmla="*/ 218301 w 554117"/>
                <a:gd name="connsiteY81" fmla="*/ 136957 h 513052"/>
                <a:gd name="connsiteX82" fmla="*/ 209706 w 554117"/>
                <a:gd name="connsiteY82" fmla="*/ 154277 h 513052"/>
                <a:gd name="connsiteX83" fmla="*/ 201762 w 554117"/>
                <a:gd name="connsiteY83" fmla="*/ 161707 h 513052"/>
                <a:gd name="connsiteX84" fmla="*/ 181971 w 554117"/>
                <a:gd name="connsiteY84" fmla="*/ 191704 h 513052"/>
                <a:gd name="connsiteX85" fmla="*/ 178440 w 554117"/>
                <a:gd name="connsiteY85" fmla="*/ 209395 h 513052"/>
                <a:gd name="connsiteX86" fmla="*/ 161529 w 554117"/>
                <a:gd name="connsiteY86" fmla="*/ 212553 h 513052"/>
                <a:gd name="connsiteX87" fmla="*/ 158649 w 554117"/>
                <a:gd name="connsiteY87" fmla="*/ 234470 h 513052"/>
                <a:gd name="connsiteX88" fmla="*/ 158649 w 554117"/>
                <a:gd name="connsiteY88" fmla="*/ 250722 h 513052"/>
                <a:gd name="connsiteX89" fmla="*/ 145269 w 554117"/>
                <a:gd name="connsiteY89" fmla="*/ 252812 h 513052"/>
                <a:gd name="connsiteX90" fmla="*/ 130263 w 554117"/>
                <a:gd name="connsiteY90" fmla="*/ 258105 h 513052"/>
                <a:gd name="connsiteX91" fmla="*/ 142389 w 554117"/>
                <a:gd name="connsiteY91" fmla="*/ 272918 h 513052"/>
                <a:gd name="connsiteX92" fmla="*/ 135699 w 554117"/>
                <a:gd name="connsiteY92" fmla="*/ 276075 h 513052"/>
                <a:gd name="connsiteX93" fmla="*/ 127662 w 554117"/>
                <a:gd name="connsiteY93" fmla="*/ 277468 h 513052"/>
                <a:gd name="connsiteX94" fmla="*/ 126686 w 554117"/>
                <a:gd name="connsiteY94" fmla="*/ 284434 h 513052"/>
                <a:gd name="connsiteX95" fmla="*/ 78230 w 554117"/>
                <a:gd name="connsiteY95" fmla="*/ 330776 h 513052"/>
                <a:gd name="connsiteX96" fmla="*/ 61924 w 554117"/>
                <a:gd name="connsiteY96" fmla="*/ 332261 h 513052"/>
                <a:gd name="connsiteX97" fmla="*/ 54909 w 554117"/>
                <a:gd name="connsiteY97" fmla="*/ 333794 h 513052"/>
                <a:gd name="connsiteX98" fmla="*/ 49009 w 554117"/>
                <a:gd name="connsiteY98" fmla="*/ 340805 h 513052"/>
                <a:gd name="connsiteX99" fmla="*/ 49334 w 554117"/>
                <a:gd name="connsiteY99" fmla="*/ 342616 h 513052"/>
                <a:gd name="connsiteX100" fmla="*/ 57232 w 554117"/>
                <a:gd name="connsiteY100" fmla="*/ 347028 h 513052"/>
                <a:gd name="connsiteX101" fmla="*/ 49520 w 554117"/>
                <a:gd name="connsiteY101" fmla="*/ 349303 h 513052"/>
                <a:gd name="connsiteX102" fmla="*/ 43016 w 554117"/>
                <a:gd name="connsiteY102" fmla="*/ 361933 h 513052"/>
                <a:gd name="connsiteX103" fmla="*/ 15373 w 554117"/>
                <a:gd name="connsiteY103" fmla="*/ 376978 h 513052"/>
                <a:gd name="connsiteX104" fmla="*/ 18486 w 554117"/>
                <a:gd name="connsiteY104" fmla="*/ 395784 h 513052"/>
                <a:gd name="connsiteX105" fmla="*/ 9055 w 554117"/>
                <a:gd name="connsiteY105" fmla="*/ 419884 h 513052"/>
                <a:gd name="connsiteX106" fmla="*/ 1900 w 554117"/>
                <a:gd name="connsiteY106" fmla="*/ 426849 h 513052"/>
                <a:gd name="connsiteX107" fmla="*/ 1436 w 554117"/>
                <a:gd name="connsiteY107" fmla="*/ 435347 h 513052"/>
                <a:gd name="connsiteX108" fmla="*/ 12585 w 554117"/>
                <a:gd name="connsiteY108" fmla="*/ 439201 h 513052"/>
                <a:gd name="connsiteX109" fmla="*/ 27870 w 554117"/>
                <a:gd name="connsiteY109" fmla="*/ 432839 h 513052"/>
                <a:gd name="connsiteX110" fmla="*/ 31680 w 554117"/>
                <a:gd name="connsiteY110" fmla="*/ 440269 h 513052"/>
                <a:gd name="connsiteX111" fmla="*/ 20530 w 554117"/>
                <a:gd name="connsiteY111" fmla="*/ 450159 h 513052"/>
                <a:gd name="connsiteX112" fmla="*/ 11935 w 554117"/>
                <a:gd name="connsiteY112" fmla="*/ 447698 h 513052"/>
                <a:gd name="connsiteX113" fmla="*/ 4595 w 554117"/>
                <a:gd name="connsiteY113" fmla="*/ 454756 h 513052"/>
                <a:gd name="connsiteX114" fmla="*/ 3015 w 554117"/>
                <a:gd name="connsiteY114" fmla="*/ 468872 h 513052"/>
                <a:gd name="connsiteX115" fmla="*/ 15141 w 554117"/>
                <a:gd name="connsiteY115" fmla="*/ 467108 h 513052"/>
                <a:gd name="connsiteX116" fmla="*/ 26616 w 554117"/>
                <a:gd name="connsiteY116" fmla="*/ 468547 h 513052"/>
                <a:gd name="connsiteX117" fmla="*/ 21227 w 554117"/>
                <a:gd name="connsiteY117" fmla="*/ 478067 h 513052"/>
                <a:gd name="connsiteX118" fmla="*/ 13840 w 554117"/>
                <a:gd name="connsiteY118" fmla="*/ 483685 h 513052"/>
                <a:gd name="connsiteX119" fmla="*/ 19275 w 554117"/>
                <a:gd name="connsiteY119" fmla="*/ 489257 h 513052"/>
                <a:gd name="connsiteX120" fmla="*/ 19415 w 554117"/>
                <a:gd name="connsiteY120" fmla="*/ 489257 h 513052"/>
                <a:gd name="connsiteX121" fmla="*/ 20019 w 554117"/>
                <a:gd name="connsiteY121" fmla="*/ 489629 h 513052"/>
                <a:gd name="connsiteX122" fmla="*/ 25361 w 554117"/>
                <a:gd name="connsiteY122" fmla="*/ 492693 h 513052"/>
                <a:gd name="connsiteX123" fmla="*/ 40693 w 554117"/>
                <a:gd name="connsiteY123" fmla="*/ 503745 h 513052"/>
                <a:gd name="connsiteX124" fmla="*/ 45245 w 554117"/>
                <a:gd name="connsiteY124" fmla="*/ 510478 h 513052"/>
                <a:gd name="connsiteX125" fmla="*/ 60112 w 554117"/>
                <a:gd name="connsiteY125" fmla="*/ 512707 h 513052"/>
                <a:gd name="connsiteX126" fmla="*/ 100298 w 554117"/>
                <a:gd name="connsiteY126" fmla="*/ 479877 h 513052"/>
                <a:gd name="connsiteX127" fmla="*/ 115304 w 554117"/>
                <a:gd name="connsiteY127" fmla="*/ 476348 h 513052"/>
                <a:gd name="connsiteX128" fmla="*/ 120739 w 554117"/>
                <a:gd name="connsiteY128" fmla="*/ 459075 h 513052"/>
                <a:gd name="connsiteX129" fmla="*/ 129334 w 554117"/>
                <a:gd name="connsiteY129" fmla="*/ 472123 h 513052"/>
                <a:gd name="connsiteX130" fmla="*/ 134445 w 554117"/>
                <a:gd name="connsiteY130" fmla="*/ 482942 h 513052"/>
                <a:gd name="connsiteX131" fmla="*/ 141181 w 554117"/>
                <a:gd name="connsiteY131" fmla="*/ 484010 h 513052"/>
                <a:gd name="connsiteX132" fmla="*/ 146291 w 554117"/>
                <a:gd name="connsiteY132" fmla="*/ 468129 h 513052"/>
                <a:gd name="connsiteX133" fmla="*/ 149357 w 554117"/>
                <a:gd name="connsiteY133" fmla="*/ 448813 h 513052"/>
                <a:gd name="connsiteX134" fmla="*/ 163713 w 554117"/>
                <a:gd name="connsiteY134" fmla="*/ 443148 h 513052"/>
                <a:gd name="connsiteX135" fmla="*/ 162691 w 554117"/>
                <a:gd name="connsiteY135" fmla="*/ 420441 h 513052"/>
                <a:gd name="connsiteX136" fmla="*/ 161669 w 554117"/>
                <a:gd name="connsiteY136" fmla="*/ 409111 h 513052"/>
                <a:gd name="connsiteX137" fmla="*/ 169892 w 554117"/>
                <a:gd name="connsiteY137" fmla="*/ 396620 h 513052"/>
                <a:gd name="connsiteX138" fmla="*/ 155536 w 554117"/>
                <a:gd name="connsiteY138" fmla="*/ 379625 h 513052"/>
                <a:gd name="connsiteX139" fmla="*/ 156559 w 554117"/>
                <a:gd name="connsiteY139" fmla="*/ 356918 h 513052"/>
                <a:gd name="connsiteX140" fmla="*/ 156559 w 554117"/>
                <a:gd name="connsiteY140" fmla="*/ 333097 h 513052"/>
                <a:gd name="connsiteX141" fmla="*/ 158603 w 554117"/>
                <a:gd name="connsiteY141" fmla="*/ 309276 h 513052"/>
                <a:gd name="connsiteX142" fmla="*/ 180112 w 554117"/>
                <a:gd name="connsiteY142" fmla="*/ 293396 h 513052"/>
                <a:gd name="connsiteX143" fmla="*/ 194468 w 554117"/>
                <a:gd name="connsiteY143" fmla="*/ 292235 h 513052"/>
                <a:gd name="connsiteX144" fmla="*/ 194468 w 554117"/>
                <a:gd name="connsiteY144" fmla="*/ 278629 h 513052"/>
                <a:gd name="connsiteX145" fmla="*/ 189358 w 554117"/>
                <a:gd name="connsiteY145" fmla="*/ 266138 h 513052"/>
                <a:gd name="connsiteX146" fmla="*/ 203713 w 554117"/>
                <a:gd name="connsiteY146" fmla="*/ 235538 h 513052"/>
                <a:gd name="connsiteX147" fmla="*/ 204735 w 554117"/>
                <a:gd name="connsiteY147" fmla="*/ 213946 h 513052"/>
                <a:gd name="connsiteX148" fmla="*/ 221135 w 554117"/>
                <a:gd name="connsiteY148" fmla="*/ 209442 h 513052"/>
                <a:gd name="connsiteX149" fmla="*/ 225223 w 554117"/>
                <a:gd name="connsiteY149" fmla="*/ 195836 h 513052"/>
                <a:gd name="connsiteX150" fmla="*/ 236512 w 554117"/>
                <a:gd name="connsiteY150" fmla="*/ 177680 h 513052"/>
                <a:gd name="connsiteX151" fmla="*/ 241623 w 554117"/>
                <a:gd name="connsiteY151" fmla="*/ 165189 h 513052"/>
                <a:gd name="connsiteX152" fmla="*/ 247755 w 554117"/>
                <a:gd name="connsiteY152" fmla="*/ 148148 h 513052"/>
                <a:gd name="connsiteX153" fmla="*/ 264155 w 554117"/>
                <a:gd name="connsiteY153" fmla="*/ 134542 h 513052"/>
                <a:gd name="connsiteX154" fmla="*/ 280555 w 554117"/>
                <a:gd name="connsiteY154" fmla="*/ 127763 h 513052"/>
                <a:gd name="connsiteX155" fmla="*/ 285665 w 554117"/>
                <a:gd name="connsiteY155" fmla="*/ 110768 h 513052"/>
                <a:gd name="connsiteX156" fmla="*/ 308197 w 554117"/>
                <a:gd name="connsiteY156" fmla="*/ 115318 h 513052"/>
                <a:gd name="connsiteX157" fmla="*/ 322552 w 554117"/>
                <a:gd name="connsiteY157" fmla="*/ 110768 h 513052"/>
                <a:gd name="connsiteX158" fmla="*/ 334864 w 554117"/>
                <a:gd name="connsiteY158" fmla="*/ 92612 h 513052"/>
                <a:gd name="connsiteX159" fmla="*/ 336954 w 554117"/>
                <a:gd name="connsiteY159" fmla="*/ 94051 h 513052"/>
                <a:gd name="connsiteX160" fmla="*/ 351263 w 554117"/>
                <a:gd name="connsiteY160" fmla="*/ 82396 h 513052"/>
                <a:gd name="connsiteX161" fmla="*/ 374818 w 554117"/>
                <a:gd name="connsiteY161" fmla="*/ 101667 h 513052"/>
                <a:gd name="connsiteX162" fmla="*/ 398372 w 554117"/>
                <a:gd name="connsiteY162" fmla="*/ 102781 h 513052"/>
                <a:gd name="connsiteX163" fmla="*/ 414771 w 554117"/>
                <a:gd name="connsiteY163" fmla="*/ 103895 h 513052"/>
                <a:gd name="connsiteX164" fmla="*/ 427083 w 554117"/>
                <a:gd name="connsiteY164" fmla="*/ 107285 h 513052"/>
                <a:gd name="connsiteX165" fmla="*/ 436281 w 554117"/>
                <a:gd name="connsiteY165" fmla="*/ 93680 h 513052"/>
                <a:gd name="connsiteX166" fmla="*/ 440370 w 554117"/>
                <a:gd name="connsiteY166" fmla="*/ 73248 h 513052"/>
                <a:gd name="connsiteX167" fmla="*/ 453656 w 554117"/>
                <a:gd name="connsiteY167" fmla="*/ 57368 h 513052"/>
                <a:gd name="connsiteX168" fmla="*/ 475166 w 554117"/>
                <a:gd name="connsiteY168" fmla="*/ 51703 h 513052"/>
                <a:gd name="connsiteX169" fmla="*/ 492588 w 554117"/>
                <a:gd name="connsiteY169" fmla="*/ 51703 h 513052"/>
                <a:gd name="connsiteX170" fmla="*/ 515120 w 554117"/>
                <a:gd name="connsiteY170" fmla="*/ 68744 h 513052"/>
                <a:gd name="connsiteX171" fmla="*/ 515120 w 554117"/>
                <a:gd name="connsiteY171" fmla="*/ 82071 h 513052"/>
                <a:gd name="connsiteX172" fmla="*/ 525016 w 554117"/>
                <a:gd name="connsiteY172" fmla="*/ 76638 h 513052"/>
                <a:gd name="connsiteX173" fmla="*/ 542856 w 554117"/>
                <a:gd name="connsiteY173" fmla="*/ 67444 h 513052"/>
                <a:gd name="connsiteX174" fmla="*/ 553820 w 554117"/>
                <a:gd name="connsiteY174" fmla="*/ 58900 h 513052"/>
                <a:gd name="connsiteX175" fmla="*/ 537745 w 554117"/>
                <a:gd name="connsiteY175" fmla="*/ 59690 h 513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554117" h="513052">
                  <a:moveTo>
                    <a:pt x="537745" y="59643"/>
                  </a:moveTo>
                  <a:cubicBezTo>
                    <a:pt x="536444" y="64937"/>
                    <a:pt x="527850" y="63869"/>
                    <a:pt x="528175" y="58575"/>
                  </a:cubicBezTo>
                  <a:cubicBezTo>
                    <a:pt x="528500" y="53282"/>
                    <a:pt x="514795" y="49056"/>
                    <a:pt x="514145" y="46549"/>
                  </a:cubicBezTo>
                  <a:cubicBezTo>
                    <a:pt x="513494" y="44087"/>
                    <a:pt x="519905" y="44413"/>
                    <a:pt x="525016" y="47617"/>
                  </a:cubicBezTo>
                  <a:cubicBezTo>
                    <a:pt x="530126" y="50820"/>
                    <a:pt x="533611" y="48685"/>
                    <a:pt x="539371" y="42694"/>
                  </a:cubicBezTo>
                  <a:cubicBezTo>
                    <a:pt x="545132" y="36704"/>
                    <a:pt x="553076" y="41626"/>
                    <a:pt x="554052" y="36333"/>
                  </a:cubicBezTo>
                  <a:cubicBezTo>
                    <a:pt x="555028" y="31039"/>
                    <a:pt x="544807" y="27510"/>
                    <a:pt x="542902" y="24306"/>
                  </a:cubicBezTo>
                  <a:cubicBezTo>
                    <a:pt x="540997" y="21102"/>
                    <a:pt x="533657" y="16877"/>
                    <a:pt x="526642" y="18316"/>
                  </a:cubicBezTo>
                  <a:cubicBezTo>
                    <a:pt x="519627" y="19709"/>
                    <a:pt x="519301" y="16552"/>
                    <a:pt x="515167" y="12326"/>
                  </a:cubicBezTo>
                  <a:cubicBezTo>
                    <a:pt x="514145" y="11258"/>
                    <a:pt x="512565" y="10933"/>
                    <a:pt x="510800" y="11119"/>
                  </a:cubicBezTo>
                  <a:cubicBezTo>
                    <a:pt x="508616" y="12558"/>
                    <a:pt x="506247" y="13719"/>
                    <a:pt x="503738" y="14416"/>
                  </a:cubicBezTo>
                  <a:cubicBezTo>
                    <a:pt x="500672" y="16970"/>
                    <a:pt x="498256" y="20731"/>
                    <a:pt x="498256" y="25003"/>
                  </a:cubicBezTo>
                  <a:cubicBezTo>
                    <a:pt x="498256" y="34893"/>
                    <a:pt x="490265" y="32432"/>
                    <a:pt x="493146" y="27139"/>
                  </a:cubicBezTo>
                  <a:cubicBezTo>
                    <a:pt x="495608" y="22588"/>
                    <a:pt x="491055" y="17295"/>
                    <a:pt x="493750" y="14741"/>
                  </a:cubicBezTo>
                  <a:cubicBezTo>
                    <a:pt x="493099" y="14555"/>
                    <a:pt x="492402" y="14369"/>
                    <a:pt x="491752" y="14091"/>
                  </a:cubicBezTo>
                  <a:cubicBezTo>
                    <a:pt x="489197" y="13069"/>
                    <a:pt x="486688" y="12280"/>
                    <a:pt x="483994" y="11583"/>
                  </a:cubicBezTo>
                  <a:cubicBezTo>
                    <a:pt x="483204" y="11444"/>
                    <a:pt x="482832" y="11351"/>
                    <a:pt x="482879" y="11305"/>
                  </a:cubicBezTo>
                  <a:cubicBezTo>
                    <a:pt x="482182" y="11258"/>
                    <a:pt x="481485" y="11165"/>
                    <a:pt x="480834" y="11165"/>
                  </a:cubicBezTo>
                  <a:cubicBezTo>
                    <a:pt x="478093" y="11026"/>
                    <a:pt x="475352" y="11165"/>
                    <a:pt x="472611" y="11258"/>
                  </a:cubicBezTo>
                  <a:cubicBezTo>
                    <a:pt x="472658" y="12233"/>
                    <a:pt x="472937" y="13069"/>
                    <a:pt x="473448" y="13673"/>
                  </a:cubicBezTo>
                  <a:cubicBezTo>
                    <a:pt x="476328" y="17202"/>
                    <a:pt x="465457" y="32386"/>
                    <a:pt x="460672" y="32386"/>
                  </a:cubicBezTo>
                  <a:cubicBezTo>
                    <a:pt x="455887" y="32386"/>
                    <a:pt x="461322" y="19338"/>
                    <a:pt x="460997" y="12280"/>
                  </a:cubicBezTo>
                  <a:cubicBezTo>
                    <a:pt x="460997" y="12187"/>
                    <a:pt x="460997" y="12187"/>
                    <a:pt x="460997" y="12094"/>
                  </a:cubicBezTo>
                  <a:cubicBezTo>
                    <a:pt x="459046" y="11908"/>
                    <a:pt x="457187" y="11630"/>
                    <a:pt x="455422" y="11072"/>
                  </a:cubicBezTo>
                  <a:cubicBezTo>
                    <a:pt x="453331" y="13023"/>
                    <a:pt x="450637" y="16180"/>
                    <a:pt x="447292" y="20406"/>
                  </a:cubicBezTo>
                  <a:cubicBezTo>
                    <a:pt x="438372" y="31689"/>
                    <a:pt x="431682" y="41952"/>
                    <a:pt x="426572" y="43019"/>
                  </a:cubicBezTo>
                  <a:cubicBezTo>
                    <a:pt x="421461" y="44087"/>
                    <a:pt x="422112" y="32757"/>
                    <a:pt x="430381" y="27835"/>
                  </a:cubicBezTo>
                  <a:cubicBezTo>
                    <a:pt x="438651" y="22867"/>
                    <a:pt x="438976" y="9447"/>
                    <a:pt x="444411" y="9447"/>
                  </a:cubicBezTo>
                  <a:cubicBezTo>
                    <a:pt x="446409" y="9447"/>
                    <a:pt x="447617" y="8472"/>
                    <a:pt x="448035" y="7172"/>
                  </a:cubicBezTo>
                  <a:cubicBezTo>
                    <a:pt x="445759" y="5361"/>
                    <a:pt x="443807" y="3132"/>
                    <a:pt x="442274" y="439"/>
                  </a:cubicBezTo>
                  <a:cubicBezTo>
                    <a:pt x="442135" y="439"/>
                    <a:pt x="441996" y="300"/>
                    <a:pt x="441856" y="300"/>
                  </a:cubicBezTo>
                  <a:cubicBezTo>
                    <a:pt x="433866" y="-1836"/>
                    <a:pt x="432611" y="8054"/>
                    <a:pt x="430056" y="10887"/>
                  </a:cubicBezTo>
                  <a:cubicBezTo>
                    <a:pt x="428662" y="12419"/>
                    <a:pt x="424156" y="10794"/>
                    <a:pt x="420393" y="9494"/>
                  </a:cubicBezTo>
                  <a:cubicBezTo>
                    <a:pt x="417745" y="11072"/>
                    <a:pt x="414771" y="12140"/>
                    <a:pt x="411752" y="12465"/>
                  </a:cubicBezTo>
                  <a:cubicBezTo>
                    <a:pt x="410358" y="13719"/>
                    <a:pt x="409382" y="15298"/>
                    <a:pt x="410962" y="17945"/>
                  </a:cubicBezTo>
                  <a:cubicBezTo>
                    <a:pt x="414167" y="23238"/>
                    <a:pt x="409382" y="27835"/>
                    <a:pt x="406177" y="21474"/>
                  </a:cubicBezTo>
                  <a:cubicBezTo>
                    <a:pt x="402971" y="15112"/>
                    <a:pt x="395027" y="20034"/>
                    <a:pt x="391217" y="27139"/>
                  </a:cubicBezTo>
                  <a:cubicBezTo>
                    <a:pt x="387361" y="34197"/>
                    <a:pt x="382297" y="33825"/>
                    <a:pt x="386107" y="36333"/>
                  </a:cubicBezTo>
                  <a:cubicBezTo>
                    <a:pt x="389916" y="38794"/>
                    <a:pt x="389638" y="48359"/>
                    <a:pt x="383877" y="50124"/>
                  </a:cubicBezTo>
                  <a:cubicBezTo>
                    <a:pt x="378116" y="51889"/>
                    <a:pt x="380346" y="32804"/>
                    <a:pt x="375886" y="34568"/>
                  </a:cubicBezTo>
                  <a:cubicBezTo>
                    <a:pt x="371426" y="36333"/>
                    <a:pt x="374307" y="25374"/>
                    <a:pt x="380346" y="25374"/>
                  </a:cubicBezTo>
                  <a:cubicBezTo>
                    <a:pt x="384852" y="25374"/>
                    <a:pt x="389359" y="19895"/>
                    <a:pt x="391078" y="16087"/>
                  </a:cubicBezTo>
                  <a:cubicBezTo>
                    <a:pt x="386107" y="17852"/>
                    <a:pt x="381229" y="19709"/>
                    <a:pt x="376118" y="21056"/>
                  </a:cubicBezTo>
                  <a:cubicBezTo>
                    <a:pt x="371426" y="22310"/>
                    <a:pt x="366641" y="21985"/>
                    <a:pt x="362274" y="20499"/>
                  </a:cubicBezTo>
                  <a:cubicBezTo>
                    <a:pt x="359347" y="23563"/>
                    <a:pt x="361159" y="30621"/>
                    <a:pt x="367895" y="34893"/>
                  </a:cubicBezTo>
                  <a:cubicBezTo>
                    <a:pt x="376815" y="40558"/>
                    <a:pt x="366316" y="44087"/>
                    <a:pt x="361809" y="39862"/>
                  </a:cubicBezTo>
                  <a:cubicBezTo>
                    <a:pt x="357349" y="35636"/>
                    <a:pt x="350334" y="37726"/>
                    <a:pt x="345549" y="40187"/>
                  </a:cubicBezTo>
                  <a:cubicBezTo>
                    <a:pt x="340764" y="42648"/>
                    <a:pt x="357024" y="49010"/>
                    <a:pt x="357675" y="52214"/>
                  </a:cubicBezTo>
                  <a:cubicBezTo>
                    <a:pt x="358325" y="55371"/>
                    <a:pt x="349359" y="48313"/>
                    <a:pt x="347454" y="50774"/>
                  </a:cubicBezTo>
                  <a:cubicBezTo>
                    <a:pt x="345549" y="53282"/>
                    <a:pt x="336629" y="49010"/>
                    <a:pt x="335979" y="43019"/>
                  </a:cubicBezTo>
                  <a:cubicBezTo>
                    <a:pt x="335328" y="37029"/>
                    <a:pt x="320973" y="45481"/>
                    <a:pt x="328964" y="47617"/>
                  </a:cubicBezTo>
                  <a:cubicBezTo>
                    <a:pt x="336954" y="49753"/>
                    <a:pt x="334074" y="55418"/>
                    <a:pt x="334074" y="63172"/>
                  </a:cubicBezTo>
                  <a:cubicBezTo>
                    <a:pt x="334074" y="70927"/>
                    <a:pt x="324829" y="64937"/>
                    <a:pt x="326734" y="58250"/>
                  </a:cubicBezTo>
                  <a:cubicBezTo>
                    <a:pt x="328638" y="51563"/>
                    <a:pt x="320973" y="52957"/>
                    <a:pt x="314608" y="57182"/>
                  </a:cubicBezTo>
                  <a:cubicBezTo>
                    <a:pt x="308243" y="61408"/>
                    <a:pt x="315584" y="49428"/>
                    <a:pt x="313029" y="43391"/>
                  </a:cubicBezTo>
                  <a:cubicBezTo>
                    <a:pt x="310474" y="37401"/>
                    <a:pt x="304713" y="43391"/>
                    <a:pt x="298023" y="44830"/>
                  </a:cubicBezTo>
                  <a:cubicBezTo>
                    <a:pt x="291333" y="46223"/>
                    <a:pt x="287848" y="46595"/>
                    <a:pt x="291983" y="51517"/>
                  </a:cubicBezTo>
                  <a:cubicBezTo>
                    <a:pt x="296118" y="56439"/>
                    <a:pt x="295514" y="63497"/>
                    <a:pt x="290032" y="62476"/>
                  </a:cubicBezTo>
                  <a:cubicBezTo>
                    <a:pt x="284596" y="61408"/>
                    <a:pt x="282413" y="62476"/>
                    <a:pt x="283017" y="68141"/>
                  </a:cubicBezTo>
                  <a:cubicBezTo>
                    <a:pt x="283667" y="73759"/>
                    <a:pt x="276002" y="74131"/>
                    <a:pt x="275351" y="69209"/>
                  </a:cubicBezTo>
                  <a:cubicBezTo>
                    <a:pt x="274701" y="64287"/>
                    <a:pt x="263876" y="65680"/>
                    <a:pt x="260671" y="71345"/>
                  </a:cubicBezTo>
                  <a:cubicBezTo>
                    <a:pt x="257465" y="76963"/>
                    <a:pt x="248545" y="81235"/>
                    <a:pt x="249521" y="87597"/>
                  </a:cubicBezTo>
                  <a:cubicBezTo>
                    <a:pt x="250450" y="93958"/>
                    <a:pt x="257511" y="84393"/>
                    <a:pt x="263226" y="86529"/>
                  </a:cubicBezTo>
                  <a:cubicBezTo>
                    <a:pt x="268986" y="88665"/>
                    <a:pt x="262900" y="91822"/>
                    <a:pt x="266106" y="94980"/>
                  </a:cubicBezTo>
                  <a:cubicBezTo>
                    <a:pt x="269265" y="98184"/>
                    <a:pt x="268661" y="105939"/>
                    <a:pt x="264201" y="101342"/>
                  </a:cubicBezTo>
                  <a:cubicBezTo>
                    <a:pt x="259741" y="96744"/>
                    <a:pt x="253981" y="95305"/>
                    <a:pt x="253051" y="102735"/>
                  </a:cubicBezTo>
                  <a:cubicBezTo>
                    <a:pt x="252076" y="110164"/>
                    <a:pt x="247337" y="101667"/>
                    <a:pt x="243481" y="96373"/>
                  </a:cubicBezTo>
                  <a:cubicBezTo>
                    <a:pt x="239672" y="91079"/>
                    <a:pt x="235816" y="106264"/>
                    <a:pt x="231681" y="102735"/>
                  </a:cubicBezTo>
                  <a:cubicBezTo>
                    <a:pt x="227546" y="99205"/>
                    <a:pt x="239950" y="88247"/>
                    <a:pt x="236791" y="82953"/>
                  </a:cubicBezTo>
                  <a:cubicBezTo>
                    <a:pt x="233586" y="77660"/>
                    <a:pt x="231356" y="86111"/>
                    <a:pt x="224062" y="94237"/>
                  </a:cubicBezTo>
                  <a:cubicBezTo>
                    <a:pt x="216721" y="102363"/>
                    <a:pt x="206872" y="101992"/>
                    <a:pt x="210357" y="105892"/>
                  </a:cubicBezTo>
                  <a:cubicBezTo>
                    <a:pt x="213841" y="109793"/>
                    <a:pt x="203016" y="111882"/>
                    <a:pt x="201112" y="118615"/>
                  </a:cubicBezTo>
                  <a:cubicBezTo>
                    <a:pt x="199207" y="125348"/>
                    <a:pt x="184201" y="127809"/>
                    <a:pt x="174631" y="134867"/>
                  </a:cubicBezTo>
                  <a:cubicBezTo>
                    <a:pt x="165060" y="141925"/>
                    <a:pt x="176535" y="142297"/>
                    <a:pt x="181971" y="135564"/>
                  </a:cubicBezTo>
                  <a:cubicBezTo>
                    <a:pt x="187406" y="128831"/>
                    <a:pt x="189311" y="132731"/>
                    <a:pt x="197906" y="126741"/>
                  </a:cubicBezTo>
                  <a:cubicBezTo>
                    <a:pt x="206547" y="120751"/>
                    <a:pt x="215746" y="115783"/>
                    <a:pt x="218951" y="118244"/>
                  </a:cubicBezTo>
                  <a:cubicBezTo>
                    <a:pt x="222111" y="120705"/>
                    <a:pt x="227546" y="122516"/>
                    <a:pt x="231681" y="116154"/>
                  </a:cubicBezTo>
                  <a:cubicBezTo>
                    <a:pt x="235816" y="109793"/>
                    <a:pt x="240926" y="111186"/>
                    <a:pt x="245061" y="115086"/>
                  </a:cubicBezTo>
                  <a:cubicBezTo>
                    <a:pt x="249196" y="118987"/>
                    <a:pt x="238046" y="122144"/>
                    <a:pt x="243156" y="127809"/>
                  </a:cubicBezTo>
                  <a:cubicBezTo>
                    <a:pt x="248266" y="133474"/>
                    <a:pt x="237116" y="136632"/>
                    <a:pt x="237116" y="131663"/>
                  </a:cubicBezTo>
                  <a:cubicBezTo>
                    <a:pt x="237116" y="126695"/>
                    <a:pt x="230752" y="122469"/>
                    <a:pt x="228475" y="127066"/>
                  </a:cubicBezTo>
                  <a:cubicBezTo>
                    <a:pt x="226245" y="131663"/>
                    <a:pt x="222436" y="136585"/>
                    <a:pt x="218301" y="136957"/>
                  </a:cubicBezTo>
                  <a:cubicBezTo>
                    <a:pt x="214166" y="137328"/>
                    <a:pt x="209706" y="145780"/>
                    <a:pt x="209706" y="154277"/>
                  </a:cubicBezTo>
                  <a:cubicBezTo>
                    <a:pt x="209706" y="162775"/>
                    <a:pt x="202366" y="154277"/>
                    <a:pt x="201762" y="161707"/>
                  </a:cubicBezTo>
                  <a:cubicBezTo>
                    <a:pt x="201112" y="169136"/>
                    <a:pt x="190891" y="182184"/>
                    <a:pt x="181971" y="191704"/>
                  </a:cubicBezTo>
                  <a:cubicBezTo>
                    <a:pt x="173051" y="201223"/>
                    <a:pt x="181320" y="203359"/>
                    <a:pt x="178440" y="209395"/>
                  </a:cubicBezTo>
                  <a:cubicBezTo>
                    <a:pt x="175560" y="215385"/>
                    <a:pt x="165060" y="210092"/>
                    <a:pt x="161529" y="212553"/>
                  </a:cubicBezTo>
                  <a:cubicBezTo>
                    <a:pt x="157999" y="215060"/>
                    <a:pt x="163434" y="229873"/>
                    <a:pt x="158649" y="234470"/>
                  </a:cubicBezTo>
                  <a:cubicBezTo>
                    <a:pt x="153864" y="239067"/>
                    <a:pt x="158649" y="245428"/>
                    <a:pt x="158649" y="250722"/>
                  </a:cubicBezTo>
                  <a:cubicBezTo>
                    <a:pt x="158649" y="256016"/>
                    <a:pt x="146198" y="247518"/>
                    <a:pt x="145269" y="252812"/>
                  </a:cubicBezTo>
                  <a:cubicBezTo>
                    <a:pt x="144294" y="258105"/>
                    <a:pt x="133469" y="256712"/>
                    <a:pt x="130263" y="258105"/>
                  </a:cubicBezTo>
                  <a:cubicBezTo>
                    <a:pt x="127058" y="259498"/>
                    <a:pt x="136628" y="267996"/>
                    <a:pt x="142389" y="272918"/>
                  </a:cubicBezTo>
                  <a:cubicBezTo>
                    <a:pt x="148103" y="277886"/>
                    <a:pt x="136953" y="281740"/>
                    <a:pt x="135699" y="276075"/>
                  </a:cubicBezTo>
                  <a:cubicBezTo>
                    <a:pt x="134956" y="272825"/>
                    <a:pt x="131982" y="274497"/>
                    <a:pt x="127662" y="277468"/>
                  </a:cubicBezTo>
                  <a:cubicBezTo>
                    <a:pt x="127801" y="279883"/>
                    <a:pt x="127522" y="282298"/>
                    <a:pt x="126686" y="284434"/>
                  </a:cubicBezTo>
                  <a:cubicBezTo>
                    <a:pt x="117441" y="307697"/>
                    <a:pt x="101041" y="320699"/>
                    <a:pt x="78230" y="330776"/>
                  </a:cubicBezTo>
                  <a:cubicBezTo>
                    <a:pt x="72470" y="333329"/>
                    <a:pt x="66895" y="333562"/>
                    <a:pt x="61924" y="332261"/>
                  </a:cubicBezTo>
                  <a:cubicBezTo>
                    <a:pt x="59787" y="333051"/>
                    <a:pt x="57324" y="333422"/>
                    <a:pt x="54909" y="333794"/>
                  </a:cubicBezTo>
                  <a:cubicBezTo>
                    <a:pt x="53469" y="336394"/>
                    <a:pt x="51564" y="338809"/>
                    <a:pt x="49009" y="340805"/>
                  </a:cubicBezTo>
                  <a:cubicBezTo>
                    <a:pt x="49148" y="341409"/>
                    <a:pt x="49241" y="342013"/>
                    <a:pt x="49334" y="342616"/>
                  </a:cubicBezTo>
                  <a:cubicBezTo>
                    <a:pt x="52400" y="343824"/>
                    <a:pt x="56256" y="344892"/>
                    <a:pt x="57232" y="347028"/>
                  </a:cubicBezTo>
                  <a:cubicBezTo>
                    <a:pt x="58347" y="349442"/>
                    <a:pt x="54398" y="349814"/>
                    <a:pt x="49520" y="349303"/>
                  </a:cubicBezTo>
                  <a:cubicBezTo>
                    <a:pt x="48962" y="353993"/>
                    <a:pt x="46871" y="358451"/>
                    <a:pt x="43016" y="361933"/>
                  </a:cubicBezTo>
                  <a:cubicBezTo>
                    <a:pt x="34467" y="369548"/>
                    <a:pt x="25408" y="374610"/>
                    <a:pt x="15373" y="376978"/>
                  </a:cubicBezTo>
                  <a:cubicBezTo>
                    <a:pt x="18950" y="381807"/>
                    <a:pt x="20576" y="388215"/>
                    <a:pt x="18486" y="395784"/>
                  </a:cubicBezTo>
                  <a:cubicBezTo>
                    <a:pt x="16116" y="404328"/>
                    <a:pt x="14305" y="412501"/>
                    <a:pt x="9055" y="419884"/>
                  </a:cubicBezTo>
                  <a:cubicBezTo>
                    <a:pt x="6964" y="422809"/>
                    <a:pt x="4548" y="425084"/>
                    <a:pt x="1900" y="426849"/>
                  </a:cubicBezTo>
                  <a:cubicBezTo>
                    <a:pt x="321" y="428846"/>
                    <a:pt x="-1212" y="431121"/>
                    <a:pt x="1436" y="435347"/>
                  </a:cubicBezTo>
                  <a:cubicBezTo>
                    <a:pt x="6546" y="443473"/>
                    <a:pt x="10356" y="433211"/>
                    <a:pt x="12585" y="439201"/>
                  </a:cubicBezTo>
                  <a:cubicBezTo>
                    <a:pt x="14816" y="445237"/>
                    <a:pt x="20855" y="439897"/>
                    <a:pt x="27870" y="432839"/>
                  </a:cubicBezTo>
                  <a:cubicBezTo>
                    <a:pt x="34885" y="425781"/>
                    <a:pt x="37441" y="440594"/>
                    <a:pt x="31680" y="440269"/>
                  </a:cubicBezTo>
                  <a:cubicBezTo>
                    <a:pt x="25919" y="439944"/>
                    <a:pt x="19229" y="443798"/>
                    <a:pt x="20530" y="450159"/>
                  </a:cubicBezTo>
                  <a:cubicBezTo>
                    <a:pt x="21784" y="456521"/>
                    <a:pt x="11610" y="455453"/>
                    <a:pt x="11935" y="447698"/>
                  </a:cubicBezTo>
                  <a:cubicBezTo>
                    <a:pt x="12261" y="439944"/>
                    <a:pt x="135" y="449091"/>
                    <a:pt x="4595" y="454756"/>
                  </a:cubicBezTo>
                  <a:cubicBezTo>
                    <a:pt x="9055" y="460375"/>
                    <a:pt x="3015" y="463579"/>
                    <a:pt x="3015" y="468872"/>
                  </a:cubicBezTo>
                  <a:cubicBezTo>
                    <a:pt x="3015" y="474166"/>
                    <a:pt x="11610" y="473098"/>
                    <a:pt x="15141" y="467108"/>
                  </a:cubicBezTo>
                  <a:cubicBezTo>
                    <a:pt x="18671" y="461118"/>
                    <a:pt x="24386" y="462511"/>
                    <a:pt x="26616" y="468547"/>
                  </a:cubicBezTo>
                  <a:cubicBezTo>
                    <a:pt x="28846" y="474537"/>
                    <a:pt x="21227" y="469940"/>
                    <a:pt x="21227" y="478067"/>
                  </a:cubicBezTo>
                  <a:cubicBezTo>
                    <a:pt x="21227" y="485171"/>
                    <a:pt x="17556" y="480667"/>
                    <a:pt x="13840" y="483685"/>
                  </a:cubicBezTo>
                  <a:cubicBezTo>
                    <a:pt x="15838" y="485264"/>
                    <a:pt x="17603" y="487168"/>
                    <a:pt x="19275" y="489257"/>
                  </a:cubicBezTo>
                  <a:lnTo>
                    <a:pt x="19415" y="489257"/>
                  </a:lnTo>
                  <a:cubicBezTo>
                    <a:pt x="17185" y="486285"/>
                    <a:pt x="18904" y="488421"/>
                    <a:pt x="20019" y="489629"/>
                  </a:cubicBezTo>
                  <a:cubicBezTo>
                    <a:pt x="21831" y="490604"/>
                    <a:pt x="23550" y="491718"/>
                    <a:pt x="25361" y="492693"/>
                  </a:cubicBezTo>
                  <a:cubicBezTo>
                    <a:pt x="30890" y="495712"/>
                    <a:pt x="36279" y="499241"/>
                    <a:pt x="40693" y="503745"/>
                  </a:cubicBezTo>
                  <a:cubicBezTo>
                    <a:pt x="42690" y="505788"/>
                    <a:pt x="44177" y="508063"/>
                    <a:pt x="45245" y="510478"/>
                  </a:cubicBezTo>
                  <a:cubicBezTo>
                    <a:pt x="49148" y="512335"/>
                    <a:pt x="53794" y="513728"/>
                    <a:pt x="60112" y="512707"/>
                  </a:cubicBezTo>
                  <a:cubicBezTo>
                    <a:pt x="72888" y="510571"/>
                    <a:pt x="97092" y="484474"/>
                    <a:pt x="100298" y="479877"/>
                  </a:cubicBezTo>
                  <a:cubicBezTo>
                    <a:pt x="103504" y="475280"/>
                    <a:pt x="110519" y="480574"/>
                    <a:pt x="115304" y="476348"/>
                  </a:cubicBezTo>
                  <a:cubicBezTo>
                    <a:pt x="120089" y="472123"/>
                    <a:pt x="117209" y="461164"/>
                    <a:pt x="120739" y="459075"/>
                  </a:cubicBezTo>
                  <a:cubicBezTo>
                    <a:pt x="124270" y="456939"/>
                    <a:pt x="126128" y="470730"/>
                    <a:pt x="129334" y="472123"/>
                  </a:cubicBezTo>
                  <a:cubicBezTo>
                    <a:pt x="132214" y="473377"/>
                    <a:pt x="134305" y="475884"/>
                    <a:pt x="134445" y="482942"/>
                  </a:cubicBezTo>
                  <a:cubicBezTo>
                    <a:pt x="137000" y="482571"/>
                    <a:pt x="139555" y="482664"/>
                    <a:pt x="141181" y="484010"/>
                  </a:cubicBezTo>
                  <a:cubicBezTo>
                    <a:pt x="145269" y="487400"/>
                    <a:pt x="146291" y="472680"/>
                    <a:pt x="146291" y="468129"/>
                  </a:cubicBezTo>
                  <a:cubicBezTo>
                    <a:pt x="146291" y="463579"/>
                    <a:pt x="150380" y="454524"/>
                    <a:pt x="149357" y="448813"/>
                  </a:cubicBezTo>
                  <a:cubicBezTo>
                    <a:pt x="148335" y="443148"/>
                    <a:pt x="161669" y="447698"/>
                    <a:pt x="163713" y="443148"/>
                  </a:cubicBezTo>
                  <a:cubicBezTo>
                    <a:pt x="165757" y="438597"/>
                    <a:pt x="166779" y="422716"/>
                    <a:pt x="162691" y="420441"/>
                  </a:cubicBezTo>
                  <a:cubicBezTo>
                    <a:pt x="158603" y="418166"/>
                    <a:pt x="157534" y="409111"/>
                    <a:pt x="161669" y="409111"/>
                  </a:cubicBezTo>
                  <a:cubicBezTo>
                    <a:pt x="165804" y="409111"/>
                    <a:pt x="170867" y="405721"/>
                    <a:pt x="169892" y="396620"/>
                  </a:cubicBezTo>
                  <a:cubicBezTo>
                    <a:pt x="168870" y="387565"/>
                    <a:pt x="156559" y="388680"/>
                    <a:pt x="155536" y="379625"/>
                  </a:cubicBezTo>
                  <a:cubicBezTo>
                    <a:pt x="154514" y="370570"/>
                    <a:pt x="161669" y="368295"/>
                    <a:pt x="156559" y="356918"/>
                  </a:cubicBezTo>
                  <a:cubicBezTo>
                    <a:pt x="151448" y="345588"/>
                    <a:pt x="158603" y="338762"/>
                    <a:pt x="156559" y="333097"/>
                  </a:cubicBezTo>
                  <a:cubicBezTo>
                    <a:pt x="154514" y="327432"/>
                    <a:pt x="152470" y="320606"/>
                    <a:pt x="158603" y="309276"/>
                  </a:cubicBezTo>
                  <a:cubicBezTo>
                    <a:pt x="164735" y="297946"/>
                    <a:pt x="176024" y="292235"/>
                    <a:pt x="180112" y="293396"/>
                  </a:cubicBezTo>
                  <a:cubicBezTo>
                    <a:pt x="184201" y="294510"/>
                    <a:pt x="191402" y="299061"/>
                    <a:pt x="194468" y="292235"/>
                  </a:cubicBezTo>
                  <a:cubicBezTo>
                    <a:pt x="197534" y="285455"/>
                    <a:pt x="197534" y="279744"/>
                    <a:pt x="194468" y="278629"/>
                  </a:cubicBezTo>
                  <a:cubicBezTo>
                    <a:pt x="191402" y="277515"/>
                    <a:pt x="183179" y="275240"/>
                    <a:pt x="189358" y="266138"/>
                  </a:cubicBezTo>
                  <a:cubicBezTo>
                    <a:pt x="195490" y="257084"/>
                    <a:pt x="202691" y="245707"/>
                    <a:pt x="203713" y="235538"/>
                  </a:cubicBezTo>
                  <a:cubicBezTo>
                    <a:pt x="204735" y="225322"/>
                    <a:pt x="201669" y="217382"/>
                    <a:pt x="204735" y="213946"/>
                  </a:cubicBezTo>
                  <a:cubicBezTo>
                    <a:pt x="207801" y="210556"/>
                    <a:pt x="215002" y="213946"/>
                    <a:pt x="221135" y="209442"/>
                  </a:cubicBezTo>
                  <a:cubicBezTo>
                    <a:pt x="227267" y="204891"/>
                    <a:pt x="222157" y="199226"/>
                    <a:pt x="225223" y="195836"/>
                  </a:cubicBezTo>
                  <a:cubicBezTo>
                    <a:pt x="228290" y="192446"/>
                    <a:pt x="232378" y="181070"/>
                    <a:pt x="236512" y="177680"/>
                  </a:cubicBezTo>
                  <a:cubicBezTo>
                    <a:pt x="240601" y="174291"/>
                    <a:pt x="244689" y="169740"/>
                    <a:pt x="241623" y="165189"/>
                  </a:cubicBezTo>
                  <a:cubicBezTo>
                    <a:pt x="238557" y="160639"/>
                    <a:pt x="247755" y="156088"/>
                    <a:pt x="247755" y="148148"/>
                  </a:cubicBezTo>
                  <a:cubicBezTo>
                    <a:pt x="247755" y="140207"/>
                    <a:pt x="257976" y="134542"/>
                    <a:pt x="264155" y="134542"/>
                  </a:cubicBezTo>
                  <a:cubicBezTo>
                    <a:pt x="270334" y="134542"/>
                    <a:pt x="280555" y="134542"/>
                    <a:pt x="280555" y="127763"/>
                  </a:cubicBezTo>
                  <a:cubicBezTo>
                    <a:pt x="280555" y="120983"/>
                    <a:pt x="276466" y="106171"/>
                    <a:pt x="285665" y="110768"/>
                  </a:cubicBezTo>
                  <a:cubicBezTo>
                    <a:pt x="294863" y="115318"/>
                    <a:pt x="302064" y="109607"/>
                    <a:pt x="308197" y="115318"/>
                  </a:cubicBezTo>
                  <a:cubicBezTo>
                    <a:pt x="314329" y="120983"/>
                    <a:pt x="322552" y="119869"/>
                    <a:pt x="322552" y="110768"/>
                  </a:cubicBezTo>
                  <a:cubicBezTo>
                    <a:pt x="322552" y="101667"/>
                    <a:pt x="325619" y="86947"/>
                    <a:pt x="334864" y="92612"/>
                  </a:cubicBezTo>
                  <a:cubicBezTo>
                    <a:pt x="335607" y="93030"/>
                    <a:pt x="336258" y="93541"/>
                    <a:pt x="336954" y="94051"/>
                  </a:cubicBezTo>
                  <a:cubicBezTo>
                    <a:pt x="340021" y="86482"/>
                    <a:pt x="345828" y="81653"/>
                    <a:pt x="351263" y="82396"/>
                  </a:cubicBezTo>
                  <a:cubicBezTo>
                    <a:pt x="359487" y="83557"/>
                    <a:pt x="364597" y="99438"/>
                    <a:pt x="374818" y="101667"/>
                  </a:cubicBezTo>
                  <a:cubicBezTo>
                    <a:pt x="385085" y="103942"/>
                    <a:pt x="395305" y="108492"/>
                    <a:pt x="398372" y="102781"/>
                  </a:cubicBezTo>
                  <a:cubicBezTo>
                    <a:pt x="401438" y="97116"/>
                    <a:pt x="408639" y="106171"/>
                    <a:pt x="414771" y="103895"/>
                  </a:cubicBezTo>
                  <a:cubicBezTo>
                    <a:pt x="420904" y="101620"/>
                    <a:pt x="420904" y="116386"/>
                    <a:pt x="427083" y="107285"/>
                  </a:cubicBezTo>
                  <a:cubicBezTo>
                    <a:pt x="433215" y="98230"/>
                    <a:pt x="426060" y="92519"/>
                    <a:pt x="436281" y="93680"/>
                  </a:cubicBezTo>
                  <a:cubicBezTo>
                    <a:pt x="446549" y="94794"/>
                    <a:pt x="440370" y="81189"/>
                    <a:pt x="440370" y="73248"/>
                  </a:cubicBezTo>
                  <a:cubicBezTo>
                    <a:pt x="440370" y="65308"/>
                    <a:pt x="453656" y="64147"/>
                    <a:pt x="453656" y="57368"/>
                  </a:cubicBezTo>
                  <a:cubicBezTo>
                    <a:pt x="453656" y="50588"/>
                    <a:pt x="472100" y="56207"/>
                    <a:pt x="475166" y="51703"/>
                  </a:cubicBezTo>
                  <a:cubicBezTo>
                    <a:pt x="478233" y="47152"/>
                    <a:pt x="488500" y="43762"/>
                    <a:pt x="492588" y="51703"/>
                  </a:cubicBezTo>
                  <a:cubicBezTo>
                    <a:pt x="496676" y="59643"/>
                    <a:pt x="514098" y="61918"/>
                    <a:pt x="515120" y="68744"/>
                  </a:cubicBezTo>
                  <a:cubicBezTo>
                    <a:pt x="515631" y="72041"/>
                    <a:pt x="515120" y="77242"/>
                    <a:pt x="515120" y="82071"/>
                  </a:cubicBezTo>
                  <a:cubicBezTo>
                    <a:pt x="517954" y="78960"/>
                    <a:pt x="521578" y="76638"/>
                    <a:pt x="525016" y="76638"/>
                  </a:cubicBezTo>
                  <a:cubicBezTo>
                    <a:pt x="531381" y="76638"/>
                    <a:pt x="537095" y="66051"/>
                    <a:pt x="542856" y="67444"/>
                  </a:cubicBezTo>
                  <a:cubicBezTo>
                    <a:pt x="547641" y="68605"/>
                    <a:pt x="552379" y="67723"/>
                    <a:pt x="553820" y="58900"/>
                  </a:cubicBezTo>
                  <a:cubicBezTo>
                    <a:pt x="548663" y="55325"/>
                    <a:pt x="538907" y="54860"/>
                    <a:pt x="537745" y="59690"/>
                  </a:cubicBezTo>
                  <a:close/>
                </a:path>
              </a:pathLst>
            </a:custGeom>
            <a:solidFill>
              <a:schemeClr val="accent1"/>
            </a:solid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34" name="Freeform 84">
              <a:extLst>
                <a:ext uri="{FF2B5EF4-FFF2-40B4-BE49-F238E27FC236}">
                  <a16:creationId xmlns:a16="http://schemas.microsoft.com/office/drawing/2014/main" id="{50721360-F02A-34A3-B452-97811FC6ED85}"/>
                </a:ext>
              </a:extLst>
            </p:cNvPr>
            <p:cNvSpPr/>
            <p:nvPr/>
          </p:nvSpPr>
          <p:spPr>
            <a:xfrm>
              <a:off x="10314984" y="3987169"/>
              <a:ext cx="169612" cy="294458"/>
            </a:xfrm>
            <a:custGeom>
              <a:avLst/>
              <a:gdLst>
                <a:gd name="connsiteX0" fmla="*/ 16172 w 36313"/>
                <a:gd name="connsiteY0" fmla="*/ 3023 h 63041"/>
                <a:gd name="connsiteX1" fmla="*/ 563 w 36313"/>
                <a:gd name="connsiteY1" fmla="*/ 7249 h 63041"/>
                <a:gd name="connsiteX2" fmla="*/ 8507 w 36313"/>
                <a:gd name="connsiteY2" fmla="*/ 37989 h 63041"/>
                <a:gd name="connsiteX3" fmla="*/ 17427 w 36313"/>
                <a:gd name="connsiteY3" fmla="*/ 60974 h 63041"/>
                <a:gd name="connsiteX4" fmla="*/ 32433 w 36313"/>
                <a:gd name="connsiteY4" fmla="*/ 50712 h 63041"/>
                <a:gd name="connsiteX5" fmla="*/ 35964 w 36313"/>
                <a:gd name="connsiteY5" fmla="*/ 11892 h 63041"/>
                <a:gd name="connsiteX6" fmla="*/ 16172 w 36313"/>
                <a:gd name="connsiteY6" fmla="*/ 3070 h 63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313" h="63041">
                  <a:moveTo>
                    <a:pt x="16172" y="3023"/>
                  </a:moveTo>
                  <a:cubicBezTo>
                    <a:pt x="9157" y="9756"/>
                    <a:pt x="3397" y="1862"/>
                    <a:pt x="563" y="7249"/>
                  </a:cubicBezTo>
                  <a:cubicBezTo>
                    <a:pt x="-2968" y="13982"/>
                    <a:pt x="11387" y="24197"/>
                    <a:pt x="8507" y="37989"/>
                  </a:cubicBezTo>
                  <a:cubicBezTo>
                    <a:pt x="5626" y="51780"/>
                    <a:pt x="10086" y="69053"/>
                    <a:pt x="17427" y="60974"/>
                  </a:cubicBezTo>
                  <a:cubicBezTo>
                    <a:pt x="24767" y="52848"/>
                    <a:pt x="28298" y="56748"/>
                    <a:pt x="32433" y="50712"/>
                  </a:cubicBezTo>
                  <a:cubicBezTo>
                    <a:pt x="36568" y="44722"/>
                    <a:pt x="33083" y="22479"/>
                    <a:pt x="35964" y="11892"/>
                  </a:cubicBezTo>
                  <a:cubicBezTo>
                    <a:pt x="38844" y="1305"/>
                    <a:pt x="23188" y="-3663"/>
                    <a:pt x="16172" y="307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35" name="Freeform 85">
              <a:extLst>
                <a:ext uri="{FF2B5EF4-FFF2-40B4-BE49-F238E27FC236}">
                  <a16:creationId xmlns:a16="http://schemas.microsoft.com/office/drawing/2014/main" id="{EE70864F-2273-F534-0C76-C1345BEA463D}"/>
                </a:ext>
              </a:extLst>
            </p:cNvPr>
            <p:cNvSpPr/>
            <p:nvPr/>
          </p:nvSpPr>
          <p:spPr>
            <a:xfrm>
              <a:off x="10170142" y="3162357"/>
              <a:ext cx="1148951" cy="1231284"/>
            </a:xfrm>
            <a:custGeom>
              <a:avLst/>
              <a:gdLst>
                <a:gd name="connsiteX0" fmla="*/ 203420 w 245983"/>
                <a:gd name="connsiteY0" fmla="*/ 168326 h 263609"/>
                <a:gd name="connsiteX1" fmla="*/ 187485 w 245983"/>
                <a:gd name="connsiteY1" fmla="*/ 154163 h 263609"/>
                <a:gd name="connsiteX2" fmla="*/ 153989 w 245983"/>
                <a:gd name="connsiteY2" fmla="*/ 116040 h 263609"/>
                <a:gd name="connsiteX3" fmla="*/ 123698 w 245983"/>
                <a:gd name="connsiteY3" fmla="*/ 81771 h 263609"/>
                <a:gd name="connsiteX4" fmla="*/ 124023 w 245983"/>
                <a:gd name="connsiteY4" fmla="*/ 57765 h 263609"/>
                <a:gd name="connsiteX5" fmla="*/ 133547 w 245983"/>
                <a:gd name="connsiteY5" fmla="*/ 44159 h 263609"/>
                <a:gd name="connsiteX6" fmla="*/ 134662 w 245983"/>
                <a:gd name="connsiteY6" fmla="*/ 12491 h 263609"/>
                <a:gd name="connsiteX7" fmla="*/ 123698 w 245983"/>
                <a:gd name="connsiteY7" fmla="*/ 10076 h 263609"/>
                <a:gd name="connsiteX8" fmla="*/ 119377 w 245983"/>
                <a:gd name="connsiteY8" fmla="*/ 0 h 263609"/>
                <a:gd name="connsiteX9" fmla="*/ 102142 w 245983"/>
                <a:gd name="connsiteY9" fmla="*/ 2647 h 263609"/>
                <a:gd name="connsiteX10" fmla="*/ 88762 w 245983"/>
                <a:gd name="connsiteY10" fmla="*/ 7429 h 263609"/>
                <a:gd name="connsiteX11" fmla="*/ 86067 w 245983"/>
                <a:gd name="connsiteY11" fmla="*/ 5804 h 263609"/>
                <a:gd name="connsiteX12" fmla="*/ 81886 w 245983"/>
                <a:gd name="connsiteY12" fmla="*/ 10076 h 263609"/>
                <a:gd name="connsiteX13" fmla="*/ 78681 w 245983"/>
                <a:gd name="connsiteY13" fmla="*/ 15741 h 263609"/>
                <a:gd name="connsiteX14" fmla="*/ 72316 w 245983"/>
                <a:gd name="connsiteY14" fmla="*/ 18527 h 263609"/>
                <a:gd name="connsiteX15" fmla="*/ 62095 w 245983"/>
                <a:gd name="connsiteY15" fmla="*/ 21360 h 263609"/>
                <a:gd name="connsiteX16" fmla="*/ 54429 w 245983"/>
                <a:gd name="connsiteY16" fmla="*/ 26282 h 263609"/>
                <a:gd name="connsiteX17" fmla="*/ 48669 w 245983"/>
                <a:gd name="connsiteY17" fmla="*/ 34780 h 263609"/>
                <a:gd name="connsiteX18" fmla="*/ 36543 w 245983"/>
                <a:gd name="connsiteY18" fmla="*/ 18527 h 263609"/>
                <a:gd name="connsiteX19" fmla="*/ 25718 w 245983"/>
                <a:gd name="connsiteY19" fmla="*/ 35476 h 263609"/>
                <a:gd name="connsiteX20" fmla="*/ 7321 w 245983"/>
                <a:gd name="connsiteY20" fmla="*/ 36916 h 263609"/>
                <a:gd name="connsiteX21" fmla="*/ 9783 w 245983"/>
                <a:gd name="connsiteY21" fmla="*/ 48199 h 263609"/>
                <a:gd name="connsiteX22" fmla="*/ 5463 w 245983"/>
                <a:gd name="connsiteY22" fmla="*/ 57718 h 263609"/>
                <a:gd name="connsiteX23" fmla="*/ 1142 w 245983"/>
                <a:gd name="connsiteY23" fmla="*/ 63523 h 263609"/>
                <a:gd name="connsiteX24" fmla="*/ 7368 w 245983"/>
                <a:gd name="connsiteY24" fmla="*/ 75689 h 263609"/>
                <a:gd name="connsiteX25" fmla="*/ 12153 w 245983"/>
                <a:gd name="connsiteY25" fmla="*/ 87344 h 263609"/>
                <a:gd name="connsiteX26" fmla="*/ 22188 w 245983"/>
                <a:gd name="connsiteY26" fmla="*/ 91058 h 263609"/>
                <a:gd name="connsiteX27" fmla="*/ 19772 w 245983"/>
                <a:gd name="connsiteY27" fmla="*/ 99138 h 263609"/>
                <a:gd name="connsiteX28" fmla="*/ 30178 w 245983"/>
                <a:gd name="connsiteY28" fmla="*/ 95795 h 263609"/>
                <a:gd name="connsiteX29" fmla="*/ 45138 w 245983"/>
                <a:gd name="connsiteY29" fmla="*/ 81679 h 263609"/>
                <a:gd name="connsiteX30" fmla="*/ 75428 w 245983"/>
                <a:gd name="connsiteY30" fmla="*/ 95795 h 263609"/>
                <a:gd name="connsiteX31" fmla="*/ 82118 w 245983"/>
                <a:gd name="connsiteY31" fmla="*/ 109957 h 263609"/>
                <a:gd name="connsiteX32" fmla="*/ 102513 w 245983"/>
                <a:gd name="connsiteY32" fmla="*/ 138933 h 263609"/>
                <a:gd name="connsiteX33" fmla="*/ 131828 w 245983"/>
                <a:gd name="connsiteY33" fmla="*/ 166840 h 263609"/>
                <a:gd name="connsiteX34" fmla="*/ 152548 w 245983"/>
                <a:gd name="connsiteY34" fmla="*/ 176731 h 263609"/>
                <a:gd name="connsiteX35" fmla="*/ 171364 w 245983"/>
                <a:gd name="connsiteY35" fmla="*/ 190522 h 263609"/>
                <a:gd name="connsiteX36" fmla="*/ 186649 w 245983"/>
                <a:gd name="connsiteY36" fmla="*/ 204638 h 263609"/>
                <a:gd name="connsiteX37" fmla="*/ 193664 w 245983"/>
                <a:gd name="connsiteY37" fmla="*/ 218754 h 263609"/>
                <a:gd name="connsiteX38" fmla="*/ 194639 w 245983"/>
                <a:gd name="connsiteY38" fmla="*/ 244525 h 263609"/>
                <a:gd name="connsiteX39" fmla="*/ 195615 w 245983"/>
                <a:gd name="connsiteY39" fmla="*/ 263610 h 263609"/>
                <a:gd name="connsiteX40" fmla="*/ 206440 w 245983"/>
                <a:gd name="connsiteY40" fmla="*/ 243829 h 263609"/>
                <a:gd name="connsiteX41" fmla="*/ 218844 w 245983"/>
                <a:gd name="connsiteY41" fmla="*/ 229713 h 263609"/>
                <a:gd name="connsiteX42" fmla="*/ 208995 w 245983"/>
                <a:gd name="connsiteY42" fmla="*/ 210999 h 263609"/>
                <a:gd name="connsiteX43" fmla="*/ 229715 w 245983"/>
                <a:gd name="connsiteY43" fmla="*/ 200737 h 263609"/>
                <a:gd name="connsiteX44" fmla="*/ 245975 w 245983"/>
                <a:gd name="connsiteY44" fmla="*/ 201805 h 263609"/>
                <a:gd name="connsiteX45" fmla="*/ 203234 w 245983"/>
                <a:gd name="connsiteY45" fmla="*/ 168279 h 263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45983" h="263609">
                  <a:moveTo>
                    <a:pt x="203420" y="168326"/>
                  </a:moveTo>
                  <a:cubicBezTo>
                    <a:pt x="195150" y="162707"/>
                    <a:pt x="200539" y="153467"/>
                    <a:pt x="187485" y="154163"/>
                  </a:cubicBezTo>
                  <a:cubicBezTo>
                    <a:pt x="174430" y="154860"/>
                    <a:pt x="158774" y="136890"/>
                    <a:pt x="153989" y="116040"/>
                  </a:cubicBezTo>
                  <a:cubicBezTo>
                    <a:pt x="149204" y="95238"/>
                    <a:pt x="128808" y="94170"/>
                    <a:pt x="123698" y="81771"/>
                  </a:cubicBezTo>
                  <a:cubicBezTo>
                    <a:pt x="118588" y="69420"/>
                    <a:pt x="128483" y="67980"/>
                    <a:pt x="124023" y="57765"/>
                  </a:cubicBezTo>
                  <a:cubicBezTo>
                    <a:pt x="121515" y="52053"/>
                    <a:pt x="127043" y="47038"/>
                    <a:pt x="133547" y="44159"/>
                  </a:cubicBezTo>
                  <a:cubicBezTo>
                    <a:pt x="133036" y="32829"/>
                    <a:pt x="133872" y="20478"/>
                    <a:pt x="134662" y="12491"/>
                  </a:cubicBezTo>
                  <a:cubicBezTo>
                    <a:pt x="129598" y="11887"/>
                    <a:pt x="125231" y="11098"/>
                    <a:pt x="123698" y="10076"/>
                  </a:cubicBezTo>
                  <a:cubicBezTo>
                    <a:pt x="121282" y="8497"/>
                    <a:pt x="120818" y="0"/>
                    <a:pt x="119377" y="0"/>
                  </a:cubicBezTo>
                  <a:cubicBezTo>
                    <a:pt x="117937" y="0"/>
                    <a:pt x="104557" y="0"/>
                    <a:pt x="102142" y="2647"/>
                  </a:cubicBezTo>
                  <a:cubicBezTo>
                    <a:pt x="99772" y="5293"/>
                    <a:pt x="92571" y="10076"/>
                    <a:pt x="88762" y="7429"/>
                  </a:cubicBezTo>
                  <a:cubicBezTo>
                    <a:pt x="87926" y="6872"/>
                    <a:pt x="87043" y="6315"/>
                    <a:pt x="86067" y="5804"/>
                  </a:cubicBezTo>
                  <a:lnTo>
                    <a:pt x="81886" y="10076"/>
                  </a:lnTo>
                  <a:cubicBezTo>
                    <a:pt x="81886" y="10076"/>
                    <a:pt x="81236" y="15741"/>
                    <a:pt x="78681" y="15741"/>
                  </a:cubicBezTo>
                  <a:cubicBezTo>
                    <a:pt x="76125" y="15741"/>
                    <a:pt x="72316" y="13605"/>
                    <a:pt x="72316" y="18527"/>
                  </a:cubicBezTo>
                  <a:cubicBezTo>
                    <a:pt x="72316" y="23449"/>
                    <a:pt x="65301" y="22056"/>
                    <a:pt x="62095" y="21360"/>
                  </a:cubicBezTo>
                  <a:cubicBezTo>
                    <a:pt x="58936" y="20663"/>
                    <a:pt x="54429" y="22056"/>
                    <a:pt x="54429" y="26282"/>
                  </a:cubicBezTo>
                  <a:cubicBezTo>
                    <a:pt x="54429" y="30508"/>
                    <a:pt x="53779" y="39702"/>
                    <a:pt x="48669" y="34780"/>
                  </a:cubicBezTo>
                  <a:cubicBezTo>
                    <a:pt x="43558" y="29811"/>
                    <a:pt x="38448" y="17088"/>
                    <a:pt x="36543" y="18527"/>
                  </a:cubicBezTo>
                  <a:cubicBezTo>
                    <a:pt x="34638" y="19967"/>
                    <a:pt x="30178" y="35476"/>
                    <a:pt x="25718" y="35476"/>
                  </a:cubicBezTo>
                  <a:cubicBezTo>
                    <a:pt x="22931" y="35476"/>
                    <a:pt x="13872" y="36312"/>
                    <a:pt x="7321" y="36916"/>
                  </a:cubicBezTo>
                  <a:cubicBezTo>
                    <a:pt x="5602" y="42998"/>
                    <a:pt x="7461" y="46620"/>
                    <a:pt x="9783" y="48199"/>
                  </a:cubicBezTo>
                  <a:cubicBezTo>
                    <a:pt x="12199" y="49778"/>
                    <a:pt x="8343" y="56140"/>
                    <a:pt x="5463" y="57718"/>
                  </a:cubicBezTo>
                  <a:cubicBezTo>
                    <a:pt x="2583" y="59297"/>
                    <a:pt x="-2203" y="57718"/>
                    <a:pt x="1142" y="63523"/>
                  </a:cubicBezTo>
                  <a:cubicBezTo>
                    <a:pt x="4487" y="69327"/>
                    <a:pt x="10713" y="69884"/>
                    <a:pt x="7368" y="75689"/>
                  </a:cubicBezTo>
                  <a:cubicBezTo>
                    <a:pt x="4023" y="81493"/>
                    <a:pt x="7368" y="86833"/>
                    <a:pt x="12153" y="87344"/>
                  </a:cubicBezTo>
                  <a:cubicBezTo>
                    <a:pt x="16938" y="87854"/>
                    <a:pt x="23628" y="86833"/>
                    <a:pt x="22188" y="91058"/>
                  </a:cubicBezTo>
                  <a:cubicBezTo>
                    <a:pt x="21351" y="93519"/>
                    <a:pt x="20050" y="96352"/>
                    <a:pt x="19772" y="99138"/>
                  </a:cubicBezTo>
                  <a:cubicBezTo>
                    <a:pt x="23535" y="97931"/>
                    <a:pt x="26880" y="97745"/>
                    <a:pt x="30178" y="95795"/>
                  </a:cubicBezTo>
                  <a:cubicBezTo>
                    <a:pt x="36868" y="91941"/>
                    <a:pt x="33988" y="85208"/>
                    <a:pt x="45138" y="81679"/>
                  </a:cubicBezTo>
                  <a:cubicBezTo>
                    <a:pt x="56288" y="78150"/>
                    <a:pt x="70968" y="88365"/>
                    <a:pt x="75428" y="95795"/>
                  </a:cubicBezTo>
                  <a:cubicBezTo>
                    <a:pt x="79888" y="103224"/>
                    <a:pt x="81189" y="103921"/>
                    <a:pt x="82118" y="109957"/>
                  </a:cubicBezTo>
                  <a:cubicBezTo>
                    <a:pt x="83094" y="115948"/>
                    <a:pt x="87229" y="127974"/>
                    <a:pt x="102513" y="138933"/>
                  </a:cubicBezTo>
                  <a:cubicBezTo>
                    <a:pt x="117798" y="149891"/>
                    <a:pt x="123884" y="162243"/>
                    <a:pt x="131828" y="166840"/>
                  </a:cubicBezTo>
                  <a:cubicBezTo>
                    <a:pt x="139819" y="171437"/>
                    <a:pt x="147763" y="170369"/>
                    <a:pt x="152548" y="176731"/>
                  </a:cubicBezTo>
                  <a:cubicBezTo>
                    <a:pt x="157334" y="183092"/>
                    <a:pt x="163698" y="186621"/>
                    <a:pt x="171364" y="190522"/>
                  </a:cubicBezTo>
                  <a:cubicBezTo>
                    <a:pt x="179029" y="194422"/>
                    <a:pt x="179308" y="203570"/>
                    <a:pt x="186649" y="204638"/>
                  </a:cubicBezTo>
                  <a:cubicBezTo>
                    <a:pt x="193989" y="205706"/>
                    <a:pt x="189204" y="212764"/>
                    <a:pt x="193664" y="218754"/>
                  </a:cubicBezTo>
                  <a:cubicBezTo>
                    <a:pt x="198123" y="224744"/>
                    <a:pt x="199424" y="237467"/>
                    <a:pt x="194639" y="244525"/>
                  </a:cubicBezTo>
                  <a:cubicBezTo>
                    <a:pt x="189854" y="251583"/>
                    <a:pt x="192409" y="263610"/>
                    <a:pt x="195615" y="263610"/>
                  </a:cubicBezTo>
                  <a:cubicBezTo>
                    <a:pt x="198820" y="263610"/>
                    <a:pt x="205510" y="250887"/>
                    <a:pt x="206440" y="243829"/>
                  </a:cubicBezTo>
                  <a:cubicBezTo>
                    <a:pt x="207369" y="236771"/>
                    <a:pt x="213780" y="237142"/>
                    <a:pt x="218844" y="229713"/>
                  </a:cubicBezTo>
                  <a:cubicBezTo>
                    <a:pt x="223954" y="222283"/>
                    <a:pt x="211178" y="220519"/>
                    <a:pt x="208995" y="210999"/>
                  </a:cubicBezTo>
                  <a:cubicBezTo>
                    <a:pt x="206765" y="201480"/>
                    <a:pt x="218565" y="192983"/>
                    <a:pt x="229715" y="200737"/>
                  </a:cubicBezTo>
                  <a:cubicBezTo>
                    <a:pt x="240865" y="208492"/>
                    <a:pt x="245325" y="213832"/>
                    <a:pt x="245975" y="201805"/>
                  </a:cubicBezTo>
                  <a:cubicBezTo>
                    <a:pt x="246626" y="189825"/>
                    <a:pt x="211550" y="173898"/>
                    <a:pt x="203234" y="168279"/>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36" name="Freeform 86">
              <a:extLst>
                <a:ext uri="{FF2B5EF4-FFF2-40B4-BE49-F238E27FC236}">
                  <a16:creationId xmlns:a16="http://schemas.microsoft.com/office/drawing/2014/main" id="{978DA95A-B3F9-F8BF-248B-384CDA2BA0E1}"/>
                </a:ext>
              </a:extLst>
            </p:cNvPr>
            <p:cNvSpPr/>
            <p:nvPr/>
          </p:nvSpPr>
          <p:spPr>
            <a:xfrm>
              <a:off x="10759631" y="4369059"/>
              <a:ext cx="288236" cy="193151"/>
            </a:xfrm>
            <a:custGeom>
              <a:avLst/>
              <a:gdLst>
                <a:gd name="connsiteX0" fmla="*/ 44367 w 61710"/>
                <a:gd name="connsiteY0" fmla="*/ 1455 h 41353"/>
                <a:gd name="connsiteX1" fmla="*/ 18211 w 61710"/>
                <a:gd name="connsiteY1" fmla="*/ 1455 h 41353"/>
                <a:gd name="connsiteX2" fmla="*/ 0 w 61710"/>
                <a:gd name="connsiteY2" fmla="*/ 8699 h 41353"/>
                <a:gd name="connsiteX3" fmla="*/ 1115 w 61710"/>
                <a:gd name="connsiteY3" fmla="*/ 9303 h 41353"/>
                <a:gd name="connsiteX4" fmla="*/ 10825 w 61710"/>
                <a:gd name="connsiteY4" fmla="*/ 20215 h 41353"/>
                <a:gd name="connsiteX5" fmla="*/ 22346 w 61710"/>
                <a:gd name="connsiteY5" fmla="*/ 24394 h 41353"/>
                <a:gd name="connsiteX6" fmla="*/ 46922 w 61710"/>
                <a:gd name="connsiteY6" fmla="*/ 41343 h 41353"/>
                <a:gd name="connsiteX7" fmla="*/ 52683 w 61710"/>
                <a:gd name="connsiteY7" fmla="*/ 25090 h 41353"/>
                <a:gd name="connsiteX8" fmla="*/ 61603 w 61710"/>
                <a:gd name="connsiteY8" fmla="*/ 2848 h 41353"/>
                <a:gd name="connsiteX9" fmla="*/ 44367 w 61710"/>
                <a:gd name="connsiteY9" fmla="*/ 1455 h 4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710" h="41353">
                  <a:moveTo>
                    <a:pt x="44367" y="1455"/>
                  </a:moveTo>
                  <a:cubicBezTo>
                    <a:pt x="31266" y="4613"/>
                    <a:pt x="25877" y="5681"/>
                    <a:pt x="18211" y="1455"/>
                  </a:cubicBezTo>
                  <a:cubicBezTo>
                    <a:pt x="11521" y="-2213"/>
                    <a:pt x="1301" y="3405"/>
                    <a:pt x="0" y="8699"/>
                  </a:cubicBezTo>
                  <a:cubicBezTo>
                    <a:pt x="372" y="8931"/>
                    <a:pt x="743" y="9117"/>
                    <a:pt x="1115" y="9303"/>
                  </a:cubicBezTo>
                  <a:cubicBezTo>
                    <a:pt x="6039" y="12228"/>
                    <a:pt x="9152" y="16036"/>
                    <a:pt x="10825" y="20215"/>
                  </a:cubicBezTo>
                  <a:cubicBezTo>
                    <a:pt x="13844" y="21608"/>
                    <a:pt x="17561" y="23047"/>
                    <a:pt x="22346" y="24394"/>
                  </a:cubicBezTo>
                  <a:cubicBezTo>
                    <a:pt x="38281" y="28991"/>
                    <a:pt x="40232" y="40971"/>
                    <a:pt x="46922" y="41343"/>
                  </a:cubicBezTo>
                  <a:cubicBezTo>
                    <a:pt x="53612" y="41668"/>
                    <a:pt x="54263" y="34610"/>
                    <a:pt x="52683" y="25090"/>
                  </a:cubicBezTo>
                  <a:cubicBezTo>
                    <a:pt x="51104" y="15571"/>
                    <a:pt x="60627" y="4613"/>
                    <a:pt x="61603" y="2848"/>
                  </a:cubicBezTo>
                  <a:cubicBezTo>
                    <a:pt x="62532" y="1084"/>
                    <a:pt x="57468" y="-1749"/>
                    <a:pt x="44367" y="1455"/>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37" name="Freeform 87">
              <a:extLst>
                <a:ext uri="{FF2B5EF4-FFF2-40B4-BE49-F238E27FC236}">
                  <a16:creationId xmlns:a16="http://schemas.microsoft.com/office/drawing/2014/main" id="{6B928125-57F2-3599-3426-2DBE5C8FEE39}"/>
                </a:ext>
              </a:extLst>
            </p:cNvPr>
            <p:cNvSpPr/>
            <p:nvPr/>
          </p:nvSpPr>
          <p:spPr>
            <a:xfrm>
              <a:off x="11054902" y="3413268"/>
              <a:ext cx="358208" cy="377149"/>
            </a:xfrm>
            <a:custGeom>
              <a:avLst/>
              <a:gdLst>
                <a:gd name="connsiteX0" fmla="*/ 57199 w 76690"/>
                <a:gd name="connsiteY0" fmla="*/ 73408 h 80745"/>
                <a:gd name="connsiteX1" fmla="*/ 73506 w 76690"/>
                <a:gd name="connsiteY1" fmla="*/ 46801 h 80745"/>
                <a:gd name="connsiteX2" fmla="*/ 76200 w 76690"/>
                <a:gd name="connsiteY2" fmla="*/ 14901 h 80745"/>
                <a:gd name="connsiteX3" fmla="*/ 56734 w 76690"/>
                <a:gd name="connsiteY3" fmla="*/ 3988 h 80745"/>
                <a:gd name="connsiteX4" fmla="*/ 23424 w 76690"/>
                <a:gd name="connsiteY4" fmla="*/ 320 h 80745"/>
                <a:gd name="connsiteX5" fmla="*/ 9626 w 76690"/>
                <a:gd name="connsiteY5" fmla="*/ 3478 h 80745"/>
                <a:gd name="connsiteX6" fmla="*/ 102 w 76690"/>
                <a:gd name="connsiteY6" fmla="*/ 9793 h 80745"/>
                <a:gd name="connsiteX7" fmla="*/ 10091 w 76690"/>
                <a:gd name="connsiteY7" fmla="*/ 26138 h 80745"/>
                <a:gd name="connsiteX8" fmla="*/ 27698 w 76690"/>
                <a:gd name="connsiteY8" fmla="*/ 49866 h 80745"/>
                <a:gd name="connsiteX9" fmla="*/ 45213 w 76690"/>
                <a:gd name="connsiteY9" fmla="*/ 71690 h 80745"/>
                <a:gd name="connsiteX10" fmla="*/ 56270 w 76690"/>
                <a:gd name="connsiteY10" fmla="*/ 80745 h 80745"/>
                <a:gd name="connsiteX11" fmla="*/ 57153 w 76690"/>
                <a:gd name="connsiteY11" fmla="*/ 73362 h 80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690" h="80745">
                  <a:moveTo>
                    <a:pt x="57199" y="73408"/>
                  </a:moveTo>
                  <a:cubicBezTo>
                    <a:pt x="56363" y="68672"/>
                    <a:pt x="70068" y="46801"/>
                    <a:pt x="73506" y="46801"/>
                  </a:cubicBezTo>
                  <a:cubicBezTo>
                    <a:pt x="76339" y="46801"/>
                    <a:pt x="77408" y="25813"/>
                    <a:pt x="76200" y="14901"/>
                  </a:cubicBezTo>
                  <a:cubicBezTo>
                    <a:pt x="65561" y="6775"/>
                    <a:pt x="56734" y="3988"/>
                    <a:pt x="56734" y="3988"/>
                  </a:cubicBezTo>
                  <a:cubicBezTo>
                    <a:pt x="56734" y="3988"/>
                    <a:pt x="28163" y="2410"/>
                    <a:pt x="23424" y="320"/>
                  </a:cubicBezTo>
                  <a:cubicBezTo>
                    <a:pt x="18685" y="-1769"/>
                    <a:pt x="13900" y="7193"/>
                    <a:pt x="9626" y="3478"/>
                  </a:cubicBezTo>
                  <a:cubicBezTo>
                    <a:pt x="5352" y="-191"/>
                    <a:pt x="-874" y="4499"/>
                    <a:pt x="102" y="9793"/>
                  </a:cubicBezTo>
                  <a:cubicBezTo>
                    <a:pt x="1031" y="15040"/>
                    <a:pt x="10091" y="18244"/>
                    <a:pt x="10091" y="26138"/>
                  </a:cubicBezTo>
                  <a:cubicBezTo>
                    <a:pt x="10091" y="34032"/>
                    <a:pt x="28209" y="45640"/>
                    <a:pt x="27698" y="49866"/>
                  </a:cubicBezTo>
                  <a:cubicBezTo>
                    <a:pt x="27373" y="52838"/>
                    <a:pt x="38569" y="60871"/>
                    <a:pt x="45213" y="71690"/>
                  </a:cubicBezTo>
                  <a:cubicBezTo>
                    <a:pt x="48744" y="74151"/>
                    <a:pt x="52553" y="77402"/>
                    <a:pt x="56270" y="80745"/>
                  </a:cubicBezTo>
                  <a:cubicBezTo>
                    <a:pt x="57013" y="77262"/>
                    <a:pt x="57385" y="74569"/>
                    <a:pt x="57153" y="73362"/>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38" name="Freeform 88">
              <a:extLst>
                <a:ext uri="{FF2B5EF4-FFF2-40B4-BE49-F238E27FC236}">
                  <a16:creationId xmlns:a16="http://schemas.microsoft.com/office/drawing/2014/main" id="{AB64E3EF-ABA5-26D4-FA0E-535EB08D03A1}"/>
                </a:ext>
              </a:extLst>
            </p:cNvPr>
            <p:cNvSpPr/>
            <p:nvPr/>
          </p:nvSpPr>
          <p:spPr>
            <a:xfrm>
              <a:off x="10872229" y="3228241"/>
              <a:ext cx="538587" cy="520535"/>
            </a:xfrm>
            <a:custGeom>
              <a:avLst/>
              <a:gdLst>
                <a:gd name="connsiteX0" fmla="*/ 66806 w 115308"/>
                <a:gd name="connsiteY0" fmla="*/ 89526 h 111443"/>
                <a:gd name="connsiteX1" fmla="*/ 49199 w 115308"/>
                <a:gd name="connsiteY1" fmla="*/ 65798 h 111443"/>
                <a:gd name="connsiteX2" fmla="*/ 39210 w 115308"/>
                <a:gd name="connsiteY2" fmla="*/ 49453 h 111443"/>
                <a:gd name="connsiteX3" fmla="*/ 48734 w 115308"/>
                <a:gd name="connsiteY3" fmla="*/ 43138 h 111443"/>
                <a:gd name="connsiteX4" fmla="*/ 62532 w 115308"/>
                <a:gd name="connsiteY4" fmla="*/ 39980 h 111443"/>
                <a:gd name="connsiteX5" fmla="*/ 95843 w 115308"/>
                <a:gd name="connsiteY5" fmla="*/ 43649 h 111443"/>
                <a:gd name="connsiteX6" fmla="*/ 115308 w 115308"/>
                <a:gd name="connsiteY6" fmla="*/ 54561 h 111443"/>
                <a:gd name="connsiteX7" fmla="*/ 114286 w 115308"/>
                <a:gd name="connsiteY7" fmla="*/ 49453 h 111443"/>
                <a:gd name="connsiteX8" fmla="*/ 107457 w 115308"/>
                <a:gd name="connsiteY8" fmla="*/ 32365 h 111443"/>
                <a:gd name="connsiteX9" fmla="*/ 101836 w 115308"/>
                <a:gd name="connsiteY9" fmla="*/ 17924 h 111443"/>
                <a:gd name="connsiteX10" fmla="*/ 94402 w 115308"/>
                <a:gd name="connsiteY10" fmla="*/ 20338 h 111443"/>
                <a:gd name="connsiteX11" fmla="*/ 72335 w 115308"/>
                <a:gd name="connsiteY11" fmla="*/ 14813 h 111443"/>
                <a:gd name="connsiteX12" fmla="*/ 54402 w 115308"/>
                <a:gd name="connsiteY12" fmla="*/ 0 h 111443"/>
                <a:gd name="connsiteX13" fmla="*/ 41487 w 115308"/>
                <a:gd name="connsiteY13" fmla="*/ 9566 h 111443"/>
                <a:gd name="connsiteX14" fmla="*/ 36237 w 115308"/>
                <a:gd name="connsiteY14" fmla="*/ 21221 h 111443"/>
                <a:gd name="connsiteX15" fmla="*/ 28572 w 115308"/>
                <a:gd name="connsiteY15" fmla="*/ 31808 h 111443"/>
                <a:gd name="connsiteX16" fmla="*/ 15192 w 115308"/>
                <a:gd name="connsiteY16" fmla="*/ 31297 h 111443"/>
                <a:gd name="connsiteX17" fmla="*/ 0 w 115308"/>
                <a:gd name="connsiteY17" fmla="*/ 34547 h 111443"/>
                <a:gd name="connsiteX18" fmla="*/ 3903 w 115308"/>
                <a:gd name="connsiteY18" fmla="*/ 44717 h 111443"/>
                <a:gd name="connsiteX19" fmla="*/ 20488 w 115308"/>
                <a:gd name="connsiteY19" fmla="*/ 52471 h 111443"/>
                <a:gd name="connsiteX20" fmla="*/ 39582 w 115308"/>
                <a:gd name="connsiteY20" fmla="*/ 86044 h 111443"/>
                <a:gd name="connsiteX21" fmla="*/ 56818 w 115308"/>
                <a:gd name="connsiteY21" fmla="*/ 96306 h 111443"/>
                <a:gd name="connsiteX22" fmla="*/ 75308 w 115308"/>
                <a:gd name="connsiteY22" fmla="*/ 107264 h 111443"/>
                <a:gd name="connsiteX23" fmla="*/ 84368 w 115308"/>
                <a:gd name="connsiteY23" fmla="*/ 111443 h 111443"/>
                <a:gd name="connsiteX24" fmla="*/ 66853 w 115308"/>
                <a:gd name="connsiteY24" fmla="*/ 89619 h 111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5308" h="111443">
                  <a:moveTo>
                    <a:pt x="66806" y="89526"/>
                  </a:moveTo>
                  <a:cubicBezTo>
                    <a:pt x="67271" y="85301"/>
                    <a:pt x="49199" y="73692"/>
                    <a:pt x="49199" y="65798"/>
                  </a:cubicBezTo>
                  <a:cubicBezTo>
                    <a:pt x="49199" y="57904"/>
                    <a:pt x="40140" y="54700"/>
                    <a:pt x="39210" y="49453"/>
                  </a:cubicBezTo>
                  <a:cubicBezTo>
                    <a:pt x="38235" y="44159"/>
                    <a:pt x="44460" y="39423"/>
                    <a:pt x="48734" y="43138"/>
                  </a:cubicBezTo>
                  <a:cubicBezTo>
                    <a:pt x="53009" y="46806"/>
                    <a:pt x="57794" y="37844"/>
                    <a:pt x="62532" y="39980"/>
                  </a:cubicBezTo>
                  <a:cubicBezTo>
                    <a:pt x="67317" y="42116"/>
                    <a:pt x="95843" y="43649"/>
                    <a:pt x="95843" y="43649"/>
                  </a:cubicBezTo>
                  <a:cubicBezTo>
                    <a:pt x="95843" y="43649"/>
                    <a:pt x="104670" y="46435"/>
                    <a:pt x="115308" y="54561"/>
                  </a:cubicBezTo>
                  <a:cubicBezTo>
                    <a:pt x="115076" y="52378"/>
                    <a:pt x="114751" y="50521"/>
                    <a:pt x="114286" y="49453"/>
                  </a:cubicBezTo>
                  <a:cubicBezTo>
                    <a:pt x="111731" y="42813"/>
                    <a:pt x="114286" y="35197"/>
                    <a:pt x="107457" y="32365"/>
                  </a:cubicBezTo>
                  <a:cubicBezTo>
                    <a:pt x="103926" y="30879"/>
                    <a:pt x="102440" y="24146"/>
                    <a:pt x="101836" y="17924"/>
                  </a:cubicBezTo>
                  <a:cubicBezTo>
                    <a:pt x="98630" y="18992"/>
                    <a:pt x="95889" y="19921"/>
                    <a:pt x="94402" y="20338"/>
                  </a:cubicBezTo>
                  <a:cubicBezTo>
                    <a:pt x="88688" y="21917"/>
                    <a:pt x="76609" y="21128"/>
                    <a:pt x="72335" y="14813"/>
                  </a:cubicBezTo>
                  <a:cubicBezTo>
                    <a:pt x="69129" y="10123"/>
                    <a:pt x="59234" y="3204"/>
                    <a:pt x="54402" y="0"/>
                  </a:cubicBezTo>
                  <a:cubicBezTo>
                    <a:pt x="52405" y="1904"/>
                    <a:pt x="44832" y="9148"/>
                    <a:pt x="41487" y="9566"/>
                  </a:cubicBezTo>
                  <a:cubicBezTo>
                    <a:pt x="37631" y="10076"/>
                    <a:pt x="40047" y="21221"/>
                    <a:pt x="36237" y="21221"/>
                  </a:cubicBezTo>
                  <a:cubicBezTo>
                    <a:pt x="32427" y="21221"/>
                    <a:pt x="29547" y="28650"/>
                    <a:pt x="28572" y="31808"/>
                  </a:cubicBezTo>
                  <a:cubicBezTo>
                    <a:pt x="27596" y="34965"/>
                    <a:pt x="19001" y="29672"/>
                    <a:pt x="15192" y="31297"/>
                  </a:cubicBezTo>
                  <a:cubicBezTo>
                    <a:pt x="12451" y="32458"/>
                    <a:pt x="4414" y="33851"/>
                    <a:pt x="0" y="34547"/>
                  </a:cubicBezTo>
                  <a:cubicBezTo>
                    <a:pt x="650" y="39377"/>
                    <a:pt x="418" y="44717"/>
                    <a:pt x="3903" y="44717"/>
                  </a:cubicBezTo>
                  <a:cubicBezTo>
                    <a:pt x="9663" y="44717"/>
                    <a:pt x="20163" y="44020"/>
                    <a:pt x="20488" y="52471"/>
                  </a:cubicBezTo>
                  <a:cubicBezTo>
                    <a:pt x="20813" y="60922"/>
                    <a:pt x="34518" y="79682"/>
                    <a:pt x="39582" y="86044"/>
                  </a:cubicBezTo>
                  <a:cubicBezTo>
                    <a:pt x="44692" y="92405"/>
                    <a:pt x="56168" y="91012"/>
                    <a:pt x="56818" y="96306"/>
                  </a:cubicBezTo>
                  <a:cubicBezTo>
                    <a:pt x="57468" y="101599"/>
                    <a:pt x="65738" y="106521"/>
                    <a:pt x="75308" y="107264"/>
                  </a:cubicBezTo>
                  <a:cubicBezTo>
                    <a:pt x="77910" y="107450"/>
                    <a:pt x="81023" y="109122"/>
                    <a:pt x="84368" y="111443"/>
                  </a:cubicBezTo>
                  <a:cubicBezTo>
                    <a:pt x="77678" y="100624"/>
                    <a:pt x="66528" y="92544"/>
                    <a:pt x="66853" y="89619"/>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39" name="Freeform 89">
              <a:extLst>
                <a:ext uri="{FF2B5EF4-FFF2-40B4-BE49-F238E27FC236}">
                  <a16:creationId xmlns:a16="http://schemas.microsoft.com/office/drawing/2014/main" id="{43619313-25A7-B387-1846-928FB677816B}"/>
                </a:ext>
              </a:extLst>
            </p:cNvPr>
            <p:cNvSpPr/>
            <p:nvPr/>
          </p:nvSpPr>
          <p:spPr>
            <a:xfrm>
              <a:off x="11394324" y="3772631"/>
              <a:ext cx="183146" cy="408836"/>
            </a:xfrm>
            <a:custGeom>
              <a:avLst/>
              <a:gdLst>
                <a:gd name="connsiteX0" fmla="*/ 25831 w 39210"/>
                <a:gd name="connsiteY0" fmla="*/ 74667 h 87529"/>
                <a:gd name="connsiteX1" fmla="*/ 31080 w 39210"/>
                <a:gd name="connsiteY1" fmla="*/ 65659 h 87529"/>
                <a:gd name="connsiteX2" fmla="*/ 38746 w 39210"/>
                <a:gd name="connsiteY2" fmla="*/ 51914 h 87529"/>
                <a:gd name="connsiteX3" fmla="*/ 39210 w 39210"/>
                <a:gd name="connsiteY3" fmla="*/ 51264 h 87529"/>
                <a:gd name="connsiteX4" fmla="*/ 26713 w 39210"/>
                <a:gd name="connsiteY4" fmla="*/ 36451 h 87529"/>
                <a:gd name="connsiteX5" fmla="*/ 29036 w 39210"/>
                <a:gd name="connsiteY5" fmla="*/ 11655 h 87529"/>
                <a:gd name="connsiteX6" fmla="*/ 10360 w 39210"/>
                <a:gd name="connsiteY6" fmla="*/ 0 h 87529"/>
                <a:gd name="connsiteX7" fmla="*/ 0 w 39210"/>
                <a:gd name="connsiteY7" fmla="*/ 17088 h 87529"/>
                <a:gd name="connsiteX8" fmla="*/ 5854 w 39210"/>
                <a:gd name="connsiteY8" fmla="*/ 31947 h 87529"/>
                <a:gd name="connsiteX9" fmla="*/ 5203 w 39210"/>
                <a:gd name="connsiteY9" fmla="*/ 67237 h 87529"/>
                <a:gd name="connsiteX10" fmla="*/ 19559 w 39210"/>
                <a:gd name="connsiteY10" fmla="*/ 87529 h 87529"/>
                <a:gd name="connsiteX11" fmla="*/ 25738 w 39210"/>
                <a:gd name="connsiteY11" fmla="*/ 74621 h 8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210" h="87529">
                  <a:moveTo>
                    <a:pt x="25831" y="74667"/>
                  </a:moveTo>
                  <a:cubicBezTo>
                    <a:pt x="30616" y="73645"/>
                    <a:pt x="27735" y="69374"/>
                    <a:pt x="31080" y="65659"/>
                  </a:cubicBezTo>
                  <a:cubicBezTo>
                    <a:pt x="34425" y="61944"/>
                    <a:pt x="38235" y="54561"/>
                    <a:pt x="38746" y="51914"/>
                  </a:cubicBezTo>
                  <a:cubicBezTo>
                    <a:pt x="38792" y="51635"/>
                    <a:pt x="38978" y="51403"/>
                    <a:pt x="39210" y="51264"/>
                  </a:cubicBezTo>
                  <a:cubicBezTo>
                    <a:pt x="32706" y="45878"/>
                    <a:pt x="28153" y="41977"/>
                    <a:pt x="26713" y="36451"/>
                  </a:cubicBezTo>
                  <a:cubicBezTo>
                    <a:pt x="25273" y="30786"/>
                    <a:pt x="26760" y="19735"/>
                    <a:pt x="29036" y="11655"/>
                  </a:cubicBezTo>
                  <a:cubicBezTo>
                    <a:pt x="25320" y="8730"/>
                    <a:pt x="13937" y="0"/>
                    <a:pt x="10360" y="0"/>
                  </a:cubicBezTo>
                  <a:cubicBezTo>
                    <a:pt x="6783" y="0"/>
                    <a:pt x="1347" y="8730"/>
                    <a:pt x="0" y="17088"/>
                  </a:cubicBezTo>
                  <a:cubicBezTo>
                    <a:pt x="8362" y="22010"/>
                    <a:pt x="11661" y="25539"/>
                    <a:pt x="5854" y="31947"/>
                  </a:cubicBezTo>
                  <a:cubicBezTo>
                    <a:pt x="-186" y="38634"/>
                    <a:pt x="-1487" y="61247"/>
                    <a:pt x="5203" y="67237"/>
                  </a:cubicBezTo>
                  <a:cubicBezTo>
                    <a:pt x="11568" y="72949"/>
                    <a:pt x="13426" y="84325"/>
                    <a:pt x="19559" y="87529"/>
                  </a:cubicBezTo>
                  <a:cubicBezTo>
                    <a:pt x="21278" y="81818"/>
                    <a:pt x="22625" y="75363"/>
                    <a:pt x="25738" y="74621"/>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40" name="Freeform 90">
              <a:extLst>
                <a:ext uri="{FF2B5EF4-FFF2-40B4-BE49-F238E27FC236}">
                  <a16:creationId xmlns:a16="http://schemas.microsoft.com/office/drawing/2014/main" id="{75CD2724-1B6A-08C7-F74E-95127194B5B4}"/>
                </a:ext>
              </a:extLst>
            </p:cNvPr>
            <p:cNvSpPr/>
            <p:nvPr/>
          </p:nvSpPr>
          <p:spPr>
            <a:xfrm>
              <a:off x="10735274" y="2577783"/>
              <a:ext cx="621295" cy="358955"/>
            </a:xfrm>
            <a:custGeom>
              <a:avLst/>
              <a:gdLst>
                <a:gd name="connsiteX0" fmla="*/ 125861 w 133015"/>
                <a:gd name="connsiteY0" fmla="*/ 34872 h 76849"/>
                <a:gd name="connsiteX1" fmla="*/ 111598 w 133015"/>
                <a:gd name="connsiteY1" fmla="*/ 30925 h 76849"/>
                <a:gd name="connsiteX2" fmla="*/ 105930 w 133015"/>
                <a:gd name="connsiteY2" fmla="*/ 22242 h 76849"/>
                <a:gd name="connsiteX3" fmla="*/ 93852 w 133015"/>
                <a:gd name="connsiteY3" fmla="*/ 24610 h 76849"/>
                <a:gd name="connsiteX4" fmla="*/ 82423 w 133015"/>
                <a:gd name="connsiteY4" fmla="*/ 19085 h 76849"/>
                <a:gd name="connsiteX5" fmla="*/ 68207 w 133015"/>
                <a:gd name="connsiteY5" fmla="*/ 8033 h 76849"/>
                <a:gd name="connsiteX6" fmla="*/ 55710 w 133015"/>
                <a:gd name="connsiteY6" fmla="*/ 0 h 76849"/>
                <a:gd name="connsiteX7" fmla="*/ 54595 w 133015"/>
                <a:gd name="connsiteY7" fmla="*/ 2554 h 76849"/>
                <a:gd name="connsiteX8" fmla="*/ 43120 w 133015"/>
                <a:gd name="connsiteY8" fmla="*/ 3111 h 76849"/>
                <a:gd name="connsiteX9" fmla="*/ 25419 w 133015"/>
                <a:gd name="connsiteY9" fmla="*/ 12119 h 76849"/>
                <a:gd name="connsiteX10" fmla="*/ 2933 w 133015"/>
                <a:gd name="connsiteY10" fmla="*/ 21638 h 76849"/>
                <a:gd name="connsiteX11" fmla="*/ 4374 w 133015"/>
                <a:gd name="connsiteY11" fmla="*/ 34362 h 76849"/>
                <a:gd name="connsiteX12" fmla="*/ 11528 w 133015"/>
                <a:gd name="connsiteY12" fmla="*/ 54514 h 76849"/>
                <a:gd name="connsiteX13" fmla="*/ 34014 w 133015"/>
                <a:gd name="connsiteY13" fmla="*/ 73042 h 76849"/>
                <a:gd name="connsiteX14" fmla="*/ 33735 w 133015"/>
                <a:gd name="connsiteY14" fmla="*/ 74853 h 76849"/>
                <a:gd name="connsiteX15" fmla="*/ 52504 w 133015"/>
                <a:gd name="connsiteY15" fmla="*/ 73599 h 76849"/>
                <a:gd name="connsiteX16" fmla="*/ 56081 w 133015"/>
                <a:gd name="connsiteY16" fmla="*/ 62548 h 76849"/>
                <a:gd name="connsiteX17" fmla="*/ 76012 w 133015"/>
                <a:gd name="connsiteY17" fmla="*/ 69652 h 76849"/>
                <a:gd name="connsiteX18" fmla="*/ 92411 w 133015"/>
                <a:gd name="connsiteY18" fmla="*/ 72020 h 76849"/>
                <a:gd name="connsiteX19" fmla="*/ 93945 w 133015"/>
                <a:gd name="connsiteY19" fmla="*/ 76849 h 76849"/>
                <a:gd name="connsiteX20" fmla="*/ 99937 w 133015"/>
                <a:gd name="connsiteY20" fmla="*/ 69141 h 76849"/>
                <a:gd name="connsiteX21" fmla="*/ 120518 w 133015"/>
                <a:gd name="connsiteY21" fmla="*/ 57765 h 76849"/>
                <a:gd name="connsiteX22" fmla="*/ 133015 w 133015"/>
                <a:gd name="connsiteY22" fmla="*/ 46388 h 76849"/>
                <a:gd name="connsiteX23" fmla="*/ 125861 w 133015"/>
                <a:gd name="connsiteY23" fmla="*/ 35012 h 7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3015" h="76849">
                  <a:moveTo>
                    <a:pt x="125861" y="34872"/>
                  </a:moveTo>
                  <a:cubicBezTo>
                    <a:pt x="122284" y="32504"/>
                    <a:pt x="112295" y="34083"/>
                    <a:pt x="111598" y="30925"/>
                  </a:cubicBezTo>
                  <a:cubicBezTo>
                    <a:pt x="110901" y="27768"/>
                    <a:pt x="110205" y="22242"/>
                    <a:pt x="105930" y="22242"/>
                  </a:cubicBezTo>
                  <a:cubicBezTo>
                    <a:pt x="101656" y="22242"/>
                    <a:pt x="95942" y="19085"/>
                    <a:pt x="93852" y="24610"/>
                  </a:cubicBezTo>
                  <a:cubicBezTo>
                    <a:pt x="91714" y="30136"/>
                    <a:pt x="83166" y="23032"/>
                    <a:pt x="82423" y="19085"/>
                  </a:cubicBezTo>
                  <a:cubicBezTo>
                    <a:pt x="81726" y="15138"/>
                    <a:pt x="78149" y="11980"/>
                    <a:pt x="68207" y="8033"/>
                  </a:cubicBezTo>
                  <a:cubicBezTo>
                    <a:pt x="64258" y="6454"/>
                    <a:pt x="59751" y="3297"/>
                    <a:pt x="55710" y="0"/>
                  </a:cubicBezTo>
                  <a:cubicBezTo>
                    <a:pt x="55384" y="929"/>
                    <a:pt x="55013" y="1857"/>
                    <a:pt x="54595" y="2554"/>
                  </a:cubicBezTo>
                  <a:cubicBezTo>
                    <a:pt x="52690" y="5758"/>
                    <a:pt x="46000" y="-93"/>
                    <a:pt x="43120" y="3111"/>
                  </a:cubicBezTo>
                  <a:cubicBezTo>
                    <a:pt x="40239" y="6269"/>
                    <a:pt x="30669" y="6826"/>
                    <a:pt x="25419" y="12119"/>
                  </a:cubicBezTo>
                  <a:cubicBezTo>
                    <a:pt x="20169" y="17413"/>
                    <a:pt x="9159" y="20060"/>
                    <a:pt x="2933" y="21638"/>
                  </a:cubicBezTo>
                  <a:cubicBezTo>
                    <a:pt x="-3292" y="23217"/>
                    <a:pt x="1958" y="29579"/>
                    <a:pt x="4374" y="34362"/>
                  </a:cubicBezTo>
                  <a:cubicBezTo>
                    <a:pt x="6790" y="39098"/>
                    <a:pt x="6790" y="50799"/>
                    <a:pt x="11528" y="54514"/>
                  </a:cubicBezTo>
                  <a:cubicBezTo>
                    <a:pt x="16313" y="58229"/>
                    <a:pt x="32109" y="69327"/>
                    <a:pt x="34014" y="73042"/>
                  </a:cubicBezTo>
                  <a:cubicBezTo>
                    <a:pt x="34339" y="73692"/>
                    <a:pt x="34153" y="74249"/>
                    <a:pt x="33735" y="74853"/>
                  </a:cubicBezTo>
                  <a:cubicBezTo>
                    <a:pt x="40378" y="76849"/>
                    <a:pt x="50738" y="76896"/>
                    <a:pt x="52504" y="73599"/>
                  </a:cubicBezTo>
                  <a:cubicBezTo>
                    <a:pt x="54641" y="69652"/>
                    <a:pt x="56081" y="62548"/>
                    <a:pt x="56081" y="62548"/>
                  </a:cubicBezTo>
                  <a:cubicBezTo>
                    <a:pt x="56081" y="62548"/>
                    <a:pt x="70297" y="62548"/>
                    <a:pt x="76012" y="69652"/>
                  </a:cubicBezTo>
                  <a:cubicBezTo>
                    <a:pt x="81726" y="76757"/>
                    <a:pt x="92411" y="72020"/>
                    <a:pt x="92411" y="72020"/>
                  </a:cubicBezTo>
                  <a:cubicBezTo>
                    <a:pt x="92411" y="72020"/>
                    <a:pt x="93015" y="74017"/>
                    <a:pt x="93945" y="76849"/>
                  </a:cubicBezTo>
                  <a:cubicBezTo>
                    <a:pt x="95477" y="72949"/>
                    <a:pt x="97475" y="69513"/>
                    <a:pt x="99937" y="69141"/>
                  </a:cubicBezTo>
                  <a:cubicBezTo>
                    <a:pt x="105930" y="68212"/>
                    <a:pt x="114525" y="67237"/>
                    <a:pt x="120518" y="57765"/>
                  </a:cubicBezTo>
                  <a:cubicBezTo>
                    <a:pt x="123631" y="52889"/>
                    <a:pt x="128741" y="48989"/>
                    <a:pt x="133015" y="46388"/>
                  </a:cubicBezTo>
                  <a:cubicBezTo>
                    <a:pt x="130135" y="42488"/>
                    <a:pt x="128648" y="36823"/>
                    <a:pt x="125861" y="35012"/>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41" name="Freeform 93">
              <a:extLst>
                <a:ext uri="{FF2B5EF4-FFF2-40B4-BE49-F238E27FC236}">
                  <a16:creationId xmlns:a16="http://schemas.microsoft.com/office/drawing/2014/main" id="{B78A89EE-5492-AE1E-8A03-D444B367648F}"/>
                </a:ext>
              </a:extLst>
            </p:cNvPr>
            <p:cNvSpPr/>
            <p:nvPr/>
          </p:nvSpPr>
          <p:spPr>
            <a:xfrm>
              <a:off x="11174073" y="2794027"/>
              <a:ext cx="564410" cy="251095"/>
            </a:xfrm>
            <a:custGeom>
              <a:avLst/>
              <a:gdLst>
                <a:gd name="connsiteX0" fmla="*/ 89617 w 120836"/>
                <a:gd name="connsiteY0" fmla="*/ 5154 h 53758"/>
                <a:gd name="connsiteX1" fmla="*/ 73264 w 120836"/>
                <a:gd name="connsiteY1" fmla="*/ 3575 h 53758"/>
                <a:gd name="connsiteX2" fmla="*/ 54727 w 120836"/>
                <a:gd name="connsiteY2" fmla="*/ 1207 h 53758"/>
                <a:gd name="connsiteX3" fmla="*/ 41905 w 120836"/>
                <a:gd name="connsiteY3" fmla="*/ 2786 h 53758"/>
                <a:gd name="connsiteX4" fmla="*/ 39071 w 120836"/>
                <a:gd name="connsiteY4" fmla="*/ 0 h 53758"/>
                <a:gd name="connsiteX5" fmla="*/ 26574 w 120836"/>
                <a:gd name="connsiteY5" fmla="*/ 11376 h 53758"/>
                <a:gd name="connsiteX6" fmla="*/ 5993 w 120836"/>
                <a:gd name="connsiteY6" fmla="*/ 22753 h 53758"/>
                <a:gd name="connsiteX7" fmla="*/ 0 w 120836"/>
                <a:gd name="connsiteY7" fmla="*/ 30461 h 53758"/>
                <a:gd name="connsiteX8" fmla="*/ 9849 w 120836"/>
                <a:gd name="connsiteY8" fmla="*/ 49314 h 53758"/>
                <a:gd name="connsiteX9" fmla="*/ 39071 w 120836"/>
                <a:gd name="connsiteY9" fmla="*/ 49314 h 53758"/>
                <a:gd name="connsiteX10" fmla="*/ 61882 w 120836"/>
                <a:gd name="connsiteY10" fmla="*/ 41420 h 53758"/>
                <a:gd name="connsiteX11" fmla="*/ 81859 w 120836"/>
                <a:gd name="connsiteY11" fmla="*/ 27211 h 53758"/>
                <a:gd name="connsiteX12" fmla="*/ 101789 w 120836"/>
                <a:gd name="connsiteY12" fmla="*/ 34315 h 53758"/>
                <a:gd name="connsiteX13" fmla="*/ 115355 w 120836"/>
                <a:gd name="connsiteY13" fmla="*/ 39702 h 53758"/>
                <a:gd name="connsiteX14" fmla="*/ 110848 w 120836"/>
                <a:gd name="connsiteY14" fmla="*/ 31483 h 53758"/>
                <a:gd name="connsiteX15" fmla="*/ 120419 w 120836"/>
                <a:gd name="connsiteY15" fmla="*/ 14023 h 53758"/>
                <a:gd name="connsiteX16" fmla="*/ 120837 w 120836"/>
                <a:gd name="connsiteY16" fmla="*/ 13280 h 53758"/>
                <a:gd name="connsiteX17" fmla="*/ 108200 w 120836"/>
                <a:gd name="connsiteY17" fmla="*/ 9890 h 53758"/>
                <a:gd name="connsiteX18" fmla="*/ 89710 w 120836"/>
                <a:gd name="connsiteY18" fmla="*/ 5154 h 5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836" h="53758">
                  <a:moveTo>
                    <a:pt x="89617" y="5154"/>
                  </a:moveTo>
                  <a:cubicBezTo>
                    <a:pt x="82509" y="5897"/>
                    <a:pt x="78932" y="1207"/>
                    <a:pt x="73264" y="3575"/>
                  </a:cubicBezTo>
                  <a:cubicBezTo>
                    <a:pt x="67550" y="5944"/>
                    <a:pt x="58305" y="3575"/>
                    <a:pt x="54727" y="1207"/>
                  </a:cubicBezTo>
                  <a:cubicBezTo>
                    <a:pt x="51150" y="-1161"/>
                    <a:pt x="46876" y="5944"/>
                    <a:pt x="41905" y="2786"/>
                  </a:cubicBezTo>
                  <a:cubicBezTo>
                    <a:pt x="40790" y="2089"/>
                    <a:pt x="39861" y="1114"/>
                    <a:pt x="39071" y="0"/>
                  </a:cubicBezTo>
                  <a:cubicBezTo>
                    <a:pt x="34797" y="2600"/>
                    <a:pt x="29686" y="6501"/>
                    <a:pt x="26574" y="11376"/>
                  </a:cubicBezTo>
                  <a:cubicBezTo>
                    <a:pt x="20581" y="20849"/>
                    <a:pt x="12032" y="21824"/>
                    <a:pt x="5993" y="22753"/>
                  </a:cubicBezTo>
                  <a:cubicBezTo>
                    <a:pt x="3531" y="23171"/>
                    <a:pt x="1533" y="26607"/>
                    <a:pt x="0" y="30461"/>
                  </a:cubicBezTo>
                  <a:cubicBezTo>
                    <a:pt x="1951" y="36033"/>
                    <a:pt x="5575" y="45088"/>
                    <a:pt x="9849" y="49314"/>
                  </a:cubicBezTo>
                  <a:cubicBezTo>
                    <a:pt x="16260" y="55629"/>
                    <a:pt x="39071" y="54839"/>
                    <a:pt x="39071" y="49314"/>
                  </a:cubicBezTo>
                  <a:cubicBezTo>
                    <a:pt x="39071" y="43788"/>
                    <a:pt x="57608" y="41420"/>
                    <a:pt x="61882" y="41420"/>
                  </a:cubicBezTo>
                  <a:cubicBezTo>
                    <a:pt x="66156" y="41420"/>
                    <a:pt x="79722" y="26421"/>
                    <a:pt x="81859" y="27211"/>
                  </a:cubicBezTo>
                  <a:cubicBezTo>
                    <a:pt x="83996" y="28000"/>
                    <a:pt x="98258" y="30368"/>
                    <a:pt x="101789" y="34315"/>
                  </a:cubicBezTo>
                  <a:cubicBezTo>
                    <a:pt x="103554" y="36266"/>
                    <a:pt x="109362" y="38216"/>
                    <a:pt x="115355" y="39702"/>
                  </a:cubicBezTo>
                  <a:cubicBezTo>
                    <a:pt x="112846" y="37241"/>
                    <a:pt x="110848" y="34083"/>
                    <a:pt x="110848" y="31483"/>
                  </a:cubicBezTo>
                  <a:cubicBezTo>
                    <a:pt x="110848" y="27257"/>
                    <a:pt x="118049" y="16113"/>
                    <a:pt x="120419" y="14023"/>
                  </a:cubicBezTo>
                  <a:cubicBezTo>
                    <a:pt x="120604" y="13837"/>
                    <a:pt x="120697" y="13559"/>
                    <a:pt x="120837" y="13280"/>
                  </a:cubicBezTo>
                  <a:cubicBezTo>
                    <a:pt x="115355" y="12352"/>
                    <a:pt x="109315" y="11144"/>
                    <a:pt x="108200" y="9890"/>
                  </a:cubicBezTo>
                  <a:cubicBezTo>
                    <a:pt x="106063" y="7522"/>
                    <a:pt x="96818" y="4365"/>
                    <a:pt x="89710" y="5154"/>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42" name="Freeform 94">
              <a:extLst>
                <a:ext uri="{FF2B5EF4-FFF2-40B4-BE49-F238E27FC236}">
                  <a16:creationId xmlns:a16="http://schemas.microsoft.com/office/drawing/2014/main" id="{43D8B347-4E3B-1BCB-B13C-0C1313828720}"/>
                </a:ext>
              </a:extLst>
            </p:cNvPr>
            <p:cNvSpPr/>
            <p:nvPr/>
          </p:nvSpPr>
          <p:spPr>
            <a:xfrm>
              <a:off x="12152741" y="2945054"/>
              <a:ext cx="311605" cy="428503"/>
            </a:xfrm>
            <a:custGeom>
              <a:avLst/>
              <a:gdLst>
                <a:gd name="connsiteX0" fmla="*/ 48270 w 66713"/>
                <a:gd name="connsiteY0" fmla="*/ 23341 h 91739"/>
                <a:gd name="connsiteX1" fmla="*/ 32938 w 66713"/>
                <a:gd name="connsiteY1" fmla="*/ 10618 h 91739"/>
                <a:gd name="connsiteX2" fmla="*/ 15703 w 66713"/>
                <a:gd name="connsiteY2" fmla="*/ 31 h 91739"/>
                <a:gd name="connsiteX3" fmla="*/ 0 w 66713"/>
                <a:gd name="connsiteY3" fmla="*/ 4442 h 91739"/>
                <a:gd name="connsiteX4" fmla="*/ 14216 w 66713"/>
                <a:gd name="connsiteY4" fmla="*/ 31374 h 91739"/>
                <a:gd name="connsiteX5" fmla="*/ 27875 w 66713"/>
                <a:gd name="connsiteY5" fmla="*/ 64854 h 91739"/>
                <a:gd name="connsiteX6" fmla="*/ 31591 w 66713"/>
                <a:gd name="connsiteY6" fmla="*/ 91740 h 91739"/>
                <a:gd name="connsiteX7" fmla="*/ 43763 w 66713"/>
                <a:gd name="connsiteY7" fmla="*/ 70658 h 91739"/>
                <a:gd name="connsiteX8" fmla="*/ 52033 w 66713"/>
                <a:gd name="connsiteY8" fmla="*/ 60071 h 91739"/>
                <a:gd name="connsiteX9" fmla="*/ 66713 w 66713"/>
                <a:gd name="connsiteY9" fmla="*/ 62904 h 91739"/>
                <a:gd name="connsiteX10" fmla="*/ 61603 w 66713"/>
                <a:gd name="connsiteY10" fmla="*/ 47348 h 91739"/>
                <a:gd name="connsiteX11" fmla="*/ 48223 w 66713"/>
                <a:gd name="connsiteY11" fmla="*/ 23341 h 91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713" h="91739">
                  <a:moveTo>
                    <a:pt x="48270" y="23341"/>
                  </a:moveTo>
                  <a:cubicBezTo>
                    <a:pt x="45714" y="14147"/>
                    <a:pt x="37445" y="10618"/>
                    <a:pt x="32938" y="10618"/>
                  </a:cubicBezTo>
                  <a:cubicBezTo>
                    <a:pt x="28432" y="10618"/>
                    <a:pt x="20813" y="-666"/>
                    <a:pt x="15703" y="31"/>
                  </a:cubicBezTo>
                  <a:cubicBezTo>
                    <a:pt x="12915" y="403"/>
                    <a:pt x="6039" y="2260"/>
                    <a:pt x="0" y="4442"/>
                  </a:cubicBezTo>
                  <a:cubicBezTo>
                    <a:pt x="5528" y="16005"/>
                    <a:pt x="11475" y="27845"/>
                    <a:pt x="14216" y="31374"/>
                  </a:cubicBezTo>
                  <a:cubicBezTo>
                    <a:pt x="20070" y="38943"/>
                    <a:pt x="32706" y="59421"/>
                    <a:pt x="27875" y="64854"/>
                  </a:cubicBezTo>
                  <a:cubicBezTo>
                    <a:pt x="24065" y="69080"/>
                    <a:pt x="25645" y="86400"/>
                    <a:pt x="31591" y="91740"/>
                  </a:cubicBezTo>
                  <a:cubicBezTo>
                    <a:pt x="34379" y="87746"/>
                    <a:pt x="43763" y="74605"/>
                    <a:pt x="43763" y="70658"/>
                  </a:cubicBezTo>
                  <a:cubicBezTo>
                    <a:pt x="43763" y="66433"/>
                    <a:pt x="44414" y="57935"/>
                    <a:pt x="52033" y="60071"/>
                  </a:cubicBezTo>
                  <a:cubicBezTo>
                    <a:pt x="59698" y="62207"/>
                    <a:pt x="66713" y="65736"/>
                    <a:pt x="66713" y="62904"/>
                  </a:cubicBezTo>
                  <a:cubicBezTo>
                    <a:pt x="66713" y="60071"/>
                    <a:pt x="64809" y="50924"/>
                    <a:pt x="61603" y="47348"/>
                  </a:cubicBezTo>
                  <a:cubicBezTo>
                    <a:pt x="58398" y="43819"/>
                    <a:pt x="50778" y="32535"/>
                    <a:pt x="48223" y="23341"/>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43" name="Freeform 105">
              <a:extLst>
                <a:ext uri="{FF2B5EF4-FFF2-40B4-BE49-F238E27FC236}">
                  <a16:creationId xmlns:a16="http://schemas.microsoft.com/office/drawing/2014/main" id="{A52D5861-0B3D-ACC7-C712-EA78CFAA29B4}"/>
                </a:ext>
              </a:extLst>
            </p:cNvPr>
            <p:cNvSpPr/>
            <p:nvPr/>
          </p:nvSpPr>
          <p:spPr>
            <a:xfrm>
              <a:off x="11697789" y="3558996"/>
              <a:ext cx="628323" cy="382593"/>
            </a:xfrm>
            <a:custGeom>
              <a:avLst/>
              <a:gdLst>
                <a:gd name="connsiteX0" fmla="*/ 104230 w 134520"/>
                <a:gd name="connsiteY0" fmla="*/ 650 h 81910"/>
                <a:gd name="connsiteX1" fmla="*/ 78679 w 134520"/>
                <a:gd name="connsiteY1" fmla="*/ 5619 h 81910"/>
                <a:gd name="connsiteX2" fmla="*/ 63394 w 134520"/>
                <a:gd name="connsiteY2" fmla="*/ 12677 h 81910"/>
                <a:gd name="connsiteX3" fmla="*/ 40444 w 134520"/>
                <a:gd name="connsiteY3" fmla="*/ 11980 h 81910"/>
                <a:gd name="connsiteX4" fmla="*/ 17494 w 134520"/>
                <a:gd name="connsiteY4" fmla="*/ 9148 h 81910"/>
                <a:gd name="connsiteX5" fmla="*/ 5182 w 134520"/>
                <a:gd name="connsiteY5" fmla="*/ 0 h 81910"/>
                <a:gd name="connsiteX6" fmla="*/ 3417 w 134520"/>
                <a:gd name="connsiteY6" fmla="*/ 2275 h 81910"/>
                <a:gd name="connsiteX7" fmla="*/ 3417 w 134520"/>
                <a:gd name="connsiteY7" fmla="*/ 18713 h 81910"/>
                <a:gd name="connsiteX8" fmla="*/ 10107 w 134520"/>
                <a:gd name="connsiteY8" fmla="*/ 34083 h 81910"/>
                <a:gd name="connsiteX9" fmla="*/ 2906 w 134520"/>
                <a:gd name="connsiteY9" fmla="*/ 43602 h 81910"/>
                <a:gd name="connsiteX10" fmla="*/ 2906 w 134520"/>
                <a:gd name="connsiteY10" fmla="*/ 55257 h 81910"/>
                <a:gd name="connsiteX11" fmla="*/ 14845 w 134520"/>
                <a:gd name="connsiteY11" fmla="*/ 70627 h 81910"/>
                <a:gd name="connsiteX12" fmla="*/ 19073 w 134520"/>
                <a:gd name="connsiteY12" fmla="*/ 77314 h 81910"/>
                <a:gd name="connsiteX13" fmla="*/ 48016 w 134520"/>
                <a:gd name="connsiteY13" fmla="*/ 77685 h 81910"/>
                <a:gd name="connsiteX14" fmla="*/ 71013 w 134520"/>
                <a:gd name="connsiteY14" fmla="*/ 81911 h 81910"/>
                <a:gd name="connsiteX15" fmla="*/ 79283 w 134520"/>
                <a:gd name="connsiteY15" fmla="*/ 76292 h 81910"/>
                <a:gd name="connsiteX16" fmla="*/ 89643 w 134520"/>
                <a:gd name="connsiteY16" fmla="*/ 70813 h 81910"/>
                <a:gd name="connsiteX17" fmla="*/ 89457 w 134520"/>
                <a:gd name="connsiteY17" fmla="*/ 64312 h 81910"/>
                <a:gd name="connsiteX18" fmla="*/ 111478 w 134520"/>
                <a:gd name="connsiteY18" fmla="*/ 64312 h 81910"/>
                <a:gd name="connsiteX19" fmla="*/ 120212 w 134520"/>
                <a:gd name="connsiteY19" fmla="*/ 62501 h 81910"/>
                <a:gd name="connsiteX20" fmla="*/ 117239 w 134520"/>
                <a:gd name="connsiteY20" fmla="*/ 56883 h 81910"/>
                <a:gd name="connsiteX21" fmla="*/ 112779 w 134520"/>
                <a:gd name="connsiteY21" fmla="*/ 38866 h 81910"/>
                <a:gd name="connsiteX22" fmla="*/ 130015 w 134520"/>
                <a:gd name="connsiteY22" fmla="*/ 18388 h 81910"/>
                <a:gd name="connsiteX23" fmla="*/ 134521 w 134520"/>
                <a:gd name="connsiteY23" fmla="*/ 13280 h 81910"/>
                <a:gd name="connsiteX24" fmla="*/ 121420 w 134520"/>
                <a:gd name="connsiteY24" fmla="*/ 6408 h 81910"/>
                <a:gd name="connsiteX25" fmla="*/ 104184 w 134520"/>
                <a:gd name="connsiteY25" fmla="*/ 743 h 81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4520" h="81910">
                  <a:moveTo>
                    <a:pt x="104230" y="650"/>
                  </a:moveTo>
                  <a:cubicBezTo>
                    <a:pt x="99120" y="-46"/>
                    <a:pt x="83185" y="650"/>
                    <a:pt x="78679" y="5619"/>
                  </a:cubicBezTo>
                  <a:cubicBezTo>
                    <a:pt x="74219" y="10541"/>
                    <a:pt x="68504" y="13373"/>
                    <a:pt x="63394" y="12677"/>
                  </a:cubicBezTo>
                  <a:cubicBezTo>
                    <a:pt x="58284" y="11980"/>
                    <a:pt x="43603" y="11284"/>
                    <a:pt x="40444" y="11980"/>
                  </a:cubicBezTo>
                  <a:cubicBezTo>
                    <a:pt x="37285" y="12677"/>
                    <a:pt x="20049" y="8451"/>
                    <a:pt x="17494" y="9148"/>
                  </a:cubicBezTo>
                  <a:cubicBezTo>
                    <a:pt x="15217" y="9751"/>
                    <a:pt x="10990" y="1068"/>
                    <a:pt x="5182" y="0"/>
                  </a:cubicBezTo>
                  <a:cubicBezTo>
                    <a:pt x="4903" y="789"/>
                    <a:pt x="4392" y="1579"/>
                    <a:pt x="3417" y="2275"/>
                  </a:cubicBezTo>
                  <a:cubicBezTo>
                    <a:pt x="-904" y="5479"/>
                    <a:pt x="-1368" y="13930"/>
                    <a:pt x="3417" y="18713"/>
                  </a:cubicBezTo>
                  <a:cubicBezTo>
                    <a:pt x="8202" y="23496"/>
                    <a:pt x="14428" y="34083"/>
                    <a:pt x="10107" y="34083"/>
                  </a:cubicBezTo>
                  <a:cubicBezTo>
                    <a:pt x="5786" y="34083"/>
                    <a:pt x="2441" y="40445"/>
                    <a:pt x="2906" y="43602"/>
                  </a:cubicBezTo>
                  <a:cubicBezTo>
                    <a:pt x="3371" y="46806"/>
                    <a:pt x="1466" y="53679"/>
                    <a:pt x="2906" y="55257"/>
                  </a:cubicBezTo>
                  <a:cubicBezTo>
                    <a:pt x="4346" y="56836"/>
                    <a:pt x="14381" y="67470"/>
                    <a:pt x="14845" y="70627"/>
                  </a:cubicBezTo>
                  <a:cubicBezTo>
                    <a:pt x="15264" y="73413"/>
                    <a:pt x="19399" y="74853"/>
                    <a:pt x="19073" y="77314"/>
                  </a:cubicBezTo>
                  <a:cubicBezTo>
                    <a:pt x="27110" y="76664"/>
                    <a:pt x="44160" y="75549"/>
                    <a:pt x="48016" y="77685"/>
                  </a:cubicBezTo>
                  <a:cubicBezTo>
                    <a:pt x="53127" y="80518"/>
                    <a:pt x="71013" y="81911"/>
                    <a:pt x="71013" y="81911"/>
                  </a:cubicBezTo>
                  <a:cubicBezTo>
                    <a:pt x="76077" y="81911"/>
                    <a:pt x="80583" y="79821"/>
                    <a:pt x="79283" y="76292"/>
                  </a:cubicBezTo>
                  <a:cubicBezTo>
                    <a:pt x="78214" y="73320"/>
                    <a:pt x="84858" y="71324"/>
                    <a:pt x="89643" y="70813"/>
                  </a:cubicBezTo>
                  <a:cubicBezTo>
                    <a:pt x="88807" y="67562"/>
                    <a:pt x="88249" y="64869"/>
                    <a:pt x="89457" y="64312"/>
                  </a:cubicBezTo>
                  <a:cubicBezTo>
                    <a:pt x="91826" y="63244"/>
                    <a:pt x="105717" y="61154"/>
                    <a:pt x="111478" y="64312"/>
                  </a:cubicBezTo>
                  <a:cubicBezTo>
                    <a:pt x="114405" y="65937"/>
                    <a:pt x="117657" y="64405"/>
                    <a:pt x="120212" y="62501"/>
                  </a:cubicBezTo>
                  <a:cubicBezTo>
                    <a:pt x="119469" y="59529"/>
                    <a:pt x="118725" y="57208"/>
                    <a:pt x="117239" y="56883"/>
                  </a:cubicBezTo>
                  <a:cubicBezTo>
                    <a:pt x="113708" y="56186"/>
                    <a:pt x="108319" y="39934"/>
                    <a:pt x="112779" y="38866"/>
                  </a:cubicBezTo>
                  <a:cubicBezTo>
                    <a:pt x="117239" y="37798"/>
                    <a:pt x="123000" y="20849"/>
                    <a:pt x="130015" y="18388"/>
                  </a:cubicBezTo>
                  <a:cubicBezTo>
                    <a:pt x="132802" y="17413"/>
                    <a:pt x="134010" y="15556"/>
                    <a:pt x="134521" y="13280"/>
                  </a:cubicBezTo>
                  <a:cubicBezTo>
                    <a:pt x="128435" y="11005"/>
                    <a:pt x="122442" y="8265"/>
                    <a:pt x="121420" y="6408"/>
                  </a:cubicBezTo>
                  <a:cubicBezTo>
                    <a:pt x="119515" y="2879"/>
                    <a:pt x="109294" y="1439"/>
                    <a:pt x="104184" y="743"/>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44" name="Freeform 106">
              <a:extLst>
                <a:ext uri="{FF2B5EF4-FFF2-40B4-BE49-F238E27FC236}">
                  <a16:creationId xmlns:a16="http://schemas.microsoft.com/office/drawing/2014/main" id="{BFC4CDAC-2DF5-BCB1-3232-4BD5AA48ED26}"/>
                </a:ext>
              </a:extLst>
            </p:cNvPr>
            <p:cNvSpPr/>
            <p:nvPr/>
          </p:nvSpPr>
          <p:spPr>
            <a:xfrm>
              <a:off x="11516998" y="3796704"/>
              <a:ext cx="270606" cy="215370"/>
            </a:xfrm>
            <a:custGeom>
              <a:avLst/>
              <a:gdLst>
                <a:gd name="connsiteX0" fmla="*/ 12946 w 57935"/>
                <a:gd name="connsiteY0" fmla="*/ 46063 h 46109"/>
                <a:gd name="connsiteX1" fmla="*/ 12946 w 57935"/>
                <a:gd name="connsiteY1" fmla="*/ 46063 h 46109"/>
                <a:gd name="connsiteX2" fmla="*/ 13783 w 57935"/>
                <a:gd name="connsiteY2" fmla="*/ 45645 h 46109"/>
                <a:gd name="connsiteX3" fmla="*/ 13969 w 57935"/>
                <a:gd name="connsiteY3" fmla="*/ 45552 h 46109"/>
                <a:gd name="connsiteX4" fmla="*/ 15176 w 57935"/>
                <a:gd name="connsiteY4" fmla="*/ 45367 h 46109"/>
                <a:gd name="connsiteX5" fmla="*/ 15362 w 57935"/>
                <a:gd name="connsiteY5" fmla="*/ 45367 h 46109"/>
                <a:gd name="connsiteX6" fmla="*/ 22285 w 57935"/>
                <a:gd name="connsiteY6" fmla="*/ 45227 h 46109"/>
                <a:gd name="connsiteX7" fmla="*/ 22795 w 57935"/>
                <a:gd name="connsiteY7" fmla="*/ 45227 h 46109"/>
                <a:gd name="connsiteX8" fmla="*/ 24514 w 57935"/>
                <a:gd name="connsiteY8" fmla="*/ 45088 h 46109"/>
                <a:gd name="connsiteX9" fmla="*/ 25165 w 57935"/>
                <a:gd name="connsiteY9" fmla="*/ 45042 h 46109"/>
                <a:gd name="connsiteX10" fmla="*/ 27348 w 57935"/>
                <a:gd name="connsiteY10" fmla="*/ 44624 h 46109"/>
                <a:gd name="connsiteX11" fmla="*/ 37383 w 57935"/>
                <a:gd name="connsiteY11" fmla="*/ 37751 h 46109"/>
                <a:gd name="connsiteX12" fmla="*/ 57500 w 57935"/>
                <a:gd name="connsiteY12" fmla="*/ 27536 h 46109"/>
                <a:gd name="connsiteX13" fmla="*/ 57918 w 57935"/>
                <a:gd name="connsiteY13" fmla="*/ 26468 h 46109"/>
                <a:gd name="connsiteX14" fmla="*/ 53690 w 57935"/>
                <a:gd name="connsiteY14" fmla="*/ 19781 h 46109"/>
                <a:gd name="connsiteX15" fmla="*/ 41750 w 57935"/>
                <a:gd name="connsiteY15" fmla="*/ 4411 h 46109"/>
                <a:gd name="connsiteX16" fmla="*/ 41286 w 57935"/>
                <a:gd name="connsiteY16" fmla="*/ 2786 h 46109"/>
                <a:gd name="connsiteX17" fmla="*/ 41286 w 57935"/>
                <a:gd name="connsiteY17" fmla="*/ 2600 h 46109"/>
                <a:gd name="connsiteX18" fmla="*/ 41379 w 57935"/>
                <a:gd name="connsiteY18" fmla="*/ 0 h 46109"/>
                <a:gd name="connsiteX19" fmla="*/ 4212 w 57935"/>
                <a:gd name="connsiteY19" fmla="*/ 7522 h 46109"/>
                <a:gd name="connsiteX20" fmla="*/ 2912 w 57935"/>
                <a:gd name="connsiteY20" fmla="*/ 6501 h 46109"/>
                <a:gd name="connsiteX21" fmla="*/ 589 w 57935"/>
                <a:gd name="connsiteY21" fmla="*/ 31297 h 46109"/>
                <a:gd name="connsiteX22" fmla="*/ 13086 w 57935"/>
                <a:gd name="connsiteY22" fmla="*/ 46110 h 46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7935" h="46109">
                  <a:moveTo>
                    <a:pt x="12946" y="46063"/>
                  </a:moveTo>
                  <a:lnTo>
                    <a:pt x="12946" y="46063"/>
                  </a:lnTo>
                  <a:cubicBezTo>
                    <a:pt x="12946" y="46063"/>
                    <a:pt x="13411" y="45738"/>
                    <a:pt x="13783" y="45645"/>
                  </a:cubicBezTo>
                  <a:cubicBezTo>
                    <a:pt x="13829" y="45645"/>
                    <a:pt x="13876" y="45599"/>
                    <a:pt x="13969" y="45552"/>
                  </a:cubicBezTo>
                  <a:cubicBezTo>
                    <a:pt x="14294" y="45460"/>
                    <a:pt x="14712" y="45413"/>
                    <a:pt x="15176" y="45367"/>
                  </a:cubicBezTo>
                  <a:cubicBezTo>
                    <a:pt x="15223" y="45367"/>
                    <a:pt x="15316" y="45367"/>
                    <a:pt x="15362" y="45367"/>
                  </a:cubicBezTo>
                  <a:cubicBezTo>
                    <a:pt x="17220" y="45181"/>
                    <a:pt x="19729" y="45367"/>
                    <a:pt x="22285" y="45227"/>
                  </a:cubicBezTo>
                  <a:cubicBezTo>
                    <a:pt x="22424" y="45227"/>
                    <a:pt x="22610" y="45227"/>
                    <a:pt x="22795" y="45227"/>
                  </a:cubicBezTo>
                  <a:cubicBezTo>
                    <a:pt x="23353" y="45227"/>
                    <a:pt x="23910" y="45135"/>
                    <a:pt x="24514" y="45088"/>
                  </a:cubicBezTo>
                  <a:cubicBezTo>
                    <a:pt x="24747" y="45088"/>
                    <a:pt x="24933" y="45088"/>
                    <a:pt x="25165" y="45042"/>
                  </a:cubicBezTo>
                  <a:cubicBezTo>
                    <a:pt x="25908" y="44949"/>
                    <a:pt x="26652" y="44809"/>
                    <a:pt x="27348" y="44624"/>
                  </a:cubicBezTo>
                  <a:cubicBezTo>
                    <a:pt x="33063" y="43045"/>
                    <a:pt x="34503" y="36173"/>
                    <a:pt x="37383" y="37751"/>
                  </a:cubicBezTo>
                  <a:cubicBezTo>
                    <a:pt x="40264" y="39330"/>
                    <a:pt x="55548" y="30693"/>
                    <a:pt x="57500" y="27536"/>
                  </a:cubicBezTo>
                  <a:cubicBezTo>
                    <a:pt x="57732" y="27164"/>
                    <a:pt x="57871" y="26793"/>
                    <a:pt x="57918" y="26468"/>
                  </a:cubicBezTo>
                  <a:cubicBezTo>
                    <a:pt x="58243" y="24007"/>
                    <a:pt x="54108" y="22567"/>
                    <a:pt x="53690" y="19781"/>
                  </a:cubicBezTo>
                  <a:cubicBezTo>
                    <a:pt x="53225" y="16624"/>
                    <a:pt x="43191" y="5990"/>
                    <a:pt x="41750" y="4411"/>
                  </a:cubicBezTo>
                  <a:cubicBezTo>
                    <a:pt x="41472" y="4086"/>
                    <a:pt x="41332" y="3483"/>
                    <a:pt x="41286" y="2786"/>
                  </a:cubicBezTo>
                  <a:cubicBezTo>
                    <a:pt x="41286" y="2693"/>
                    <a:pt x="41286" y="2647"/>
                    <a:pt x="41286" y="2600"/>
                  </a:cubicBezTo>
                  <a:cubicBezTo>
                    <a:pt x="41286" y="1857"/>
                    <a:pt x="41286" y="975"/>
                    <a:pt x="41379" y="0"/>
                  </a:cubicBezTo>
                  <a:cubicBezTo>
                    <a:pt x="26419" y="2415"/>
                    <a:pt x="4212" y="7522"/>
                    <a:pt x="4212" y="7522"/>
                  </a:cubicBezTo>
                  <a:cubicBezTo>
                    <a:pt x="4212" y="7522"/>
                    <a:pt x="3655" y="7105"/>
                    <a:pt x="2912" y="6501"/>
                  </a:cubicBezTo>
                  <a:cubicBezTo>
                    <a:pt x="635" y="14581"/>
                    <a:pt x="-898" y="25632"/>
                    <a:pt x="589" y="31297"/>
                  </a:cubicBezTo>
                  <a:cubicBezTo>
                    <a:pt x="2029" y="36823"/>
                    <a:pt x="6582" y="40723"/>
                    <a:pt x="13086" y="4611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45" name="Freeform 111">
              <a:extLst>
                <a:ext uri="{FF2B5EF4-FFF2-40B4-BE49-F238E27FC236}">
                  <a16:creationId xmlns:a16="http://schemas.microsoft.com/office/drawing/2014/main" id="{9331B2DC-65F9-726B-DF19-44430DAF28E2}"/>
                </a:ext>
              </a:extLst>
            </p:cNvPr>
            <p:cNvSpPr/>
            <p:nvPr/>
          </p:nvSpPr>
          <p:spPr>
            <a:xfrm>
              <a:off x="11691614" y="2374203"/>
              <a:ext cx="1794031" cy="1143083"/>
            </a:xfrm>
            <a:custGeom>
              <a:avLst/>
              <a:gdLst>
                <a:gd name="connsiteX0" fmla="*/ 341976 w 384090"/>
                <a:gd name="connsiteY0" fmla="*/ 153125 h 244726"/>
                <a:gd name="connsiteX1" fmla="*/ 358701 w 384090"/>
                <a:gd name="connsiteY1" fmla="*/ 140402 h 244726"/>
                <a:gd name="connsiteX2" fmla="*/ 376402 w 384090"/>
                <a:gd name="connsiteY2" fmla="*/ 140913 h 244726"/>
                <a:gd name="connsiteX3" fmla="*/ 380211 w 384090"/>
                <a:gd name="connsiteY3" fmla="*/ 126611 h 244726"/>
                <a:gd name="connsiteX4" fmla="*/ 375426 w 384090"/>
                <a:gd name="connsiteY4" fmla="*/ 117602 h 244726"/>
                <a:gd name="connsiteX5" fmla="*/ 383092 w 384090"/>
                <a:gd name="connsiteY5" fmla="*/ 111798 h 244726"/>
                <a:gd name="connsiteX6" fmla="*/ 377842 w 384090"/>
                <a:gd name="connsiteY6" fmla="*/ 104926 h 244726"/>
                <a:gd name="connsiteX7" fmla="*/ 384067 w 384090"/>
                <a:gd name="connsiteY7" fmla="*/ 94849 h 244726"/>
                <a:gd name="connsiteX8" fmla="*/ 371663 w 384090"/>
                <a:gd name="connsiteY8" fmla="*/ 86398 h 244726"/>
                <a:gd name="connsiteX9" fmla="*/ 353451 w 384090"/>
                <a:gd name="connsiteY9" fmla="*/ 81105 h 244726"/>
                <a:gd name="connsiteX10" fmla="*/ 335751 w 384090"/>
                <a:gd name="connsiteY10" fmla="*/ 77947 h 244726"/>
                <a:gd name="connsiteX11" fmla="*/ 326181 w 384090"/>
                <a:gd name="connsiteY11" fmla="*/ 65224 h 244726"/>
                <a:gd name="connsiteX12" fmla="*/ 314241 w 384090"/>
                <a:gd name="connsiteY12" fmla="*/ 66292 h 244726"/>
                <a:gd name="connsiteX13" fmla="*/ 303231 w 384090"/>
                <a:gd name="connsiteY13" fmla="*/ 67360 h 244726"/>
                <a:gd name="connsiteX14" fmla="*/ 292731 w 384090"/>
                <a:gd name="connsiteY14" fmla="*/ 62066 h 244726"/>
                <a:gd name="connsiteX15" fmla="*/ 284601 w 384090"/>
                <a:gd name="connsiteY15" fmla="*/ 57284 h 244726"/>
                <a:gd name="connsiteX16" fmla="*/ 275031 w 384090"/>
                <a:gd name="connsiteY16" fmla="*/ 38756 h 244726"/>
                <a:gd name="connsiteX17" fmla="*/ 259235 w 384090"/>
                <a:gd name="connsiteY17" fmla="*/ 34531 h 244726"/>
                <a:gd name="connsiteX18" fmla="*/ 254450 w 384090"/>
                <a:gd name="connsiteY18" fmla="*/ 21297 h 244726"/>
                <a:gd name="connsiteX19" fmla="*/ 251569 w 384090"/>
                <a:gd name="connsiteY19" fmla="*/ 3280 h 244726"/>
                <a:gd name="connsiteX20" fmla="*/ 233869 w 384090"/>
                <a:gd name="connsiteY20" fmla="*/ 1190 h 244726"/>
                <a:gd name="connsiteX21" fmla="*/ 219513 w 384090"/>
                <a:gd name="connsiteY21" fmla="*/ 1701 h 244726"/>
                <a:gd name="connsiteX22" fmla="*/ 209478 w 384090"/>
                <a:gd name="connsiteY22" fmla="*/ 7505 h 244726"/>
                <a:gd name="connsiteX23" fmla="*/ 203578 w 384090"/>
                <a:gd name="connsiteY23" fmla="*/ 4766 h 244726"/>
                <a:gd name="connsiteX24" fmla="*/ 189734 w 384090"/>
                <a:gd name="connsiteY24" fmla="*/ 7877 h 244726"/>
                <a:gd name="connsiteX25" fmla="*/ 176958 w 384090"/>
                <a:gd name="connsiteY25" fmla="*/ 23386 h 244726"/>
                <a:gd name="connsiteX26" fmla="*/ 173149 w 384090"/>
                <a:gd name="connsiteY26" fmla="*/ 31187 h 244726"/>
                <a:gd name="connsiteX27" fmla="*/ 153404 w 384090"/>
                <a:gd name="connsiteY27" fmla="*/ 29748 h 244726"/>
                <a:gd name="connsiteX28" fmla="*/ 139374 w 384090"/>
                <a:gd name="connsiteY28" fmla="*/ 24826 h 244726"/>
                <a:gd name="connsiteX29" fmla="*/ 125343 w 384090"/>
                <a:gd name="connsiteY29" fmla="*/ 23386 h 244726"/>
                <a:gd name="connsiteX30" fmla="*/ 110663 w 384090"/>
                <a:gd name="connsiteY30" fmla="*/ 21297 h 244726"/>
                <a:gd name="connsiteX31" fmla="*/ 90872 w 384090"/>
                <a:gd name="connsiteY31" fmla="*/ 17768 h 244726"/>
                <a:gd name="connsiteX32" fmla="*/ 53891 w 384090"/>
                <a:gd name="connsiteY32" fmla="*/ 12845 h 244726"/>
                <a:gd name="connsiteX33" fmla="*/ 39861 w 384090"/>
                <a:gd name="connsiteY33" fmla="*/ 22040 h 244726"/>
                <a:gd name="connsiteX34" fmla="*/ 28339 w 384090"/>
                <a:gd name="connsiteY34" fmla="*/ 24872 h 244726"/>
                <a:gd name="connsiteX35" fmla="*/ 30151 w 384090"/>
                <a:gd name="connsiteY35" fmla="*/ 32952 h 244726"/>
                <a:gd name="connsiteX36" fmla="*/ 38746 w 384090"/>
                <a:gd name="connsiteY36" fmla="*/ 56262 h 244726"/>
                <a:gd name="connsiteX37" fmla="*/ 29175 w 384090"/>
                <a:gd name="connsiteY37" fmla="*/ 64713 h 244726"/>
                <a:gd name="connsiteX38" fmla="*/ 9106 w 384090"/>
                <a:gd name="connsiteY38" fmla="*/ 87513 h 244726"/>
                <a:gd name="connsiteX39" fmla="*/ 9570 w 384090"/>
                <a:gd name="connsiteY39" fmla="*/ 103951 h 244726"/>
                <a:gd name="connsiteX40" fmla="*/ 0 w 384090"/>
                <a:gd name="connsiteY40" fmla="*/ 121410 h 244726"/>
                <a:gd name="connsiteX41" fmla="*/ 9570 w 384090"/>
                <a:gd name="connsiteY41" fmla="*/ 133065 h 244726"/>
                <a:gd name="connsiteX42" fmla="*/ 13101 w 384090"/>
                <a:gd name="connsiteY42" fmla="*/ 135805 h 244726"/>
                <a:gd name="connsiteX43" fmla="*/ 21417 w 384090"/>
                <a:gd name="connsiteY43" fmla="*/ 135015 h 244726"/>
                <a:gd name="connsiteX44" fmla="*/ 43067 w 384090"/>
                <a:gd name="connsiteY44" fmla="*/ 139241 h 244726"/>
                <a:gd name="connsiteX45" fmla="*/ 55842 w 384090"/>
                <a:gd name="connsiteY45" fmla="*/ 143466 h 244726"/>
                <a:gd name="connsiteX46" fmla="*/ 65413 w 384090"/>
                <a:gd name="connsiteY46" fmla="*/ 140634 h 244726"/>
                <a:gd name="connsiteX47" fmla="*/ 76237 w 384090"/>
                <a:gd name="connsiteY47" fmla="*/ 139241 h 244726"/>
                <a:gd name="connsiteX48" fmla="*/ 88363 w 384090"/>
                <a:gd name="connsiteY48" fmla="*/ 132183 h 244726"/>
                <a:gd name="connsiteX49" fmla="*/ 114519 w 384090"/>
                <a:gd name="connsiteY49" fmla="*/ 122292 h 244726"/>
                <a:gd name="connsiteX50" fmla="*/ 131754 w 384090"/>
                <a:gd name="connsiteY50" fmla="*/ 132879 h 244726"/>
                <a:gd name="connsiteX51" fmla="*/ 147085 w 384090"/>
                <a:gd name="connsiteY51" fmla="*/ 145602 h 244726"/>
                <a:gd name="connsiteX52" fmla="*/ 160465 w 384090"/>
                <a:gd name="connsiteY52" fmla="*/ 169609 h 244726"/>
                <a:gd name="connsiteX53" fmla="*/ 165576 w 384090"/>
                <a:gd name="connsiteY53" fmla="*/ 185165 h 244726"/>
                <a:gd name="connsiteX54" fmla="*/ 150895 w 384090"/>
                <a:gd name="connsiteY54" fmla="*/ 182332 h 244726"/>
                <a:gd name="connsiteX55" fmla="*/ 142626 w 384090"/>
                <a:gd name="connsiteY55" fmla="*/ 192919 h 244726"/>
                <a:gd name="connsiteX56" fmla="*/ 129896 w 384090"/>
                <a:gd name="connsiteY56" fmla="*/ 214837 h 244726"/>
                <a:gd name="connsiteX57" fmla="*/ 138212 w 384090"/>
                <a:gd name="connsiteY57" fmla="*/ 220455 h 244726"/>
                <a:gd name="connsiteX58" fmla="*/ 150338 w 384090"/>
                <a:gd name="connsiteY58" fmla="*/ 214837 h 244726"/>
                <a:gd name="connsiteX59" fmla="*/ 157910 w 384090"/>
                <a:gd name="connsiteY59" fmla="*/ 220780 h 244726"/>
                <a:gd name="connsiteX60" fmla="*/ 168178 w 384090"/>
                <a:gd name="connsiteY60" fmla="*/ 202856 h 244726"/>
                <a:gd name="connsiteX61" fmla="*/ 186668 w 384090"/>
                <a:gd name="connsiteY61" fmla="*/ 178850 h 244726"/>
                <a:gd name="connsiteX62" fmla="*/ 210594 w 384090"/>
                <a:gd name="connsiteY62" fmla="*/ 174949 h 244726"/>
                <a:gd name="connsiteX63" fmla="*/ 212823 w 384090"/>
                <a:gd name="connsiteY63" fmla="*/ 190505 h 244726"/>
                <a:gd name="connsiteX64" fmla="*/ 247899 w 384090"/>
                <a:gd name="connsiteY64" fmla="*/ 196170 h 244726"/>
                <a:gd name="connsiteX65" fmla="*/ 219188 w 384090"/>
                <a:gd name="connsiteY65" fmla="*/ 213861 h 244726"/>
                <a:gd name="connsiteX66" fmla="*/ 240884 w 384090"/>
                <a:gd name="connsiteY66" fmla="*/ 224774 h 244726"/>
                <a:gd name="connsiteX67" fmla="*/ 241860 w 384090"/>
                <a:gd name="connsiteY67" fmla="*/ 243162 h 244726"/>
                <a:gd name="connsiteX68" fmla="*/ 259421 w 384090"/>
                <a:gd name="connsiteY68" fmla="*/ 238565 h 244726"/>
                <a:gd name="connsiteX69" fmla="*/ 280141 w 384090"/>
                <a:gd name="connsiteY69" fmla="*/ 228674 h 244726"/>
                <a:gd name="connsiteX70" fmla="*/ 308852 w 384090"/>
                <a:gd name="connsiteY70" fmla="*/ 224077 h 244726"/>
                <a:gd name="connsiteX71" fmla="*/ 287156 w 384090"/>
                <a:gd name="connsiteY71" fmla="*/ 217716 h 244726"/>
                <a:gd name="connsiteX72" fmla="*/ 269641 w 384090"/>
                <a:gd name="connsiteY72" fmla="*/ 198259 h 244726"/>
                <a:gd name="connsiteX73" fmla="*/ 296726 w 384090"/>
                <a:gd name="connsiteY73" fmla="*/ 179221 h 244726"/>
                <a:gd name="connsiteX74" fmla="*/ 324137 w 384090"/>
                <a:gd name="connsiteY74" fmla="*/ 170027 h 244726"/>
                <a:gd name="connsiteX75" fmla="*/ 341651 w 384090"/>
                <a:gd name="connsiteY75" fmla="*/ 164548 h 244726"/>
                <a:gd name="connsiteX76" fmla="*/ 342116 w 384090"/>
                <a:gd name="connsiteY76" fmla="*/ 153218 h 244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84090" h="244726">
                  <a:moveTo>
                    <a:pt x="341976" y="153125"/>
                  </a:moveTo>
                  <a:cubicBezTo>
                    <a:pt x="345321" y="152614"/>
                    <a:pt x="355356" y="140402"/>
                    <a:pt x="358701" y="140402"/>
                  </a:cubicBezTo>
                  <a:cubicBezTo>
                    <a:pt x="362046" y="140402"/>
                    <a:pt x="376402" y="143559"/>
                    <a:pt x="376402" y="140913"/>
                  </a:cubicBezTo>
                  <a:cubicBezTo>
                    <a:pt x="376402" y="138266"/>
                    <a:pt x="381187" y="129257"/>
                    <a:pt x="380211" y="126611"/>
                  </a:cubicBezTo>
                  <a:cubicBezTo>
                    <a:pt x="379236" y="123964"/>
                    <a:pt x="374450" y="120249"/>
                    <a:pt x="375426" y="117602"/>
                  </a:cubicBezTo>
                  <a:cubicBezTo>
                    <a:pt x="376355" y="114956"/>
                    <a:pt x="383092" y="114956"/>
                    <a:pt x="383092" y="111798"/>
                  </a:cubicBezTo>
                  <a:cubicBezTo>
                    <a:pt x="383092" y="108640"/>
                    <a:pt x="377842" y="107015"/>
                    <a:pt x="377842" y="104926"/>
                  </a:cubicBezTo>
                  <a:cubicBezTo>
                    <a:pt x="377842" y="102836"/>
                    <a:pt x="384532" y="99121"/>
                    <a:pt x="384067" y="94849"/>
                  </a:cubicBezTo>
                  <a:cubicBezTo>
                    <a:pt x="383603" y="90624"/>
                    <a:pt x="377842" y="90066"/>
                    <a:pt x="371663" y="86398"/>
                  </a:cubicBezTo>
                  <a:cubicBezTo>
                    <a:pt x="365437" y="82683"/>
                    <a:pt x="359212" y="84262"/>
                    <a:pt x="353451" y="81105"/>
                  </a:cubicBezTo>
                  <a:cubicBezTo>
                    <a:pt x="347737" y="77947"/>
                    <a:pt x="335751" y="80037"/>
                    <a:pt x="335751" y="77947"/>
                  </a:cubicBezTo>
                  <a:cubicBezTo>
                    <a:pt x="335751" y="75857"/>
                    <a:pt x="328085" y="68939"/>
                    <a:pt x="326181" y="65224"/>
                  </a:cubicBezTo>
                  <a:cubicBezTo>
                    <a:pt x="324276" y="61509"/>
                    <a:pt x="318051" y="63645"/>
                    <a:pt x="314241" y="66292"/>
                  </a:cubicBezTo>
                  <a:cubicBezTo>
                    <a:pt x="310385" y="68939"/>
                    <a:pt x="307040" y="70007"/>
                    <a:pt x="303231" y="67360"/>
                  </a:cubicBezTo>
                  <a:cubicBezTo>
                    <a:pt x="299421" y="64713"/>
                    <a:pt x="296076" y="60488"/>
                    <a:pt x="292731" y="62066"/>
                  </a:cubicBezTo>
                  <a:cubicBezTo>
                    <a:pt x="289386" y="63645"/>
                    <a:pt x="283161" y="62623"/>
                    <a:pt x="284601" y="57284"/>
                  </a:cubicBezTo>
                  <a:cubicBezTo>
                    <a:pt x="286041" y="51990"/>
                    <a:pt x="278375" y="40335"/>
                    <a:pt x="275031" y="38756"/>
                  </a:cubicBezTo>
                  <a:cubicBezTo>
                    <a:pt x="271685" y="37177"/>
                    <a:pt x="261651" y="39778"/>
                    <a:pt x="259235" y="34531"/>
                  </a:cubicBezTo>
                  <a:cubicBezTo>
                    <a:pt x="256819" y="29237"/>
                    <a:pt x="252545" y="25011"/>
                    <a:pt x="254450" y="21297"/>
                  </a:cubicBezTo>
                  <a:cubicBezTo>
                    <a:pt x="256354" y="17582"/>
                    <a:pt x="253985" y="7505"/>
                    <a:pt x="251569" y="3280"/>
                  </a:cubicBezTo>
                  <a:cubicBezTo>
                    <a:pt x="249154" y="-946"/>
                    <a:pt x="237214" y="-435"/>
                    <a:pt x="233869" y="1190"/>
                  </a:cubicBezTo>
                  <a:cubicBezTo>
                    <a:pt x="230524" y="2769"/>
                    <a:pt x="222858" y="-388"/>
                    <a:pt x="219513" y="1701"/>
                  </a:cubicBezTo>
                  <a:cubicBezTo>
                    <a:pt x="216168" y="3837"/>
                    <a:pt x="214264" y="7505"/>
                    <a:pt x="209478" y="7505"/>
                  </a:cubicBezTo>
                  <a:cubicBezTo>
                    <a:pt x="206830" y="7505"/>
                    <a:pt x="205019" y="7134"/>
                    <a:pt x="203578" y="4766"/>
                  </a:cubicBezTo>
                  <a:cubicBezTo>
                    <a:pt x="198422" y="7366"/>
                    <a:pt x="189734" y="7877"/>
                    <a:pt x="189734" y="7877"/>
                  </a:cubicBezTo>
                  <a:cubicBezTo>
                    <a:pt x="189734" y="7877"/>
                    <a:pt x="176958" y="19161"/>
                    <a:pt x="176958" y="23386"/>
                  </a:cubicBezTo>
                  <a:cubicBezTo>
                    <a:pt x="176958" y="27612"/>
                    <a:pt x="176354" y="34716"/>
                    <a:pt x="173149" y="31187"/>
                  </a:cubicBezTo>
                  <a:cubicBezTo>
                    <a:pt x="169943" y="27658"/>
                    <a:pt x="156563" y="27658"/>
                    <a:pt x="153404" y="29748"/>
                  </a:cubicBezTo>
                  <a:cubicBezTo>
                    <a:pt x="150198" y="31884"/>
                    <a:pt x="145088" y="21297"/>
                    <a:pt x="139374" y="24826"/>
                  </a:cubicBezTo>
                  <a:cubicBezTo>
                    <a:pt x="133659" y="28355"/>
                    <a:pt x="125994" y="19857"/>
                    <a:pt x="125343" y="23386"/>
                  </a:cubicBezTo>
                  <a:cubicBezTo>
                    <a:pt x="124693" y="26915"/>
                    <a:pt x="116423" y="24129"/>
                    <a:pt x="110663" y="21297"/>
                  </a:cubicBezTo>
                  <a:cubicBezTo>
                    <a:pt x="104948" y="18464"/>
                    <a:pt x="94728" y="22690"/>
                    <a:pt x="90872" y="17768"/>
                  </a:cubicBezTo>
                  <a:cubicBezTo>
                    <a:pt x="87062" y="12845"/>
                    <a:pt x="62161" y="12845"/>
                    <a:pt x="53891" y="12845"/>
                  </a:cubicBezTo>
                  <a:cubicBezTo>
                    <a:pt x="45622" y="12845"/>
                    <a:pt x="43671" y="17768"/>
                    <a:pt x="39861" y="22040"/>
                  </a:cubicBezTo>
                  <a:cubicBezTo>
                    <a:pt x="36423" y="25894"/>
                    <a:pt x="32381" y="25104"/>
                    <a:pt x="28339" y="24872"/>
                  </a:cubicBezTo>
                  <a:cubicBezTo>
                    <a:pt x="28711" y="28448"/>
                    <a:pt x="29315" y="31605"/>
                    <a:pt x="30151" y="32952"/>
                  </a:cubicBezTo>
                  <a:cubicBezTo>
                    <a:pt x="32056" y="36109"/>
                    <a:pt x="41162" y="51479"/>
                    <a:pt x="38746" y="56262"/>
                  </a:cubicBezTo>
                  <a:cubicBezTo>
                    <a:pt x="36377" y="61045"/>
                    <a:pt x="32056" y="61045"/>
                    <a:pt x="29175" y="64713"/>
                  </a:cubicBezTo>
                  <a:cubicBezTo>
                    <a:pt x="26295" y="68428"/>
                    <a:pt x="9570" y="84866"/>
                    <a:pt x="9106" y="87513"/>
                  </a:cubicBezTo>
                  <a:cubicBezTo>
                    <a:pt x="8641" y="90159"/>
                    <a:pt x="11986" y="101814"/>
                    <a:pt x="9570" y="103951"/>
                  </a:cubicBezTo>
                  <a:cubicBezTo>
                    <a:pt x="7201" y="106086"/>
                    <a:pt x="0" y="117184"/>
                    <a:pt x="0" y="121410"/>
                  </a:cubicBezTo>
                  <a:cubicBezTo>
                    <a:pt x="0" y="125635"/>
                    <a:pt x="5250" y="131486"/>
                    <a:pt x="9570" y="133065"/>
                  </a:cubicBezTo>
                  <a:cubicBezTo>
                    <a:pt x="11382" y="133762"/>
                    <a:pt x="12544" y="134690"/>
                    <a:pt x="13101" y="135805"/>
                  </a:cubicBezTo>
                  <a:cubicBezTo>
                    <a:pt x="16446" y="135294"/>
                    <a:pt x="19512" y="135015"/>
                    <a:pt x="21417" y="135015"/>
                  </a:cubicBezTo>
                  <a:cubicBezTo>
                    <a:pt x="24623" y="135015"/>
                    <a:pt x="38653" y="139241"/>
                    <a:pt x="43067" y="139241"/>
                  </a:cubicBezTo>
                  <a:cubicBezTo>
                    <a:pt x="47480" y="139241"/>
                    <a:pt x="53938" y="141377"/>
                    <a:pt x="55842" y="143466"/>
                  </a:cubicBezTo>
                  <a:cubicBezTo>
                    <a:pt x="57794" y="145556"/>
                    <a:pt x="62207" y="144163"/>
                    <a:pt x="65413" y="140634"/>
                  </a:cubicBezTo>
                  <a:cubicBezTo>
                    <a:pt x="68618" y="137105"/>
                    <a:pt x="72428" y="139241"/>
                    <a:pt x="76237" y="139241"/>
                  </a:cubicBezTo>
                  <a:cubicBezTo>
                    <a:pt x="80047" y="139241"/>
                    <a:pt x="86458" y="135712"/>
                    <a:pt x="88363" y="132183"/>
                  </a:cubicBezTo>
                  <a:cubicBezTo>
                    <a:pt x="90268" y="128654"/>
                    <a:pt x="109408" y="122989"/>
                    <a:pt x="114519" y="122292"/>
                  </a:cubicBezTo>
                  <a:cubicBezTo>
                    <a:pt x="119629" y="121596"/>
                    <a:pt x="127248" y="132879"/>
                    <a:pt x="131754" y="132879"/>
                  </a:cubicBezTo>
                  <a:cubicBezTo>
                    <a:pt x="136261" y="132879"/>
                    <a:pt x="144484" y="136408"/>
                    <a:pt x="147085" y="145602"/>
                  </a:cubicBezTo>
                  <a:cubicBezTo>
                    <a:pt x="149641" y="154796"/>
                    <a:pt x="157306" y="166080"/>
                    <a:pt x="160465" y="169609"/>
                  </a:cubicBezTo>
                  <a:cubicBezTo>
                    <a:pt x="163671" y="173138"/>
                    <a:pt x="165576" y="182332"/>
                    <a:pt x="165576" y="185165"/>
                  </a:cubicBezTo>
                  <a:cubicBezTo>
                    <a:pt x="165576" y="187997"/>
                    <a:pt x="158561" y="184468"/>
                    <a:pt x="150895" y="182332"/>
                  </a:cubicBezTo>
                  <a:cubicBezTo>
                    <a:pt x="143276" y="180196"/>
                    <a:pt x="142626" y="188694"/>
                    <a:pt x="142626" y="192919"/>
                  </a:cubicBezTo>
                  <a:cubicBezTo>
                    <a:pt x="142626" y="197145"/>
                    <a:pt x="131801" y="212004"/>
                    <a:pt x="129896" y="214837"/>
                  </a:cubicBezTo>
                  <a:cubicBezTo>
                    <a:pt x="127991" y="217669"/>
                    <a:pt x="133752" y="219759"/>
                    <a:pt x="138212" y="220455"/>
                  </a:cubicBezTo>
                  <a:cubicBezTo>
                    <a:pt x="140117" y="220734"/>
                    <a:pt x="147782" y="214837"/>
                    <a:pt x="150338" y="214837"/>
                  </a:cubicBezTo>
                  <a:cubicBezTo>
                    <a:pt x="151360" y="214837"/>
                    <a:pt x="154565" y="217530"/>
                    <a:pt x="157910" y="220780"/>
                  </a:cubicBezTo>
                  <a:cubicBezTo>
                    <a:pt x="157167" y="209729"/>
                    <a:pt x="159257" y="210332"/>
                    <a:pt x="168178" y="202856"/>
                  </a:cubicBezTo>
                  <a:cubicBezTo>
                    <a:pt x="177423" y="195102"/>
                    <a:pt x="178398" y="180614"/>
                    <a:pt x="186668" y="178850"/>
                  </a:cubicBezTo>
                  <a:cubicBezTo>
                    <a:pt x="194984" y="177085"/>
                    <a:pt x="198468" y="172860"/>
                    <a:pt x="210594" y="174949"/>
                  </a:cubicBezTo>
                  <a:cubicBezTo>
                    <a:pt x="222719" y="177085"/>
                    <a:pt x="204554" y="185536"/>
                    <a:pt x="212823" y="190505"/>
                  </a:cubicBezTo>
                  <a:cubicBezTo>
                    <a:pt x="221139" y="195473"/>
                    <a:pt x="246645" y="189112"/>
                    <a:pt x="247899" y="196170"/>
                  </a:cubicBezTo>
                  <a:cubicBezTo>
                    <a:pt x="249154" y="203228"/>
                    <a:pt x="218538" y="210332"/>
                    <a:pt x="219188" y="213861"/>
                  </a:cubicBezTo>
                  <a:cubicBezTo>
                    <a:pt x="219839" y="217391"/>
                    <a:pt x="235448" y="220919"/>
                    <a:pt x="240884" y="224774"/>
                  </a:cubicBezTo>
                  <a:cubicBezTo>
                    <a:pt x="246320" y="228674"/>
                    <a:pt x="239304" y="239633"/>
                    <a:pt x="241860" y="243162"/>
                  </a:cubicBezTo>
                  <a:cubicBezTo>
                    <a:pt x="244415" y="246691"/>
                    <a:pt x="252684" y="243858"/>
                    <a:pt x="259421" y="238565"/>
                  </a:cubicBezTo>
                  <a:cubicBezTo>
                    <a:pt x="266110" y="233271"/>
                    <a:pt x="271546" y="235036"/>
                    <a:pt x="280141" y="228674"/>
                  </a:cubicBezTo>
                  <a:cubicBezTo>
                    <a:pt x="288736" y="222313"/>
                    <a:pt x="306622" y="227931"/>
                    <a:pt x="308852" y="224077"/>
                  </a:cubicBezTo>
                  <a:cubicBezTo>
                    <a:pt x="311082" y="220177"/>
                    <a:pt x="303742" y="216322"/>
                    <a:pt x="287156" y="217716"/>
                  </a:cubicBezTo>
                  <a:cubicBezTo>
                    <a:pt x="270571" y="219109"/>
                    <a:pt x="269641" y="201835"/>
                    <a:pt x="269641" y="198259"/>
                  </a:cubicBezTo>
                  <a:cubicBezTo>
                    <a:pt x="269641" y="194684"/>
                    <a:pt x="286877" y="180243"/>
                    <a:pt x="296726" y="179221"/>
                  </a:cubicBezTo>
                  <a:cubicBezTo>
                    <a:pt x="306622" y="178153"/>
                    <a:pt x="314566" y="174996"/>
                    <a:pt x="324137" y="170027"/>
                  </a:cubicBezTo>
                  <a:cubicBezTo>
                    <a:pt x="327992" y="168030"/>
                    <a:pt x="334775" y="166034"/>
                    <a:pt x="341651" y="164548"/>
                  </a:cubicBezTo>
                  <a:cubicBezTo>
                    <a:pt x="340629" y="159533"/>
                    <a:pt x="339282" y="153682"/>
                    <a:pt x="342116" y="153218"/>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46" name="Freeform 123">
              <a:extLst>
                <a:ext uri="{FF2B5EF4-FFF2-40B4-BE49-F238E27FC236}">
                  <a16:creationId xmlns:a16="http://schemas.microsoft.com/office/drawing/2014/main" id="{E4F147FD-B71A-C857-DDBF-7BDD21512BC2}"/>
                </a:ext>
              </a:extLst>
            </p:cNvPr>
            <p:cNvSpPr/>
            <p:nvPr/>
          </p:nvSpPr>
          <p:spPr>
            <a:xfrm>
              <a:off x="11791867" y="1779624"/>
              <a:ext cx="942818" cy="744280"/>
            </a:xfrm>
            <a:custGeom>
              <a:avLst/>
              <a:gdLst>
                <a:gd name="connsiteX0" fmla="*/ 189966 w 201851"/>
                <a:gd name="connsiteY0" fmla="*/ 79125 h 159345"/>
                <a:gd name="connsiteX1" fmla="*/ 177516 w 201851"/>
                <a:gd name="connsiteY1" fmla="*/ 65891 h 159345"/>
                <a:gd name="connsiteX2" fmla="*/ 167481 w 201851"/>
                <a:gd name="connsiteY2" fmla="*/ 51078 h 159345"/>
                <a:gd name="connsiteX3" fmla="*/ 165065 w 201851"/>
                <a:gd name="connsiteY3" fmla="*/ 34130 h 159345"/>
                <a:gd name="connsiteX4" fmla="*/ 163160 w 201851"/>
                <a:gd name="connsiteY4" fmla="*/ 17692 h 159345"/>
                <a:gd name="connsiteX5" fmla="*/ 143090 w 201851"/>
                <a:gd name="connsiteY5" fmla="*/ 11330 h 159345"/>
                <a:gd name="connsiteX6" fmla="*/ 131615 w 201851"/>
                <a:gd name="connsiteY6" fmla="*/ 11330 h 159345"/>
                <a:gd name="connsiteX7" fmla="*/ 120605 w 201851"/>
                <a:gd name="connsiteY7" fmla="*/ 5479 h 159345"/>
                <a:gd name="connsiteX8" fmla="*/ 109129 w 201851"/>
                <a:gd name="connsiteY8" fmla="*/ 1765 h 159345"/>
                <a:gd name="connsiteX9" fmla="*/ 108061 w 201851"/>
                <a:gd name="connsiteY9" fmla="*/ 0 h 159345"/>
                <a:gd name="connsiteX10" fmla="*/ 101371 w 201851"/>
                <a:gd name="connsiteY10" fmla="*/ 2972 h 159345"/>
                <a:gd name="connsiteX11" fmla="*/ 93055 w 201851"/>
                <a:gd name="connsiteY11" fmla="*/ 11469 h 159345"/>
                <a:gd name="connsiteX12" fmla="*/ 78374 w 201851"/>
                <a:gd name="connsiteY12" fmla="*/ 13605 h 159345"/>
                <a:gd name="connsiteX13" fmla="*/ 72614 w 201851"/>
                <a:gd name="connsiteY13" fmla="*/ 26329 h 159345"/>
                <a:gd name="connsiteX14" fmla="*/ 70059 w 201851"/>
                <a:gd name="connsiteY14" fmla="*/ 35523 h 159345"/>
                <a:gd name="connsiteX15" fmla="*/ 63043 w 201851"/>
                <a:gd name="connsiteY15" fmla="*/ 41884 h 159345"/>
                <a:gd name="connsiteX16" fmla="*/ 52172 w 201851"/>
                <a:gd name="connsiteY16" fmla="*/ 53168 h 159345"/>
                <a:gd name="connsiteX17" fmla="*/ 48966 w 201851"/>
                <a:gd name="connsiteY17" fmla="*/ 64498 h 159345"/>
                <a:gd name="connsiteX18" fmla="*/ 34936 w 201851"/>
                <a:gd name="connsiteY18" fmla="*/ 69420 h 159345"/>
                <a:gd name="connsiteX19" fmla="*/ 24112 w 201851"/>
                <a:gd name="connsiteY19" fmla="*/ 75085 h 159345"/>
                <a:gd name="connsiteX20" fmla="*/ 8316 w 201851"/>
                <a:gd name="connsiteY20" fmla="*/ 73831 h 159345"/>
                <a:gd name="connsiteX21" fmla="*/ 8177 w 201851"/>
                <a:gd name="connsiteY21" fmla="*/ 75967 h 159345"/>
                <a:gd name="connsiteX22" fmla="*/ 11521 w 201851"/>
                <a:gd name="connsiteY22" fmla="*/ 93984 h 159345"/>
                <a:gd name="connsiteX23" fmla="*/ 12451 w 201851"/>
                <a:gd name="connsiteY23" fmla="*/ 114647 h 159345"/>
                <a:gd name="connsiteX24" fmla="*/ 0 w 201851"/>
                <a:gd name="connsiteY24" fmla="*/ 126813 h 159345"/>
                <a:gd name="connsiteX25" fmla="*/ 7154 w 201851"/>
                <a:gd name="connsiteY25" fmla="*/ 138979 h 159345"/>
                <a:gd name="connsiteX26" fmla="*/ 6783 w 201851"/>
                <a:gd name="connsiteY26" fmla="*/ 152074 h 159345"/>
                <a:gd name="connsiteX27" fmla="*/ 18304 w 201851"/>
                <a:gd name="connsiteY27" fmla="*/ 149241 h 159345"/>
                <a:gd name="connsiteX28" fmla="*/ 32335 w 201851"/>
                <a:gd name="connsiteY28" fmla="*/ 140047 h 159345"/>
                <a:gd name="connsiteX29" fmla="*/ 69315 w 201851"/>
                <a:gd name="connsiteY29" fmla="*/ 144969 h 159345"/>
                <a:gd name="connsiteX30" fmla="*/ 89106 w 201851"/>
                <a:gd name="connsiteY30" fmla="*/ 148498 h 159345"/>
                <a:gd name="connsiteX31" fmla="*/ 103787 w 201851"/>
                <a:gd name="connsiteY31" fmla="*/ 150588 h 159345"/>
                <a:gd name="connsiteX32" fmla="*/ 117817 w 201851"/>
                <a:gd name="connsiteY32" fmla="*/ 152027 h 159345"/>
                <a:gd name="connsiteX33" fmla="*/ 131847 w 201851"/>
                <a:gd name="connsiteY33" fmla="*/ 156949 h 159345"/>
                <a:gd name="connsiteX34" fmla="*/ 151592 w 201851"/>
                <a:gd name="connsiteY34" fmla="*/ 158389 h 159345"/>
                <a:gd name="connsiteX35" fmla="*/ 155402 w 201851"/>
                <a:gd name="connsiteY35" fmla="*/ 150588 h 159345"/>
                <a:gd name="connsiteX36" fmla="*/ 168178 w 201851"/>
                <a:gd name="connsiteY36" fmla="*/ 135079 h 159345"/>
                <a:gd name="connsiteX37" fmla="*/ 182022 w 201851"/>
                <a:gd name="connsiteY37" fmla="*/ 131968 h 159345"/>
                <a:gd name="connsiteX38" fmla="*/ 178816 w 201851"/>
                <a:gd name="connsiteY38" fmla="*/ 121984 h 159345"/>
                <a:gd name="connsiteX39" fmla="*/ 175471 w 201851"/>
                <a:gd name="connsiteY39" fmla="*/ 99742 h 159345"/>
                <a:gd name="connsiteX40" fmla="*/ 190756 w 201851"/>
                <a:gd name="connsiteY40" fmla="*/ 102389 h 159345"/>
                <a:gd name="connsiteX41" fmla="*/ 201766 w 201851"/>
                <a:gd name="connsiteY41" fmla="*/ 91291 h 159345"/>
                <a:gd name="connsiteX42" fmla="*/ 189827 w 201851"/>
                <a:gd name="connsiteY42" fmla="*/ 79125 h 15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1851" h="159345">
                  <a:moveTo>
                    <a:pt x="189966" y="79125"/>
                  </a:moveTo>
                  <a:cubicBezTo>
                    <a:pt x="186110" y="78057"/>
                    <a:pt x="183741" y="68538"/>
                    <a:pt x="177516" y="65891"/>
                  </a:cubicBezTo>
                  <a:cubicBezTo>
                    <a:pt x="171290" y="63244"/>
                    <a:pt x="172730" y="54747"/>
                    <a:pt x="167481" y="51078"/>
                  </a:cubicBezTo>
                  <a:cubicBezTo>
                    <a:pt x="162231" y="47363"/>
                    <a:pt x="165576" y="39934"/>
                    <a:pt x="165065" y="34130"/>
                  </a:cubicBezTo>
                  <a:cubicBezTo>
                    <a:pt x="164600" y="28325"/>
                    <a:pt x="166040" y="19317"/>
                    <a:pt x="163160" y="17692"/>
                  </a:cubicBezTo>
                  <a:cubicBezTo>
                    <a:pt x="160280" y="16113"/>
                    <a:pt x="148340" y="8683"/>
                    <a:pt x="143090" y="11330"/>
                  </a:cubicBezTo>
                  <a:cubicBezTo>
                    <a:pt x="137840" y="13977"/>
                    <a:pt x="133985" y="16066"/>
                    <a:pt x="131615" y="11330"/>
                  </a:cubicBezTo>
                  <a:cubicBezTo>
                    <a:pt x="129246" y="6547"/>
                    <a:pt x="125901" y="3901"/>
                    <a:pt x="120605" y="5479"/>
                  </a:cubicBezTo>
                  <a:cubicBezTo>
                    <a:pt x="115355" y="7058"/>
                    <a:pt x="111963" y="4411"/>
                    <a:pt x="109129" y="1765"/>
                  </a:cubicBezTo>
                  <a:cubicBezTo>
                    <a:pt x="108712" y="1347"/>
                    <a:pt x="108340" y="743"/>
                    <a:pt x="108061" y="0"/>
                  </a:cubicBezTo>
                  <a:cubicBezTo>
                    <a:pt x="105924" y="511"/>
                    <a:pt x="103137" y="1393"/>
                    <a:pt x="101371" y="2972"/>
                  </a:cubicBezTo>
                  <a:cubicBezTo>
                    <a:pt x="98165" y="5804"/>
                    <a:pt x="97562" y="11469"/>
                    <a:pt x="93055" y="11469"/>
                  </a:cubicBezTo>
                  <a:cubicBezTo>
                    <a:pt x="88549" y="11469"/>
                    <a:pt x="83485" y="9380"/>
                    <a:pt x="78374" y="13605"/>
                  </a:cubicBezTo>
                  <a:cubicBezTo>
                    <a:pt x="73264" y="17831"/>
                    <a:pt x="72010" y="22799"/>
                    <a:pt x="72614" y="26329"/>
                  </a:cubicBezTo>
                  <a:cubicBezTo>
                    <a:pt x="73264" y="29857"/>
                    <a:pt x="73914" y="35523"/>
                    <a:pt x="70059" y="35523"/>
                  </a:cubicBezTo>
                  <a:cubicBezTo>
                    <a:pt x="66202" y="35523"/>
                    <a:pt x="66899" y="40491"/>
                    <a:pt x="63043" y="41884"/>
                  </a:cubicBezTo>
                  <a:cubicBezTo>
                    <a:pt x="59234" y="43277"/>
                    <a:pt x="52823" y="49639"/>
                    <a:pt x="52172" y="53168"/>
                  </a:cubicBezTo>
                  <a:cubicBezTo>
                    <a:pt x="51522" y="56697"/>
                    <a:pt x="51522" y="64498"/>
                    <a:pt x="48966" y="64498"/>
                  </a:cubicBezTo>
                  <a:cubicBezTo>
                    <a:pt x="46411" y="64498"/>
                    <a:pt x="37492" y="65891"/>
                    <a:pt x="34936" y="69420"/>
                  </a:cubicBezTo>
                  <a:cubicBezTo>
                    <a:pt x="32381" y="72949"/>
                    <a:pt x="29222" y="76478"/>
                    <a:pt x="24112" y="75085"/>
                  </a:cubicBezTo>
                  <a:cubicBezTo>
                    <a:pt x="21510" y="74342"/>
                    <a:pt x="14495" y="74017"/>
                    <a:pt x="8316" y="73831"/>
                  </a:cubicBezTo>
                  <a:cubicBezTo>
                    <a:pt x="8409" y="74528"/>
                    <a:pt x="8409" y="75224"/>
                    <a:pt x="8177" y="75967"/>
                  </a:cubicBezTo>
                  <a:cubicBezTo>
                    <a:pt x="5807" y="83397"/>
                    <a:pt x="7712" y="90269"/>
                    <a:pt x="11521" y="93984"/>
                  </a:cubicBezTo>
                  <a:cubicBezTo>
                    <a:pt x="15331" y="97699"/>
                    <a:pt x="16771" y="112511"/>
                    <a:pt x="12451" y="114647"/>
                  </a:cubicBezTo>
                  <a:cubicBezTo>
                    <a:pt x="8130" y="116737"/>
                    <a:pt x="0" y="123099"/>
                    <a:pt x="0" y="126813"/>
                  </a:cubicBezTo>
                  <a:cubicBezTo>
                    <a:pt x="0" y="130528"/>
                    <a:pt x="8595" y="133686"/>
                    <a:pt x="7154" y="138979"/>
                  </a:cubicBezTo>
                  <a:cubicBezTo>
                    <a:pt x="6365" y="142044"/>
                    <a:pt x="6318" y="147384"/>
                    <a:pt x="6783" y="152074"/>
                  </a:cubicBezTo>
                  <a:cubicBezTo>
                    <a:pt x="10825" y="152260"/>
                    <a:pt x="14867" y="153049"/>
                    <a:pt x="18304" y="149241"/>
                  </a:cubicBezTo>
                  <a:cubicBezTo>
                    <a:pt x="22160" y="145016"/>
                    <a:pt x="24065" y="140047"/>
                    <a:pt x="32335" y="140047"/>
                  </a:cubicBezTo>
                  <a:cubicBezTo>
                    <a:pt x="40604" y="140047"/>
                    <a:pt x="65505" y="140047"/>
                    <a:pt x="69315" y="144969"/>
                  </a:cubicBezTo>
                  <a:cubicBezTo>
                    <a:pt x="73125" y="149938"/>
                    <a:pt x="83345" y="145666"/>
                    <a:pt x="89106" y="148498"/>
                  </a:cubicBezTo>
                  <a:cubicBezTo>
                    <a:pt x="94867" y="151331"/>
                    <a:pt x="103137" y="154163"/>
                    <a:pt x="103787" y="150588"/>
                  </a:cubicBezTo>
                  <a:cubicBezTo>
                    <a:pt x="104437" y="147059"/>
                    <a:pt x="112103" y="155556"/>
                    <a:pt x="117817" y="152027"/>
                  </a:cubicBezTo>
                  <a:cubicBezTo>
                    <a:pt x="123578" y="148498"/>
                    <a:pt x="128642" y="159085"/>
                    <a:pt x="131847" y="156949"/>
                  </a:cubicBezTo>
                  <a:cubicBezTo>
                    <a:pt x="135053" y="154813"/>
                    <a:pt x="148433" y="154860"/>
                    <a:pt x="151592" y="158389"/>
                  </a:cubicBezTo>
                  <a:cubicBezTo>
                    <a:pt x="154798" y="161918"/>
                    <a:pt x="155402" y="154860"/>
                    <a:pt x="155402" y="150588"/>
                  </a:cubicBezTo>
                  <a:cubicBezTo>
                    <a:pt x="155402" y="146316"/>
                    <a:pt x="168178" y="135079"/>
                    <a:pt x="168178" y="135079"/>
                  </a:cubicBezTo>
                  <a:cubicBezTo>
                    <a:pt x="168178" y="135079"/>
                    <a:pt x="176865" y="134568"/>
                    <a:pt x="182022" y="131968"/>
                  </a:cubicBezTo>
                  <a:cubicBezTo>
                    <a:pt x="180860" y="130157"/>
                    <a:pt x="179885" y="127138"/>
                    <a:pt x="178816" y="121984"/>
                  </a:cubicBezTo>
                  <a:cubicBezTo>
                    <a:pt x="176447" y="110329"/>
                    <a:pt x="172591" y="103457"/>
                    <a:pt x="175471" y="99742"/>
                  </a:cubicBezTo>
                  <a:cubicBezTo>
                    <a:pt x="178352" y="96027"/>
                    <a:pt x="186482" y="104525"/>
                    <a:pt x="190756" y="102389"/>
                  </a:cubicBezTo>
                  <a:cubicBezTo>
                    <a:pt x="195077" y="100299"/>
                    <a:pt x="202742" y="96027"/>
                    <a:pt x="201766" y="91291"/>
                  </a:cubicBezTo>
                  <a:cubicBezTo>
                    <a:pt x="200791" y="86508"/>
                    <a:pt x="193636" y="80146"/>
                    <a:pt x="189827" y="79125"/>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47" name="Freeform 124">
              <a:extLst>
                <a:ext uri="{FF2B5EF4-FFF2-40B4-BE49-F238E27FC236}">
                  <a16:creationId xmlns:a16="http://schemas.microsoft.com/office/drawing/2014/main" id="{81A0EE5C-27E5-3869-C73E-703527F7C9F6}"/>
                </a:ext>
              </a:extLst>
            </p:cNvPr>
            <p:cNvSpPr/>
            <p:nvPr/>
          </p:nvSpPr>
          <p:spPr>
            <a:xfrm>
              <a:off x="10789384" y="3183193"/>
              <a:ext cx="338899" cy="205976"/>
            </a:xfrm>
            <a:custGeom>
              <a:avLst/>
              <a:gdLst>
                <a:gd name="connsiteX0" fmla="*/ 175 w 72556"/>
                <a:gd name="connsiteY0" fmla="*/ 38944 h 44098"/>
                <a:gd name="connsiteX1" fmla="*/ 13927 w 72556"/>
                <a:gd name="connsiteY1" fmla="*/ 36994 h 44098"/>
                <a:gd name="connsiteX2" fmla="*/ 17690 w 72556"/>
                <a:gd name="connsiteY2" fmla="*/ 44098 h 44098"/>
                <a:gd name="connsiteX3" fmla="*/ 32882 w 72556"/>
                <a:gd name="connsiteY3" fmla="*/ 40848 h 44098"/>
                <a:gd name="connsiteX4" fmla="*/ 46261 w 72556"/>
                <a:gd name="connsiteY4" fmla="*/ 41359 h 44098"/>
                <a:gd name="connsiteX5" fmla="*/ 53927 w 72556"/>
                <a:gd name="connsiteY5" fmla="*/ 30772 h 44098"/>
                <a:gd name="connsiteX6" fmla="*/ 59177 w 72556"/>
                <a:gd name="connsiteY6" fmla="*/ 19117 h 44098"/>
                <a:gd name="connsiteX7" fmla="*/ 72556 w 72556"/>
                <a:gd name="connsiteY7" fmla="*/ 9040 h 44098"/>
                <a:gd name="connsiteX8" fmla="*/ 67307 w 72556"/>
                <a:gd name="connsiteY8" fmla="*/ 32 h 44098"/>
                <a:gd name="connsiteX9" fmla="*/ 52487 w 72556"/>
                <a:gd name="connsiteY9" fmla="*/ 5325 h 44098"/>
                <a:gd name="connsiteX10" fmla="*/ 33857 w 72556"/>
                <a:gd name="connsiteY10" fmla="*/ 12755 h 44098"/>
                <a:gd name="connsiteX11" fmla="*/ 9931 w 72556"/>
                <a:gd name="connsiteY11" fmla="*/ 7972 h 44098"/>
                <a:gd name="connsiteX12" fmla="*/ 1290 w 72556"/>
                <a:gd name="connsiteY12" fmla="*/ 7229 h 44098"/>
                <a:gd name="connsiteX13" fmla="*/ 175 w 72556"/>
                <a:gd name="connsiteY13" fmla="*/ 38898 h 4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556" h="44098">
                  <a:moveTo>
                    <a:pt x="175" y="38944"/>
                  </a:moveTo>
                  <a:cubicBezTo>
                    <a:pt x="5332" y="36669"/>
                    <a:pt x="11093" y="35740"/>
                    <a:pt x="13927" y="36994"/>
                  </a:cubicBezTo>
                  <a:cubicBezTo>
                    <a:pt x="16436" y="38108"/>
                    <a:pt x="17225" y="40987"/>
                    <a:pt x="17690" y="44098"/>
                  </a:cubicBezTo>
                  <a:cubicBezTo>
                    <a:pt x="22103" y="43402"/>
                    <a:pt x="30140" y="42009"/>
                    <a:pt x="32882" y="40848"/>
                  </a:cubicBezTo>
                  <a:cubicBezTo>
                    <a:pt x="36738" y="39269"/>
                    <a:pt x="45332" y="44563"/>
                    <a:pt x="46261" y="41359"/>
                  </a:cubicBezTo>
                  <a:cubicBezTo>
                    <a:pt x="47191" y="38201"/>
                    <a:pt x="50071" y="30772"/>
                    <a:pt x="53927" y="30772"/>
                  </a:cubicBezTo>
                  <a:cubicBezTo>
                    <a:pt x="57783" y="30772"/>
                    <a:pt x="55367" y="19627"/>
                    <a:pt x="59177" y="19117"/>
                  </a:cubicBezTo>
                  <a:cubicBezTo>
                    <a:pt x="62986" y="18606"/>
                    <a:pt x="72556" y="9040"/>
                    <a:pt x="72556" y="9040"/>
                  </a:cubicBezTo>
                  <a:cubicBezTo>
                    <a:pt x="72556" y="9040"/>
                    <a:pt x="68747" y="589"/>
                    <a:pt x="67307" y="32"/>
                  </a:cubicBezTo>
                  <a:cubicBezTo>
                    <a:pt x="65866" y="-479"/>
                    <a:pt x="61081" y="5325"/>
                    <a:pt x="52487" y="5325"/>
                  </a:cubicBezTo>
                  <a:cubicBezTo>
                    <a:pt x="43892" y="5325"/>
                    <a:pt x="37667" y="12755"/>
                    <a:pt x="33857" y="12755"/>
                  </a:cubicBezTo>
                  <a:cubicBezTo>
                    <a:pt x="30048" y="12755"/>
                    <a:pt x="18061" y="8529"/>
                    <a:pt x="9931" y="7972"/>
                  </a:cubicBezTo>
                  <a:cubicBezTo>
                    <a:pt x="7051" y="7786"/>
                    <a:pt x="4078" y="7554"/>
                    <a:pt x="1290" y="7229"/>
                  </a:cubicBezTo>
                  <a:cubicBezTo>
                    <a:pt x="500" y="15216"/>
                    <a:pt x="-382" y="27568"/>
                    <a:pt x="175" y="38898"/>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48" name="Freeform 126">
              <a:extLst>
                <a:ext uri="{FF2B5EF4-FFF2-40B4-BE49-F238E27FC236}">
                  <a16:creationId xmlns:a16="http://schemas.microsoft.com/office/drawing/2014/main" id="{1857BF3A-B0FC-B594-164F-754B203EF67A}"/>
                </a:ext>
              </a:extLst>
            </p:cNvPr>
            <p:cNvSpPr/>
            <p:nvPr/>
          </p:nvSpPr>
          <p:spPr>
            <a:xfrm>
              <a:off x="11434900" y="1922226"/>
              <a:ext cx="316600" cy="150173"/>
            </a:xfrm>
            <a:custGeom>
              <a:avLst/>
              <a:gdLst>
                <a:gd name="connsiteX0" fmla="*/ 55889 w 67782"/>
                <a:gd name="connsiteY0" fmla="*/ 7268 h 32151"/>
                <a:gd name="connsiteX1" fmla="*/ 42974 w 67782"/>
                <a:gd name="connsiteY1" fmla="*/ 1974 h 32151"/>
                <a:gd name="connsiteX2" fmla="*/ 29872 w 67782"/>
                <a:gd name="connsiteY2" fmla="*/ 674 h 32151"/>
                <a:gd name="connsiteX3" fmla="*/ 33217 w 67782"/>
                <a:gd name="connsiteY3" fmla="*/ 4296 h 32151"/>
                <a:gd name="connsiteX4" fmla="*/ 26202 w 67782"/>
                <a:gd name="connsiteY4" fmla="*/ 17344 h 32151"/>
                <a:gd name="connsiteX5" fmla="*/ 15982 w 67782"/>
                <a:gd name="connsiteY5" fmla="*/ 17344 h 32151"/>
                <a:gd name="connsiteX6" fmla="*/ 1301 w 67782"/>
                <a:gd name="connsiteY6" fmla="*/ 18412 h 32151"/>
                <a:gd name="connsiteX7" fmla="*/ 0 w 67782"/>
                <a:gd name="connsiteY7" fmla="*/ 24077 h 32151"/>
                <a:gd name="connsiteX8" fmla="*/ 10918 w 67782"/>
                <a:gd name="connsiteY8" fmla="*/ 28489 h 32151"/>
                <a:gd name="connsiteX9" fmla="*/ 66992 w 67782"/>
                <a:gd name="connsiteY9" fmla="*/ 31089 h 32151"/>
                <a:gd name="connsiteX10" fmla="*/ 67782 w 67782"/>
                <a:gd name="connsiteY10" fmla="*/ 15208 h 32151"/>
                <a:gd name="connsiteX11" fmla="*/ 55842 w 67782"/>
                <a:gd name="connsiteY11" fmla="*/ 7268 h 32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782" h="32151">
                  <a:moveTo>
                    <a:pt x="55889" y="7268"/>
                  </a:moveTo>
                  <a:cubicBezTo>
                    <a:pt x="53009" y="8847"/>
                    <a:pt x="45343" y="5689"/>
                    <a:pt x="42974" y="1974"/>
                  </a:cubicBezTo>
                  <a:cubicBezTo>
                    <a:pt x="41069" y="-997"/>
                    <a:pt x="35122" y="117"/>
                    <a:pt x="29872" y="674"/>
                  </a:cubicBezTo>
                  <a:cubicBezTo>
                    <a:pt x="31034" y="1464"/>
                    <a:pt x="32335" y="2485"/>
                    <a:pt x="33217" y="4296"/>
                  </a:cubicBezTo>
                  <a:cubicBezTo>
                    <a:pt x="36098" y="9961"/>
                    <a:pt x="21742" y="10658"/>
                    <a:pt x="26202" y="17344"/>
                  </a:cubicBezTo>
                  <a:cubicBezTo>
                    <a:pt x="30662" y="24077"/>
                    <a:pt x="15982" y="24402"/>
                    <a:pt x="15982" y="17344"/>
                  </a:cubicBezTo>
                  <a:cubicBezTo>
                    <a:pt x="15982" y="10286"/>
                    <a:pt x="650" y="13815"/>
                    <a:pt x="1301" y="18412"/>
                  </a:cubicBezTo>
                  <a:cubicBezTo>
                    <a:pt x="1533" y="20084"/>
                    <a:pt x="1069" y="22081"/>
                    <a:pt x="0" y="24077"/>
                  </a:cubicBezTo>
                  <a:cubicBezTo>
                    <a:pt x="4181" y="25703"/>
                    <a:pt x="9013" y="27653"/>
                    <a:pt x="10918" y="28489"/>
                  </a:cubicBezTo>
                  <a:cubicBezTo>
                    <a:pt x="13798" y="29742"/>
                    <a:pt x="52033" y="34154"/>
                    <a:pt x="66992" y="31089"/>
                  </a:cubicBezTo>
                  <a:cubicBezTo>
                    <a:pt x="66202" y="27978"/>
                    <a:pt x="67782" y="18737"/>
                    <a:pt x="67782" y="15208"/>
                  </a:cubicBezTo>
                  <a:cubicBezTo>
                    <a:pt x="67782" y="10983"/>
                    <a:pt x="58676" y="5689"/>
                    <a:pt x="55842" y="7268"/>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49" name="Freeform 127">
              <a:extLst>
                <a:ext uri="{FF2B5EF4-FFF2-40B4-BE49-F238E27FC236}">
                  <a16:creationId xmlns:a16="http://schemas.microsoft.com/office/drawing/2014/main" id="{66A90598-A062-B787-AFD9-83207B1FCDA1}"/>
                </a:ext>
              </a:extLst>
            </p:cNvPr>
            <p:cNvSpPr/>
            <p:nvPr/>
          </p:nvSpPr>
          <p:spPr>
            <a:xfrm>
              <a:off x="11317951" y="3673079"/>
              <a:ext cx="121951" cy="179146"/>
            </a:xfrm>
            <a:custGeom>
              <a:avLst/>
              <a:gdLst>
                <a:gd name="connsiteX0" fmla="*/ 9152 w 26109"/>
                <a:gd name="connsiteY0" fmla="*/ 46 h 38354"/>
                <a:gd name="connsiteX1" fmla="*/ 883 w 26109"/>
                <a:gd name="connsiteY1" fmla="*/ 17784 h 38354"/>
                <a:gd name="connsiteX2" fmla="*/ 0 w 26109"/>
                <a:gd name="connsiteY2" fmla="*/ 25168 h 38354"/>
                <a:gd name="connsiteX3" fmla="*/ 15238 w 26109"/>
                <a:gd name="connsiteY3" fmla="*/ 37705 h 38354"/>
                <a:gd name="connsiteX4" fmla="*/ 16400 w 26109"/>
                <a:gd name="connsiteY4" fmla="*/ 38355 h 38354"/>
                <a:gd name="connsiteX5" fmla="*/ 26110 w 26109"/>
                <a:gd name="connsiteY5" fmla="*/ 21453 h 38354"/>
                <a:gd name="connsiteX6" fmla="*/ 9199 w 26109"/>
                <a:gd name="connsiteY6" fmla="*/ 0 h 38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09" h="38354">
                  <a:moveTo>
                    <a:pt x="9152" y="46"/>
                  </a:moveTo>
                  <a:cubicBezTo>
                    <a:pt x="4739" y="6640"/>
                    <a:pt x="418" y="15045"/>
                    <a:pt x="883" y="17784"/>
                  </a:cubicBezTo>
                  <a:cubicBezTo>
                    <a:pt x="1115" y="18992"/>
                    <a:pt x="743" y="21685"/>
                    <a:pt x="0" y="25168"/>
                  </a:cubicBezTo>
                  <a:cubicBezTo>
                    <a:pt x="5668" y="30229"/>
                    <a:pt x="11197" y="35383"/>
                    <a:pt x="15238" y="37705"/>
                  </a:cubicBezTo>
                  <a:cubicBezTo>
                    <a:pt x="15657" y="37937"/>
                    <a:pt x="15982" y="38169"/>
                    <a:pt x="16400" y="38355"/>
                  </a:cubicBezTo>
                  <a:cubicBezTo>
                    <a:pt x="17654" y="30508"/>
                    <a:pt x="22532" y="22381"/>
                    <a:pt x="26110" y="21453"/>
                  </a:cubicBezTo>
                  <a:cubicBezTo>
                    <a:pt x="21139" y="14720"/>
                    <a:pt x="13891" y="5201"/>
                    <a:pt x="9199" y="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50" name="Freeform 128">
              <a:extLst>
                <a:ext uri="{FF2B5EF4-FFF2-40B4-BE49-F238E27FC236}">
                  <a16:creationId xmlns:a16="http://schemas.microsoft.com/office/drawing/2014/main" id="{6820EFFE-6F87-EABA-70B2-240C4FE46FAD}"/>
                </a:ext>
              </a:extLst>
            </p:cNvPr>
            <p:cNvSpPr/>
            <p:nvPr/>
          </p:nvSpPr>
          <p:spPr>
            <a:xfrm>
              <a:off x="11347895" y="3274654"/>
              <a:ext cx="403899" cy="556324"/>
            </a:xfrm>
            <a:custGeom>
              <a:avLst/>
              <a:gdLst>
                <a:gd name="connsiteX0" fmla="*/ 78374 w 86472"/>
                <a:gd name="connsiteY0" fmla="*/ 79543 h 119105"/>
                <a:gd name="connsiteX1" fmla="*/ 78374 w 86472"/>
                <a:gd name="connsiteY1" fmla="*/ 63105 h 119105"/>
                <a:gd name="connsiteX2" fmla="*/ 78839 w 86472"/>
                <a:gd name="connsiteY2" fmla="*/ 50382 h 119105"/>
                <a:gd name="connsiteX3" fmla="*/ 54913 w 86472"/>
                <a:gd name="connsiteY3" fmla="*/ 42441 h 119105"/>
                <a:gd name="connsiteX4" fmla="*/ 52033 w 86472"/>
                <a:gd name="connsiteY4" fmla="*/ 27582 h 119105"/>
                <a:gd name="connsiteX5" fmla="*/ 44878 w 86472"/>
                <a:gd name="connsiteY5" fmla="*/ 19131 h 119105"/>
                <a:gd name="connsiteX6" fmla="*/ 37213 w 86472"/>
                <a:gd name="connsiteY6" fmla="*/ 5340 h 119105"/>
                <a:gd name="connsiteX7" fmla="*/ 37817 w 86472"/>
                <a:gd name="connsiteY7" fmla="*/ 4272 h 119105"/>
                <a:gd name="connsiteX8" fmla="*/ 31731 w 86472"/>
                <a:gd name="connsiteY8" fmla="*/ 3158 h 119105"/>
                <a:gd name="connsiteX9" fmla="*/ 22486 w 86472"/>
                <a:gd name="connsiteY9" fmla="*/ 0 h 119105"/>
                <a:gd name="connsiteX10" fmla="*/ 0 w 86472"/>
                <a:gd name="connsiteY10" fmla="*/ 7847 h 119105"/>
                <a:gd name="connsiteX11" fmla="*/ 5622 w 86472"/>
                <a:gd name="connsiteY11" fmla="*/ 22289 h 119105"/>
                <a:gd name="connsiteX12" fmla="*/ 12451 w 86472"/>
                <a:gd name="connsiteY12" fmla="*/ 39377 h 119105"/>
                <a:gd name="connsiteX13" fmla="*/ 10732 w 86472"/>
                <a:gd name="connsiteY13" fmla="*/ 76385 h 119105"/>
                <a:gd name="connsiteX14" fmla="*/ 2695 w 86472"/>
                <a:gd name="connsiteY14" fmla="*/ 85254 h 119105"/>
                <a:gd name="connsiteX15" fmla="*/ 19605 w 86472"/>
                <a:gd name="connsiteY15" fmla="*/ 106707 h 119105"/>
                <a:gd name="connsiteX16" fmla="*/ 20256 w 86472"/>
                <a:gd name="connsiteY16" fmla="*/ 106475 h 119105"/>
                <a:gd name="connsiteX17" fmla="*/ 40233 w 86472"/>
                <a:gd name="connsiteY17" fmla="*/ 119105 h 119105"/>
                <a:gd name="connsiteX18" fmla="*/ 77399 w 86472"/>
                <a:gd name="connsiteY18" fmla="*/ 111583 h 119105"/>
                <a:gd name="connsiteX19" fmla="*/ 77817 w 86472"/>
                <a:gd name="connsiteY19" fmla="*/ 104339 h 119105"/>
                <a:gd name="connsiteX20" fmla="*/ 85018 w 86472"/>
                <a:gd name="connsiteY20" fmla="*/ 94820 h 119105"/>
                <a:gd name="connsiteX21" fmla="*/ 78328 w 86472"/>
                <a:gd name="connsiteY21" fmla="*/ 79450 h 119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2" h="119105">
                  <a:moveTo>
                    <a:pt x="78374" y="79543"/>
                  </a:moveTo>
                  <a:cubicBezTo>
                    <a:pt x="73589" y="74760"/>
                    <a:pt x="74054" y="66309"/>
                    <a:pt x="78374" y="63105"/>
                  </a:cubicBezTo>
                  <a:cubicBezTo>
                    <a:pt x="82695" y="59947"/>
                    <a:pt x="78839" y="55675"/>
                    <a:pt x="78839" y="50382"/>
                  </a:cubicBezTo>
                  <a:cubicBezTo>
                    <a:pt x="78839" y="45088"/>
                    <a:pt x="58305" y="43509"/>
                    <a:pt x="54913" y="42441"/>
                  </a:cubicBezTo>
                  <a:cubicBezTo>
                    <a:pt x="51568" y="41373"/>
                    <a:pt x="57329" y="27582"/>
                    <a:pt x="52033" y="27582"/>
                  </a:cubicBezTo>
                  <a:cubicBezTo>
                    <a:pt x="46737" y="27582"/>
                    <a:pt x="44878" y="23357"/>
                    <a:pt x="44878" y="19131"/>
                  </a:cubicBezTo>
                  <a:cubicBezTo>
                    <a:pt x="44878" y="14906"/>
                    <a:pt x="36748" y="7987"/>
                    <a:pt x="37213" y="5340"/>
                  </a:cubicBezTo>
                  <a:cubicBezTo>
                    <a:pt x="37306" y="4969"/>
                    <a:pt x="37538" y="4643"/>
                    <a:pt x="37817" y="4272"/>
                  </a:cubicBezTo>
                  <a:cubicBezTo>
                    <a:pt x="34843" y="3761"/>
                    <a:pt x="32567" y="3343"/>
                    <a:pt x="31731" y="3158"/>
                  </a:cubicBezTo>
                  <a:cubicBezTo>
                    <a:pt x="28200" y="2368"/>
                    <a:pt x="22486" y="0"/>
                    <a:pt x="22486" y="0"/>
                  </a:cubicBezTo>
                  <a:cubicBezTo>
                    <a:pt x="22486" y="0"/>
                    <a:pt x="9199" y="4736"/>
                    <a:pt x="0" y="7847"/>
                  </a:cubicBezTo>
                  <a:cubicBezTo>
                    <a:pt x="604" y="14070"/>
                    <a:pt x="2091" y="20849"/>
                    <a:pt x="5622" y="22289"/>
                  </a:cubicBezTo>
                  <a:cubicBezTo>
                    <a:pt x="12451" y="25121"/>
                    <a:pt x="9896" y="32690"/>
                    <a:pt x="12451" y="39377"/>
                  </a:cubicBezTo>
                  <a:cubicBezTo>
                    <a:pt x="15006" y="46017"/>
                    <a:pt x="14170" y="76385"/>
                    <a:pt x="10732" y="76385"/>
                  </a:cubicBezTo>
                  <a:cubicBezTo>
                    <a:pt x="9292" y="76385"/>
                    <a:pt x="5947" y="80332"/>
                    <a:pt x="2695" y="85254"/>
                  </a:cubicBezTo>
                  <a:cubicBezTo>
                    <a:pt x="7387" y="90455"/>
                    <a:pt x="14681" y="99974"/>
                    <a:pt x="19605" y="106707"/>
                  </a:cubicBezTo>
                  <a:cubicBezTo>
                    <a:pt x="19838" y="106661"/>
                    <a:pt x="20070" y="106475"/>
                    <a:pt x="20256" y="106475"/>
                  </a:cubicBezTo>
                  <a:cubicBezTo>
                    <a:pt x="24530" y="106475"/>
                    <a:pt x="40233" y="119105"/>
                    <a:pt x="40233" y="119105"/>
                  </a:cubicBezTo>
                  <a:cubicBezTo>
                    <a:pt x="40233" y="119105"/>
                    <a:pt x="62439" y="113997"/>
                    <a:pt x="77399" y="111583"/>
                  </a:cubicBezTo>
                  <a:cubicBezTo>
                    <a:pt x="77631" y="109075"/>
                    <a:pt x="78096" y="106150"/>
                    <a:pt x="77817" y="104339"/>
                  </a:cubicBezTo>
                  <a:cubicBezTo>
                    <a:pt x="77352" y="101181"/>
                    <a:pt x="80697" y="94820"/>
                    <a:pt x="85018" y="94820"/>
                  </a:cubicBezTo>
                  <a:cubicBezTo>
                    <a:pt x="89339" y="94820"/>
                    <a:pt x="83113" y="84233"/>
                    <a:pt x="78328" y="79450"/>
                  </a:cubicBezTo>
                  <a:close/>
                </a:path>
              </a:pathLst>
            </a:custGeom>
            <a:grpFill/>
            <a:ln w="3484"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grpSp>
        <p:nvGrpSpPr>
          <p:cNvPr id="58" name="Group 57">
            <a:extLst>
              <a:ext uri="{FF2B5EF4-FFF2-40B4-BE49-F238E27FC236}">
                <a16:creationId xmlns:a16="http://schemas.microsoft.com/office/drawing/2014/main" id="{762E6AB4-A015-2DC4-F7C5-7C41B60C2F2C}"/>
              </a:ext>
            </a:extLst>
          </p:cNvPr>
          <p:cNvGrpSpPr/>
          <p:nvPr/>
        </p:nvGrpSpPr>
        <p:grpSpPr>
          <a:xfrm>
            <a:off x="2413041" y="1824720"/>
            <a:ext cx="2207877" cy="454534"/>
            <a:chOff x="6525120" y="154995"/>
            <a:chExt cx="2207877" cy="454534"/>
          </a:xfrm>
        </p:grpSpPr>
        <p:pic>
          <p:nvPicPr>
            <p:cNvPr id="60" name="Bilde 96" descr="Et bilde som inneholder tegning&#10;&#10;Automatisk generert beskrivelse">
              <a:extLst>
                <a:ext uri="{FF2B5EF4-FFF2-40B4-BE49-F238E27FC236}">
                  <a16:creationId xmlns:a16="http://schemas.microsoft.com/office/drawing/2014/main" id="{A6816BE9-DF0B-4E22-2D6D-4C4CDAC16CB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525120" y="154995"/>
              <a:ext cx="631858" cy="454534"/>
            </a:xfrm>
            <a:prstGeom prst="rect">
              <a:avLst/>
            </a:prstGeom>
          </p:spPr>
        </p:pic>
        <p:grpSp>
          <p:nvGrpSpPr>
            <p:cNvPr id="61" name="Group 60">
              <a:extLst>
                <a:ext uri="{FF2B5EF4-FFF2-40B4-BE49-F238E27FC236}">
                  <a16:creationId xmlns:a16="http://schemas.microsoft.com/office/drawing/2014/main" id="{4B67193F-8384-3274-F9F2-4BD289B619C3}"/>
                </a:ext>
              </a:extLst>
            </p:cNvPr>
            <p:cNvGrpSpPr/>
            <p:nvPr/>
          </p:nvGrpSpPr>
          <p:grpSpPr>
            <a:xfrm>
              <a:off x="7368825" y="267047"/>
              <a:ext cx="1364172" cy="224793"/>
              <a:chOff x="7368825" y="153604"/>
              <a:chExt cx="1364172" cy="224793"/>
            </a:xfrm>
          </p:grpSpPr>
          <p:pic>
            <p:nvPicPr>
              <p:cNvPr id="63" name="Picture 62">
                <a:extLst>
                  <a:ext uri="{FF2B5EF4-FFF2-40B4-BE49-F238E27FC236}">
                    <a16:creationId xmlns:a16="http://schemas.microsoft.com/office/drawing/2014/main" id="{3F2C084C-89FB-61D3-6C6E-A7E015EC62E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368825" y="153604"/>
                <a:ext cx="445135" cy="224793"/>
              </a:xfrm>
              <a:prstGeom prst="rect">
                <a:avLst/>
              </a:prstGeom>
            </p:spPr>
          </p:pic>
          <p:pic>
            <p:nvPicPr>
              <p:cNvPr id="73" name="Bilde 93" descr="Et bilde som inneholder tegning&#10;&#10;Automatisk generert beskrivelse">
                <a:extLst>
                  <a:ext uri="{FF2B5EF4-FFF2-40B4-BE49-F238E27FC236}">
                    <a16:creationId xmlns:a16="http://schemas.microsoft.com/office/drawing/2014/main" id="{FDB202FB-FB96-7308-8C27-5D6D883FB6B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945753" y="195169"/>
                <a:ext cx="787244" cy="116798"/>
              </a:xfrm>
              <a:prstGeom prst="rect">
                <a:avLst/>
              </a:prstGeom>
            </p:spPr>
          </p:pic>
        </p:grpSp>
      </p:grpSp>
      <p:sp>
        <p:nvSpPr>
          <p:cNvPr id="75" name="Rectangle 74">
            <a:extLst>
              <a:ext uri="{FF2B5EF4-FFF2-40B4-BE49-F238E27FC236}">
                <a16:creationId xmlns:a16="http://schemas.microsoft.com/office/drawing/2014/main" id="{C652DF24-2794-31EC-D6B4-0711B1A6B75D}"/>
              </a:ext>
            </a:extLst>
          </p:cNvPr>
          <p:cNvSpPr/>
          <p:nvPr/>
        </p:nvSpPr>
        <p:spPr>
          <a:xfrm>
            <a:off x="2247290" y="1791311"/>
            <a:ext cx="2494312" cy="507600"/>
          </a:xfrm>
          <a:prstGeom prst="rect">
            <a:avLst/>
          </a:prstGeom>
          <a:noFill/>
          <a:ln w="6350">
            <a:solidFill>
              <a:srgbClr val="2832DC"/>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Helvetica Light"/>
              <a:ea typeface="+mn-ea"/>
              <a:cs typeface="+mn-cs"/>
            </a:endParaRPr>
          </a:p>
        </p:txBody>
      </p:sp>
      <p:grpSp>
        <p:nvGrpSpPr>
          <p:cNvPr id="76" name="Group 75">
            <a:extLst>
              <a:ext uri="{FF2B5EF4-FFF2-40B4-BE49-F238E27FC236}">
                <a16:creationId xmlns:a16="http://schemas.microsoft.com/office/drawing/2014/main" id="{40299A79-7A91-6C83-C85F-3BEE51C20F78}"/>
              </a:ext>
            </a:extLst>
          </p:cNvPr>
          <p:cNvGrpSpPr/>
          <p:nvPr/>
        </p:nvGrpSpPr>
        <p:grpSpPr>
          <a:xfrm>
            <a:off x="4739691" y="2028402"/>
            <a:ext cx="1569082" cy="1091775"/>
            <a:chOff x="6192992" y="1825331"/>
            <a:chExt cx="398344" cy="1673788"/>
          </a:xfrm>
        </p:grpSpPr>
        <p:cxnSp>
          <p:nvCxnSpPr>
            <p:cNvPr id="77" name="Straight Connector 76">
              <a:extLst>
                <a:ext uri="{FF2B5EF4-FFF2-40B4-BE49-F238E27FC236}">
                  <a16:creationId xmlns:a16="http://schemas.microsoft.com/office/drawing/2014/main" id="{B90CA1D6-BADA-FCE5-A074-EA356CC66617}"/>
                </a:ext>
              </a:extLst>
            </p:cNvPr>
            <p:cNvCxnSpPr>
              <a:cxnSpLocks/>
            </p:cNvCxnSpPr>
            <p:nvPr/>
          </p:nvCxnSpPr>
          <p:spPr>
            <a:xfrm>
              <a:off x="6591336" y="1825331"/>
              <a:ext cx="0" cy="1673788"/>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7FC1516B-1F34-05FD-E564-51BCB6D01348}"/>
                </a:ext>
              </a:extLst>
            </p:cNvPr>
            <p:cNvCxnSpPr>
              <a:cxnSpLocks/>
            </p:cNvCxnSpPr>
            <p:nvPr/>
          </p:nvCxnSpPr>
          <p:spPr>
            <a:xfrm rot="5400000">
              <a:off x="6390992" y="1627331"/>
              <a:ext cx="0" cy="39600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956A6E90-4CF3-A15E-41EA-9F1E28192012}"/>
              </a:ext>
            </a:extLst>
          </p:cNvPr>
          <p:cNvGrpSpPr/>
          <p:nvPr/>
        </p:nvGrpSpPr>
        <p:grpSpPr>
          <a:xfrm>
            <a:off x="7148578" y="812358"/>
            <a:ext cx="1289288" cy="1433377"/>
            <a:chOff x="6905790" y="1357231"/>
            <a:chExt cx="1062375" cy="888504"/>
          </a:xfrm>
        </p:grpSpPr>
        <p:cxnSp>
          <p:nvCxnSpPr>
            <p:cNvPr id="88" name="Straight Connector 87">
              <a:extLst>
                <a:ext uri="{FF2B5EF4-FFF2-40B4-BE49-F238E27FC236}">
                  <a16:creationId xmlns:a16="http://schemas.microsoft.com/office/drawing/2014/main" id="{E79BC29C-4B59-5BA9-9418-E1DF992F8974}"/>
                </a:ext>
              </a:extLst>
            </p:cNvPr>
            <p:cNvCxnSpPr>
              <a:cxnSpLocks/>
            </p:cNvCxnSpPr>
            <p:nvPr/>
          </p:nvCxnSpPr>
          <p:spPr>
            <a:xfrm>
              <a:off x="6905790" y="1357231"/>
              <a:ext cx="0" cy="888504"/>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BA2E44C-1C31-861E-808F-FB5B305052E2}"/>
                </a:ext>
              </a:extLst>
            </p:cNvPr>
            <p:cNvCxnSpPr>
              <a:cxnSpLocks/>
            </p:cNvCxnSpPr>
            <p:nvPr/>
          </p:nvCxnSpPr>
          <p:spPr>
            <a:xfrm flipH="1">
              <a:off x="6908047" y="1357231"/>
              <a:ext cx="1060118" cy="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6497C0AC-87B8-7BA2-6A4D-75A88C8B4B62}"/>
              </a:ext>
            </a:extLst>
          </p:cNvPr>
          <p:cNvGrpSpPr/>
          <p:nvPr/>
        </p:nvGrpSpPr>
        <p:grpSpPr>
          <a:xfrm>
            <a:off x="4755336" y="3908631"/>
            <a:ext cx="345513" cy="270124"/>
            <a:chOff x="5877852" y="4787149"/>
            <a:chExt cx="254510" cy="900000"/>
          </a:xfrm>
        </p:grpSpPr>
        <p:cxnSp>
          <p:nvCxnSpPr>
            <p:cNvPr id="95" name="Straight Connector 94">
              <a:extLst>
                <a:ext uri="{FF2B5EF4-FFF2-40B4-BE49-F238E27FC236}">
                  <a16:creationId xmlns:a16="http://schemas.microsoft.com/office/drawing/2014/main" id="{4D681586-823A-F5EF-E61B-F5E1E17DE4E1}"/>
                </a:ext>
              </a:extLst>
            </p:cNvPr>
            <p:cNvCxnSpPr/>
            <p:nvPr/>
          </p:nvCxnSpPr>
          <p:spPr>
            <a:xfrm>
              <a:off x="6132362" y="4787149"/>
              <a:ext cx="0" cy="90000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1954C6EA-E8FA-9021-E270-43C6B225781E}"/>
                </a:ext>
              </a:extLst>
            </p:cNvPr>
            <p:cNvCxnSpPr>
              <a:cxnSpLocks/>
            </p:cNvCxnSpPr>
            <p:nvPr/>
          </p:nvCxnSpPr>
          <p:spPr>
            <a:xfrm rot="5400000">
              <a:off x="6003852" y="5561148"/>
              <a:ext cx="0" cy="25200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grpSp>
      <p:grpSp>
        <p:nvGrpSpPr>
          <p:cNvPr id="105" name="Group 104">
            <a:extLst>
              <a:ext uri="{FF2B5EF4-FFF2-40B4-BE49-F238E27FC236}">
                <a16:creationId xmlns:a16="http://schemas.microsoft.com/office/drawing/2014/main" id="{A6AB9DDF-561D-7DEC-3899-42EBE4AF2884}"/>
              </a:ext>
            </a:extLst>
          </p:cNvPr>
          <p:cNvGrpSpPr/>
          <p:nvPr/>
        </p:nvGrpSpPr>
        <p:grpSpPr>
          <a:xfrm>
            <a:off x="4753848" y="5260613"/>
            <a:ext cx="705330" cy="367166"/>
            <a:chOff x="5869926" y="4787149"/>
            <a:chExt cx="262436" cy="900000"/>
          </a:xfrm>
        </p:grpSpPr>
        <p:cxnSp>
          <p:nvCxnSpPr>
            <p:cNvPr id="106" name="Straight Connector 105">
              <a:extLst>
                <a:ext uri="{FF2B5EF4-FFF2-40B4-BE49-F238E27FC236}">
                  <a16:creationId xmlns:a16="http://schemas.microsoft.com/office/drawing/2014/main" id="{59166CF3-05B6-0B41-80C2-5D40854F6D17}"/>
                </a:ext>
              </a:extLst>
            </p:cNvPr>
            <p:cNvCxnSpPr/>
            <p:nvPr/>
          </p:nvCxnSpPr>
          <p:spPr>
            <a:xfrm>
              <a:off x="6132362" y="4787149"/>
              <a:ext cx="0" cy="90000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1CC40311-EE14-508F-59E2-DFAAFD4A46AE}"/>
                </a:ext>
              </a:extLst>
            </p:cNvPr>
            <p:cNvCxnSpPr>
              <a:cxnSpLocks/>
            </p:cNvCxnSpPr>
            <p:nvPr/>
          </p:nvCxnSpPr>
          <p:spPr>
            <a:xfrm rot="5400000">
              <a:off x="5995926" y="5561149"/>
              <a:ext cx="0" cy="25200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grpSp>
      <p:grpSp>
        <p:nvGrpSpPr>
          <p:cNvPr id="120" name="Group 119">
            <a:extLst>
              <a:ext uri="{FF2B5EF4-FFF2-40B4-BE49-F238E27FC236}">
                <a16:creationId xmlns:a16="http://schemas.microsoft.com/office/drawing/2014/main" id="{D3C3EDB7-044E-11DA-A002-170FD922CA42}"/>
              </a:ext>
            </a:extLst>
          </p:cNvPr>
          <p:cNvGrpSpPr/>
          <p:nvPr/>
        </p:nvGrpSpPr>
        <p:grpSpPr>
          <a:xfrm>
            <a:off x="4760635" y="3042010"/>
            <a:ext cx="602749" cy="432702"/>
            <a:chOff x="6192992" y="1825331"/>
            <a:chExt cx="398344" cy="1673788"/>
          </a:xfrm>
        </p:grpSpPr>
        <p:cxnSp>
          <p:nvCxnSpPr>
            <p:cNvPr id="121" name="Straight Connector 120">
              <a:extLst>
                <a:ext uri="{FF2B5EF4-FFF2-40B4-BE49-F238E27FC236}">
                  <a16:creationId xmlns:a16="http://schemas.microsoft.com/office/drawing/2014/main" id="{45A50DCE-76B0-E2D1-2C08-86118634CE84}"/>
                </a:ext>
              </a:extLst>
            </p:cNvPr>
            <p:cNvCxnSpPr>
              <a:cxnSpLocks/>
            </p:cNvCxnSpPr>
            <p:nvPr/>
          </p:nvCxnSpPr>
          <p:spPr>
            <a:xfrm>
              <a:off x="6591336" y="1825331"/>
              <a:ext cx="0" cy="1673788"/>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952E2B2D-E11E-0B97-DAE6-4BE319EEFB17}"/>
                </a:ext>
              </a:extLst>
            </p:cNvPr>
            <p:cNvCxnSpPr>
              <a:cxnSpLocks/>
            </p:cNvCxnSpPr>
            <p:nvPr/>
          </p:nvCxnSpPr>
          <p:spPr>
            <a:xfrm rot="5400000">
              <a:off x="6390992" y="1627331"/>
              <a:ext cx="0" cy="39600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89DAD4A8-ADC0-BF66-9D09-14B0291D1857}"/>
              </a:ext>
            </a:extLst>
          </p:cNvPr>
          <p:cNvGrpSpPr/>
          <p:nvPr/>
        </p:nvGrpSpPr>
        <p:grpSpPr>
          <a:xfrm>
            <a:off x="748365" y="2782146"/>
            <a:ext cx="4008656" cy="508941"/>
            <a:chOff x="-1261345" y="3466621"/>
            <a:chExt cx="4008656" cy="508941"/>
          </a:xfrm>
        </p:grpSpPr>
        <p:sp>
          <p:nvSpPr>
            <p:cNvPr id="124" name="Rectangle 123">
              <a:extLst>
                <a:ext uri="{FF2B5EF4-FFF2-40B4-BE49-F238E27FC236}">
                  <a16:creationId xmlns:a16="http://schemas.microsoft.com/office/drawing/2014/main" id="{0B8A4D30-8273-BDB6-5FB2-4237F533B20F}"/>
                </a:ext>
              </a:extLst>
            </p:cNvPr>
            <p:cNvSpPr/>
            <p:nvPr/>
          </p:nvSpPr>
          <p:spPr>
            <a:xfrm>
              <a:off x="-1261345" y="3466621"/>
              <a:ext cx="4008656" cy="508941"/>
            </a:xfrm>
            <a:prstGeom prst="rect">
              <a:avLst/>
            </a:prstGeom>
            <a:noFill/>
            <a:ln w="6350">
              <a:solidFill>
                <a:srgbClr val="2832DC"/>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Helvetica Light"/>
                <a:ea typeface="+mn-ea"/>
                <a:cs typeface="+mn-cs"/>
              </a:endParaRPr>
            </a:p>
          </p:txBody>
        </p:sp>
        <p:grpSp>
          <p:nvGrpSpPr>
            <p:cNvPr id="125" name="Group 124">
              <a:extLst>
                <a:ext uri="{FF2B5EF4-FFF2-40B4-BE49-F238E27FC236}">
                  <a16:creationId xmlns:a16="http://schemas.microsoft.com/office/drawing/2014/main" id="{1EBC72F5-D987-00B0-2DF9-6C642FF7730C}"/>
                </a:ext>
              </a:extLst>
            </p:cNvPr>
            <p:cNvGrpSpPr/>
            <p:nvPr/>
          </p:nvGrpSpPr>
          <p:grpSpPr>
            <a:xfrm>
              <a:off x="-1192408" y="3596346"/>
              <a:ext cx="3848186" cy="243915"/>
              <a:chOff x="1846047" y="4220871"/>
              <a:chExt cx="4420294" cy="280179"/>
            </a:xfrm>
          </p:grpSpPr>
          <p:pic>
            <p:nvPicPr>
              <p:cNvPr id="126" name="Picture 125">
                <a:extLst>
                  <a:ext uri="{FF2B5EF4-FFF2-40B4-BE49-F238E27FC236}">
                    <a16:creationId xmlns:a16="http://schemas.microsoft.com/office/drawing/2014/main" id="{6AEAC0EB-74E9-B068-A9C4-E6F88393A55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808378" y="4332172"/>
                <a:ext cx="457963" cy="128803"/>
              </a:xfrm>
              <a:prstGeom prst="rect">
                <a:avLst/>
              </a:prstGeom>
            </p:spPr>
          </p:pic>
          <p:pic>
            <p:nvPicPr>
              <p:cNvPr id="127" name="Picture 126">
                <a:extLst>
                  <a:ext uri="{FF2B5EF4-FFF2-40B4-BE49-F238E27FC236}">
                    <a16:creationId xmlns:a16="http://schemas.microsoft.com/office/drawing/2014/main" id="{05493192-9CE8-9B24-1D5C-6DD65C95130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379828" y="4313285"/>
                <a:ext cx="454156" cy="134827"/>
              </a:xfrm>
              <a:prstGeom prst="rect">
                <a:avLst/>
              </a:prstGeom>
            </p:spPr>
          </p:pic>
          <p:pic>
            <p:nvPicPr>
              <p:cNvPr id="129" name="Picture 128">
                <a:extLst>
                  <a:ext uri="{FF2B5EF4-FFF2-40B4-BE49-F238E27FC236}">
                    <a16:creationId xmlns:a16="http://schemas.microsoft.com/office/drawing/2014/main" id="{3CEC57F2-0165-1B2A-7C55-596EC4B798BF}"/>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846047" y="4263630"/>
                <a:ext cx="1014986" cy="191895"/>
              </a:xfrm>
              <a:prstGeom prst="rect">
                <a:avLst/>
              </a:prstGeom>
            </p:spPr>
          </p:pic>
          <p:pic>
            <p:nvPicPr>
              <p:cNvPr id="130" name="Picture 129">
                <a:extLst>
                  <a:ext uri="{FF2B5EF4-FFF2-40B4-BE49-F238E27FC236}">
                    <a16:creationId xmlns:a16="http://schemas.microsoft.com/office/drawing/2014/main" id="{BF716435-56BE-6940-9948-82940EA0E483}"/>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580143" y="4287714"/>
                <a:ext cx="620366" cy="168544"/>
              </a:xfrm>
              <a:prstGeom prst="rect">
                <a:avLst/>
              </a:prstGeom>
            </p:spPr>
          </p:pic>
          <p:pic>
            <p:nvPicPr>
              <p:cNvPr id="131" name="Picture 130">
                <a:extLst>
                  <a:ext uri="{FF2B5EF4-FFF2-40B4-BE49-F238E27FC236}">
                    <a16:creationId xmlns:a16="http://schemas.microsoft.com/office/drawing/2014/main" id="{5FBD98CF-022E-9D7E-D68E-AA3ED17D2583}"/>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4899026" y="4220871"/>
                <a:ext cx="744042" cy="280179"/>
              </a:xfrm>
              <a:prstGeom prst="rect">
                <a:avLst/>
              </a:prstGeom>
            </p:spPr>
          </p:pic>
          <p:pic>
            <p:nvPicPr>
              <p:cNvPr id="132" name="Picture 131">
                <a:extLst>
                  <a:ext uri="{FF2B5EF4-FFF2-40B4-BE49-F238E27FC236}">
                    <a16:creationId xmlns:a16="http://schemas.microsoft.com/office/drawing/2014/main" id="{0B9B5410-D295-0390-CF2D-16F1DB8D1A95}"/>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972845" y="4256197"/>
                <a:ext cx="390166" cy="219468"/>
              </a:xfrm>
              <a:prstGeom prst="rect">
                <a:avLst/>
              </a:prstGeom>
            </p:spPr>
          </p:pic>
        </p:grpSp>
      </p:grpSp>
      <p:grpSp>
        <p:nvGrpSpPr>
          <p:cNvPr id="152" name="Group 151">
            <a:extLst>
              <a:ext uri="{FF2B5EF4-FFF2-40B4-BE49-F238E27FC236}">
                <a16:creationId xmlns:a16="http://schemas.microsoft.com/office/drawing/2014/main" id="{3C7BA180-5CB7-2FE4-D303-8C66357ECF1A}"/>
              </a:ext>
            </a:extLst>
          </p:cNvPr>
          <p:cNvGrpSpPr/>
          <p:nvPr/>
        </p:nvGrpSpPr>
        <p:grpSpPr>
          <a:xfrm flipH="1" flipV="1">
            <a:off x="7545581" y="2378634"/>
            <a:ext cx="907083" cy="773872"/>
            <a:chOff x="6131526" y="2375037"/>
            <a:chExt cx="2658911" cy="1234409"/>
          </a:xfrm>
        </p:grpSpPr>
        <p:cxnSp>
          <p:nvCxnSpPr>
            <p:cNvPr id="141" name="Straight Connector 140">
              <a:extLst>
                <a:ext uri="{FF2B5EF4-FFF2-40B4-BE49-F238E27FC236}">
                  <a16:creationId xmlns:a16="http://schemas.microsoft.com/office/drawing/2014/main" id="{33F48D52-66AB-0F01-1489-4EC5731B7BF5}"/>
                </a:ext>
              </a:extLst>
            </p:cNvPr>
            <p:cNvCxnSpPr>
              <a:cxnSpLocks/>
            </p:cNvCxnSpPr>
            <p:nvPr/>
          </p:nvCxnSpPr>
          <p:spPr>
            <a:xfrm>
              <a:off x="7158036" y="2379898"/>
              <a:ext cx="0" cy="122400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DEB75F15-9EF6-503F-7672-B513813760EB}"/>
                </a:ext>
              </a:extLst>
            </p:cNvPr>
            <p:cNvCxnSpPr>
              <a:cxnSpLocks/>
            </p:cNvCxnSpPr>
            <p:nvPr/>
          </p:nvCxnSpPr>
          <p:spPr>
            <a:xfrm rot="5400000">
              <a:off x="7980437" y="1565037"/>
              <a:ext cx="0" cy="162000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94073FA5-76C5-B23B-8D6D-267A619A52C0}"/>
                </a:ext>
              </a:extLst>
            </p:cNvPr>
            <p:cNvCxnSpPr>
              <a:cxnSpLocks/>
            </p:cNvCxnSpPr>
            <p:nvPr/>
          </p:nvCxnSpPr>
          <p:spPr>
            <a:xfrm rot="5400000">
              <a:off x="6659156" y="3081816"/>
              <a:ext cx="0" cy="105526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grpSp>
      <p:cxnSp>
        <p:nvCxnSpPr>
          <p:cNvPr id="165" name="Straight Connector 164">
            <a:extLst>
              <a:ext uri="{FF2B5EF4-FFF2-40B4-BE49-F238E27FC236}">
                <a16:creationId xmlns:a16="http://schemas.microsoft.com/office/drawing/2014/main" id="{FC8CDFC4-1DD2-078C-F4BE-E6F4FFCCF0BB}"/>
              </a:ext>
            </a:extLst>
          </p:cNvPr>
          <p:cNvCxnSpPr>
            <a:cxnSpLocks/>
          </p:cNvCxnSpPr>
          <p:nvPr/>
        </p:nvCxnSpPr>
        <p:spPr>
          <a:xfrm flipH="1">
            <a:off x="7569044" y="3326534"/>
            <a:ext cx="894150" cy="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0C668A99-E064-788F-5859-1898296A8385}"/>
              </a:ext>
            </a:extLst>
          </p:cNvPr>
          <p:cNvGrpSpPr/>
          <p:nvPr/>
        </p:nvGrpSpPr>
        <p:grpSpPr>
          <a:xfrm>
            <a:off x="747998" y="3904154"/>
            <a:ext cx="4016692" cy="507600"/>
            <a:chOff x="747998" y="4073794"/>
            <a:chExt cx="4016692" cy="507600"/>
          </a:xfrm>
        </p:grpSpPr>
        <p:grpSp>
          <p:nvGrpSpPr>
            <p:cNvPr id="1081" name="Group 1080">
              <a:extLst>
                <a:ext uri="{FF2B5EF4-FFF2-40B4-BE49-F238E27FC236}">
                  <a16:creationId xmlns:a16="http://schemas.microsoft.com/office/drawing/2014/main" id="{172D5858-AACD-9795-E03A-5560EE325109}"/>
                </a:ext>
              </a:extLst>
            </p:cNvPr>
            <p:cNvGrpSpPr/>
            <p:nvPr/>
          </p:nvGrpSpPr>
          <p:grpSpPr>
            <a:xfrm>
              <a:off x="747998" y="4073794"/>
              <a:ext cx="4016692" cy="507600"/>
              <a:chOff x="1360648" y="3998766"/>
              <a:chExt cx="4016692" cy="507600"/>
            </a:xfrm>
          </p:grpSpPr>
          <p:grpSp>
            <p:nvGrpSpPr>
              <p:cNvPr id="1082" name="Group 1081">
                <a:extLst>
                  <a:ext uri="{FF2B5EF4-FFF2-40B4-BE49-F238E27FC236}">
                    <a16:creationId xmlns:a16="http://schemas.microsoft.com/office/drawing/2014/main" id="{D527EC42-D105-C97A-3DA5-2E1F79D25791}"/>
                  </a:ext>
                </a:extLst>
              </p:cNvPr>
              <p:cNvGrpSpPr/>
              <p:nvPr/>
            </p:nvGrpSpPr>
            <p:grpSpPr>
              <a:xfrm>
                <a:off x="1360648" y="3998766"/>
                <a:ext cx="4016692" cy="507600"/>
                <a:chOff x="1019860" y="3998747"/>
                <a:chExt cx="4016692" cy="507600"/>
              </a:xfrm>
            </p:grpSpPr>
            <p:pic>
              <p:nvPicPr>
                <p:cNvPr id="1085" name="Picture 1084">
                  <a:extLst>
                    <a:ext uri="{FF2B5EF4-FFF2-40B4-BE49-F238E27FC236}">
                      <a16:creationId xmlns:a16="http://schemas.microsoft.com/office/drawing/2014/main" id="{7F714974-4488-BDD8-45D4-495744DB67DF}"/>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3438091" y="4202037"/>
                  <a:ext cx="476999" cy="140864"/>
                </a:xfrm>
                <a:prstGeom prst="rect">
                  <a:avLst/>
                </a:prstGeom>
              </p:spPr>
            </p:pic>
            <p:pic>
              <p:nvPicPr>
                <p:cNvPr id="1086" name="Picture 1085">
                  <a:extLst>
                    <a:ext uri="{FF2B5EF4-FFF2-40B4-BE49-F238E27FC236}">
                      <a16:creationId xmlns:a16="http://schemas.microsoft.com/office/drawing/2014/main" id="{0D2A9EBE-F5AD-85D2-C8C1-42CCDD536812}"/>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947389" y="4161067"/>
                  <a:ext cx="379101" cy="210612"/>
                </a:xfrm>
                <a:prstGeom prst="rect">
                  <a:avLst/>
                </a:prstGeom>
              </p:spPr>
            </p:pic>
            <p:sp>
              <p:nvSpPr>
                <p:cNvPr id="1087" name="Rectangle 1086">
                  <a:extLst>
                    <a:ext uri="{FF2B5EF4-FFF2-40B4-BE49-F238E27FC236}">
                      <a16:creationId xmlns:a16="http://schemas.microsoft.com/office/drawing/2014/main" id="{4F0A9DAE-741D-9CC0-B974-335ECC6F5BC7}"/>
                    </a:ext>
                  </a:extLst>
                </p:cNvPr>
                <p:cNvSpPr/>
                <p:nvPr/>
              </p:nvSpPr>
              <p:spPr>
                <a:xfrm>
                  <a:off x="1019860" y="3998747"/>
                  <a:ext cx="4016692" cy="507600"/>
                </a:xfrm>
                <a:prstGeom prst="rect">
                  <a:avLst/>
                </a:prstGeom>
                <a:noFill/>
                <a:ln w="6350">
                  <a:solidFill>
                    <a:srgbClr val="2832DC"/>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Helvetica Light"/>
                    <a:ea typeface="+mn-ea"/>
                    <a:cs typeface="+mn-cs"/>
                  </a:endParaRPr>
                </a:p>
              </p:txBody>
            </p:sp>
          </p:grpSp>
          <p:pic>
            <p:nvPicPr>
              <p:cNvPr id="1083" name="Picture 30">
                <a:extLst>
                  <a:ext uri="{FF2B5EF4-FFF2-40B4-BE49-F238E27FC236}">
                    <a16:creationId xmlns:a16="http://schemas.microsoft.com/office/drawing/2014/main" id="{C70AD2EC-2FCB-AC5C-C464-75C92CD2E60A}"/>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4959668" y="4142745"/>
                <a:ext cx="259486" cy="259486"/>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1083">
                <a:extLst>
                  <a:ext uri="{FF2B5EF4-FFF2-40B4-BE49-F238E27FC236}">
                    <a16:creationId xmlns:a16="http://schemas.microsoft.com/office/drawing/2014/main" id="{62BE8809-6206-6D7B-46D0-B75B0317AD37}"/>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381918" y="4196953"/>
                <a:ext cx="364759" cy="102589"/>
              </a:xfrm>
              <a:prstGeom prst="rect">
                <a:avLst/>
              </a:prstGeom>
            </p:spPr>
          </p:pic>
        </p:grpSp>
        <p:pic>
          <p:nvPicPr>
            <p:cNvPr id="2048" name="Picture 24">
              <a:extLst>
                <a:ext uri="{FF2B5EF4-FFF2-40B4-BE49-F238E27FC236}">
                  <a16:creationId xmlns:a16="http://schemas.microsoft.com/office/drawing/2014/main" id="{E819BBF5-01EA-0F5C-8C5C-3917D436E536}"/>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792756" y="4231532"/>
              <a:ext cx="592753" cy="217343"/>
            </a:xfrm>
            <a:prstGeom prst="rect">
              <a:avLst/>
            </a:prstGeom>
            <a:noFill/>
            <a:extLst>
              <a:ext uri="{909E8E84-426E-40DD-AFC4-6F175D3DCCD1}">
                <a14:hiddenFill xmlns:a14="http://schemas.microsoft.com/office/drawing/2010/main">
                  <a:solidFill>
                    <a:srgbClr val="FFFFFF"/>
                  </a:solidFill>
                </a14:hiddenFill>
              </a:ext>
            </a:extLst>
          </p:spPr>
        </p:pic>
        <p:pic>
          <p:nvPicPr>
            <p:cNvPr id="2049" name="Picture 26">
              <a:extLst>
                <a:ext uri="{FF2B5EF4-FFF2-40B4-BE49-F238E27FC236}">
                  <a16:creationId xmlns:a16="http://schemas.microsoft.com/office/drawing/2014/main" id="{D8207199-1766-2251-736A-E5BA12FE3D2D}"/>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1451881" y="4244712"/>
              <a:ext cx="435820" cy="189158"/>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28">
              <a:extLst>
                <a:ext uri="{FF2B5EF4-FFF2-40B4-BE49-F238E27FC236}">
                  <a16:creationId xmlns:a16="http://schemas.microsoft.com/office/drawing/2014/main" id="{B59697B0-1B05-FF88-C749-2FE8D3D1066E}"/>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2001405" y="4256936"/>
              <a:ext cx="560418" cy="1524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53" name="Group 2052">
            <a:extLst>
              <a:ext uri="{FF2B5EF4-FFF2-40B4-BE49-F238E27FC236}">
                <a16:creationId xmlns:a16="http://schemas.microsoft.com/office/drawing/2014/main" id="{83D237D3-E973-2F08-7D85-517D3BC49A9D}"/>
              </a:ext>
            </a:extLst>
          </p:cNvPr>
          <p:cNvGrpSpPr/>
          <p:nvPr/>
        </p:nvGrpSpPr>
        <p:grpSpPr>
          <a:xfrm>
            <a:off x="1623656" y="5141472"/>
            <a:ext cx="3133364" cy="748946"/>
            <a:chOff x="3094017" y="5525026"/>
            <a:chExt cx="3052007" cy="611279"/>
          </a:xfrm>
        </p:grpSpPr>
        <p:grpSp>
          <p:nvGrpSpPr>
            <p:cNvPr id="2054" name="Group 2053">
              <a:extLst>
                <a:ext uri="{FF2B5EF4-FFF2-40B4-BE49-F238E27FC236}">
                  <a16:creationId xmlns:a16="http://schemas.microsoft.com/office/drawing/2014/main" id="{46509769-EE33-1D62-08AE-4108240DD947}"/>
                </a:ext>
              </a:extLst>
            </p:cNvPr>
            <p:cNvGrpSpPr/>
            <p:nvPr/>
          </p:nvGrpSpPr>
          <p:grpSpPr>
            <a:xfrm>
              <a:off x="3094017" y="5525026"/>
              <a:ext cx="3052007" cy="611279"/>
              <a:chOff x="6792094" y="5425647"/>
              <a:chExt cx="4052562" cy="811688"/>
            </a:xfrm>
          </p:grpSpPr>
          <p:grpSp>
            <p:nvGrpSpPr>
              <p:cNvPr id="2058" name="Group 2057">
                <a:extLst>
                  <a:ext uri="{FF2B5EF4-FFF2-40B4-BE49-F238E27FC236}">
                    <a16:creationId xmlns:a16="http://schemas.microsoft.com/office/drawing/2014/main" id="{32CA0876-9C57-65EC-1708-0C736BA2D155}"/>
                  </a:ext>
                </a:extLst>
              </p:cNvPr>
              <p:cNvGrpSpPr/>
              <p:nvPr/>
            </p:nvGrpSpPr>
            <p:grpSpPr>
              <a:xfrm>
                <a:off x="6924725" y="5522011"/>
                <a:ext cx="2015553" cy="232058"/>
                <a:chOff x="-1034531" y="8845261"/>
                <a:chExt cx="2958759" cy="317941"/>
              </a:xfrm>
            </p:grpSpPr>
            <p:pic>
              <p:nvPicPr>
                <p:cNvPr id="2060" name="Bilde 23">
                  <a:extLst>
                    <a:ext uri="{FF2B5EF4-FFF2-40B4-BE49-F238E27FC236}">
                      <a16:creationId xmlns:a16="http://schemas.microsoft.com/office/drawing/2014/main" id="{503192C0-AC68-70F0-75B5-BF268162AF22}"/>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034531" y="8845261"/>
                  <a:ext cx="1147208" cy="317941"/>
                </a:xfrm>
                <a:prstGeom prst="rect">
                  <a:avLst/>
                </a:prstGeom>
              </p:spPr>
            </p:pic>
            <p:pic>
              <p:nvPicPr>
                <p:cNvPr id="2062" name="Graphic 2061">
                  <a:extLst>
                    <a:ext uri="{FF2B5EF4-FFF2-40B4-BE49-F238E27FC236}">
                      <a16:creationId xmlns:a16="http://schemas.microsoft.com/office/drawing/2014/main" id="{A30CCA10-C0AE-BD97-A69E-24C030FD077A}"/>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331244" y="8887015"/>
                  <a:ext cx="1592984" cy="234430"/>
                </a:xfrm>
                <a:prstGeom prst="rect">
                  <a:avLst/>
                </a:prstGeom>
              </p:spPr>
            </p:pic>
          </p:grpSp>
          <p:sp>
            <p:nvSpPr>
              <p:cNvPr id="2059" name="Rectangle 2058">
                <a:extLst>
                  <a:ext uri="{FF2B5EF4-FFF2-40B4-BE49-F238E27FC236}">
                    <a16:creationId xmlns:a16="http://schemas.microsoft.com/office/drawing/2014/main" id="{788570D7-AB7B-9325-7D4A-40CE62DCD838}"/>
                  </a:ext>
                </a:extLst>
              </p:cNvPr>
              <p:cNvSpPr/>
              <p:nvPr/>
            </p:nvSpPr>
            <p:spPr>
              <a:xfrm>
                <a:off x="6792094" y="5425647"/>
                <a:ext cx="4052562" cy="811688"/>
              </a:xfrm>
              <a:prstGeom prst="rect">
                <a:avLst/>
              </a:prstGeom>
              <a:noFill/>
              <a:ln w="6350">
                <a:solidFill>
                  <a:srgbClr val="2832DC"/>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Helvetica Light"/>
                  <a:ea typeface="+mn-ea"/>
                  <a:cs typeface="+mn-cs"/>
                </a:endParaRPr>
              </a:p>
            </p:txBody>
          </p:sp>
        </p:grpSp>
        <p:pic>
          <p:nvPicPr>
            <p:cNvPr id="2055" name="Bilde 85" descr="Et bilde som inneholder tegning&#10;&#10;Automatisk generert beskrivelse">
              <a:extLst>
                <a:ext uri="{FF2B5EF4-FFF2-40B4-BE49-F238E27FC236}">
                  <a16:creationId xmlns:a16="http://schemas.microsoft.com/office/drawing/2014/main" id="{71CFBE2C-62D2-BBA9-192F-55A1891A20AB}"/>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4357944" y="5881595"/>
              <a:ext cx="642348" cy="128859"/>
            </a:xfrm>
            <a:prstGeom prst="rect">
              <a:avLst/>
            </a:prstGeom>
          </p:spPr>
        </p:pic>
      </p:grpSp>
      <p:pic>
        <p:nvPicPr>
          <p:cNvPr id="2063" name="Picture 2">
            <a:extLst>
              <a:ext uri="{FF2B5EF4-FFF2-40B4-BE49-F238E27FC236}">
                <a16:creationId xmlns:a16="http://schemas.microsoft.com/office/drawing/2014/main" id="{104AB01B-64E5-9A76-EDAC-653F750E17C4}"/>
              </a:ext>
            </a:extLst>
          </p:cNvPr>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3374123" y="5231249"/>
            <a:ext cx="1243652" cy="176670"/>
          </a:xfrm>
          <a:prstGeom prst="rect">
            <a:avLst/>
          </a:prstGeom>
          <a:noFill/>
          <a:extLst>
            <a:ext uri="{909E8E84-426E-40DD-AFC4-6F175D3DCCD1}">
              <a14:hiddenFill xmlns:a14="http://schemas.microsoft.com/office/drawing/2010/main">
                <a:solidFill>
                  <a:srgbClr val="FFFFFF"/>
                </a:solidFill>
              </a14:hiddenFill>
            </a:ext>
          </a:extLst>
        </p:spPr>
      </p:pic>
      <p:pic>
        <p:nvPicPr>
          <p:cNvPr id="2065" name="Imagen 107">
            <a:extLst>
              <a:ext uri="{FF2B5EF4-FFF2-40B4-BE49-F238E27FC236}">
                <a16:creationId xmlns:a16="http://schemas.microsoft.com/office/drawing/2014/main" id="{74CBB0D6-71A1-21C6-B1EE-2BEB051C5CA7}"/>
              </a:ext>
            </a:extLst>
          </p:cNvPr>
          <p:cNvPicPr>
            <a:picLocks noChangeAspect="1"/>
          </p:cNvPicPr>
          <p:nvPr/>
        </p:nvPicPr>
        <p:blipFill>
          <a:blip r:embed="rId26" cstate="screen">
            <a:extLst>
              <a:ext uri="{28A0092B-C50C-407E-A947-70E740481C1C}">
                <a14:useLocalDpi xmlns:a14="http://schemas.microsoft.com/office/drawing/2010/main"/>
              </a:ext>
            </a:extLst>
          </a:blip>
          <a:srcRect/>
          <a:stretch/>
        </p:blipFill>
        <p:spPr>
          <a:xfrm>
            <a:off x="3762922" y="5531353"/>
            <a:ext cx="683931" cy="222820"/>
          </a:xfrm>
          <a:prstGeom prst="rect">
            <a:avLst/>
          </a:prstGeom>
        </p:spPr>
      </p:pic>
      <p:pic>
        <p:nvPicPr>
          <p:cNvPr id="2066" name="Imagen 132">
            <a:extLst>
              <a:ext uri="{FF2B5EF4-FFF2-40B4-BE49-F238E27FC236}">
                <a16:creationId xmlns:a16="http://schemas.microsoft.com/office/drawing/2014/main" id="{4E6A1016-D47B-D116-1EC9-B7B5E080286A}"/>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2028323" y="5542108"/>
            <a:ext cx="693107" cy="214121"/>
          </a:xfrm>
          <a:prstGeom prst="rect">
            <a:avLst/>
          </a:prstGeom>
        </p:spPr>
      </p:pic>
      <p:grpSp>
        <p:nvGrpSpPr>
          <p:cNvPr id="66" name="Group 65">
            <a:extLst>
              <a:ext uri="{FF2B5EF4-FFF2-40B4-BE49-F238E27FC236}">
                <a16:creationId xmlns:a16="http://schemas.microsoft.com/office/drawing/2014/main" id="{EC5D98CF-C72F-ECB9-32B1-01A16EA33AE3}"/>
              </a:ext>
            </a:extLst>
          </p:cNvPr>
          <p:cNvGrpSpPr/>
          <p:nvPr/>
        </p:nvGrpSpPr>
        <p:grpSpPr>
          <a:xfrm>
            <a:off x="8447159" y="3932378"/>
            <a:ext cx="2716710" cy="507600"/>
            <a:chOff x="8447159" y="3772887"/>
            <a:chExt cx="2716710" cy="507600"/>
          </a:xfrm>
        </p:grpSpPr>
        <p:pic>
          <p:nvPicPr>
            <p:cNvPr id="2078" name="Picture 10">
              <a:extLst>
                <a:ext uri="{FF2B5EF4-FFF2-40B4-BE49-F238E27FC236}">
                  <a16:creationId xmlns:a16="http://schemas.microsoft.com/office/drawing/2014/main" id="{E09D7CC7-3D97-FE71-406F-7328A580F917}"/>
                </a:ext>
              </a:extLst>
            </p:cNvPr>
            <p:cNvPicPr>
              <a:picLocks noChangeAspect="1" noChangeArrowheads="1"/>
            </p:cNvPicPr>
            <p:nvPr/>
          </p:nvPicPr>
          <p:blipFill>
            <a:blip r:embed="rId28">
              <a:extLst>
                <a:ext uri="{28A0092B-C50C-407E-A947-70E740481C1C}">
                  <a14:useLocalDpi xmlns:a14="http://schemas.microsoft.com/office/drawing/2010/main"/>
                </a:ext>
              </a:extLst>
            </a:blip>
            <a:srcRect/>
            <a:stretch>
              <a:fillRect/>
            </a:stretch>
          </p:blipFill>
          <p:spPr bwMode="auto">
            <a:xfrm>
              <a:off x="9293675" y="3870997"/>
              <a:ext cx="453301" cy="362491"/>
            </a:xfrm>
            <a:prstGeom prst="rect">
              <a:avLst/>
            </a:prstGeom>
            <a:noFill/>
            <a:extLst>
              <a:ext uri="{909E8E84-426E-40DD-AFC4-6F175D3DCCD1}">
                <a14:hiddenFill xmlns:a14="http://schemas.microsoft.com/office/drawing/2010/main">
                  <a:solidFill>
                    <a:srgbClr val="FFFFFF"/>
                  </a:solidFill>
                </a14:hiddenFill>
              </a:ext>
            </a:extLst>
          </p:spPr>
        </p:pic>
        <p:sp>
          <p:nvSpPr>
            <p:cNvPr id="2085" name="Rectangle 2084">
              <a:extLst>
                <a:ext uri="{FF2B5EF4-FFF2-40B4-BE49-F238E27FC236}">
                  <a16:creationId xmlns:a16="http://schemas.microsoft.com/office/drawing/2014/main" id="{16D5C077-6439-AC7E-69C7-46BBE20470D0}"/>
                </a:ext>
              </a:extLst>
            </p:cNvPr>
            <p:cNvSpPr/>
            <p:nvPr/>
          </p:nvSpPr>
          <p:spPr>
            <a:xfrm>
              <a:off x="8447159" y="3772887"/>
              <a:ext cx="2716710" cy="507600"/>
            </a:xfrm>
            <a:prstGeom prst="rect">
              <a:avLst/>
            </a:prstGeom>
            <a:noFill/>
            <a:ln w="6350">
              <a:solidFill>
                <a:srgbClr val="2832DC"/>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Helvetica Light"/>
                <a:ea typeface="+mn-ea"/>
                <a:cs typeface="+mn-cs"/>
              </a:endParaRPr>
            </a:p>
          </p:txBody>
        </p:sp>
      </p:grpSp>
      <p:grpSp>
        <p:nvGrpSpPr>
          <p:cNvPr id="64" name="Group 63">
            <a:extLst>
              <a:ext uri="{FF2B5EF4-FFF2-40B4-BE49-F238E27FC236}">
                <a16:creationId xmlns:a16="http://schemas.microsoft.com/office/drawing/2014/main" id="{90D1409B-8423-071D-EB23-81EEC77FE79E}"/>
              </a:ext>
            </a:extLst>
          </p:cNvPr>
          <p:cNvGrpSpPr/>
          <p:nvPr/>
        </p:nvGrpSpPr>
        <p:grpSpPr>
          <a:xfrm>
            <a:off x="8463194" y="3084903"/>
            <a:ext cx="3495456" cy="507600"/>
            <a:chOff x="8463194" y="2989692"/>
            <a:chExt cx="3495456" cy="507600"/>
          </a:xfrm>
        </p:grpSpPr>
        <p:sp>
          <p:nvSpPr>
            <p:cNvPr id="2079" name="Rectangle 2078">
              <a:extLst>
                <a:ext uri="{FF2B5EF4-FFF2-40B4-BE49-F238E27FC236}">
                  <a16:creationId xmlns:a16="http://schemas.microsoft.com/office/drawing/2014/main" id="{02FD5574-ECA7-DCA9-8A45-AC4CF2891B7C}"/>
                </a:ext>
              </a:extLst>
            </p:cNvPr>
            <p:cNvSpPr/>
            <p:nvPr/>
          </p:nvSpPr>
          <p:spPr>
            <a:xfrm>
              <a:off x="8463194" y="2989692"/>
              <a:ext cx="3495456" cy="507600"/>
            </a:xfrm>
            <a:prstGeom prst="rect">
              <a:avLst/>
            </a:prstGeom>
            <a:noFill/>
            <a:ln w="6350">
              <a:solidFill>
                <a:srgbClr val="2832DC"/>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Helvetica Light"/>
                <a:ea typeface="+mn-ea"/>
                <a:cs typeface="+mn-cs"/>
              </a:endParaRPr>
            </a:p>
          </p:txBody>
        </p:sp>
        <p:pic>
          <p:nvPicPr>
            <p:cNvPr id="2082" name="Bilde 87" descr="Et bilde som inneholder klokke, tegning&#10;&#10;Automatisk generert beskrivelse">
              <a:extLst>
                <a:ext uri="{FF2B5EF4-FFF2-40B4-BE49-F238E27FC236}">
                  <a16:creationId xmlns:a16="http://schemas.microsoft.com/office/drawing/2014/main" id="{FB83D503-D9DD-B5C3-E41E-055087C858BC}"/>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9112253" y="3200079"/>
              <a:ext cx="613197" cy="140012"/>
            </a:xfrm>
            <a:prstGeom prst="rect">
              <a:avLst/>
            </a:prstGeom>
          </p:spPr>
        </p:pic>
        <p:pic>
          <p:nvPicPr>
            <p:cNvPr id="2083" name="Picture 2" descr="image">
              <a:extLst>
                <a:ext uri="{FF2B5EF4-FFF2-40B4-BE49-F238E27FC236}">
                  <a16:creationId xmlns:a16="http://schemas.microsoft.com/office/drawing/2014/main" id="{7F21CBD7-DD60-CF17-1D83-1BB4FBABC5F5}"/>
                </a:ext>
              </a:extLst>
            </p:cNvPr>
            <p:cNvPicPr>
              <a:picLocks noChangeAspect="1" noChangeArrowheads="1"/>
            </p:cNvPicPr>
            <p:nvPr/>
          </p:nvPicPr>
          <p:blipFill>
            <a:blip r:embed="rId30" cstate="screen">
              <a:extLst>
                <a:ext uri="{28A0092B-C50C-407E-A947-70E740481C1C}">
                  <a14:useLocalDpi xmlns:a14="http://schemas.microsoft.com/office/drawing/2010/main"/>
                </a:ext>
              </a:extLst>
            </a:blip>
            <a:srcRect/>
            <a:stretch>
              <a:fillRect/>
            </a:stretch>
          </p:blipFill>
          <p:spPr bwMode="auto">
            <a:xfrm>
              <a:off x="10893135" y="3206646"/>
              <a:ext cx="665504" cy="163994"/>
            </a:xfrm>
            <a:prstGeom prst="rect">
              <a:avLst/>
            </a:prstGeom>
            <a:noFill/>
            <a:extLst>
              <a:ext uri="{909E8E84-426E-40DD-AFC4-6F175D3DCCD1}">
                <a14:hiddenFill xmlns:a14="http://schemas.microsoft.com/office/drawing/2010/main">
                  <a:solidFill>
                    <a:srgbClr val="FFFFFF"/>
                  </a:solidFill>
                </a14:hiddenFill>
              </a:ext>
            </a:extLst>
          </p:spPr>
        </p:pic>
        <p:pic>
          <p:nvPicPr>
            <p:cNvPr id="2088" name="Picture 2087" descr="A yellow text on a black background&#10;&#10;Description automatically generated">
              <a:extLst>
                <a:ext uri="{FF2B5EF4-FFF2-40B4-BE49-F238E27FC236}">
                  <a16:creationId xmlns:a16="http://schemas.microsoft.com/office/drawing/2014/main" id="{BBCB5077-2A13-E382-8637-588174D4CF14}"/>
                </a:ext>
              </a:extLst>
            </p:cNvPr>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9777885" y="3211364"/>
              <a:ext cx="546317" cy="159276"/>
            </a:xfrm>
            <a:prstGeom prst="rect">
              <a:avLst/>
            </a:prstGeom>
          </p:spPr>
        </p:pic>
        <p:pic>
          <p:nvPicPr>
            <p:cNvPr id="2089" name="Picture 2088" descr="A green and white logo&#10;&#10;Description automatically generated">
              <a:extLst>
                <a:ext uri="{FF2B5EF4-FFF2-40B4-BE49-F238E27FC236}">
                  <a16:creationId xmlns:a16="http://schemas.microsoft.com/office/drawing/2014/main" id="{756E8012-62B0-5BD0-B51E-1EBA1802C8C3}"/>
                </a:ext>
              </a:extLst>
            </p:cNvPr>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10389471" y="3180415"/>
              <a:ext cx="466331" cy="206825"/>
            </a:xfrm>
            <a:prstGeom prst="rect">
              <a:avLst/>
            </a:prstGeom>
          </p:spPr>
        </p:pic>
      </p:grpSp>
      <p:grpSp>
        <p:nvGrpSpPr>
          <p:cNvPr id="65" name="Group 64">
            <a:extLst>
              <a:ext uri="{FF2B5EF4-FFF2-40B4-BE49-F238E27FC236}">
                <a16:creationId xmlns:a16="http://schemas.microsoft.com/office/drawing/2014/main" id="{2D4455F2-F1B7-D618-7172-7BA6EF8ADA64}"/>
              </a:ext>
            </a:extLst>
          </p:cNvPr>
          <p:cNvGrpSpPr/>
          <p:nvPr/>
        </p:nvGrpSpPr>
        <p:grpSpPr>
          <a:xfrm>
            <a:off x="8437866" y="541552"/>
            <a:ext cx="2194318" cy="493658"/>
            <a:chOff x="8437866" y="1185789"/>
            <a:chExt cx="2194318" cy="493658"/>
          </a:xfrm>
        </p:grpSpPr>
        <p:sp>
          <p:nvSpPr>
            <p:cNvPr id="81" name="Rectangle 80">
              <a:extLst>
                <a:ext uri="{FF2B5EF4-FFF2-40B4-BE49-F238E27FC236}">
                  <a16:creationId xmlns:a16="http://schemas.microsoft.com/office/drawing/2014/main" id="{26F03669-CFA2-2ADF-92FA-31FABE505C97}"/>
                </a:ext>
              </a:extLst>
            </p:cNvPr>
            <p:cNvSpPr/>
            <p:nvPr/>
          </p:nvSpPr>
          <p:spPr>
            <a:xfrm>
              <a:off x="8437866" y="1185789"/>
              <a:ext cx="2194318" cy="493658"/>
            </a:xfrm>
            <a:prstGeom prst="rect">
              <a:avLst/>
            </a:prstGeom>
            <a:noFill/>
            <a:ln w="6350">
              <a:solidFill>
                <a:srgbClr val="2832DC"/>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Helvetica Light"/>
                <a:ea typeface="+mn-ea"/>
                <a:cs typeface="+mn-cs"/>
              </a:endParaRPr>
            </a:p>
          </p:txBody>
        </p:sp>
        <p:pic>
          <p:nvPicPr>
            <p:cNvPr id="86" name="Picture 85">
              <a:extLst>
                <a:ext uri="{FF2B5EF4-FFF2-40B4-BE49-F238E27FC236}">
                  <a16:creationId xmlns:a16="http://schemas.microsoft.com/office/drawing/2014/main" id="{E4B0E7F0-26ED-B027-BD0C-7882F4073EE6}"/>
                </a:ext>
              </a:extLst>
            </p:cNvPr>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8645565" y="1372150"/>
              <a:ext cx="599810" cy="148373"/>
            </a:xfrm>
            <a:prstGeom prst="rect">
              <a:avLst/>
            </a:prstGeom>
          </p:spPr>
        </p:pic>
        <p:pic>
          <p:nvPicPr>
            <p:cNvPr id="2052" name="Picture 4" descr="ICA AB – Wikipedia">
              <a:extLst>
                <a:ext uri="{FF2B5EF4-FFF2-40B4-BE49-F238E27FC236}">
                  <a16:creationId xmlns:a16="http://schemas.microsoft.com/office/drawing/2014/main" id="{321A0A5F-8CA3-0ACD-2E40-D0BCF6B886DD}"/>
                </a:ext>
              </a:extLst>
            </p:cNvPr>
            <p:cNvPicPr>
              <a:picLocks noChangeAspect="1" noChangeArrowheads="1"/>
            </p:cNvPicPr>
            <p:nvPr/>
          </p:nvPicPr>
          <p:blipFill>
            <a:blip r:embed="rId34" cstate="screen">
              <a:extLst>
                <a:ext uri="{28A0092B-C50C-407E-A947-70E740481C1C}">
                  <a14:useLocalDpi xmlns:a14="http://schemas.microsoft.com/office/drawing/2010/main"/>
                </a:ext>
              </a:extLst>
            </a:blip>
            <a:srcRect/>
            <a:stretch>
              <a:fillRect/>
            </a:stretch>
          </p:blipFill>
          <p:spPr bwMode="auto">
            <a:xfrm>
              <a:off x="10136824" y="1354230"/>
              <a:ext cx="337360" cy="16868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Axfood-Logo | Gowell AB">
              <a:extLst>
                <a:ext uri="{FF2B5EF4-FFF2-40B4-BE49-F238E27FC236}">
                  <a16:creationId xmlns:a16="http://schemas.microsoft.com/office/drawing/2014/main" id="{B4A8C4BA-4E96-37BF-DBF9-50E5773156FB}"/>
                </a:ext>
              </a:extLst>
            </p:cNvPr>
            <p:cNvPicPr>
              <a:picLocks noChangeAspect="1" noChangeArrowheads="1"/>
            </p:cNvPicPr>
            <p:nvPr/>
          </p:nvPicPr>
          <p:blipFill rotWithShape="1">
            <a:blip r:embed="rId35" cstate="screen">
              <a:extLst>
                <a:ext uri="{28A0092B-C50C-407E-A947-70E740481C1C}">
                  <a14:useLocalDpi xmlns:a14="http://schemas.microsoft.com/office/drawing/2010/main"/>
                </a:ext>
              </a:extLst>
            </a:blip>
            <a:srcRect/>
            <a:stretch/>
          </p:blipFill>
          <p:spPr bwMode="auto">
            <a:xfrm>
              <a:off x="9386860" y="1341365"/>
              <a:ext cx="628836" cy="148373"/>
            </a:xfrm>
            <a:prstGeom prst="rect">
              <a:avLst/>
            </a:prstGeom>
            <a:noFill/>
            <a:extLst>
              <a:ext uri="{909E8E84-426E-40DD-AFC4-6F175D3DCCD1}">
                <a14:hiddenFill xmlns:a14="http://schemas.microsoft.com/office/drawing/2010/main">
                  <a:solidFill>
                    <a:srgbClr val="FFFFFF"/>
                  </a:solidFill>
                </a14:hiddenFill>
              </a:ext>
            </a:extLst>
          </p:spPr>
        </p:pic>
      </p:grpSp>
      <p:pic>
        <p:nvPicPr>
          <p:cNvPr id="67" name="Picture 30">
            <a:extLst>
              <a:ext uri="{FF2B5EF4-FFF2-40B4-BE49-F238E27FC236}">
                <a16:creationId xmlns:a16="http://schemas.microsoft.com/office/drawing/2014/main" id="{6DD17024-E22C-2D58-85E2-60A01389DFDB}"/>
              </a:ext>
            </a:extLst>
          </p:cNvPr>
          <p:cNvPicPr>
            <a:picLocks noChangeAspect="1" noChangeArrowheads="1"/>
          </p:cNvPicPr>
          <p:nvPr/>
        </p:nvPicPr>
        <p:blipFill>
          <a:blip r:embed="rId36" cstate="screen">
            <a:extLst>
              <a:ext uri="{28A0092B-C50C-407E-A947-70E740481C1C}">
                <a14:useLocalDpi xmlns:a14="http://schemas.microsoft.com/office/drawing/2010/main"/>
              </a:ext>
            </a:extLst>
          </a:blip>
          <a:srcRect/>
          <a:stretch>
            <a:fillRect/>
          </a:stretch>
        </p:blipFill>
        <p:spPr bwMode="auto">
          <a:xfrm>
            <a:off x="11584652" y="3206392"/>
            <a:ext cx="278102" cy="278102"/>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0">
            <a:extLst>
              <a:ext uri="{FF2B5EF4-FFF2-40B4-BE49-F238E27FC236}">
                <a16:creationId xmlns:a16="http://schemas.microsoft.com/office/drawing/2014/main" id="{F7F1D689-F63C-57CD-69E8-B5D48C36A33B}"/>
              </a:ext>
            </a:extLst>
          </p:cNvPr>
          <p:cNvPicPr>
            <a:picLocks noChangeAspect="1" noChangeArrowheads="1"/>
          </p:cNvPicPr>
          <p:nvPr/>
        </p:nvPicPr>
        <p:blipFill>
          <a:blip r:embed="rId36" cstate="screen">
            <a:extLst>
              <a:ext uri="{28A0092B-C50C-407E-A947-70E740481C1C}">
                <a14:useLocalDpi xmlns:a14="http://schemas.microsoft.com/office/drawing/2010/main"/>
              </a:ext>
            </a:extLst>
          </a:blip>
          <a:srcRect/>
          <a:stretch>
            <a:fillRect/>
          </a:stretch>
        </p:blipFill>
        <p:spPr bwMode="auto">
          <a:xfrm>
            <a:off x="10643937" y="4024932"/>
            <a:ext cx="278102" cy="27810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3C1EBAC6-74F0-5137-C5B4-D01EB49DE4CE}"/>
              </a:ext>
            </a:extLst>
          </p:cNvPr>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8528843" y="3265784"/>
            <a:ext cx="541366" cy="159317"/>
          </a:xfrm>
          <a:prstGeom prst="rect">
            <a:avLst/>
          </a:prstGeom>
        </p:spPr>
      </p:pic>
      <p:pic>
        <p:nvPicPr>
          <p:cNvPr id="70" name="Picture 69">
            <a:extLst>
              <a:ext uri="{FF2B5EF4-FFF2-40B4-BE49-F238E27FC236}">
                <a16:creationId xmlns:a16="http://schemas.microsoft.com/office/drawing/2014/main" id="{5D6306D7-1FC5-31F3-4062-0AF90C666EDB}"/>
              </a:ext>
            </a:extLst>
          </p:cNvPr>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8575535" y="4126965"/>
            <a:ext cx="541366" cy="159317"/>
          </a:xfrm>
          <a:prstGeom prst="rect">
            <a:avLst/>
          </a:prstGeom>
        </p:spPr>
      </p:pic>
      <p:grpSp>
        <p:nvGrpSpPr>
          <p:cNvPr id="74" name="Group 73">
            <a:extLst>
              <a:ext uri="{FF2B5EF4-FFF2-40B4-BE49-F238E27FC236}">
                <a16:creationId xmlns:a16="http://schemas.microsoft.com/office/drawing/2014/main" id="{CAEA5341-9DA6-4AE1-DB06-E738BD35195B}"/>
              </a:ext>
            </a:extLst>
          </p:cNvPr>
          <p:cNvGrpSpPr/>
          <p:nvPr/>
        </p:nvGrpSpPr>
        <p:grpSpPr>
          <a:xfrm>
            <a:off x="7410776" y="3508321"/>
            <a:ext cx="1027090" cy="658954"/>
            <a:chOff x="7410776" y="3508321"/>
            <a:chExt cx="1027090" cy="658954"/>
          </a:xfrm>
        </p:grpSpPr>
        <p:grpSp>
          <p:nvGrpSpPr>
            <p:cNvPr id="175" name="Group 174">
              <a:extLst>
                <a:ext uri="{FF2B5EF4-FFF2-40B4-BE49-F238E27FC236}">
                  <a16:creationId xmlns:a16="http://schemas.microsoft.com/office/drawing/2014/main" id="{622D5793-93F4-9103-32C3-CEF2D21BF48C}"/>
                </a:ext>
              </a:extLst>
            </p:cNvPr>
            <p:cNvGrpSpPr/>
            <p:nvPr/>
          </p:nvGrpSpPr>
          <p:grpSpPr>
            <a:xfrm flipH="1">
              <a:off x="8099178" y="3508321"/>
              <a:ext cx="338688" cy="658954"/>
              <a:chOff x="7120658" y="3570158"/>
              <a:chExt cx="629165" cy="442593"/>
            </a:xfrm>
          </p:grpSpPr>
          <p:cxnSp>
            <p:nvCxnSpPr>
              <p:cNvPr id="176" name="Straight Connector 175">
                <a:extLst>
                  <a:ext uri="{FF2B5EF4-FFF2-40B4-BE49-F238E27FC236}">
                    <a16:creationId xmlns:a16="http://schemas.microsoft.com/office/drawing/2014/main" id="{8873CDEB-BA12-5E78-0CD2-31CBC5A59C39}"/>
                  </a:ext>
                </a:extLst>
              </p:cNvPr>
              <p:cNvCxnSpPr>
                <a:cxnSpLocks/>
              </p:cNvCxnSpPr>
              <p:nvPr/>
            </p:nvCxnSpPr>
            <p:spPr>
              <a:xfrm flipH="1">
                <a:off x="7120658" y="4012751"/>
                <a:ext cx="606388" cy="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97DF2AD3-CD32-09E6-0BEC-3172A3DA2721}"/>
                  </a:ext>
                </a:extLst>
              </p:cNvPr>
              <p:cNvCxnSpPr>
                <a:cxnSpLocks/>
              </p:cNvCxnSpPr>
              <p:nvPr/>
            </p:nvCxnSpPr>
            <p:spPr>
              <a:xfrm>
                <a:off x="7749823" y="3570158"/>
                <a:ext cx="0" cy="43200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grpSp>
        <p:cxnSp>
          <p:nvCxnSpPr>
            <p:cNvPr id="72" name="Straight Connector 71">
              <a:extLst>
                <a:ext uri="{FF2B5EF4-FFF2-40B4-BE49-F238E27FC236}">
                  <a16:creationId xmlns:a16="http://schemas.microsoft.com/office/drawing/2014/main" id="{E4EA5712-1161-BDC0-17CE-687B6274AD12}"/>
                </a:ext>
              </a:extLst>
            </p:cNvPr>
            <p:cNvCxnSpPr>
              <a:cxnSpLocks/>
            </p:cNvCxnSpPr>
            <p:nvPr/>
          </p:nvCxnSpPr>
          <p:spPr>
            <a:xfrm rot="5400000" flipH="1" flipV="1">
              <a:off x="7752776" y="3170726"/>
              <a:ext cx="0" cy="68400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A2220416-C394-D35B-773C-8E99C9BE0AC8}"/>
              </a:ext>
            </a:extLst>
          </p:cNvPr>
          <p:cNvGrpSpPr/>
          <p:nvPr/>
        </p:nvGrpSpPr>
        <p:grpSpPr>
          <a:xfrm>
            <a:off x="8447154" y="2113687"/>
            <a:ext cx="3310386" cy="507601"/>
            <a:chOff x="8447154" y="2113687"/>
            <a:chExt cx="3310386" cy="507601"/>
          </a:xfrm>
        </p:grpSpPr>
        <p:grpSp>
          <p:nvGrpSpPr>
            <p:cNvPr id="2069" name="Group 2068">
              <a:extLst>
                <a:ext uri="{FF2B5EF4-FFF2-40B4-BE49-F238E27FC236}">
                  <a16:creationId xmlns:a16="http://schemas.microsoft.com/office/drawing/2014/main" id="{D7F03174-BAC7-5ECC-FDA4-D022F86555E2}"/>
                </a:ext>
              </a:extLst>
            </p:cNvPr>
            <p:cNvGrpSpPr/>
            <p:nvPr/>
          </p:nvGrpSpPr>
          <p:grpSpPr>
            <a:xfrm>
              <a:off x="8447154" y="2113687"/>
              <a:ext cx="3310386" cy="507601"/>
              <a:chOff x="8792994" y="2074789"/>
              <a:chExt cx="3310386" cy="507601"/>
            </a:xfrm>
          </p:grpSpPr>
          <p:grpSp>
            <p:nvGrpSpPr>
              <p:cNvPr id="2070" name="Group 2069">
                <a:extLst>
                  <a:ext uri="{FF2B5EF4-FFF2-40B4-BE49-F238E27FC236}">
                    <a16:creationId xmlns:a16="http://schemas.microsoft.com/office/drawing/2014/main" id="{3E4ED4F1-F802-5855-AA40-722F2A69EA8E}"/>
                  </a:ext>
                </a:extLst>
              </p:cNvPr>
              <p:cNvGrpSpPr/>
              <p:nvPr/>
            </p:nvGrpSpPr>
            <p:grpSpPr>
              <a:xfrm>
                <a:off x="8792994" y="2074789"/>
                <a:ext cx="3310386" cy="507601"/>
                <a:chOff x="8792997" y="2078050"/>
                <a:chExt cx="4395648" cy="674008"/>
              </a:xfrm>
            </p:grpSpPr>
            <p:pic>
              <p:nvPicPr>
                <p:cNvPr id="2077" name="Picture 2076">
                  <a:extLst>
                    <a:ext uri="{FF2B5EF4-FFF2-40B4-BE49-F238E27FC236}">
                      <a16:creationId xmlns:a16="http://schemas.microsoft.com/office/drawing/2014/main" id="{3C1EBAC6-74F0-5137-C5B4-D01EB49DE4CE}"/>
                    </a:ext>
                  </a:extLst>
                </p:cNvPr>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8928387" y="2328062"/>
                  <a:ext cx="718845" cy="211546"/>
                </a:xfrm>
                <a:prstGeom prst="rect">
                  <a:avLst/>
                </a:prstGeom>
              </p:spPr>
            </p:pic>
            <p:sp>
              <p:nvSpPr>
                <p:cNvPr id="2075" name="Rectangle 2074">
                  <a:extLst>
                    <a:ext uri="{FF2B5EF4-FFF2-40B4-BE49-F238E27FC236}">
                      <a16:creationId xmlns:a16="http://schemas.microsoft.com/office/drawing/2014/main" id="{58045A28-8F08-DEC0-76C4-AF73A0DFDF96}"/>
                    </a:ext>
                  </a:extLst>
                </p:cNvPr>
                <p:cNvSpPr/>
                <p:nvPr/>
              </p:nvSpPr>
              <p:spPr>
                <a:xfrm>
                  <a:off x="8792997" y="2078050"/>
                  <a:ext cx="4395648" cy="674008"/>
                </a:xfrm>
                <a:prstGeom prst="rect">
                  <a:avLst/>
                </a:prstGeom>
                <a:noFill/>
                <a:ln w="6350">
                  <a:solidFill>
                    <a:srgbClr val="2832DC"/>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Helvetica Light"/>
                    <a:ea typeface="+mn-ea"/>
                    <a:cs typeface="+mn-cs"/>
                  </a:endParaRPr>
                </a:p>
              </p:txBody>
            </p:sp>
          </p:grpSp>
          <p:pic>
            <p:nvPicPr>
              <p:cNvPr id="2071" name="Picture 22" descr="Coop (Estonia) | Logopedia | Fandom">
                <a:extLst>
                  <a:ext uri="{FF2B5EF4-FFF2-40B4-BE49-F238E27FC236}">
                    <a16:creationId xmlns:a16="http://schemas.microsoft.com/office/drawing/2014/main" id="{DF502485-5550-5E25-DB22-F12A5CC4637F}"/>
                  </a:ext>
                </a:extLst>
              </p:cNvPr>
              <p:cNvPicPr>
                <a:picLocks noChangeAspect="1" noChangeArrowheads="1"/>
              </p:cNvPicPr>
              <p:nvPr/>
            </p:nvPicPr>
            <p:blipFill rotWithShape="1">
              <a:blip r:embed="rId38" cstate="screen">
                <a:extLst>
                  <a:ext uri="{28A0092B-C50C-407E-A947-70E740481C1C}">
                    <a14:useLocalDpi xmlns:a14="http://schemas.microsoft.com/office/drawing/2010/main"/>
                  </a:ext>
                </a:extLst>
              </a:blip>
              <a:srcRect/>
              <a:stretch/>
            </p:blipFill>
            <p:spPr bwMode="auto">
              <a:xfrm>
                <a:off x="9565263" y="2277339"/>
                <a:ext cx="510909" cy="140012"/>
              </a:xfrm>
              <a:prstGeom prst="rect">
                <a:avLst/>
              </a:prstGeom>
              <a:noFill/>
              <a:extLst>
                <a:ext uri="{909E8E84-426E-40DD-AFC4-6F175D3DCCD1}">
                  <a14:hiddenFill xmlns:a14="http://schemas.microsoft.com/office/drawing/2010/main">
                    <a:solidFill>
                      <a:srgbClr val="FFFFFF"/>
                    </a:solidFill>
                  </a14:hiddenFill>
                </a:ext>
              </a:extLst>
            </p:spPr>
          </p:pic>
          <p:pic>
            <p:nvPicPr>
              <p:cNvPr id="2072" name="Picture 30">
                <a:extLst>
                  <a:ext uri="{FF2B5EF4-FFF2-40B4-BE49-F238E27FC236}">
                    <a16:creationId xmlns:a16="http://schemas.microsoft.com/office/drawing/2014/main" id="{7E6CBB6C-1423-1715-16F6-B3182BD5ADC2}"/>
                  </a:ext>
                </a:extLst>
              </p:cNvPr>
              <p:cNvPicPr>
                <a:picLocks noChangeAspect="1" noChangeArrowheads="1"/>
              </p:cNvPicPr>
              <p:nvPr/>
            </p:nvPicPr>
            <p:blipFill>
              <a:blip r:embed="rId36" cstate="screen">
                <a:extLst>
                  <a:ext uri="{28A0092B-C50C-407E-A947-70E740481C1C}">
                    <a14:useLocalDpi xmlns:a14="http://schemas.microsoft.com/office/drawing/2010/main"/>
                  </a:ext>
                </a:extLst>
              </a:blip>
              <a:srcRect/>
              <a:stretch>
                <a:fillRect/>
              </a:stretch>
            </p:blipFill>
            <p:spPr bwMode="auto">
              <a:xfrm>
                <a:off x="11700762" y="2198021"/>
                <a:ext cx="278102" cy="278102"/>
              </a:xfrm>
              <a:prstGeom prst="rect">
                <a:avLst/>
              </a:prstGeom>
              <a:noFill/>
              <a:extLst>
                <a:ext uri="{909E8E84-426E-40DD-AFC4-6F175D3DCCD1}">
                  <a14:hiddenFill xmlns:a14="http://schemas.microsoft.com/office/drawing/2010/main">
                    <a:solidFill>
                      <a:srgbClr val="FFFFFF"/>
                    </a:solidFill>
                  </a14:hiddenFill>
                </a:ext>
              </a:extLst>
            </p:spPr>
          </p:pic>
        </p:grpSp>
        <p:pic>
          <p:nvPicPr>
            <p:cNvPr id="82" name="Bilde 87" descr="Et bilde som inneholder klokke, tegning&#10;&#10;Automatisk generert beskrivelse">
              <a:extLst>
                <a:ext uri="{FF2B5EF4-FFF2-40B4-BE49-F238E27FC236}">
                  <a16:creationId xmlns:a16="http://schemas.microsoft.com/office/drawing/2014/main" id="{D188C6ED-E927-80E5-6E45-A6A7B11B8539}"/>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10646942" y="2310743"/>
              <a:ext cx="613197" cy="140012"/>
            </a:xfrm>
            <a:prstGeom prst="rect">
              <a:avLst/>
            </a:prstGeom>
          </p:spPr>
        </p:pic>
        <p:pic>
          <p:nvPicPr>
            <p:cNvPr id="83" name="Picture 2" descr="image">
              <a:extLst>
                <a:ext uri="{FF2B5EF4-FFF2-40B4-BE49-F238E27FC236}">
                  <a16:creationId xmlns:a16="http://schemas.microsoft.com/office/drawing/2014/main" id="{A54805F1-2281-DF82-F6C1-24CB788D86EE}"/>
                </a:ext>
              </a:extLst>
            </p:cNvPr>
            <p:cNvPicPr>
              <a:picLocks noChangeAspect="1" noChangeArrowheads="1"/>
            </p:cNvPicPr>
            <p:nvPr/>
          </p:nvPicPr>
          <p:blipFill>
            <a:blip r:embed="rId30" cstate="screen">
              <a:extLst>
                <a:ext uri="{28A0092B-C50C-407E-A947-70E740481C1C}">
                  <a14:useLocalDpi xmlns:a14="http://schemas.microsoft.com/office/drawing/2010/main"/>
                </a:ext>
              </a:extLst>
            </a:blip>
            <a:srcRect/>
            <a:stretch>
              <a:fillRect/>
            </a:stretch>
          </p:blipFill>
          <p:spPr bwMode="auto">
            <a:xfrm>
              <a:off x="9849143" y="2313075"/>
              <a:ext cx="665504" cy="163994"/>
            </a:xfrm>
            <a:prstGeom prst="rect">
              <a:avLst/>
            </a:prstGeom>
            <a:noFill/>
            <a:extLst>
              <a:ext uri="{909E8E84-426E-40DD-AFC4-6F175D3DCCD1}">
                <a14:hiddenFill xmlns:a14="http://schemas.microsoft.com/office/drawing/2010/main">
                  <a:solidFill>
                    <a:srgbClr val="FFFFFF"/>
                  </a:solidFill>
                </a14:hiddenFill>
              </a:ext>
            </a:extLst>
          </p:spPr>
        </p:pic>
      </p:grpSp>
      <p:pic>
        <p:nvPicPr>
          <p:cNvPr id="62" name="Picture 2" descr="S Group - Wikidata">
            <a:extLst>
              <a:ext uri="{FF2B5EF4-FFF2-40B4-BE49-F238E27FC236}">
                <a16:creationId xmlns:a16="http://schemas.microsoft.com/office/drawing/2014/main" id="{010F2A4A-ADE9-3DA6-532D-F30B253006FD}"/>
              </a:ext>
            </a:extLst>
          </p:cNvPr>
          <p:cNvPicPr>
            <a:picLocks noChangeAspect="1" noChangeArrowheads="1"/>
          </p:cNvPicPr>
          <p:nvPr/>
        </p:nvPicPr>
        <p:blipFill>
          <a:blip r:embed="rId39" cstate="screen">
            <a:extLst>
              <a:ext uri="{28A0092B-C50C-407E-A947-70E740481C1C}">
                <a14:useLocalDpi xmlns:a14="http://schemas.microsoft.com/office/drawing/2010/main"/>
              </a:ext>
            </a:extLst>
          </a:blip>
          <a:srcRect/>
          <a:stretch>
            <a:fillRect/>
          </a:stretch>
        </p:blipFill>
        <p:spPr bwMode="auto">
          <a:xfrm>
            <a:off x="9157247" y="1306718"/>
            <a:ext cx="226220" cy="373289"/>
          </a:xfrm>
          <a:prstGeom prst="rect">
            <a:avLst/>
          </a:prstGeom>
          <a:noFill/>
          <a:extLst>
            <a:ext uri="{909E8E84-426E-40DD-AFC4-6F175D3DCCD1}">
              <a14:hiddenFill xmlns:a14="http://schemas.microsoft.com/office/drawing/2010/main">
                <a:solidFill>
                  <a:srgbClr val="FFFFFF"/>
                </a:solidFill>
              </a14:hiddenFill>
            </a:ext>
          </a:extLst>
        </p:spPr>
      </p:pic>
      <p:sp>
        <p:nvSpPr>
          <p:cNvPr id="98" name="Rectangle 97">
            <a:extLst>
              <a:ext uri="{FF2B5EF4-FFF2-40B4-BE49-F238E27FC236}">
                <a16:creationId xmlns:a16="http://schemas.microsoft.com/office/drawing/2014/main" id="{4BCF8F9E-5B80-4F5A-9D8A-A0D8C4DFB3F1}"/>
              </a:ext>
            </a:extLst>
          </p:cNvPr>
          <p:cNvSpPr/>
          <p:nvPr/>
        </p:nvSpPr>
        <p:spPr>
          <a:xfrm>
            <a:off x="8908147" y="1241217"/>
            <a:ext cx="654741" cy="493658"/>
          </a:xfrm>
          <a:prstGeom prst="rect">
            <a:avLst/>
          </a:prstGeom>
          <a:noFill/>
          <a:ln w="6350">
            <a:solidFill>
              <a:srgbClr val="2832DC"/>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Helvetica Light"/>
              <a:ea typeface="+mn-ea"/>
              <a:cs typeface="+mn-cs"/>
            </a:endParaRPr>
          </a:p>
        </p:txBody>
      </p:sp>
      <p:grpSp>
        <p:nvGrpSpPr>
          <p:cNvPr id="104" name="Group 103">
            <a:extLst>
              <a:ext uri="{FF2B5EF4-FFF2-40B4-BE49-F238E27FC236}">
                <a16:creationId xmlns:a16="http://schemas.microsoft.com/office/drawing/2014/main" id="{D653034B-4BA3-ED29-1046-2825B9554521}"/>
              </a:ext>
            </a:extLst>
          </p:cNvPr>
          <p:cNvGrpSpPr/>
          <p:nvPr/>
        </p:nvGrpSpPr>
        <p:grpSpPr>
          <a:xfrm>
            <a:off x="7565815" y="1507268"/>
            <a:ext cx="1303814" cy="552054"/>
            <a:chOff x="7565815" y="1507268"/>
            <a:chExt cx="1303814" cy="552054"/>
          </a:xfrm>
        </p:grpSpPr>
        <p:grpSp>
          <p:nvGrpSpPr>
            <p:cNvPr id="71" name="Group 70">
              <a:extLst>
                <a:ext uri="{FF2B5EF4-FFF2-40B4-BE49-F238E27FC236}">
                  <a16:creationId xmlns:a16="http://schemas.microsoft.com/office/drawing/2014/main" id="{3AEBA138-967C-09C9-3CFE-9A2CAFB7F12F}"/>
                </a:ext>
              </a:extLst>
            </p:cNvPr>
            <p:cNvGrpSpPr/>
            <p:nvPr/>
          </p:nvGrpSpPr>
          <p:grpSpPr>
            <a:xfrm>
              <a:off x="8105167" y="1507268"/>
              <a:ext cx="764462" cy="552054"/>
              <a:chOff x="6905790" y="1357231"/>
              <a:chExt cx="1062375" cy="888504"/>
            </a:xfrm>
          </p:grpSpPr>
          <p:cxnSp>
            <p:nvCxnSpPr>
              <p:cNvPr id="80" name="Straight Connector 79">
                <a:extLst>
                  <a:ext uri="{FF2B5EF4-FFF2-40B4-BE49-F238E27FC236}">
                    <a16:creationId xmlns:a16="http://schemas.microsoft.com/office/drawing/2014/main" id="{45BEB35C-6A26-6E8D-3C7D-A0560FF93890}"/>
                  </a:ext>
                </a:extLst>
              </p:cNvPr>
              <p:cNvCxnSpPr>
                <a:cxnSpLocks/>
              </p:cNvCxnSpPr>
              <p:nvPr/>
            </p:nvCxnSpPr>
            <p:spPr>
              <a:xfrm>
                <a:off x="6905790" y="1357231"/>
                <a:ext cx="0" cy="888504"/>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02702CB3-EECB-E1A0-A2E1-3302E4852EAF}"/>
                  </a:ext>
                </a:extLst>
              </p:cNvPr>
              <p:cNvCxnSpPr>
                <a:cxnSpLocks/>
              </p:cNvCxnSpPr>
              <p:nvPr/>
            </p:nvCxnSpPr>
            <p:spPr>
              <a:xfrm flipH="1">
                <a:off x="6908047" y="1357231"/>
                <a:ext cx="1060118" cy="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grpSp>
        <p:cxnSp>
          <p:nvCxnSpPr>
            <p:cNvPr id="102" name="Straight Connector 101">
              <a:extLst>
                <a:ext uri="{FF2B5EF4-FFF2-40B4-BE49-F238E27FC236}">
                  <a16:creationId xmlns:a16="http://schemas.microsoft.com/office/drawing/2014/main" id="{CAD51021-9914-EB1D-DAD2-C94EF50D0C16}"/>
                </a:ext>
              </a:extLst>
            </p:cNvPr>
            <p:cNvCxnSpPr>
              <a:cxnSpLocks/>
            </p:cNvCxnSpPr>
            <p:nvPr/>
          </p:nvCxnSpPr>
          <p:spPr>
            <a:xfrm flipH="1">
              <a:off x="7565815" y="2059322"/>
              <a:ext cx="526849" cy="0"/>
            </a:xfrm>
            <a:prstGeom prst="line">
              <a:avLst/>
            </a:prstGeom>
            <a:ln>
              <a:solidFill>
                <a:srgbClr val="2832DC"/>
              </a:solidFill>
              <a:prstDash val="dash"/>
            </a:ln>
          </p:spPr>
          <p:style>
            <a:lnRef idx="1">
              <a:schemeClr val="accent1"/>
            </a:lnRef>
            <a:fillRef idx="0">
              <a:schemeClr val="accent1"/>
            </a:fillRef>
            <a:effectRef idx="0">
              <a:schemeClr val="accent1"/>
            </a:effectRef>
            <a:fontRef idx="minor">
              <a:schemeClr val="tx1"/>
            </a:fontRef>
          </p:style>
        </p:cxnSp>
      </p:grpSp>
      <p:pic>
        <p:nvPicPr>
          <p:cNvPr id="87" name="Bilde 87" descr="Et bilde som inneholder klokke, tegning&#10;&#10;Automatisk generert beskrivelse">
            <a:extLst>
              <a:ext uri="{FF2B5EF4-FFF2-40B4-BE49-F238E27FC236}">
                <a16:creationId xmlns:a16="http://schemas.microsoft.com/office/drawing/2014/main" id="{1DD0BF09-9761-E2BF-F657-5AA0A186470B}"/>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9883996" y="4116172"/>
            <a:ext cx="613197" cy="140012"/>
          </a:xfrm>
          <a:prstGeom prst="rect">
            <a:avLst/>
          </a:prstGeom>
        </p:spPr>
      </p:pic>
      <p:sp>
        <p:nvSpPr>
          <p:cNvPr id="1075" name="Rectangle 1074">
            <a:extLst>
              <a:ext uri="{FF2B5EF4-FFF2-40B4-BE49-F238E27FC236}">
                <a16:creationId xmlns:a16="http://schemas.microsoft.com/office/drawing/2014/main" id="{475D13C9-0F7E-8F4B-D907-EB87CFA883A2}"/>
              </a:ext>
            </a:extLst>
          </p:cNvPr>
          <p:cNvSpPr/>
          <p:nvPr/>
        </p:nvSpPr>
        <p:spPr>
          <a:xfrm>
            <a:off x="7447643" y="4676815"/>
            <a:ext cx="3511491" cy="1556170"/>
          </a:xfrm>
          <a:prstGeom prst="rect">
            <a:avLst/>
          </a:prstGeom>
          <a:solidFill>
            <a:schemeClr val="bg1"/>
          </a:solidFill>
          <a:ln w="6350">
            <a:solidFill>
              <a:srgbClr val="2832DC"/>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Helvetica Light"/>
              <a:ea typeface="+mn-ea"/>
              <a:cs typeface="+mn-cs"/>
            </a:endParaRPr>
          </a:p>
        </p:txBody>
      </p:sp>
      <p:grpSp>
        <p:nvGrpSpPr>
          <p:cNvPr id="3" name="Group 2">
            <a:extLst>
              <a:ext uri="{FF2B5EF4-FFF2-40B4-BE49-F238E27FC236}">
                <a16:creationId xmlns:a16="http://schemas.microsoft.com/office/drawing/2014/main" id="{0CCA596A-223F-7859-4B43-B4D92B5FFDF9}"/>
              </a:ext>
            </a:extLst>
          </p:cNvPr>
          <p:cNvGrpSpPr/>
          <p:nvPr/>
        </p:nvGrpSpPr>
        <p:grpSpPr>
          <a:xfrm>
            <a:off x="7791619" y="4742628"/>
            <a:ext cx="2785614" cy="1512601"/>
            <a:chOff x="812456" y="1765526"/>
            <a:chExt cx="6870375" cy="3730637"/>
          </a:xfrm>
        </p:grpSpPr>
        <p:sp>
          <p:nvSpPr>
            <p:cNvPr id="56" name="Oval 55">
              <a:extLst>
                <a:ext uri="{FF2B5EF4-FFF2-40B4-BE49-F238E27FC236}">
                  <a16:creationId xmlns:a16="http://schemas.microsoft.com/office/drawing/2014/main" id="{02DFF4F8-6DB5-0034-C5FE-E780AD009BCE}"/>
                </a:ext>
              </a:extLst>
            </p:cNvPr>
            <p:cNvSpPr/>
            <p:nvPr/>
          </p:nvSpPr>
          <p:spPr>
            <a:xfrm>
              <a:off x="1018502" y="2840300"/>
              <a:ext cx="1322363" cy="1322363"/>
            </a:xfrm>
            <a:prstGeom prst="ellipse">
              <a:avLst/>
            </a:prstGeom>
            <a:solidFill>
              <a:schemeClr val="accent6"/>
            </a:solidFill>
            <a:ln>
              <a:noFill/>
            </a:ln>
            <a:effectLst>
              <a:outerShdw blurRad="213796"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Helvetica Light" panose="020B0403020202020204"/>
                <a:ea typeface="+mn-ea"/>
                <a:cs typeface="+mn-cs"/>
              </a:endParaRPr>
            </a:p>
          </p:txBody>
        </p:sp>
        <p:sp>
          <p:nvSpPr>
            <p:cNvPr id="89" name="Oval 88">
              <a:extLst>
                <a:ext uri="{FF2B5EF4-FFF2-40B4-BE49-F238E27FC236}">
                  <a16:creationId xmlns:a16="http://schemas.microsoft.com/office/drawing/2014/main" id="{7A377F3B-5EA5-8EA6-F04A-4B86ED6A6ADE}"/>
                </a:ext>
              </a:extLst>
            </p:cNvPr>
            <p:cNvSpPr/>
            <p:nvPr/>
          </p:nvSpPr>
          <p:spPr>
            <a:xfrm>
              <a:off x="2715906" y="2840300"/>
              <a:ext cx="1322363" cy="1322363"/>
            </a:xfrm>
            <a:prstGeom prst="ellipse">
              <a:avLst/>
            </a:prstGeom>
            <a:solidFill>
              <a:schemeClr val="accent2"/>
            </a:solidFill>
            <a:ln>
              <a:noFill/>
            </a:ln>
            <a:effectLst>
              <a:outerShdw blurRad="213796"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Helvetica Light" panose="020B0403020202020204"/>
                <a:ea typeface="+mn-ea"/>
                <a:cs typeface="+mn-cs"/>
              </a:endParaRPr>
            </a:p>
          </p:txBody>
        </p:sp>
        <p:sp>
          <p:nvSpPr>
            <p:cNvPr id="91" name="Arc 90">
              <a:extLst>
                <a:ext uri="{FF2B5EF4-FFF2-40B4-BE49-F238E27FC236}">
                  <a16:creationId xmlns:a16="http://schemas.microsoft.com/office/drawing/2014/main" id="{98B90EEE-1716-0333-44A1-214956A2A6C1}"/>
                </a:ext>
              </a:extLst>
            </p:cNvPr>
            <p:cNvSpPr/>
            <p:nvPr/>
          </p:nvSpPr>
          <p:spPr>
            <a:xfrm rot="16200000">
              <a:off x="825109" y="2646907"/>
              <a:ext cx="1709147" cy="1709147"/>
            </a:xfrm>
            <a:prstGeom prst="arc">
              <a:avLst>
                <a:gd name="adj1" fmla="val 16200000"/>
                <a:gd name="adj2" fmla="val 5375265"/>
              </a:avLst>
            </a:prstGeom>
            <a:ln>
              <a:head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Helvetica Light" panose="020B0403020202020204"/>
                <a:ea typeface="+mn-ea"/>
                <a:cs typeface="+mn-cs"/>
              </a:endParaRPr>
            </a:p>
          </p:txBody>
        </p:sp>
        <p:sp>
          <p:nvSpPr>
            <p:cNvPr id="92" name="Arc 91">
              <a:extLst>
                <a:ext uri="{FF2B5EF4-FFF2-40B4-BE49-F238E27FC236}">
                  <a16:creationId xmlns:a16="http://schemas.microsoft.com/office/drawing/2014/main" id="{6CA33E9A-183F-1072-D9E9-615CF76C3498}"/>
                </a:ext>
              </a:extLst>
            </p:cNvPr>
            <p:cNvSpPr/>
            <p:nvPr/>
          </p:nvSpPr>
          <p:spPr>
            <a:xfrm rot="5400000">
              <a:off x="2534257" y="2636517"/>
              <a:ext cx="1709147" cy="1709147"/>
            </a:xfrm>
            <a:prstGeom prst="arc">
              <a:avLst>
                <a:gd name="adj1" fmla="val 16200000"/>
                <a:gd name="adj2" fmla="val 5375265"/>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Helvetica Light" panose="020B0403020202020204"/>
                <a:ea typeface="+mn-ea"/>
                <a:cs typeface="+mn-cs"/>
              </a:endParaRPr>
            </a:p>
          </p:txBody>
        </p:sp>
        <p:sp>
          <p:nvSpPr>
            <p:cNvPr id="93" name="Arc 92">
              <a:extLst>
                <a:ext uri="{FF2B5EF4-FFF2-40B4-BE49-F238E27FC236}">
                  <a16:creationId xmlns:a16="http://schemas.microsoft.com/office/drawing/2014/main" id="{1DCE6593-92F1-6E46-10DC-0CBC651FC316}"/>
                </a:ext>
              </a:extLst>
            </p:cNvPr>
            <p:cNvSpPr/>
            <p:nvPr/>
          </p:nvSpPr>
          <p:spPr>
            <a:xfrm rot="16200000">
              <a:off x="4242608" y="2646907"/>
              <a:ext cx="1709147" cy="1709147"/>
            </a:xfrm>
            <a:prstGeom prst="arc">
              <a:avLst>
                <a:gd name="adj1" fmla="val 16200000"/>
                <a:gd name="adj2" fmla="val 5375265"/>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Helvetica Light" panose="020B0403020202020204"/>
                <a:ea typeface="+mn-ea"/>
                <a:cs typeface="+mn-cs"/>
              </a:endParaRPr>
            </a:p>
          </p:txBody>
        </p:sp>
        <p:sp>
          <p:nvSpPr>
            <p:cNvPr id="97" name="Arc 96">
              <a:extLst>
                <a:ext uri="{FF2B5EF4-FFF2-40B4-BE49-F238E27FC236}">
                  <a16:creationId xmlns:a16="http://schemas.microsoft.com/office/drawing/2014/main" id="{C11D2885-AA56-984D-7AAA-A84798B9002F}"/>
                </a:ext>
              </a:extLst>
            </p:cNvPr>
            <p:cNvSpPr/>
            <p:nvPr/>
          </p:nvSpPr>
          <p:spPr>
            <a:xfrm rot="5400000">
              <a:off x="5951756" y="2636517"/>
              <a:ext cx="1709147" cy="1709147"/>
            </a:xfrm>
            <a:prstGeom prst="arc">
              <a:avLst>
                <a:gd name="adj1" fmla="val 16200000"/>
                <a:gd name="adj2" fmla="val 5375265"/>
              </a:avLst>
            </a:prstGeom>
            <a:ln>
              <a:head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Helvetica Light" panose="020B0403020202020204"/>
                <a:ea typeface="+mn-ea"/>
                <a:cs typeface="+mn-cs"/>
              </a:endParaRPr>
            </a:p>
          </p:txBody>
        </p:sp>
        <p:grpSp>
          <p:nvGrpSpPr>
            <p:cNvPr id="108" name="Group 107">
              <a:extLst>
                <a:ext uri="{FF2B5EF4-FFF2-40B4-BE49-F238E27FC236}">
                  <a16:creationId xmlns:a16="http://schemas.microsoft.com/office/drawing/2014/main" id="{92138BA7-1C73-8FF9-F944-A211A2C98182}"/>
                </a:ext>
              </a:extLst>
            </p:cNvPr>
            <p:cNvGrpSpPr/>
            <p:nvPr/>
          </p:nvGrpSpPr>
          <p:grpSpPr>
            <a:xfrm>
              <a:off x="1683199" y="2375077"/>
              <a:ext cx="3413982" cy="271830"/>
              <a:chOff x="1897149" y="2128798"/>
              <a:chExt cx="3413982" cy="271830"/>
            </a:xfrm>
          </p:grpSpPr>
          <p:cxnSp>
            <p:nvCxnSpPr>
              <p:cNvPr id="159" name="Straight Connector 158">
                <a:extLst>
                  <a:ext uri="{FF2B5EF4-FFF2-40B4-BE49-F238E27FC236}">
                    <a16:creationId xmlns:a16="http://schemas.microsoft.com/office/drawing/2014/main" id="{EA580083-F3B8-2BE5-1D5E-844F72DE1C5F}"/>
                  </a:ext>
                </a:extLst>
              </p:cNvPr>
              <p:cNvCxnSpPr>
                <a:cxnSpLocks/>
              </p:cNvCxnSpPr>
              <p:nvPr/>
            </p:nvCxnSpPr>
            <p:spPr>
              <a:xfrm flipV="1">
                <a:off x="1897149" y="2128798"/>
                <a:ext cx="0" cy="271830"/>
              </a:xfrm>
              <a:prstGeom prst="line">
                <a:avLst/>
              </a:prstGeom>
              <a:ln>
                <a:tailEnd type="ova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FC146169-9462-02AC-A7E5-1B8CE4C6EEB3}"/>
                  </a:ext>
                </a:extLst>
              </p:cNvPr>
              <p:cNvCxnSpPr>
                <a:cxnSpLocks/>
              </p:cNvCxnSpPr>
              <p:nvPr/>
            </p:nvCxnSpPr>
            <p:spPr>
              <a:xfrm flipV="1">
                <a:off x="5311131" y="2128798"/>
                <a:ext cx="0" cy="271830"/>
              </a:xfrm>
              <a:prstGeom prst="line">
                <a:avLst/>
              </a:prstGeom>
              <a:ln>
                <a:tailEnd type="oval"/>
              </a:ln>
            </p:spPr>
            <p:style>
              <a:lnRef idx="1">
                <a:schemeClr val="accent1"/>
              </a:lnRef>
              <a:fillRef idx="0">
                <a:schemeClr val="accent1"/>
              </a:fillRef>
              <a:effectRef idx="0">
                <a:schemeClr val="accent1"/>
              </a:effectRef>
              <a:fontRef idx="minor">
                <a:schemeClr val="tx1"/>
              </a:fontRef>
            </p:style>
          </p:cxnSp>
        </p:grpSp>
        <p:grpSp>
          <p:nvGrpSpPr>
            <p:cNvPr id="128" name="Group 127">
              <a:extLst>
                <a:ext uri="{FF2B5EF4-FFF2-40B4-BE49-F238E27FC236}">
                  <a16:creationId xmlns:a16="http://schemas.microsoft.com/office/drawing/2014/main" id="{D1C14460-D9E0-BB92-0992-C1D9391D4693}"/>
                </a:ext>
              </a:extLst>
            </p:cNvPr>
            <p:cNvGrpSpPr/>
            <p:nvPr/>
          </p:nvGrpSpPr>
          <p:grpSpPr>
            <a:xfrm rot="10800000">
              <a:off x="3390618" y="4357959"/>
              <a:ext cx="3415938" cy="271830"/>
              <a:chOff x="5311131" y="2128798"/>
              <a:chExt cx="3415938" cy="271830"/>
            </a:xfrm>
          </p:grpSpPr>
          <p:cxnSp>
            <p:nvCxnSpPr>
              <p:cNvPr id="157" name="Straight Connector 156">
                <a:extLst>
                  <a:ext uri="{FF2B5EF4-FFF2-40B4-BE49-F238E27FC236}">
                    <a16:creationId xmlns:a16="http://schemas.microsoft.com/office/drawing/2014/main" id="{200FB9AB-E8DF-8CC7-7AEA-55EC30A88673}"/>
                  </a:ext>
                </a:extLst>
              </p:cNvPr>
              <p:cNvCxnSpPr>
                <a:cxnSpLocks/>
              </p:cNvCxnSpPr>
              <p:nvPr/>
            </p:nvCxnSpPr>
            <p:spPr>
              <a:xfrm flipV="1">
                <a:off x="5311131" y="2128798"/>
                <a:ext cx="0" cy="271830"/>
              </a:xfrm>
              <a:prstGeom prst="line">
                <a:avLst/>
              </a:prstGeom>
              <a:ln>
                <a:tailEnd type="ova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26F5104A-4C9D-BA3D-B793-11B3309B8CE6}"/>
                  </a:ext>
                </a:extLst>
              </p:cNvPr>
              <p:cNvCxnSpPr>
                <a:cxnSpLocks/>
              </p:cNvCxnSpPr>
              <p:nvPr/>
            </p:nvCxnSpPr>
            <p:spPr>
              <a:xfrm flipV="1">
                <a:off x="8727069" y="2128798"/>
                <a:ext cx="0" cy="271830"/>
              </a:xfrm>
              <a:prstGeom prst="line">
                <a:avLst/>
              </a:prstGeom>
              <a:ln>
                <a:tailEnd type="oval"/>
              </a:ln>
            </p:spPr>
            <p:style>
              <a:lnRef idx="1">
                <a:schemeClr val="accent1"/>
              </a:lnRef>
              <a:fillRef idx="0">
                <a:schemeClr val="accent1"/>
              </a:fillRef>
              <a:effectRef idx="0">
                <a:schemeClr val="accent1"/>
              </a:effectRef>
              <a:fontRef idx="minor">
                <a:schemeClr val="tx1"/>
              </a:fontRef>
            </p:style>
          </p:cxnSp>
        </p:grpSp>
        <p:sp>
          <p:nvSpPr>
            <p:cNvPr id="133" name="!!What">
              <a:extLst>
                <a:ext uri="{FF2B5EF4-FFF2-40B4-BE49-F238E27FC236}">
                  <a16:creationId xmlns:a16="http://schemas.microsoft.com/office/drawing/2014/main" id="{2A4E2AAE-559E-3F33-F5A7-CCA3F15951D6}"/>
                </a:ext>
              </a:extLst>
            </p:cNvPr>
            <p:cNvSpPr txBox="1">
              <a:spLocks/>
            </p:cNvSpPr>
            <p:nvPr/>
          </p:nvSpPr>
          <p:spPr>
            <a:xfrm>
              <a:off x="812456" y="1782033"/>
              <a:ext cx="1713460" cy="346107"/>
            </a:xfrm>
            <a:prstGeom prst="rect">
              <a:avLst/>
            </a:prstGeom>
          </p:spPr>
          <p:txBody>
            <a:bodyPr/>
            <a:lstStyle>
              <a:lvl1pPr algn="l" defTabSz="914400" rtl="0" eaLnBrk="1" latinLnBrk="0" hangingPunct="1">
                <a:lnSpc>
                  <a:spcPct val="90000"/>
                </a:lnSpc>
                <a:spcBef>
                  <a:spcPct val="0"/>
                </a:spcBef>
                <a:buNone/>
                <a:defRPr sz="3200" kern="1200">
                  <a:solidFill>
                    <a:schemeClr val="accent5"/>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050" b="0" i="0" u="none" strike="noStrike" kern="1200" cap="none" spc="0" normalizeH="0" baseline="0" noProof="0">
                  <a:ln>
                    <a:noFill/>
                  </a:ln>
                  <a:solidFill>
                    <a:srgbClr val="1E1E50"/>
                  </a:solidFill>
                  <a:effectLst/>
                  <a:uLnTx/>
                  <a:uFillTx/>
                  <a:latin typeface="Helvetica Light" panose="020B0403020202020204"/>
                  <a:ea typeface="+mj-ea"/>
                  <a:cs typeface="Arial" panose="020B0604020202020204" pitchFamily="34" charset="0"/>
                </a:rPr>
                <a:t>Sales</a:t>
              </a:r>
            </a:p>
          </p:txBody>
        </p:sp>
        <p:sp>
          <p:nvSpPr>
            <p:cNvPr id="134" name="!!What">
              <a:extLst>
                <a:ext uri="{FF2B5EF4-FFF2-40B4-BE49-F238E27FC236}">
                  <a16:creationId xmlns:a16="http://schemas.microsoft.com/office/drawing/2014/main" id="{7A4354E2-B397-036F-CE39-AA0D6B0B2913}"/>
                </a:ext>
              </a:extLst>
            </p:cNvPr>
            <p:cNvSpPr txBox="1">
              <a:spLocks/>
            </p:cNvSpPr>
            <p:nvPr/>
          </p:nvSpPr>
          <p:spPr>
            <a:xfrm>
              <a:off x="2520354" y="4762702"/>
              <a:ext cx="2151205" cy="506655"/>
            </a:xfrm>
            <a:prstGeom prst="rect">
              <a:avLst/>
            </a:prstGeom>
          </p:spPr>
          <p:txBody>
            <a:bodyPr/>
            <a:lstStyle>
              <a:lvl1pPr algn="l" defTabSz="914400" rtl="0" eaLnBrk="1" latinLnBrk="0" hangingPunct="1">
                <a:lnSpc>
                  <a:spcPct val="90000"/>
                </a:lnSpc>
                <a:spcBef>
                  <a:spcPct val="0"/>
                </a:spcBef>
                <a:buNone/>
                <a:defRPr sz="3200" kern="1200">
                  <a:solidFill>
                    <a:schemeClr val="accent5"/>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050" b="0" i="0" u="none" strike="noStrike" kern="1200" cap="none" spc="0" normalizeH="0" baseline="0" noProof="0">
                  <a:ln>
                    <a:noFill/>
                  </a:ln>
                  <a:solidFill>
                    <a:srgbClr val="1E1E50"/>
                  </a:solidFill>
                  <a:effectLst/>
                  <a:uLnTx/>
                  <a:uFillTx/>
                  <a:latin typeface="Helvetica Light" panose="020B0403020202020204"/>
                  <a:ea typeface="+mj-ea"/>
                  <a:cs typeface="Arial" panose="020B0604020202020204" pitchFamily="34" charset="0"/>
                </a:rPr>
                <a:t>Installation</a:t>
              </a:r>
            </a:p>
          </p:txBody>
        </p:sp>
        <p:sp>
          <p:nvSpPr>
            <p:cNvPr id="135" name="!!What">
              <a:extLst>
                <a:ext uri="{FF2B5EF4-FFF2-40B4-BE49-F238E27FC236}">
                  <a16:creationId xmlns:a16="http://schemas.microsoft.com/office/drawing/2014/main" id="{959E6A2B-4A4C-5D84-7590-E75B98F02ED6}"/>
                </a:ext>
              </a:extLst>
            </p:cNvPr>
            <p:cNvSpPr txBox="1">
              <a:spLocks/>
            </p:cNvSpPr>
            <p:nvPr/>
          </p:nvSpPr>
          <p:spPr>
            <a:xfrm>
              <a:off x="4245520" y="1765526"/>
              <a:ext cx="1713460" cy="346107"/>
            </a:xfrm>
            <a:prstGeom prst="rect">
              <a:avLst/>
            </a:prstGeom>
          </p:spPr>
          <p:txBody>
            <a:bodyPr/>
            <a:lstStyle>
              <a:lvl1pPr algn="l" defTabSz="914400" rtl="0" eaLnBrk="1" latinLnBrk="0" hangingPunct="1">
                <a:lnSpc>
                  <a:spcPct val="90000"/>
                </a:lnSpc>
                <a:spcBef>
                  <a:spcPct val="0"/>
                </a:spcBef>
                <a:buNone/>
                <a:defRPr sz="3200" kern="1200">
                  <a:solidFill>
                    <a:schemeClr val="accent5"/>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000" b="0" i="0" u="none" strike="noStrike" kern="1200" cap="none" spc="0" normalizeH="0" baseline="0" noProof="0">
                  <a:ln>
                    <a:noFill/>
                  </a:ln>
                  <a:solidFill>
                    <a:srgbClr val="1E1E50"/>
                  </a:solidFill>
                  <a:effectLst/>
                  <a:uLnTx/>
                  <a:uFillTx/>
                  <a:latin typeface="Helvetica Light" panose="020B0403020202020204"/>
                  <a:ea typeface="+mj-ea"/>
                  <a:cs typeface="Arial" panose="020B0604020202020204" pitchFamily="34" charset="0"/>
                </a:rPr>
                <a:t>Service</a:t>
              </a:r>
            </a:p>
          </p:txBody>
        </p:sp>
        <p:sp>
          <p:nvSpPr>
            <p:cNvPr id="136" name="!!What">
              <a:extLst>
                <a:ext uri="{FF2B5EF4-FFF2-40B4-BE49-F238E27FC236}">
                  <a16:creationId xmlns:a16="http://schemas.microsoft.com/office/drawing/2014/main" id="{0CE85F60-9DE7-E464-2C73-0CAAD4AF2143}"/>
                </a:ext>
              </a:extLst>
            </p:cNvPr>
            <p:cNvSpPr txBox="1">
              <a:spLocks/>
            </p:cNvSpPr>
            <p:nvPr/>
          </p:nvSpPr>
          <p:spPr>
            <a:xfrm>
              <a:off x="5969371" y="4711272"/>
              <a:ext cx="1713460" cy="784891"/>
            </a:xfrm>
            <a:prstGeom prst="rect">
              <a:avLst/>
            </a:prstGeom>
          </p:spPr>
          <p:txBody>
            <a:bodyPr/>
            <a:lstStyle>
              <a:lvl1pPr algn="l" defTabSz="914400" rtl="0" eaLnBrk="1" latinLnBrk="0" hangingPunct="1">
                <a:lnSpc>
                  <a:spcPct val="90000"/>
                </a:lnSpc>
                <a:spcBef>
                  <a:spcPct val="0"/>
                </a:spcBef>
                <a:buNone/>
                <a:defRPr sz="3200" kern="1200">
                  <a:solidFill>
                    <a:schemeClr val="accent5"/>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050" b="0" i="0" u="none" strike="noStrike" kern="1200" cap="none" spc="0" normalizeH="0" baseline="0" noProof="0">
                  <a:ln>
                    <a:noFill/>
                  </a:ln>
                  <a:solidFill>
                    <a:srgbClr val="1E1E50"/>
                  </a:solidFill>
                  <a:effectLst/>
                  <a:uLnTx/>
                  <a:uFillTx/>
                  <a:latin typeface="Helvetica Light" panose="020B0403020202020204"/>
                  <a:ea typeface="+mj-ea"/>
                  <a:cs typeface="Arial" panose="020B0604020202020204" pitchFamily="34" charset="0"/>
                </a:rPr>
                <a:t>Support</a:t>
              </a:r>
            </a:p>
          </p:txBody>
        </p:sp>
        <p:grpSp>
          <p:nvGrpSpPr>
            <p:cNvPr id="137" name="Group 136">
              <a:extLst>
                <a:ext uri="{FF2B5EF4-FFF2-40B4-BE49-F238E27FC236}">
                  <a16:creationId xmlns:a16="http://schemas.microsoft.com/office/drawing/2014/main" id="{7FD201AB-7303-C864-CC1D-4FACA867CAFE}"/>
                </a:ext>
              </a:extLst>
            </p:cNvPr>
            <p:cNvGrpSpPr/>
            <p:nvPr/>
          </p:nvGrpSpPr>
          <p:grpSpPr>
            <a:xfrm>
              <a:off x="6145777" y="2840300"/>
              <a:ext cx="1322363" cy="1322363"/>
              <a:chOff x="9548954" y="2840300"/>
              <a:chExt cx="1322363" cy="1322363"/>
            </a:xfrm>
          </p:grpSpPr>
          <p:sp>
            <p:nvSpPr>
              <p:cNvPr id="155" name="Oval 154">
                <a:extLst>
                  <a:ext uri="{FF2B5EF4-FFF2-40B4-BE49-F238E27FC236}">
                    <a16:creationId xmlns:a16="http://schemas.microsoft.com/office/drawing/2014/main" id="{088C49F0-97D8-386C-8B29-35A1DAA1CEC0}"/>
                  </a:ext>
                </a:extLst>
              </p:cNvPr>
              <p:cNvSpPr/>
              <p:nvPr/>
            </p:nvSpPr>
            <p:spPr>
              <a:xfrm>
                <a:off x="9548954" y="2840300"/>
                <a:ext cx="1322363" cy="1322363"/>
              </a:xfrm>
              <a:prstGeom prst="ellipse">
                <a:avLst/>
              </a:prstGeom>
              <a:solidFill>
                <a:srgbClr val="2832DC"/>
              </a:solidFill>
              <a:ln>
                <a:noFill/>
              </a:ln>
              <a:effectLst>
                <a:outerShdw blurRad="213796"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Helvetica Light" panose="020B0403020202020204"/>
                  <a:ea typeface="+mn-ea"/>
                  <a:cs typeface="+mn-cs"/>
                </a:endParaRPr>
              </a:p>
            </p:txBody>
          </p:sp>
          <p:pic>
            <p:nvPicPr>
              <p:cNvPr id="156" name="Graphic 155">
                <a:extLst>
                  <a:ext uri="{FF2B5EF4-FFF2-40B4-BE49-F238E27FC236}">
                    <a16:creationId xmlns:a16="http://schemas.microsoft.com/office/drawing/2014/main" id="{E6F359C8-FF86-15C5-153B-F2896548B074}"/>
                  </a:ext>
                </a:extLst>
              </p:cNvPr>
              <p:cNvPicPr>
                <a:picLocks noChangeAspect="1"/>
              </p:cNvPicPr>
              <p:nvPr/>
            </p:nvPicPr>
            <p:blipFill>
              <a:blip r:embed="rId40" cstate="screen">
                <a:extLst>
                  <a:ext uri="{28A0092B-C50C-407E-A947-70E740481C1C}">
                    <a14:useLocalDpi xmlns:a14="http://schemas.microsoft.com/office/drawing/2010/main"/>
                  </a:ext>
                  <a:ext uri="{96DAC541-7B7A-43D3-8B79-37D633B846F1}">
                    <asvg:svgBlip xmlns:asvg="http://schemas.microsoft.com/office/drawing/2016/SVG/main" r:embed="rId41"/>
                  </a:ext>
                </a:extLst>
              </a:blip>
              <a:stretch>
                <a:fillRect/>
              </a:stretch>
            </p:blipFill>
            <p:spPr>
              <a:xfrm>
                <a:off x="9855619" y="3083681"/>
                <a:ext cx="837728" cy="837728"/>
              </a:xfrm>
              <a:prstGeom prst="rect">
                <a:avLst/>
              </a:prstGeom>
            </p:spPr>
          </p:pic>
        </p:grpSp>
        <p:grpSp>
          <p:nvGrpSpPr>
            <p:cNvPr id="138" name="Group 137">
              <a:extLst>
                <a:ext uri="{FF2B5EF4-FFF2-40B4-BE49-F238E27FC236}">
                  <a16:creationId xmlns:a16="http://schemas.microsoft.com/office/drawing/2014/main" id="{CC4F3AFB-A96B-74E4-3CF7-574D14591595}"/>
                </a:ext>
              </a:extLst>
            </p:cNvPr>
            <p:cNvGrpSpPr/>
            <p:nvPr/>
          </p:nvGrpSpPr>
          <p:grpSpPr>
            <a:xfrm>
              <a:off x="4436001" y="2840300"/>
              <a:ext cx="1322363" cy="1322363"/>
              <a:chOff x="7849981" y="2840300"/>
              <a:chExt cx="1322363" cy="1322363"/>
            </a:xfrm>
          </p:grpSpPr>
          <p:sp>
            <p:nvSpPr>
              <p:cNvPr id="153" name="Oval 152">
                <a:extLst>
                  <a:ext uri="{FF2B5EF4-FFF2-40B4-BE49-F238E27FC236}">
                    <a16:creationId xmlns:a16="http://schemas.microsoft.com/office/drawing/2014/main" id="{9982D058-31A1-BE1D-0F9E-412E1C37DD85}"/>
                  </a:ext>
                </a:extLst>
              </p:cNvPr>
              <p:cNvSpPr/>
              <p:nvPr/>
            </p:nvSpPr>
            <p:spPr>
              <a:xfrm>
                <a:off x="7849981" y="2840300"/>
                <a:ext cx="1322363" cy="1322363"/>
              </a:xfrm>
              <a:prstGeom prst="ellipse">
                <a:avLst/>
              </a:prstGeom>
              <a:solidFill>
                <a:schemeClr val="accent4">
                  <a:lumMod val="60000"/>
                  <a:lumOff val="40000"/>
                </a:schemeClr>
              </a:solidFill>
              <a:ln>
                <a:noFill/>
              </a:ln>
              <a:effectLst>
                <a:outerShdw blurRad="213796"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Helvetica Light" panose="020B0403020202020204"/>
                  <a:ea typeface="+mn-ea"/>
                  <a:cs typeface="+mn-cs"/>
                </a:endParaRPr>
              </a:p>
            </p:txBody>
          </p:sp>
          <p:pic>
            <p:nvPicPr>
              <p:cNvPr id="154" name="Graphic 153">
                <a:extLst>
                  <a:ext uri="{FF2B5EF4-FFF2-40B4-BE49-F238E27FC236}">
                    <a16:creationId xmlns:a16="http://schemas.microsoft.com/office/drawing/2014/main" id="{DF1CB57A-246F-B4D0-4C2A-AAF6EDDF9EC2}"/>
                  </a:ext>
                </a:extLst>
              </p:cNvPr>
              <p:cNvPicPr>
                <a:picLocks noChangeAspect="1"/>
              </p:cNvPicPr>
              <p:nvPr/>
            </p:nvPicPr>
            <p:blipFill>
              <a:blip r:embed="rId42" cstate="screen">
                <a:extLst>
                  <a:ext uri="{28A0092B-C50C-407E-A947-70E740481C1C}">
                    <a14:useLocalDpi xmlns:a14="http://schemas.microsoft.com/office/drawing/2010/main"/>
                  </a:ext>
                  <a:ext uri="{96DAC541-7B7A-43D3-8B79-37D633B846F1}">
                    <asvg:svgBlip xmlns:asvg="http://schemas.microsoft.com/office/drawing/2016/SVG/main" r:embed="rId43"/>
                  </a:ext>
                </a:extLst>
              </a:blip>
              <a:stretch>
                <a:fillRect/>
              </a:stretch>
            </p:blipFill>
            <p:spPr>
              <a:xfrm>
                <a:off x="8085567" y="3083681"/>
                <a:ext cx="837728" cy="837728"/>
              </a:xfrm>
              <a:prstGeom prst="rect">
                <a:avLst/>
              </a:prstGeom>
            </p:spPr>
          </p:pic>
        </p:grpSp>
        <p:pic>
          <p:nvPicPr>
            <p:cNvPr id="139" name="Graphic 138">
              <a:extLst>
                <a:ext uri="{FF2B5EF4-FFF2-40B4-BE49-F238E27FC236}">
                  <a16:creationId xmlns:a16="http://schemas.microsoft.com/office/drawing/2014/main" id="{483BB1D6-5611-9C03-B6B1-7EABA68944FB}"/>
                </a:ext>
              </a:extLst>
            </p:cNvPr>
            <p:cNvPicPr>
              <a:picLocks noChangeAspect="1"/>
            </p:cNvPicPr>
            <p:nvPr/>
          </p:nvPicPr>
          <p:blipFill>
            <a:blip r:embed="rId44" cstate="screen">
              <a:extLst>
                <a:ext uri="{28A0092B-C50C-407E-A947-70E740481C1C}">
                  <a14:useLocalDpi xmlns:a14="http://schemas.microsoft.com/office/drawing/2010/main"/>
                </a:ext>
                <a:ext uri="{96DAC541-7B7A-43D3-8B79-37D633B846F1}">
                  <asvg:svgBlip xmlns:asvg="http://schemas.microsoft.com/office/drawing/2016/SVG/main" r:embed="rId45"/>
                </a:ext>
              </a:extLst>
            </a:blip>
            <a:stretch>
              <a:fillRect/>
            </a:stretch>
          </p:blipFill>
          <p:spPr>
            <a:xfrm>
              <a:off x="2864200" y="2965448"/>
              <a:ext cx="1046783" cy="1046783"/>
            </a:xfrm>
            <a:prstGeom prst="rect">
              <a:avLst/>
            </a:prstGeom>
          </p:spPr>
        </p:pic>
        <p:pic>
          <p:nvPicPr>
            <p:cNvPr id="140" name="Graphic 139">
              <a:extLst>
                <a:ext uri="{FF2B5EF4-FFF2-40B4-BE49-F238E27FC236}">
                  <a16:creationId xmlns:a16="http://schemas.microsoft.com/office/drawing/2014/main" id="{7777A49C-5D12-D9DC-D29B-86CD52DD731A}"/>
                </a:ext>
              </a:extLst>
            </p:cNvPr>
            <p:cNvPicPr>
              <a:picLocks noChangeAspect="1"/>
            </p:cNvPicPr>
            <p:nvPr/>
          </p:nvPicPr>
          <p:blipFill>
            <a:blip r:embed="rId46" cstate="screen">
              <a:extLst>
                <a:ext uri="{28A0092B-C50C-407E-A947-70E740481C1C}">
                  <a14:useLocalDpi xmlns:a14="http://schemas.microsoft.com/office/drawing/2010/main"/>
                </a:ext>
                <a:ext uri="{96DAC541-7B7A-43D3-8B79-37D633B846F1}">
                  <asvg:svgBlip xmlns:asvg="http://schemas.microsoft.com/office/drawing/2016/SVG/main" r:embed="rId47"/>
                </a:ext>
              </a:extLst>
            </a:blip>
            <a:stretch>
              <a:fillRect/>
            </a:stretch>
          </p:blipFill>
          <p:spPr>
            <a:xfrm>
              <a:off x="1185627" y="3045112"/>
              <a:ext cx="967119" cy="967119"/>
            </a:xfrm>
            <a:prstGeom prst="rect">
              <a:avLst/>
            </a:prstGeom>
          </p:spPr>
        </p:pic>
      </p:grpSp>
    </p:spTree>
    <p:extLst>
      <p:ext uri="{BB962C8B-B14F-4D97-AF65-F5344CB8AC3E}">
        <p14:creationId xmlns:p14="http://schemas.microsoft.com/office/powerpoint/2010/main" val="24904349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6273423-96C6-11CB-7B42-9E1390301117}"/>
              </a:ext>
            </a:extLst>
          </p:cNvPr>
          <p:cNvGraphicFramePr>
            <a:graphicFrameLocks noChangeAspect="1"/>
          </p:cNvGraphicFramePr>
          <p:nvPr>
            <p:custDataLst>
              <p:tags r:id="rId1"/>
            </p:custDataLst>
            <p:extLst>
              <p:ext uri="{D42A27DB-BD31-4B8C-83A1-F6EECF244321}">
                <p14:modId xmlns:p14="http://schemas.microsoft.com/office/powerpoint/2010/main" val="5434742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D6273423-96C6-11CB-7B42-9E139030111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08F98590-C6D9-DECF-B109-9D41B167098F}"/>
              </a:ext>
            </a:extLst>
          </p:cNvPr>
          <p:cNvPicPr>
            <a:picLocks noChangeAspect="1"/>
          </p:cNvPicPr>
          <p:nvPr/>
        </p:nvPicPr>
        <p:blipFill rotWithShape="1">
          <a:blip r:embed="rId6" cstate="print">
            <a:alphaModFix amt="27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E7D565D-D5B7-7BE4-AE66-3DA2EE6E3A92}"/>
              </a:ext>
            </a:extLst>
          </p:cNvPr>
          <p:cNvSpPr>
            <a:spLocks noGrp="1"/>
          </p:cNvSpPr>
          <p:nvPr>
            <p:ph type="title"/>
          </p:nvPr>
        </p:nvSpPr>
        <p:spPr>
          <a:xfrm>
            <a:off x="1218623" y="3070967"/>
            <a:ext cx="10129315" cy="1325563"/>
          </a:xfrm>
        </p:spPr>
        <p:txBody>
          <a:bodyPr vert="horz"/>
          <a:lstStyle/>
          <a:p>
            <a:r>
              <a:rPr lang="en-US" sz="6600"/>
              <a:t>Update on financial results vs. ambitions</a:t>
            </a:r>
          </a:p>
        </p:txBody>
      </p:sp>
      <p:pic>
        <p:nvPicPr>
          <p:cNvPr id="6" name="Bilde 5">
            <a:extLst>
              <a:ext uri="{FF2B5EF4-FFF2-40B4-BE49-F238E27FC236}">
                <a16:creationId xmlns:a16="http://schemas.microsoft.com/office/drawing/2014/main" id="{5BC7EDBC-F241-8F9C-FB1F-C43B8716D2C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218623" y="5599967"/>
            <a:ext cx="2822031" cy="493381"/>
          </a:xfrm>
          <a:prstGeom prst="rect">
            <a:avLst/>
          </a:prstGeom>
        </p:spPr>
      </p:pic>
      <p:cxnSp>
        <p:nvCxnSpPr>
          <p:cNvPr id="7" name="Straight Connector 6">
            <a:extLst>
              <a:ext uri="{FF2B5EF4-FFF2-40B4-BE49-F238E27FC236}">
                <a16:creationId xmlns:a16="http://schemas.microsoft.com/office/drawing/2014/main" id="{C79955FE-72EC-4ECF-B747-1CDEC72D2215}"/>
              </a:ext>
            </a:extLst>
          </p:cNvPr>
          <p:cNvCxnSpPr>
            <a:cxnSpLocks/>
          </p:cNvCxnSpPr>
          <p:nvPr/>
        </p:nvCxnSpPr>
        <p:spPr>
          <a:xfrm>
            <a:off x="1315186" y="4964483"/>
            <a:ext cx="92835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56427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2726B03-DABB-5B2C-E642-BFA563F650A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72726B03-DABB-5B2C-E642-BFA563F650A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C18E1CB-205E-AB33-262F-E76BE8FF78D5}"/>
              </a:ext>
            </a:extLst>
          </p:cNvPr>
          <p:cNvSpPr/>
          <p:nvPr/>
        </p:nvSpPr>
        <p:spPr>
          <a:xfrm>
            <a:off x="5587266" y="2163985"/>
            <a:ext cx="4242218" cy="3333136"/>
          </a:xfrm>
          <a:prstGeom prst="rect">
            <a:avLst/>
          </a:prstGeom>
          <a:solidFill>
            <a:srgbClr val="EF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Light"/>
              <a:ea typeface="+mn-ea"/>
              <a:cs typeface="+mn-cs"/>
            </a:endParaRPr>
          </a:p>
        </p:txBody>
      </p:sp>
      <p:sp>
        <p:nvSpPr>
          <p:cNvPr id="11" name="Plassholder for innhold 3">
            <a:extLst>
              <a:ext uri="{FF2B5EF4-FFF2-40B4-BE49-F238E27FC236}">
                <a16:creationId xmlns:a16="http://schemas.microsoft.com/office/drawing/2014/main" id="{778DB081-11E1-B20C-E7AE-2D23E4BF709B}"/>
              </a:ext>
            </a:extLst>
          </p:cNvPr>
          <p:cNvSpPr txBox="1">
            <a:spLocks/>
          </p:cNvSpPr>
          <p:nvPr/>
        </p:nvSpPr>
        <p:spPr>
          <a:xfrm>
            <a:off x="5612318" y="3830553"/>
            <a:ext cx="3905075" cy="1666568"/>
          </a:xfrm>
          <a:prstGeom prst="rect">
            <a:avLst/>
          </a:prstGeom>
          <a:noFill/>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13</a:t>
            </a:r>
            <a:r>
              <a:rPr kumimoji="0" lang="en-US" sz="8000" b="0" i="0" u="none" strike="noStrike" kern="1200" cap="none" spc="-150" normalizeH="0" baseline="0" noProof="0">
                <a:ln>
                  <a:noFill/>
                </a:ln>
                <a:solidFill>
                  <a:srgbClr val="1E1E50"/>
                </a:solidFill>
                <a:effectLst/>
                <a:uLnTx/>
                <a:uFillTx/>
                <a:latin typeface="Helvetica Light" panose="020B0403020202020204" pitchFamily="34" charset="0"/>
                <a:ea typeface="+mn-ea"/>
                <a:cs typeface="+mn-cs"/>
              </a:rPr>
              <a:t>-</a:t>
            </a:r>
            <a:r>
              <a:rPr kumimoji="0" lang="en-US" sz="80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15</a:t>
            </a:r>
            <a:r>
              <a:rPr kumimoji="0" lang="en-US" sz="4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a:t>
            </a:r>
            <a:endParaRPr kumimoji="0" lang="en-US" sz="80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pic>
        <p:nvPicPr>
          <p:cNvPr id="12" name="Graphic 11">
            <a:extLst>
              <a:ext uri="{FF2B5EF4-FFF2-40B4-BE49-F238E27FC236}">
                <a16:creationId xmlns:a16="http://schemas.microsoft.com/office/drawing/2014/main" id="{76F7AB16-6528-47F2-AADD-8F793565A17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337463" y="2610788"/>
            <a:ext cx="837873" cy="837873"/>
          </a:xfrm>
          <a:prstGeom prst="rect">
            <a:avLst/>
          </a:prstGeom>
        </p:spPr>
      </p:pic>
      <p:sp>
        <p:nvSpPr>
          <p:cNvPr id="13" name="Text Placeholder 3">
            <a:extLst>
              <a:ext uri="{FF2B5EF4-FFF2-40B4-BE49-F238E27FC236}">
                <a16:creationId xmlns:a16="http://schemas.microsoft.com/office/drawing/2014/main" id="{16485EC3-A7B8-F846-2DEE-D1388E819BE1}"/>
              </a:ext>
            </a:extLst>
          </p:cNvPr>
          <p:cNvSpPr txBox="1">
            <a:spLocks/>
          </p:cNvSpPr>
          <p:nvPr/>
        </p:nvSpPr>
        <p:spPr>
          <a:xfrm>
            <a:off x="3598382" y="4384073"/>
            <a:ext cx="1494022" cy="865600"/>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EBITDA</a:t>
            </a:r>
          </a:p>
        </p:txBody>
      </p:sp>
      <p:sp>
        <p:nvSpPr>
          <p:cNvPr id="15" name="Text Placeholder 3">
            <a:extLst>
              <a:ext uri="{FF2B5EF4-FFF2-40B4-BE49-F238E27FC236}">
                <a16:creationId xmlns:a16="http://schemas.microsoft.com/office/drawing/2014/main" id="{F9872B83-56A8-6771-8D0E-15F5DB0B2CD9}"/>
              </a:ext>
            </a:extLst>
          </p:cNvPr>
          <p:cNvSpPr txBox="1">
            <a:spLocks/>
          </p:cNvSpPr>
          <p:nvPr/>
        </p:nvSpPr>
        <p:spPr>
          <a:xfrm>
            <a:off x="3624613" y="2600193"/>
            <a:ext cx="1494022" cy="861613"/>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Revenue</a:t>
            </a:r>
            <a:endParaRPr kumimoji="0" lang="en-US" sz="2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pic>
        <p:nvPicPr>
          <p:cNvPr id="17" name="Graphic 16">
            <a:extLst>
              <a:ext uri="{FF2B5EF4-FFF2-40B4-BE49-F238E27FC236}">
                <a16:creationId xmlns:a16="http://schemas.microsoft.com/office/drawing/2014/main" id="{0C9C678C-E419-8AF4-6E9F-94236DD0843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210634" y="4190377"/>
            <a:ext cx="1149057" cy="1149057"/>
          </a:xfrm>
          <a:prstGeom prst="rect">
            <a:avLst/>
          </a:prstGeom>
        </p:spPr>
      </p:pic>
      <p:grpSp>
        <p:nvGrpSpPr>
          <p:cNvPr id="23" name="Group 22">
            <a:extLst>
              <a:ext uri="{FF2B5EF4-FFF2-40B4-BE49-F238E27FC236}">
                <a16:creationId xmlns:a16="http://schemas.microsoft.com/office/drawing/2014/main" id="{01389B0E-BA01-738B-73C6-F1A7C064128C}"/>
              </a:ext>
            </a:extLst>
          </p:cNvPr>
          <p:cNvGrpSpPr/>
          <p:nvPr/>
        </p:nvGrpSpPr>
        <p:grpSpPr>
          <a:xfrm>
            <a:off x="2337464" y="2163985"/>
            <a:ext cx="7488525" cy="3333136"/>
            <a:chOff x="1021294" y="2019606"/>
            <a:chExt cx="9125596" cy="3333136"/>
          </a:xfrm>
        </p:grpSpPr>
        <p:cxnSp>
          <p:nvCxnSpPr>
            <p:cNvPr id="19" name="Straight Connector 18">
              <a:extLst>
                <a:ext uri="{FF2B5EF4-FFF2-40B4-BE49-F238E27FC236}">
                  <a16:creationId xmlns:a16="http://schemas.microsoft.com/office/drawing/2014/main" id="{6ABFCFEB-B292-BE41-37D1-47E0BE6E37BF}"/>
                </a:ext>
              </a:extLst>
            </p:cNvPr>
            <p:cNvCxnSpPr/>
            <p:nvPr/>
          </p:nvCxnSpPr>
          <p:spPr>
            <a:xfrm>
              <a:off x="1021294" y="2019606"/>
              <a:ext cx="912559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3BC5291-712B-FA31-5E2C-A680A30AEAE9}"/>
                </a:ext>
              </a:extLst>
            </p:cNvPr>
            <p:cNvCxnSpPr/>
            <p:nvPr/>
          </p:nvCxnSpPr>
          <p:spPr>
            <a:xfrm>
              <a:off x="1021294" y="3686174"/>
              <a:ext cx="912559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7FC4A69-EAFE-184F-3E4C-A76C89891D26}"/>
                </a:ext>
              </a:extLst>
            </p:cNvPr>
            <p:cNvCxnSpPr/>
            <p:nvPr/>
          </p:nvCxnSpPr>
          <p:spPr>
            <a:xfrm>
              <a:off x="1021294" y="5352742"/>
              <a:ext cx="912559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2" name="Plassholder for innhold 3">
            <a:extLst>
              <a:ext uri="{FF2B5EF4-FFF2-40B4-BE49-F238E27FC236}">
                <a16:creationId xmlns:a16="http://schemas.microsoft.com/office/drawing/2014/main" id="{BFF20E6D-6868-77DD-EC16-4160B3EAC15F}"/>
              </a:ext>
            </a:extLst>
          </p:cNvPr>
          <p:cNvSpPr txBox="1">
            <a:spLocks/>
          </p:cNvSpPr>
          <p:nvPr/>
        </p:nvSpPr>
        <p:spPr>
          <a:xfrm>
            <a:off x="4737675" y="2061866"/>
            <a:ext cx="3905075" cy="1644963"/>
          </a:xfrm>
          <a:prstGeom prst="rect">
            <a:avLst/>
          </a:prstGeom>
          <a:noFill/>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2.5</a:t>
            </a:r>
            <a:r>
              <a:rPr kumimoji="0" lang="en-US" sz="4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Bn</a:t>
            </a:r>
            <a:endParaRPr kumimoji="0" lang="en-US" sz="80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6" name="Title 1">
            <a:extLst>
              <a:ext uri="{FF2B5EF4-FFF2-40B4-BE49-F238E27FC236}">
                <a16:creationId xmlns:a16="http://schemas.microsoft.com/office/drawing/2014/main" id="{4440FB54-B7A0-AED3-6AF5-CE0C26B4620E}"/>
              </a:ext>
            </a:extLst>
          </p:cNvPr>
          <p:cNvSpPr txBox="1">
            <a:spLocks/>
          </p:cNvSpPr>
          <p:nvPr/>
        </p:nvSpPr>
        <p:spPr>
          <a:xfrm>
            <a:off x="741778" y="365126"/>
            <a:ext cx="9112758" cy="1270244"/>
          </a:xfrm>
          <a:prstGeom prst="rect">
            <a:avLst/>
          </a:prstGeom>
        </p:spPr>
        <p:txBody>
          <a:bodyPr anchor="t">
            <a:normAutofit fontScale="97500"/>
          </a:bodyPr>
          <a:lstStyle>
            <a:lvl1pPr algn="l" defTabSz="914400" rtl="0" eaLnBrk="1" latinLnBrk="0" hangingPunct="1">
              <a:lnSpc>
                <a:spcPct val="90000"/>
              </a:lnSpc>
              <a:spcBef>
                <a:spcPct val="0"/>
              </a:spcBef>
              <a:buNone/>
              <a:defRPr sz="4000" b="0" i="0" kern="1200">
                <a:solidFill>
                  <a:schemeClr val="accent1"/>
                </a:solidFill>
                <a:latin typeface="Helvetica Light" panose="020B0403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a:ln>
                  <a:noFill/>
                </a:ln>
                <a:solidFill>
                  <a:srgbClr val="2832DC"/>
                </a:solidFill>
                <a:effectLst/>
                <a:uLnTx/>
                <a:uFillTx/>
                <a:latin typeface="Helvetica Light" panose="020B0403020202020204" pitchFamily="34" charset="0"/>
                <a:ea typeface="+mj-ea"/>
                <a:cs typeface="+mj-cs"/>
              </a:rPr>
              <a:t>What we in 2020 communicated as our 2025 financial ambitions</a:t>
            </a:r>
          </a:p>
        </p:txBody>
      </p:sp>
      <p:sp>
        <p:nvSpPr>
          <p:cNvPr id="3" name="Text Placeholder 3">
            <a:extLst>
              <a:ext uri="{FF2B5EF4-FFF2-40B4-BE49-F238E27FC236}">
                <a16:creationId xmlns:a16="http://schemas.microsoft.com/office/drawing/2014/main" id="{F4725A58-4133-DE75-1247-EB5B8CF867E6}"/>
              </a:ext>
            </a:extLst>
          </p:cNvPr>
          <p:cNvSpPr txBox="1">
            <a:spLocks/>
          </p:cNvSpPr>
          <p:nvPr/>
        </p:nvSpPr>
        <p:spPr>
          <a:xfrm>
            <a:off x="6395767" y="3335245"/>
            <a:ext cx="1494022" cy="309261"/>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NOK</a:t>
            </a:r>
            <a:endParaRPr kumimoji="0" lang="en-US" sz="1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Tree>
    <p:extLst>
      <p:ext uri="{BB962C8B-B14F-4D97-AF65-F5344CB8AC3E}">
        <p14:creationId xmlns:p14="http://schemas.microsoft.com/office/powerpoint/2010/main" val="34974801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7BD43F3-A039-D46A-400B-988F6CBE50DE}"/>
              </a:ext>
            </a:extLst>
          </p:cNvPr>
          <p:cNvGraphicFramePr>
            <a:graphicFrameLocks noChangeAspect="1"/>
          </p:cNvGraphicFramePr>
          <p:nvPr>
            <p:custDataLst>
              <p:tags r:id="rId1"/>
            </p:custDataLst>
            <p:extLst>
              <p:ext uri="{D42A27DB-BD31-4B8C-83A1-F6EECF244321}">
                <p14:modId xmlns:p14="http://schemas.microsoft.com/office/powerpoint/2010/main" val="38798194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B7BD43F3-A039-D46A-400B-988F6CBE50D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27" name="Group 26">
            <a:extLst>
              <a:ext uri="{FF2B5EF4-FFF2-40B4-BE49-F238E27FC236}">
                <a16:creationId xmlns:a16="http://schemas.microsoft.com/office/drawing/2014/main" id="{ECD3EA42-A2CB-3DDF-3B42-F0990F31E7B1}"/>
              </a:ext>
            </a:extLst>
          </p:cNvPr>
          <p:cNvGrpSpPr/>
          <p:nvPr/>
        </p:nvGrpSpPr>
        <p:grpSpPr>
          <a:xfrm>
            <a:off x="7354208" y="1635370"/>
            <a:ext cx="3905075" cy="4218590"/>
            <a:chOff x="7354208" y="1635370"/>
            <a:chExt cx="3905075" cy="4218590"/>
          </a:xfrm>
        </p:grpSpPr>
        <p:sp>
          <p:nvSpPr>
            <p:cNvPr id="14" name="Rectangle 13">
              <a:extLst>
                <a:ext uri="{FF2B5EF4-FFF2-40B4-BE49-F238E27FC236}">
                  <a16:creationId xmlns:a16="http://schemas.microsoft.com/office/drawing/2014/main" id="{27083C1B-AE2B-3FAB-041B-1B9285096A72}"/>
                </a:ext>
              </a:extLst>
            </p:cNvPr>
            <p:cNvSpPr/>
            <p:nvPr/>
          </p:nvSpPr>
          <p:spPr>
            <a:xfrm>
              <a:off x="7401179" y="1635370"/>
              <a:ext cx="3658734" cy="4218590"/>
            </a:xfrm>
            <a:prstGeom prst="rect">
              <a:avLst/>
            </a:prstGeom>
            <a:solidFill>
              <a:srgbClr val="EF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Light"/>
                <a:ea typeface="+mn-ea"/>
                <a:cs typeface="+mn-cs"/>
              </a:endParaRPr>
            </a:p>
          </p:txBody>
        </p:sp>
        <p:sp>
          <p:nvSpPr>
            <p:cNvPr id="11" name="Plassholder for innhold 3">
              <a:extLst>
                <a:ext uri="{FF2B5EF4-FFF2-40B4-BE49-F238E27FC236}">
                  <a16:creationId xmlns:a16="http://schemas.microsoft.com/office/drawing/2014/main" id="{778DB081-11E1-B20C-E7AE-2D23E4BF709B}"/>
                </a:ext>
              </a:extLst>
            </p:cNvPr>
            <p:cNvSpPr txBox="1">
              <a:spLocks/>
            </p:cNvSpPr>
            <p:nvPr/>
          </p:nvSpPr>
          <p:spPr>
            <a:xfrm>
              <a:off x="7354208" y="4187391"/>
              <a:ext cx="3905075" cy="1666568"/>
            </a:xfrm>
            <a:prstGeom prst="rect">
              <a:avLst/>
            </a:prstGeom>
            <a:noFill/>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4-6</a:t>
              </a:r>
              <a:r>
                <a:rPr kumimoji="0" lang="en-US" sz="4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a:t>
              </a:r>
              <a:endParaRPr kumimoji="0" lang="en-US" sz="7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22" name="Plassholder for innhold 3">
              <a:extLst>
                <a:ext uri="{FF2B5EF4-FFF2-40B4-BE49-F238E27FC236}">
                  <a16:creationId xmlns:a16="http://schemas.microsoft.com/office/drawing/2014/main" id="{BFF20E6D-6868-77DD-EC16-4160B3EAC15F}"/>
                </a:ext>
              </a:extLst>
            </p:cNvPr>
            <p:cNvSpPr txBox="1">
              <a:spLocks/>
            </p:cNvSpPr>
            <p:nvPr/>
          </p:nvSpPr>
          <p:spPr>
            <a:xfrm>
              <a:off x="7354208" y="2579186"/>
              <a:ext cx="3905075" cy="1608199"/>
            </a:xfrm>
            <a:prstGeom prst="rect">
              <a:avLst/>
            </a:prstGeom>
            <a:noFill/>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1.5-1.8</a:t>
              </a:r>
              <a:r>
                <a:rPr kumimoji="0" lang="en-US" sz="4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Bn</a:t>
              </a:r>
              <a:endParaRPr kumimoji="0" lang="en-US" sz="7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5" name="Rectangle 4">
              <a:extLst>
                <a:ext uri="{FF2B5EF4-FFF2-40B4-BE49-F238E27FC236}">
                  <a16:creationId xmlns:a16="http://schemas.microsoft.com/office/drawing/2014/main" id="{D51A9349-2ACF-5271-7F60-9F9CFB2B2890}"/>
                </a:ext>
              </a:extLst>
            </p:cNvPr>
            <p:cNvSpPr/>
            <p:nvPr/>
          </p:nvSpPr>
          <p:spPr>
            <a:xfrm>
              <a:off x="7512353" y="1891084"/>
              <a:ext cx="2573643"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2832DC"/>
                  </a:solidFill>
                  <a:effectLst/>
                  <a:uLnTx/>
                  <a:uFillTx/>
                  <a:latin typeface="Helvetica" pitchFamily="2" charset="0"/>
                  <a:ea typeface="+mn-ea"/>
                  <a:cs typeface="+mn-cs"/>
                </a:rPr>
                <a:t>2025 Estimate </a:t>
              </a:r>
            </a:p>
          </p:txBody>
        </p:sp>
        <p:sp>
          <p:nvSpPr>
            <p:cNvPr id="25" name="TextBox 24">
              <a:extLst>
                <a:ext uri="{FF2B5EF4-FFF2-40B4-BE49-F238E27FC236}">
                  <a16:creationId xmlns:a16="http://schemas.microsoft.com/office/drawing/2014/main" id="{BF04759D-E609-0D8E-005C-461CEB18F026}"/>
                </a:ext>
              </a:extLst>
            </p:cNvPr>
            <p:cNvSpPr txBox="1"/>
            <p:nvPr/>
          </p:nvSpPr>
          <p:spPr>
            <a:xfrm>
              <a:off x="7384396" y="3795282"/>
              <a:ext cx="240742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NOK</a:t>
              </a:r>
              <a:endParaRPr kumimoji="0" lang="en-US" sz="1800" b="0" i="0" u="none" strike="noStrike" kern="1200" cap="none" spc="0" normalizeH="0" baseline="0" noProof="0">
                <a:ln>
                  <a:noFill/>
                </a:ln>
                <a:solidFill>
                  <a:prstClr val="black"/>
                </a:solidFill>
                <a:effectLst/>
                <a:uLnTx/>
                <a:uFillTx/>
                <a:latin typeface="Helvetica Light"/>
                <a:ea typeface="+mn-ea"/>
                <a:cs typeface="+mn-cs"/>
              </a:endParaRPr>
            </a:p>
          </p:txBody>
        </p:sp>
      </p:grpSp>
      <p:sp>
        <p:nvSpPr>
          <p:cNvPr id="9" name="Rectangle 8">
            <a:extLst>
              <a:ext uri="{FF2B5EF4-FFF2-40B4-BE49-F238E27FC236}">
                <a16:creationId xmlns:a16="http://schemas.microsoft.com/office/drawing/2014/main" id="{A01A5CA3-4744-4953-D8F3-B3924BD09A5F}"/>
              </a:ext>
            </a:extLst>
          </p:cNvPr>
          <p:cNvSpPr/>
          <p:nvPr/>
        </p:nvSpPr>
        <p:spPr>
          <a:xfrm>
            <a:off x="3949193" y="1635370"/>
            <a:ext cx="3405015" cy="4218590"/>
          </a:xfrm>
          <a:prstGeom prst="rect">
            <a:avLst/>
          </a:prstGeom>
          <a:solidFill>
            <a:srgbClr val="EF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Light"/>
              <a:ea typeface="+mn-ea"/>
              <a:cs typeface="+mn-cs"/>
            </a:endParaRPr>
          </a:p>
        </p:txBody>
      </p:sp>
      <p:sp>
        <p:nvSpPr>
          <p:cNvPr id="2" name="Title 1">
            <a:extLst>
              <a:ext uri="{FF2B5EF4-FFF2-40B4-BE49-F238E27FC236}">
                <a16:creationId xmlns:a16="http://schemas.microsoft.com/office/drawing/2014/main" id="{F766BB73-C02B-781D-31E1-B0F81D712373}"/>
              </a:ext>
            </a:extLst>
          </p:cNvPr>
          <p:cNvSpPr>
            <a:spLocks noGrp="1"/>
          </p:cNvSpPr>
          <p:nvPr>
            <p:ph type="title"/>
          </p:nvPr>
        </p:nvSpPr>
        <p:spPr>
          <a:xfrm>
            <a:off x="741778" y="365126"/>
            <a:ext cx="10943944" cy="1270244"/>
          </a:xfrm>
        </p:spPr>
        <p:txBody>
          <a:bodyPr vert="horz">
            <a:normAutofit/>
          </a:bodyPr>
          <a:lstStyle/>
          <a:p>
            <a:r>
              <a:rPr lang="en-US"/>
              <a:t>Where we are today and our 2025 estimates</a:t>
            </a:r>
            <a:endParaRPr lang="en-US">
              <a:latin typeface="Helvetica Light" panose="020B0403020202020204" pitchFamily="34" charset="0"/>
            </a:endParaRPr>
          </a:p>
        </p:txBody>
      </p:sp>
      <p:pic>
        <p:nvPicPr>
          <p:cNvPr id="12" name="Graphic 11">
            <a:extLst>
              <a:ext uri="{FF2B5EF4-FFF2-40B4-BE49-F238E27FC236}">
                <a16:creationId xmlns:a16="http://schemas.microsoft.com/office/drawing/2014/main" id="{76F7AB16-6528-47F2-AADD-8F793565A17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32088" y="2967626"/>
            <a:ext cx="837873" cy="837873"/>
          </a:xfrm>
          <a:prstGeom prst="rect">
            <a:avLst/>
          </a:prstGeom>
        </p:spPr>
      </p:pic>
      <p:sp>
        <p:nvSpPr>
          <p:cNvPr id="13" name="Text Placeholder 3">
            <a:extLst>
              <a:ext uri="{FF2B5EF4-FFF2-40B4-BE49-F238E27FC236}">
                <a16:creationId xmlns:a16="http://schemas.microsoft.com/office/drawing/2014/main" id="{16485EC3-A7B8-F846-2DEE-D1388E819BE1}"/>
              </a:ext>
            </a:extLst>
          </p:cNvPr>
          <p:cNvSpPr txBox="1">
            <a:spLocks/>
          </p:cNvSpPr>
          <p:nvPr/>
        </p:nvSpPr>
        <p:spPr>
          <a:xfrm>
            <a:off x="2238874" y="4707967"/>
            <a:ext cx="1494022" cy="865600"/>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EBITDA</a:t>
            </a:r>
          </a:p>
        </p:txBody>
      </p:sp>
      <p:sp>
        <p:nvSpPr>
          <p:cNvPr id="15" name="Text Placeholder 3">
            <a:extLst>
              <a:ext uri="{FF2B5EF4-FFF2-40B4-BE49-F238E27FC236}">
                <a16:creationId xmlns:a16="http://schemas.microsoft.com/office/drawing/2014/main" id="{F9872B83-56A8-6771-8D0E-15F5DB0B2CD9}"/>
              </a:ext>
            </a:extLst>
          </p:cNvPr>
          <p:cNvSpPr txBox="1">
            <a:spLocks/>
          </p:cNvSpPr>
          <p:nvPr/>
        </p:nvSpPr>
        <p:spPr>
          <a:xfrm>
            <a:off x="2230769" y="2957031"/>
            <a:ext cx="1494022" cy="861613"/>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accent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bg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bg1"/>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bg1"/>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Revenue</a:t>
            </a:r>
            <a:endParaRPr kumimoji="0" lang="en-US" sz="2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pic>
        <p:nvPicPr>
          <p:cNvPr id="17" name="Graphic 16">
            <a:extLst>
              <a:ext uri="{FF2B5EF4-FFF2-40B4-BE49-F238E27FC236}">
                <a16:creationId xmlns:a16="http://schemas.microsoft.com/office/drawing/2014/main" id="{0C9C678C-E419-8AF4-6E9F-94236DD0843F}"/>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05259" y="4547215"/>
            <a:ext cx="1149057" cy="1149057"/>
          </a:xfrm>
          <a:prstGeom prst="rect">
            <a:avLst/>
          </a:prstGeom>
        </p:spPr>
      </p:pic>
      <p:cxnSp>
        <p:nvCxnSpPr>
          <p:cNvPr id="19" name="Straight Connector 18">
            <a:extLst>
              <a:ext uri="{FF2B5EF4-FFF2-40B4-BE49-F238E27FC236}">
                <a16:creationId xmlns:a16="http://schemas.microsoft.com/office/drawing/2014/main" id="{6ABFCFEB-B292-BE41-37D1-47E0BE6E37BF}"/>
              </a:ext>
            </a:extLst>
          </p:cNvPr>
          <p:cNvCxnSpPr>
            <a:cxnSpLocks/>
          </p:cNvCxnSpPr>
          <p:nvPr/>
        </p:nvCxnSpPr>
        <p:spPr>
          <a:xfrm>
            <a:off x="1005259" y="2520823"/>
            <a:ext cx="1005465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3BC5291-712B-FA31-5E2C-A680A30AEAE9}"/>
              </a:ext>
            </a:extLst>
          </p:cNvPr>
          <p:cNvCxnSpPr>
            <a:cxnSpLocks/>
          </p:cNvCxnSpPr>
          <p:nvPr/>
        </p:nvCxnSpPr>
        <p:spPr>
          <a:xfrm>
            <a:off x="1005259" y="4187391"/>
            <a:ext cx="1005465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7FC4A69-EAFE-184F-3E4C-A76C89891D26}"/>
              </a:ext>
            </a:extLst>
          </p:cNvPr>
          <p:cNvCxnSpPr>
            <a:cxnSpLocks/>
          </p:cNvCxnSpPr>
          <p:nvPr/>
        </p:nvCxnSpPr>
        <p:spPr>
          <a:xfrm>
            <a:off x="1005259" y="5853959"/>
            <a:ext cx="1005465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26204A46-ECE3-465F-6892-98541835EB86}"/>
              </a:ext>
            </a:extLst>
          </p:cNvPr>
          <p:cNvSpPr/>
          <p:nvPr/>
        </p:nvSpPr>
        <p:spPr>
          <a:xfrm>
            <a:off x="4203089" y="1891084"/>
            <a:ext cx="1892911"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2832DC"/>
                </a:solidFill>
                <a:effectLst/>
                <a:uLnTx/>
                <a:uFillTx/>
                <a:latin typeface="Helvetica" pitchFamily="2" charset="0"/>
                <a:ea typeface="+mn-ea"/>
                <a:cs typeface="+mn-cs"/>
              </a:rPr>
              <a:t>2023 Results</a:t>
            </a:r>
          </a:p>
        </p:txBody>
      </p:sp>
      <p:sp>
        <p:nvSpPr>
          <p:cNvPr id="7" name="Plassholder for innhold 3">
            <a:extLst>
              <a:ext uri="{FF2B5EF4-FFF2-40B4-BE49-F238E27FC236}">
                <a16:creationId xmlns:a16="http://schemas.microsoft.com/office/drawing/2014/main" id="{4EED28AB-F2EB-6155-53ED-3EC78E6E8763}"/>
              </a:ext>
            </a:extLst>
          </p:cNvPr>
          <p:cNvSpPr txBox="1">
            <a:spLocks/>
          </p:cNvSpPr>
          <p:nvPr/>
        </p:nvSpPr>
        <p:spPr>
          <a:xfrm>
            <a:off x="4106360" y="4187391"/>
            <a:ext cx="2479580" cy="1666568"/>
          </a:xfrm>
          <a:prstGeom prst="rect">
            <a:avLst/>
          </a:prstGeom>
          <a:noFill/>
        </p:spPr>
        <p:txBody>
          <a:bodyPr vert="horz" lIns="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200">
                <a:solidFill>
                  <a:srgbClr val="1E1E50"/>
                </a:solidFill>
                <a:latin typeface="Helvetica Light" panose="020B0403020202020204" pitchFamily="34" charset="0"/>
              </a:rPr>
              <a:t>0</a:t>
            </a:r>
            <a:r>
              <a:rPr lang="en-US" sz="4000" baseline="30000">
                <a:solidFill>
                  <a:srgbClr val="1E1E50"/>
                </a:solidFill>
                <a:latin typeface="Helvetica Light" panose="020B0403020202020204" pitchFamily="34" charset="0"/>
              </a:rPr>
              <a:t>%</a:t>
            </a:r>
            <a:endParaRPr kumimoji="0" lang="en-US" sz="7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endParaRPr>
          </a:p>
        </p:txBody>
      </p:sp>
      <p:sp>
        <p:nvSpPr>
          <p:cNvPr id="8" name="Plassholder for innhold 3">
            <a:extLst>
              <a:ext uri="{FF2B5EF4-FFF2-40B4-BE49-F238E27FC236}">
                <a16:creationId xmlns:a16="http://schemas.microsoft.com/office/drawing/2014/main" id="{3118566A-48BA-2A8B-DC31-757A6A6C1210}"/>
              </a:ext>
            </a:extLst>
          </p:cNvPr>
          <p:cNvSpPr txBox="1">
            <a:spLocks/>
          </p:cNvSpPr>
          <p:nvPr/>
        </p:nvSpPr>
        <p:spPr>
          <a:xfrm>
            <a:off x="4106360" y="2579186"/>
            <a:ext cx="2479580" cy="1644963"/>
          </a:xfrm>
          <a:prstGeom prst="rect">
            <a:avLst/>
          </a:prstGeom>
          <a:noFill/>
        </p:spPr>
        <p:txBody>
          <a:bodyPr vert="horz" lIns="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2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1.35</a:t>
            </a:r>
            <a:r>
              <a:rPr kumimoji="0" lang="en-US" sz="44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Bn</a:t>
            </a:r>
            <a:endParaRPr kumimoji="0" lang="en-US" sz="7200" b="0" i="0" u="none" strike="noStrike" kern="1200" cap="none" spc="0" normalizeH="0" baseline="30000" noProof="0">
              <a:ln>
                <a:noFill/>
              </a:ln>
              <a:solidFill>
                <a:srgbClr val="1E1E50"/>
              </a:solidFill>
              <a:effectLst/>
              <a:uLnTx/>
              <a:uFillTx/>
              <a:latin typeface="Helvetica Light" panose="020B0403020202020204" pitchFamily="34" charset="0"/>
              <a:ea typeface="+mn-ea"/>
              <a:cs typeface="+mn-cs"/>
            </a:endParaRPr>
          </a:p>
        </p:txBody>
      </p:sp>
      <p:sp>
        <p:nvSpPr>
          <p:cNvPr id="24" name="TextBox 23">
            <a:extLst>
              <a:ext uri="{FF2B5EF4-FFF2-40B4-BE49-F238E27FC236}">
                <a16:creationId xmlns:a16="http://schemas.microsoft.com/office/drawing/2014/main" id="{15AF6F81-8707-3865-54C6-BCFAFD711AD7}"/>
              </a:ext>
            </a:extLst>
          </p:cNvPr>
          <p:cNvSpPr txBox="1"/>
          <p:nvPr/>
        </p:nvSpPr>
        <p:spPr>
          <a:xfrm>
            <a:off x="4106359" y="3795282"/>
            <a:ext cx="240742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E1E50"/>
                </a:solidFill>
                <a:effectLst/>
                <a:uLnTx/>
                <a:uFillTx/>
                <a:latin typeface="Helvetica Light" panose="020B0403020202020204" pitchFamily="34" charset="0"/>
                <a:ea typeface="+mn-ea"/>
                <a:cs typeface="+mn-cs"/>
              </a:rPr>
              <a:t>NOK</a:t>
            </a:r>
            <a:endParaRPr kumimoji="0" lang="en-US" sz="1800" b="0" i="0" u="none" strike="noStrike" kern="1200" cap="none" spc="0" normalizeH="0" baseline="0" noProof="0">
              <a:ln>
                <a:noFill/>
              </a:ln>
              <a:solidFill>
                <a:prstClr val="black"/>
              </a:solidFill>
              <a:effectLst/>
              <a:uLnTx/>
              <a:uFillTx/>
              <a:latin typeface="Helvetica Light"/>
              <a:ea typeface="+mn-ea"/>
              <a:cs typeface="+mn-cs"/>
            </a:endParaRPr>
          </a:p>
        </p:txBody>
      </p:sp>
    </p:spTree>
    <p:extLst>
      <p:ext uri="{BB962C8B-B14F-4D97-AF65-F5344CB8AC3E}">
        <p14:creationId xmlns:p14="http://schemas.microsoft.com/office/powerpoint/2010/main" val="40846233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17&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E&quot; g=&quot;B8&quot; b=&quot;0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WORCnGvMPG67cfv73OzBH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L9Ul8CDtlgfZBu2vE5htO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sYlo4x3ShoJ49QMyAz6v6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qyydF3MSBIGLIZIe.Y0il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lxR3a8NcYbo2abwQl5rcv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kty2emELkqbPoFEWzB5fN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zlE4SkbjA_hBEHmOvcQSk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vnjVQpd7yatim2lc7vhlO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clw64JD01J8_eQfhykID_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jgt4cbpivjnwWTn4CHadq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XSNSpD7yy4.HnZzwAaa37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OEUeJ3jTMK41xWZuvLWTO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a7ACPLJpeRZ8NQLNeO2fq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iQjgIlJu6tCpN_LvG0zQn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iQjgIlJu6tCpN_LvG0zQn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njVQpd7yatim2lc7vhlO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clw64JD01J8_eQfhykID_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jgt4cbpivjnwWTn4CHadq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XSNSpD7yy4.HnZzwAaa37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EUeJ3jTMK41xWZuvLWTO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a7ACPLJpeRZ8NQLNeO2fq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iQjgIlJu6tCpN_LvG0zQn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iQjgIlJu6tCpN_LvG0zQn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MP85jTOoWsgoAUkShbBQH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Ij_7vEhiwBXim9AbPndUM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vnjVQpd7yatim2lc7vhlO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clw64JD01J8_eQfhykID_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jgt4cbpivjnwWTn4CHadq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O6U4LgEqyeB9Ja_YfzvvF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Zlv_3RCEKyVtUSoWZ34ms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OEUeJ3jTMK41xWZuvLWTO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iQjgIlJu6tCpN_LvG0zQn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lB3PfS..YB2LUjIdATv7X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Mr5LgMtL.azblhcleufWM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a7ACPLJpeRZ8NQLNeO2fq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QLSioQ.l7y4piVauIDXhd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QLSioQ.l7y4piVauIDXhd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iQjgIlJu6tCpN_LvG0zQn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iQjgIlJu6tCpN_LvG0zQn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z9CN5jvH4aA3pjJc5hufW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Fosiik9y4xjEvi7rNkv1a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9ElpruYh_CEWKyOQU_1O7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xUKwFnKBV2XkZfd7f2Mj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AgpEsGV74wPFW8BARXPK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fhM1Bd1UqpaqxUeQDl.7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Vo_9KGp5jlPAJLaAjYpwy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S4tHOPYj9Lf2JfLV62MZM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KhdL16HOrJQ2q2KQkpkzF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fKgd_Qm2MWpmYVVCJPapw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OZbSlBlqvJwGv6Fpvrn5f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5delpl09RNue3J.B555.M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s7lfTp.puw1kh4O_fPtTN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ipFf.xCFKnCIXs19bBef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AVSaTNQ5fPFykpe2bik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K7EvWCTlIcnQsKPaUYU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Y6YatcP4UPEF4Bx71wXI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uXMnvvWQgvqKy6Lttm72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3rBS8Vo4p5lQtvG769f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SFmlummOks1qDOV..fVG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Ju9AsCyQDKc7_kOF1fa3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NRtKhoFYqtCEYEfZSQWb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yf2oFJz1hmF.Q_6Wx0eN9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PHB8prjOcGEezDCv4MFY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h.ktscbV54uN.m9BxaGb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5SnAp1DJE2xXoafrEKelL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3MHfxS6z_5hawtHLDsB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5gXyMy_Q.owqJNS1xt46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0pkk6JwSMvoAPI4evMfy7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BfKnqEIViNocwMzCb6hU0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1lLhd28sOcTOolHKA0eh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n3HlB7A8bjAyi7ABJCus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lrIz8xGi67owAmUXu03C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aE1rqEk5qRBN_ZWgA46O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66cZy6ueitLQ.IflXwUb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c6nWTfnS0aSN6JOpAYz8d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AQdzNiNvaSKjlIKhH7iS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puPp_kfr7FT_xjsYmrN.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ckUZX_iDVYJ4I_SA3Bo8R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JserNlDf21RHMf_1cHVS2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FpsWYrnHuNHXuagvZESa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KYMlFVMvpWW_s9ylU2Ac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11k3ewzd9nsWRoX69waTp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K1rNBZap8esJhkmYrcyX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RFUSO7pegdm6OLo8aVTnu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gXUjAWcKvt48wD4QOS_Fo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cNk.iOT69n65F7nv9WQ3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lFdF3EkT5UMRgPRgRb0mW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rEgmKkaZdQFczONNN8Mhi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23Cqcy.qD5qQr2qV1Bue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zQtqVFRyF4pbN2oe6cgH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RO8XpPjphzqwKCbvxBht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nfaCOygzTdKHjs_3WQAt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xUrNEpvI9tT.BKTSvjm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EQ5wyYt7khhqY.ByaCMMp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1vqCLiQ4OmxhfSuPlHYrr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b2YfzJaYKoh4pwEQvvOh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94EZgVZYx17cVoLAUPmC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2QwxIgSmAFvuNUwZqkpUW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CDIpdDCFi_P6jShMxfnXG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wvcY7huvtdqObgff2rxh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Cx7TAGxipUUmmWELtIp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3KV7Tl3SM0RQoBV7p1qz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5DF9JgqvAYELtTBhHYRUg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anYVyZWr.MP0t2mv667L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6u3OUMbj3FtqyPxdT8OUI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TE5YeS3QsLWangcmQ6mzh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AwYAfbncxJzh3S8GAerW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2w4bcM7Bnt1UNWAYGrrGZ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sntQWfMB1hlXjwOUOyWDI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jK3LY0LoUZZOQ6CKx5vk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GDzNSRJiHP.yFfxm.EwR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XGz8GTOLfCMQc8MQCBto8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NtK_glLI5FzvAXPiPoBkT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DU27t8sNbn5_nXTaVZ8G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PKQjOJ9a8hlBjie89sf7U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3X2dOJWCeRs5NFSczEixv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_2NuctqSSpDrG.hJQ.bg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DIVV9lW54Kn3K.g_LxIBA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d6rKWzlPjczRwodXe63x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YBGxoUs8jxDuUoqdHnRzo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Ya5I.BoKX9mJQmY9hGs1v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x4BprQSyiBxAf_twFp2UQ"/>
</p:tagLst>
</file>

<file path=ppt/theme/theme1.xml><?xml version="1.0" encoding="utf-8"?>
<a:theme xmlns:a="http://schemas.openxmlformats.org/drawingml/2006/main" name="Office Theme">
  <a:themeElements>
    <a:clrScheme name="Egendefinert 1">
      <a:dk1>
        <a:sysClr val="windowText" lastClr="000000"/>
      </a:dk1>
      <a:lt1>
        <a:sysClr val="window" lastClr="FFFFFF"/>
      </a:lt1>
      <a:dk2>
        <a:srgbClr val="1E1E50"/>
      </a:dk2>
      <a:lt2>
        <a:srgbClr val="E7E6E6"/>
      </a:lt2>
      <a:accent1>
        <a:srgbClr val="2832DC"/>
      </a:accent1>
      <a:accent2>
        <a:srgbClr val="FFB800"/>
      </a:accent2>
      <a:accent3>
        <a:srgbClr val="1E1E50"/>
      </a:accent3>
      <a:accent4>
        <a:srgbClr val="5A75FF"/>
      </a:accent4>
      <a:accent5>
        <a:srgbClr val="B44128"/>
      </a:accent5>
      <a:accent6>
        <a:srgbClr val="1E1E50"/>
      </a:accent6>
      <a:hlink>
        <a:srgbClr val="2832DC"/>
      </a:hlink>
      <a:folHlink>
        <a:srgbClr val="B44128"/>
      </a:folHlink>
    </a:clrScheme>
    <a:fontScheme name="Strongpoi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 for oddys input LYDIA" id="{5FB4932C-B99D-4F43-8202-E88DB1BB6761}" vid="{267BA41F-2901-6C46-BFF1-CB544CB05F19}"/>
    </a:ext>
  </a:extLst>
</a:theme>
</file>

<file path=ppt/theme/theme2.xml><?xml version="1.0" encoding="utf-8"?>
<a:theme xmlns:a="http://schemas.openxmlformats.org/drawingml/2006/main" name="3_Office Theme">
  <a:themeElements>
    <a:clrScheme name="Egendefinert 1">
      <a:dk1>
        <a:sysClr val="windowText" lastClr="000000"/>
      </a:dk1>
      <a:lt1>
        <a:sysClr val="window" lastClr="FFFFFF"/>
      </a:lt1>
      <a:dk2>
        <a:srgbClr val="1E1E50"/>
      </a:dk2>
      <a:lt2>
        <a:srgbClr val="E7E6E6"/>
      </a:lt2>
      <a:accent1>
        <a:srgbClr val="2832DC"/>
      </a:accent1>
      <a:accent2>
        <a:srgbClr val="FFB800"/>
      </a:accent2>
      <a:accent3>
        <a:srgbClr val="1E1E50"/>
      </a:accent3>
      <a:accent4>
        <a:srgbClr val="5A75FF"/>
      </a:accent4>
      <a:accent5>
        <a:srgbClr val="B44128"/>
      </a:accent5>
      <a:accent6>
        <a:srgbClr val="1E1E50"/>
      </a:accent6>
      <a:hlink>
        <a:srgbClr val="2832DC"/>
      </a:hlink>
      <a:folHlink>
        <a:srgbClr val="B44128"/>
      </a:folHlink>
    </a:clrScheme>
    <a:fontScheme name="Strongpoi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 for oddys input LYDIA" id="{5FB4932C-B99D-4F43-8202-E88DB1BB6761}" vid="{267BA41F-2901-6C46-BFF1-CB544CB05F19}"/>
    </a:ext>
  </a:extLst>
</a:theme>
</file>

<file path=ppt/theme/theme3.xml><?xml version="1.0" encoding="utf-8"?>
<a:theme xmlns:a="http://schemas.openxmlformats.org/drawingml/2006/main" name="3_Office-tema">
  <a:themeElements>
    <a:clrScheme name="Egendefinert 1">
      <a:dk1>
        <a:sysClr val="windowText" lastClr="000000"/>
      </a:dk1>
      <a:lt1>
        <a:sysClr val="window" lastClr="FFFFFF"/>
      </a:lt1>
      <a:dk2>
        <a:srgbClr val="1E1E50"/>
      </a:dk2>
      <a:lt2>
        <a:srgbClr val="E7E6E6"/>
      </a:lt2>
      <a:accent1>
        <a:srgbClr val="2832DC"/>
      </a:accent1>
      <a:accent2>
        <a:srgbClr val="FFB800"/>
      </a:accent2>
      <a:accent3>
        <a:srgbClr val="1E1E50"/>
      </a:accent3>
      <a:accent4>
        <a:srgbClr val="5A75FF"/>
      </a:accent4>
      <a:accent5>
        <a:srgbClr val="B44128"/>
      </a:accent5>
      <a:accent6>
        <a:srgbClr val="1E1E50"/>
      </a:accent6>
      <a:hlink>
        <a:srgbClr val="2832DC"/>
      </a:hlink>
      <a:folHlink>
        <a:srgbClr val="B44128"/>
      </a:folHlink>
    </a:clrScheme>
    <a:fontScheme name="Egendefinert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trongPoint PowerPoint Examples" id="{4F5B8F52-30D9-411B-BBE9-FE00410387EC}" vid="{53EC1A22-6F6D-4036-9FB5-82EA4A08F882}"/>
    </a:ext>
  </a:extLst>
</a:theme>
</file>

<file path=ppt/theme/theme4.xml><?xml version="1.0" encoding="utf-8"?>
<a:theme xmlns:a="http://schemas.openxmlformats.org/drawingml/2006/main" name="1_Office Theme">
  <a:themeElements>
    <a:clrScheme name="Egendefinert 1">
      <a:dk1>
        <a:sysClr val="windowText" lastClr="000000"/>
      </a:dk1>
      <a:lt1>
        <a:sysClr val="window" lastClr="FFFFFF"/>
      </a:lt1>
      <a:dk2>
        <a:srgbClr val="1E1E50"/>
      </a:dk2>
      <a:lt2>
        <a:srgbClr val="E7E6E6"/>
      </a:lt2>
      <a:accent1>
        <a:srgbClr val="2832DC"/>
      </a:accent1>
      <a:accent2>
        <a:srgbClr val="FFB800"/>
      </a:accent2>
      <a:accent3>
        <a:srgbClr val="1E1E50"/>
      </a:accent3>
      <a:accent4>
        <a:srgbClr val="5A75FF"/>
      </a:accent4>
      <a:accent5>
        <a:srgbClr val="B44128"/>
      </a:accent5>
      <a:accent6>
        <a:srgbClr val="1E1E50"/>
      </a:accent6>
      <a:hlink>
        <a:srgbClr val="2832DC"/>
      </a:hlink>
      <a:folHlink>
        <a:srgbClr val="B44128"/>
      </a:folHlink>
    </a:clrScheme>
    <a:fontScheme name="Strongpoi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 for oddys input LYDIA" id="{5FB4932C-B99D-4F43-8202-E88DB1BB6761}" vid="{267BA41F-2901-6C46-BFF1-CB544CB05F19}"/>
    </a:ext>
  </a:extLst>
</a:theme>
</file>

<file path=ppt/theme/theme5.xml><?xml version="1.0" encoding="utf-8"?>
<a:theme xmlns:a="http://schemas.openxmlformats.org/drawingml/2006/main" name="9_Office Theme">
  <a:themeElements>
    <a:clrScheme name="StrongPoint">
      <a:dk1>
        <a:sysClr val="windowText" lastClr="000000"/>
      </a:dk1>
      <a:lt1>
        <a:sysClr val="window" lastClr="FFFFFF"/>
      </a:lt1>
      <a:dk2>
        <a:srgbClr val="B44128"/>
      </a:dk2>
      <a:lt2>
        <a:srgbClr val="E7E6E6"/>
      </a:lt2>
      <a:accent1>
        <a:srgbClr val="2832DC"/>
      </a:accent1>
      <a:accent2>
        <a:srgbClr val="FFB800"/>
      </a:accent2>
      <a:accent3>
        <a:srgbClr val="1E1E50"/>
      </a:accent3>
      <a:accent4>
        <a:srgbClr val="5A75FF"/>
      </a:accent4>
      <a:accent5>
        <a:srgbClr val="B44128"/>
      </a:accent5>
      <a:accent6>
        <a:srgbClr val="1E1E50"/>
      </a:accent6>
      <a:hlink>
        <a:srgbClr val="2832DC"/>
      </a:hlink>
      <a:folHlink>
        <a:srgbClr val="B44128"/>
      </a:folHlink>
    </a:clrScheme>
    <a:fontScheme name="Egendefinert 2">
      <a:majorFont>
        <a:latin typeface="Helvetica"/>
        <a:ea typeface=""/>
        <a:cs typeface=""/>
      </a:majorFont>
      <a:minorFont>
        <a:latin typeface="Helvetic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 for oddys input LYDIA" id="{5FB4932C-B99D-4F43-8202-E88DB1BB6761}" vid="{267BA41F-2901-6C46-BFF1-CB544CB05F19}"/>
    </a:ext>
  </a:extLst>
</a:theme>
</file>

<file path=ppt/theme/theme6.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7a23111-93e2-4e67-956e-ae0bee279c81">
      <UserInfo>
        <DisplayName>Knut Olav Nyhus Olsen</DisplayName>
        <AccountId>17</AccountId>
        <AccountType/>
      </UserInfo>
      <UserInfo>
        <DisplayName>Ann Merete Stabell</DisplayName>
        <AccountId>12</AccountId>
        <AccountType/>
      </UserInfo>
      <UserInfo>
        <DisplayName>Magnus Rosén</DisplayName>
        <AccountId>59</AccountId>
        <AccountType/>
      </UserInfo>
      <UserInfo>
        <DisplayName>Lorena Gómez</DisplayName>
        <AccountId>30</AccountId>
        <AccountType/>
      </UserInfo>
      <UserInfo>
        <DisplayName>Alex Eveleigh</DisplayName>
        <AccountId>100</AccountId>
        <AccountType/>
      </UserInfo>
      <UserInfo>
        <DisplayName>Dominic Robinson</DisplayName>
        <AccountId>10</AccountId>
        <AccountType/>
      </UserInfo>
    </SharedWithUsers>
    <TaxCatchAll xmlns="e7a23111-93e2-4e67-956e-ae0bee279c81" xsi:nil="true"/>
    <lcf76f155ced4ddcb4097134ff3c332f xmlns="c6c820fd-c91d-4f53-9ae8-028e8dcff92a">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C240D808D8AFFF42BEDEBA458CB1ABDA" ma:contentTypeVersion="15" ma:contentTypeDescription="Opprett et nytt dokument." ma:contentTypeScope="" ma:versionID="988e40e9dc8bd1f5f8b3ee60975c27f0">
  <xsd:schema xmlns:xsd="http://www.w3.org/2001/XMLSchema" xmlns:xs="http://www.w3.org/2001/XMLSchema" xmlns:p="http://schemas.microsoft.com/office/2006/metadata/properties" xmlns:ns2="c6c820fd-c91d-4f53-9ae8-028e8dcff92a" xmlns:ns3="e7a23111-93e2-4e67-956e-ae0bee279c81" targetNamespace="http://schemas.microsoft.com/office/2006/metadata/properties" ma:root="true" ma:fieldsID="791068d83308c57bc93b89c9261a31be" ns2:_="" ns3:_="">
    <xsd:import namespace="c6c820fd-c91d-4f53-9ae8-028e8dcff92a"/>
    <xsd:import namespace="e7a23111-93e2-4e67-956e-ae0bee279c8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MediaServiceSearchProperties"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c820fd-c91d-4f53-9ae8-028e8dcff92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Bildemerkelapper" ma:readOnly="false" ma:fieldId="{5cf76f15-5ced-4ddc-b409-7134ff3c332f}" ma:taxonomyMulti="true" ma:sspId="5bdadb45-10bb-4dfd-a805-8a5696c36093"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7a23111-93e2-4e67-956e-ae0bee279c81" elementFormDefault="qualified">
    <xsd:import namespace="http://schemas.microsoft.com/office/2006/documentManagement/types"/>
    <xsd:import namespace="http://schemas.microsoft.com/office/infopath/2007/PartnerControls"/>
    <xsd:element name="SharedWithUsers" ma:index="11"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Delingsdetaljer" ma:internalName="SharedWithDetails" ma:readOnly="true">
      <xsd:simpleType>
        <xsd:restriction base="dms:Note">
          <xsd:maxLength value="255"/>
        </xsd:restriction>
      </xsd:simpleType>
    </xsd:element>
    <xsd:element name="TaxCatchAll" ma:index="20" nillable="true" ma:displayName="Taxonomy Catch All Column" ma:hidden="true" ma:list="{9d20700a-9a41-4a2a-8f08-5976e94ac3f0}" ma:internalName="TaxCatchAll" ma:showField="CatchAllData" ma:web="e7a23111-93e2-4e67-956e-ae0bee279c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95FE7CC-B06A-40C9-829E-CBB147ADE18F}">
  <ds:schemaRefs>
    <ds:schemaRef ds:uri="c6c820fd-c91d-4f53-9ae8-028e8dcff92a"/>
    <ds:schemaRef ds:uri="http://purl.org/dc/elements/1.1/"/>
    <ds:schemaRef ds:uri="http://www.w3.org/XML/1998/namespace"/>
    <ds:schemaRef ds:uri="http://purl.org/dc/terms/"/>
    <ds:schemaRef ds:uri="http://purl.org/dc/dcmitype/"/>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e7a23111-93e2-4e67-956e-ae0bee279c81"/>
  </ds:schemaRefs>
</ds:datastoreItem>
</file>

<file path=customXml/itemProps2.xml><?xml version="1.0" encoding="utf-8"?>
<ds:datastoreItem xmlns:ds="http://schemas.openxmlformats.org/officeDocument/2006/customXml" ds:itemID="{FD0096DE-927F-4AC8-83B0-0D571D66E0FE}">
  <ds:schemaRefs>
    <ds:schemaRef ds:uri="http://schemas.microsoft.com/sharepoint/v3/contenttype/forms"/>
  </ds:schemaRefs>
</ds:datastoreItem>
</file>

<file path=customXml/itemProps3.xml><?xml version="1.0" encoding="utf-8"?>
<ds:datastoreItem xmlns:ds="http://schemas.openxmlformats.org/officeDocument/2006/customXml" ds:itemID="{D0077A37-0D35-4B07-9024-898FF33B4D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6c820fd-c91d-4f53-9ae8-028e8dcff92a"/>
    <ds:schemaRef ds:uri="e7a23111-93e2-4e67-956e-ae0bee279c8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1429</TotalTime>
  <Words>5683</Words>
  <Application>Microsoft Office PowerPoint</Application>
  <PresentationFormat>Widescreen</PresentationFormat>
  <Paragraphs>908</Paragraphs>
  <Slides>59</Slides>
  <Notes>43</Notes>
  <HiddenSlides>0</HiddenSlides>
  <MMClips>0</MMClips>
  <ScaleCrop>false</ScaleCrop>
  <HeadingPairs>
    <vt:vector size="4" baseType="variant">
      <vt:variant>
        <vt:lpstr>Tema</vt:lpstr>
      </vt:variant>
      <vt:variant>
        <vt:i4>5</vt:i4>
      </vt:variant>
      <vt:variant>
        <vt:lpstr>Lysbildetitler</vt:lpstr>
      </vt:variant>
      <vt:variant>
        <vt:i4>59</vt:i4>
      </vt:variant>
    </vt:vector>
  </HeadingPairs>
  <TitlesOfParts>
    <vt:vector size="64" baseType="lpstr">
      <vt:lpstr>Office Theme</vt:lpstr>
      <vt:lpstr>3_Office Theme</vt:lpstr>
      <vt:lpstr>3_Office-tema</vt:lpstr>
      <vt:lpstr>1_Office Theme</vt:lpstr>
      <vt:lpstr>9_Office Theme</vt:lpstr>
      <vt:lpstr>Strategy Update Session </vt:lpstr>
      <vt:lpstr>Agenda  &amp; Speakers </vt:lpstr>
      <vt:lpstr>PowerPoint-presentasjon</vt:lpstr>
      <vt:lpstr>PowerPoint-presentasjon</vt:lpstr>
      <vt:lpstr>Our grocery retail solutions - aisle to aisle &amp; door to door</vt:lpstr>
      <vt:lpstr>Solution portfolio well suited for grocery retailers in core markets</vt:lpstr>
      <vt:lpstr>Update on financial results vs. ambitions</vt:lpstr>
      <vt:lpstr>PowerPoint-presentasjon</vt:lpstr>
      <vt:lpstr>Where we are today and our 2025 estimates</vt:lpstr>
      <vt:lpstr>Why did we hold onto ambitions for so long?</vt:lpstr>
      <vt:lpstr>PowerPoint-presentasjon</vt:lpstr>
      <vt:lpstr>Three major challenges in 2023 and continuing into 2024</vt:lpstr>
      <vt:lpstr>Challenge 1: A difficult time for grocery retail</vt:lpstr>
      <vt:lpstr>PowerPoint-presentasjon</vt:lpstr>
      <vt:lpstr>Challenge 3: UK business specific challenges</vt:lpstr>
      <vt:lpstr>Challenges summarized – now, what actions?</vt:lpstr>
      <vt:lpstr>Actions taken in Scandinavia and Baltics</vt:lpstr>
      <vt:lpstr>Actions taken in UK and Spain</vt:lpstr>
      <vt:lpstr>Continuing to develop strong base of recurring and re-occuring  revenue</vt:lpstr>
      <vt:lpstr>Big wins from  big investments </vt:lpstr>
      <vt:lpstr>PowerPoint-presentasjon</vt:lpstr>
      <vt:lpstr>PowerPoint-presentasjon</vt:lpstr>
      <vt:lpstr>PowerPoint-presentasjon</vt:lpstr>
      <vt:lpstr>As an incumbent we are well placed to upsell additional solutions</vt:lpstr>
      <vt:lpstr>Large serviceable customer base of grocery retailers</vt:lpstr>
      <vt:lpstr>Large opportunities in key markets </vt:lpstr>
      <vt:lpstr>Deep dive on Scandinavia, UK and Spain </vt:lpstr>
      <vt:lpstr>Deep dive on selected core markets </vt:lpstr>
      <vt:lpstr>Scandinavia </vt:lpstr>
      <vt:lpstr>Decades of grocery customer trust </vt:lpstr>
      <vt:lpstr>Transformational actions</vt:lpstr>
      <vt:lpstr>Commercial overview of Scandinavia</vt:lpstr>
      <vt:lpstr>UK</vt:lpstr>
      <vt:lpstr>Introduction to StrongPoint ALS UK   </vt:lpstr>
      <vt:lpstr>UK priorities </vt:lpstr>
      <vt:lpstr>UK trends continue to drive opportunities </vt:lpstr>
      <vt:lpstr>Market opportunities: UK</vt:lpstr>
      <vt:lpstr>Sainsbury’s picked StrongPoint</vt:lpstr>
      <vt:lpstr>Spain</vt:lpstr>
      <vt:lpstr>Increasing focus on grocery retail</vt:lpstr>
      <vt:lpstr>PowerPoint-presentasjon</vt:lpstr>
      <vt:lpstr>CashGuard Connect: Purpose built for grocery retail </vt:lpstr>
      <vt:lpstr>PowerPoint-presentasjon</vt:lpstr>
      <vt:lpstr>Market opportunities: Spain</vt:lpstr>
      <vt:lpstr>Financial update</vt:lpstr>
      <vt:lpstr>Where we are today and our 2025 estimates</vt:lpstr>
      <vt:lpstr>2025 estimates: Scandinavia   </vt:lpstr>
      <vt:lpstr>2025 estimates: International  </vt:lpstr>
      <vt:lpstr>2025 estimates: in-store &amp; e-commerce split</vt:lpstr>
      <vt:lpstr>M&amp;A update</vt:lpstr>
      <vt:lpstr>Financing update</vt:lpstr>
      <vt:lpstr>Strong history of dividend payment </vt:lpstr>
      <vt:lpstr>Concluding comments</vt:lpstr>
      <vt:lpstr>StrongPoint 2020 vs. 2024</vt:lpstr>
      <vt:lpstr>PowerPoint-presentasjon</vt:lpstr>
      <vt:lpstr>PowerPoint-presentasjon</vt:lpstr>
      <vt:lpstr>Key priorities</vt:lpstr>
      <vt:lpstr>Q&amp;A</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R Deck</dc:title>
  <dc:creator>lydia butler</dc:creator>
  <cp:lastModifiedBy>Dominic Robinson</cp:lastModifiedBy>
  <cp:revision>8</cp:revision>
  <dcterms:created xsi:type="dcterms:W3CDTF">2022-08-18T13:52:09Z</dcterms:created>
  <dcterms:modified xsi:type="dcterms:W3CDTF">2024-08-21T06:35: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240D808D8AFFF42BEDEBA458CB1ABDA</vt:lpwstr>
  </property>
  <property fmtid="{D5CDD505-2E9C-101B-9397-08002B2CF9AE}" pid="3" name="MediaServiceImageTags">
    <vt:lpwstr/>
  </property>
</Properties>
</file>